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648" r:id="rId5"/>
  </p:sldMasterIdLst>
  <p:notesMasterIdLst>
    <p:notesMasterId r:id="rId43"/>
  </p:notesMasterIdLst>
  <p:handoutMasterIdLst>
    <p:handoutMasterId r:id="rId44"/>
  </p:handoutMasterIdLst>
  <p:sldIdLst>
    <p:sldId id="259" r:id="rId6"/>
    <p:sldId id="256" r:id="rId7"/>
    <p:sldId id="257" r:id="rId8"/>
    <p:sldId id="258" r:id="rId9"/>
    <p:sldId id="261" r:id="rId10"/>
    <p:sldId id="262" r:id="rId11"/>
    <p:sldId id="265" r:id="rId12"/>
    <p:sldId id="263" r:id="rId13"/>
    <p:sldId id="264" r:id="rId14"/>
    <p:sldId id="267" r:id="rId15"/>
    <p:sldId id="266" r:id="rId16"/>
    <p:sldId id="269" r:id="rId17"/>
    <p:sldId id="270" r:id="rId18"/>
    <p:sldId id="268" r:id="rId19"/>
    <p:sldId id="276" r:id="rId20"/>
    <p:sldId id="272" r:id="rId21"/>
    <p:sldId id="273" r:id="rId22"/>
    <p:sldId id="274" r:id="rId23"/>
    <p:sldId id="275" r:id="rId24"/>
    <p:sldId id="279" r:id="rId25"/>
    <p:sldId id="280" r:id="rId26"/>
    <p:sldId id="278" r:id="rId27"/>
    <p:sldId id="281" r:id="rId28"/>
    <p:sldId id="283" r:id="rId29"/>
    <p:sldId id="282" r:id="rId30"/>
    <p:sldId id="284" r:id="rId31"/>
    <p:sldId id="285" r:id="rId32"/>
    <p:sldId id="286" r:id="rId33"/>
    <p:sldId id="287" r:id="rId34"/>
    <p:sldId id="288" r:id="rId35"/>
    <p:sldId id="289" r:id="rId36"/>
    <p:sldId id="290" r:id="rId37"/>
    <p:sldId id="291" r:id="rId38"/>
    <p:sldId id="292" r:id="rId39"/>
    <p:sldId id="293" r:id="rId40"/>
    <p:sldId id="294" r:id="rId41"/>
    <p:sldId id="295" r:id="rId42"/>
  </p:sldIdLst>
  <p:sldSz cx="12192000" cy="6858000"/>
  <p:notesSz cx="6858000" cy="9144000"/>
  <p:custDataLst>
    <p:tags r:id="rId4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3699DC"/>
    <a:srgbClr val="D54643"/>
    <a:srgbClr val="FF4B4B"/>
    <a:srgbClr val="CA302D"/>
    <a:srgbClr val="BA262B"/>
    <a:srgbClr val="A41726"/>
    <a:srgbClr val="900A22"/>
    <a:srgbClr val="810020"/>
    <a:srgbClr val="D42B2B"/>
    <a:srgbClr val="1A1D24"/>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5B958F8-7CF2-413F-8D12-95A3C3993982}" v="212" dt="2020-07-11T12:04:44.471"/>
  </p1510:revLst>
</p1510:revInfo>
</file>

<file path=ppt/tableStyles.xml><?xml version="1.0" encoding="utf-8"?>
<a:tblStyleLst xmlns:a="http://schemas.openxmlformats.org/drawingml/2006/main" def="{839DD9DD-9E6C-4910-8AC0-68ADFF6A6AFC}">
  <a:tblStyle styleId="{839DD9DD-9E6C-4910-8AC0-68ADFF6A6AFC}" styleName="Level up! PowerPoint">
    <a:wholeTbl>
      <a:tcTxStyle>
        <a:fontRef idx="minor">
          <a:scrgbClr r="0" g="0" b="0"/>
        </a:fontRef>
        <a:schemeClr val="tx1"/>
      </a:tcTxStyle>
      <a:tcStyle>
        <a:tcBdr>
          <a:left>
            <a:ln>
              <a:noFill/>
            </a:ln>
          </a:left>
          <a:right>
            <a:ln>
              <a:noFill/>
            </a:ln>
          </a:right>
          <a:top>
            <a:ln>
              <a:noFill/>
            </a:ln>
          </a:top>
          <a:bottom>
            <a:ln w="9525" cap="flat" cmpd="sng" algn="ctr">
              <a:solidFill>
                <a:schemeClr val="accent5"/>
              </a:solidFill>
            </a:ln>
          </a:bottom>
          <a:insideH>
            <a:ln w="9525" cap="flat" cmpd="sng" algn="ctr">
              <a:solidFill>
                <a:schemeClr val="accent5"/>
              </a:solidFill>
            </a:ln>
          </a:insideH>
          <a:insideV>
            <a:ln>
              <a:noFill/>
            </a:ln>
          </a:insideV>
        </a:tcBdr>
        <a:fill>
          <a:noFill/>
        </a:fill>
      </a:tcStyle>
    </a:wholeTbl>
    <a:band1H>
      <a:tcStyle>
        <a:tcBdr/>
        <a:fill>
          <a:noFill/>
        </a:fill>
      </a:tcStyle>
    </a:band1H>
    <a:band2H>
      <a:tcStyle>
        <a:tcBdr/>
      </a:tcStyle>
    </a:band2H>
    <a:band1V>
      <a:tcStyle>
        <a:tcBdr/>
        <a:fill>
          <a:noFill/>
        </a:fill>
      </a:tcStyle>
    </a:band1V>
    <a:lastCol>
      <a:tcTxStyle b="on"/>
      <a:tcStyle>
        <a:tcBdr/>
      </a:tcStyle>
    </a:lastCol>
    <a:firstCol>
      <a:tcTxStyle b="on"/>
      <a:tcStyle>
        <a:tcBdr/>
      </a:tcStyle>
    </a:firstCol>
    <a:lastRow>
      <a:tcTxStyle b="on"/>
      <a:tcStyle>
        <a:tcBdr/>
        <a:fill>
          <a:noFill/>
        </a:fill>
      </a:tcStyle>
    </a:lastRow>
    <a:firstRow>
      <a:tcTxStyle b="on"/>
      <a:tcStyle>
        <a:tcBdr>
          <a:bottom>
            <a:ln w="9525" cap="flat" cmpd="sng" algn="ctr">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6" autoAdjust="0"/>
    <p:restoredTop sz="94660"/>
  </p:normalViewPr>
  <p:slideViewPr>
    <p:cSldViewPr snapToGrid="0" showGuides="1">
      <p:cViewPr>
        <p:scale>
          <a:sx n="50" d="100"/>
          <a:sy n="50" d="100"/>
        </p:scale>
        <p:origin x="2910" y="200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viewProps" Target="viewProps.xml"/><Relationship Id="rId50" Type="http://schemas.microsoft.com/office/2015/10/relationships/revisionInfo" Target="revisionInfo.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tags" Target="tags/tag1.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handoutMaster" Target="handoutMasters/handoutMaster1.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notesMaster" Target="notesMasters/notesMaster1.xml"/><Relationship Id="rId48" Type="http://schemas.openxmlformats.org/officeDocument/2006/relationships/theme" Target="theme/theme1.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presProps" Target="presProps.xml"/><Relationship Id="rId20" Type="http://schemas.openxmlformats.org/officeDocument/2006/relationships/slide" Target="slides/slide15.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E12572B-F973-4732-A453-119EA490170A}" type="datetimeFigureOut">
              <a:rPr lang="en-US" smtClean="0"/>
              <a:t>7/12/2020</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BB83C12-F094-4EDD-ABDC-7BADBDED5742}" type="slidenum">
              <a:rPr lang="en-US" smtClean="0"/>
              <a:t>‹#›</a:t>
            </a:fld>
            <a:endParaRPr lang="en-US" dirty="0"/>
          </a:p>
        </p:txBody>
      </p:sp>
    </p:spTree>
    <p:extLst>
      <p:ext uri="{BB962C8B-B14F-4D97-AF65-F5344CB8AC3E}">
        <p14:creationId xmlns:p14="http://schemas.microsoft.com/office/powerpoint/2010/main" val="91687899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A8927E5-BED3-44D0-9ADF-FA873E1D6DAF}" type="datetimeFigureOut">
              <a:rPr lang="en-US" smtClean="0"/>
              <a:t>7/12/2020</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324DA73-AE27-4433-BD53-3E1DB61918F0}" type="slidenum">
              <a:rPr lang="en-US" smtClean="0"/>
              <a:t>‹#›</a:t>
            </a:fld>
            <a:endParaRPr lang="en-US" dirty="0"/>
          </a:p>
        </p:txBody>
      </p:sp>
    </p:spTree>
    <p:extLst>
      <p:ext uri="{BB962C8B-B14F-4D97-AF65-F5344CB8AC3E}">
        <p14:creationId xmlns:p14="http://schemas.microsoft.com/office/powerpoint/2010/main" val="132988509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p:cNvSpPr>
            <a:spLocks noGrp="1"/>
          </p:cNvSpPr>
          <p:nvPr>
            <p:ph type="body" sz="quarter" idx="10" hasCustomPrompt="1"/>
          </p:nvPr>
        </p:nvSpPr>
        <p:spPr>
          <a:xfrm>
            <a:off x="863600" y="1398588"/>
            <a:ext cx="10749280" cy="1543821"/>
          </a:xfrm>
          <a:prstGeom prst="rect">
            <a:avLst/>
          </a:prstGeom>
        </p:spPr>
        <p:txBody>
          <a:bodyPr wrap="square" lIns="0" tIns="0" rIns="0" bIns="0">
            <a:spAutoFit/>
          </a:bodyPr>
          <a:lstStyle>
            <a:lvl1pPr marL="0" indent="0" fontAlgn="base">
              <a:lnSpc>
                <a:spcPct val="88000"/>
              </a:lnSpc>
              <a:spcBef>
                <a:spcPts val="0"/>
              </a:spcBef>
              <a:spcAft>
                <a:spcPts val="0"/>
              </a:spcAft>
              <a:buFont typeface="Arial" panose="020B0604020202020204" pitchFamily="34" charset="0"/>
              <a:buChar char="​"/>
              <a:defRPr sz="6600" cap="all" baseline="0">
                <a:solidFill>
                  <a:schemeClr val="tx2"/>
                </a:solidFill>
                <a:latin typeface="+mj-lt"/>
                <a:ea typeface="+mj-ea"/>
                <a:sym typeface="+mn-lt"/>
              </a:defRPr>
            </a:lvl1pPr>
            <a:lvl2pPr marL="0" indent="0" fontAlgn="base">
              <a:lnSpc>
                <a:spcPct val="88000"/>
              </a:lnSpc>
              <a:spcBef>
                <a:spcPts val="0"/>
              </a:spcBef>
              <a:spcAft>
                <a:spcPts val="0"/>
              </a:spcAft>
              <a:buFont typeface="Arial" panose="020B0604020202020204" pitchFamily="34" charset="0"/>
              <a:buChar char="​"/>
              <a:defRPr sz="4800" cap="all" baseline="0">
                <a:solidFill>
                  <a:schemeClr val="accent1"/>
                </a:solidFill>
                <a:latin typeface="+mn-lt"/>
                <a:ea typeface="+mj-ea"/>
                <a:sym typeface="+mn-lt"/>
              </a:defRPr>
            </a:lvl2pPr>
            <a:lvl3pPr marL="0" indent="0">
              <a:lnSpc>
                <a:spcPct val="88000"/>
              </a:lnSpc>
              <a:spcBef>
                <a:spcPts val="0"/>
              </a:spcBef>
              <a:spcAft>
                <a:spcPts val="0"/>
              </a:spcAft>
              <a:buFont typeface="Arial" panose="020B0604020202020204" pitchFamily="34" charset="0"/>
              <a:buChar char="​"/>
              <a:defRPr sz="3200" cap="all">
                <a:solidFill>
                  <a:schemeClr val="accent1"/>
                </a:solidFill>
                <a:latin typeface="+mj-lt"/>
                <a:ea typeface="+mj-ea"/>
              </a:defRPr>
            </a:lvl3pPr>
            <a:lvl4pPr marL="0" indent="0">
              <a:lnSpc>
                <a:spcPct val="88000"/>
              </a:lnSpc>
              <a:spcBef>
                <a:spcPts val="0"/>
              </a:spcBef>
              <a:spcAft>
                <a:spcPts val="0"/>
              </a:spcAft>
              <a:buFont typeface="Arial" panose="020B0604020202020204" pitchFamily="34" charset="0"/>
              <a:buChar char="​"/>
              <a:defRPr sz="3200" cap="all">
                <a:solidFill>
                  <a:schemeClr val="accent1"/>
                </a:solidFill>
                <a:latin typeface="+mj-lt"/>
                <a:ea typeface="+mj-ea"/>
              </a:defRPr>
            </a:lvl4pPr>
            <a:lvl5pPr marL="0" indent="0">
              <a:lnSpc>
                <a:spcPct val="88000"/>
              </a:lnSpc>
              <a:spcBef>
                <a:spcPts val="0"/>
              </a:spcBef>
              <a:spcAft>
                <a:spcPts val="0"/>
              </a:spcAft>
              <a:buFont typeface="Arial" panose="020B0604020202020204" pitchFamily="34" charset="0"/>
              <a:buChar char="​"/>
              <a:defRPr sz="3200" cap="all">
                <a:solidFill>
                  <a:schemeClr val="accent1"/>
                </a:solidFill>
                <a:latin typeface="+mj-lt"/>
                <a:ea typeface="+mj-ea"/>
              </a:defRPr>
            </a:lvl5pPr>
            <a:lvl6pPr marL="0" indent="0">
              <a:lnSpc>
                <a:spcPct val="88000"/>
              </a:lnSpc>
              <a:spcBef>
                <a:spcPts val="0"/>
              </a:spcBef>
              <a:spcAft>
                <a:spcPts val="0"/>
              </a:spcAft>
              <a:buFont typeface="Arial" panose="020B0604020202020204" pitchFamily="34" charset="0"/>
              <a:buChar char="​"/>
              <a:defRPr sz="3200" cap="all">
                <a:solidFill>
                  <a:schemeClr val="accent1"/>
                </a:solidFill>
                <a:latin typeface="+mj-lt"/>
                <a:ea typeface="+mj-ea"/>
              </a:defRPr>
            </a:lvl6pPr>
            <a:lvl7pPr marL="0" indent="0">
              <a:lnSpc>
                <a:spcPct val="88000"/>
              </a:lnSpc>
              <a:spcBef>
                <a:spcPts val="0"/>
              </a:spcBef>
              <a:spcAft>
                <a:spcPts val="0"/>
              </a:spcAft>
              <a:buFont typeface="Arial" panose="020B0604020202020204" pitchFamily="34" charset="0"/>
              <a:buChar char="​"/>
              <a:defRPr sz="3200" cap="all">
                <a:solidFill>
                  <a:schemeClr val="accent1"/>
                </a:solidFill>
                <a:latin typeface="+mj-lt"/>
                <a:ea typeface="+mj-ea"/>
              </a:defRPr>
            </a:lvl7pPr>
            <a:lvl8pPr marL="0" indent="0">
              <a:lnSpc>
                <a:spcPct val="88000"/>
              </a:lnSpc>
              <a:spcBef>
                <a:spcPts val="0"/>
              </a:spcBef>
              <a:spcAft>
                <a:spcPts val="0"/>
              </a:spcAft>
              <a:buFont typeface="Arial" panose="020B0604020202020204" pitchFamily="34" charset="0"/>
              <a:buChar char="​"/>
              <a:defRPr sz="3200" cap="all">
                <a:solidFill>
                  <a:schemeClr val="accent1"/>
                </a:solidFill>
                <a:latin typeface="+mj-lt"/>
                <a:ea typeface="+mj-ea"/>
              </a:defRPr>
            </a:lvl8pPr>
            <a:lvl9pPr marL="0" indent="0">
              <a:lnSpc>
                <a:spcPct val="88000"/>
              </a:lnSpc>
              <a:spcBef>
                <a:spcPts val="0"/>
              </a:spcBef>
              <a:spcAft>
                <a:spcPts val="0"/>
              </a:spcAft>
              <a:buFont typeface="Arial" panose="020B0604020202020204" pitchFamily="34" charset="0"/>
              <a:buChar char="​"/>
              <a:defRPr sz="3200" cap="all">
                <a:solidFill>
                  <a:schemeClr val="accent1"/>
                </a:solidFill>
                <a:latin typeface="+mj-lt"/>
                <a:ea typeface="+mj-ea"/>
              </a:defRPr>
            </a:lvl9pPr>
          </a:lstStyle>
          <a:p>
            <a:pPr lvl="0"/>
            <a:r>
              <a:rPr lang="en-US" dirty="0"/>
              <a:t>Title</a:t>
            </a:r>
          </a:p>
          <a:p>
            <a:pPr lvl="1"/>
            <a:r>
              <a:rPr lang="en-US" dirty="0"/>
              <a:t>Subtitle</a:t>
            </a:r>
          </a:p>
        </p:txBody>
      </p:sp>
      <p:sp>
        <p:nvSpPr>
          <p:cNvPr id="3" name="Date"/>
          <p:cNvSpPr>
            <a:spLocks noGrp="1"/>
          </p:cNvSpPr>
          <p:nvPr>
            <p:ph type="body" sz="quarter" idx="11" hasCustomPrompt="1"/>
          </p:nvPr>
        </p:nvSpPr>
        <p:spPr>
          <a:xfrm>
            <a:off x="863600" y="3204845"/>
            <a:ext cx="6309360" cy="307777"/>
          </a:xfrm>
          <a:prstGeom prst="rect">
            <a:avLst/>
          </a:prstGeom>
        </p:spPr>
        <p:txBody>
          <a:bodyPr lIns="0" tIns="0" rIns="0" bIns="0">
            <a:spAutoFit/>
          </a:bodyPr>
          <a:lstStyle>
            <a:lvl1pPr marL="0" indent="0">
              <a:spcBef>
                <a:spcPts val="0"/>
              </a:spcBef>
              <a:spcAft>
                <a:spcPts val="0"/>
              </a:spcAft>
              <a:buNone/>
              <a:defRPr sz="2000" cap="all" baseline="0">
                <a:solidFill>
                  <a:schemeClr val="accent1"/>
                </a:solidFill>
                <a:latin typeface="+mj-lt"/>
                <a:ea typeface="+mj-ea"/>
                <a:sym typeface="+mn-lt"/>
              </a:defRPr>
            </a:lvl1pPr>
            <a:lvl2pPr marL="0" indent="0">
              <a:spcBef>
                <a:spcPts val="0"/>
              </a:spcBef>
              <a:spcAft>
                <a:spcPts val="0"/>
              </a:spcAft>
              <a:buNone/>
              <a:defRPr sz="2000" cap="all">
                <a:solidFill>
                  <a:schemeClr val="accent1"/>
                </a:solidFill>
                <a:latin typeface="+mj-lt"/>
                <a:ea typeface="+mj-ea"/>
                <a:sym typeface="+mn-lt"/>
              </a:defRPr>
            </a:lvl2pPr>
            <a:lvl3pPr marL="0" indent="0">
              <a:spcBef>
                <a:spcPts val="0"/>
              </a:spcBef>
              <a:spcAft>
                <a:spcPts val="0"/>
              </a:spcAft>
              <a:buNone/>
              <a:defRPr sz="2000" cap="all">
                <a:solidFill>
                  <a:schemeClr val="accent1"/>
                </a:solidFill>
                <a:latin typeface="+mj-lt"/>
                <a:ea typeface="+mj-ea"/>
                <a:sym typeface="+mn-lt"/>
              </a:defRPr>
            </a:lvl3pPr>
            <a:lvl4pPr marL="0" indent="0">
              <a:spcBef>
                <a:spcPts val="0"/>
              </a:spcBef>
              <a:spcAft>
                <a:spcPts val="0"/>
              </a:spcAft>
              <a:buNone/>
              <a:defRPr sz="2000" cap="all">
                <a:solidFill>
                  <a:schemeClr val="accent1"/>
                </a:solidFill>
                <a:latin typeface="+mj-lt"/>
                <a:ea typeface="+mj-ea"/>
                <a:sym typeface="+mn-lt"/>
              </a:defRPr>
            </a:lvl4pPr>
            <a:lvl5pPr marL="0" indent="0">
              <a:spcBef>
                <a:spcPts val="0"/>
              </a:spcBef>
              <a:spcAft>
                <a:spcPts val="0"/>
              </a:spcAft>
              <a:buNone/>
              <a:defRPr sz="2000" cap="all">
                <a:solidFill>
                  <a:schemeClr val="accent1"/>
                </a:solidFill>
                <a:latin typeface="+mj-lt"/>
                <a:ea typeface="+mj-ea"/>
                <a:sym typeface="+mn-lt"/>
              </a:defRPr>
            </a:lvl5pPr>
            <a:lvl6pPr marL="0" indent="0">
              <a:spcBef>
                <a:spcPts val="0"/>
              </a:spcBef>
              <a:spcAft>
                <a:spcPts val="0"/>
              </a:spcAft>
              <a:buNone/>
              <a:defRPr sz="2000" cap="all">
                <a:solidFill>
                  <a:schemeClr val="accent1"/>
                </a:solidFill>
                <a:latin typeface="+mj-lt"/>
                <a:ea typeface="+mj-ea"/>
                <a:sym typeface="+mn-lt"/>
              </a:defRPr>
            </a:lvl6pPr>
            <a:lvl7pPr marL="0" indent="0">
              <a:spcBef>
                <a:spcPts val="0"/>
              </a:spcBef>
              <a:spcAft>
                <a:spcPts val="0"/>
              </a:spcAft>
              <a:buNone/>
              <a:defRPr sz="2000" cap="all">
                <a:solidFill>
                  <a:schemeClr val="accent1"/>
                </a:solidFill>
                <a:latin typeface="+mj-lt"/>
                <a:ea typeface="+mj-ea"/>
                <a:sym typeface="+mn-lt"/>
              </a:defRPr>
            </a:lvl7pPr>
            <a:lvl8pPr marL="0" indent="0">
              <a:spcBef>
                <a:spcPts val="0"/>
              </a:spcBef>
              <a:spcAft>
                <a:spcPts val="0"/>
              </a:spcAft>
              <a:buNone/>
              <a:defRPr sz="2000" cap="all">
                <a:solidFill>
                  <a:schemeClr val="accent1"/>
                </a:solidFill>
                <a:latin typeface="+mj-lt"/>
                <a:ea typeface="+mj-ea"/>
                <a:sym typeface="+mn-lt"/>
              </a:defRPr>
            </a:lvl8pPr>
            <a:lvl9pPr marL="0" indent="0">
              <a:spcBef>
                <a:spcPts val="0"/>
              </a:spcBef>
              <a:spcAft>
                <a:spcPts val="0"/>
              </a:spcAft>
              <a:buNone/>
              <a:defRPr sz="2000" cap="all">
                <a:solidFill>
                  <a:schemeClr val="accent1"/>
                </a:solidFill>
                <a:latin typeface="+mj-lt"/>
                <a:ea typeface="+mj-ea"/>
                <a:sym typeface="+mn-lt"/>
              </a:defRPr>
            </a:lvl9pPr>
          </a:lstStyle>
          <a:p>
            <a:pPr lvl="0"/>
            <a:r>
              <a:rPr lang="en-US" dirty="0"/>
              <a:t>Date</a:t>
            </a:r>
          </a:p>
        </p:txBody>
      </p:sp>
    </p:spTree>
    <p:extLst>
      <p:ext uri="{BB962C8B-B14F-4D97-AF65-F5344CB8AC3E}">
        <p14:creationId xmlns:p14="http://schemas.microsoft.com/office/powerpoint/2010/main" val="31402887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p:cNvSpPr>
            <a:spLocks noGrp="1"/>
          </p:cNvSpPr>
          <p:nvPr>
            <p:ph type="title"/>
          </p:nvPr>
        </p:nvSpPr>
        <p:spPr>
          <a:xfrm>
            <a:off x="868680" y="384048"/>
            <a:ext cx="10744200" cy="866648"/>
          </a:xfrm>
          <a:prstGeom prst="rect">
            <a:avLst/>
          </a:prstGeom>
        </p:spPr>
        <p:txBody>
          <a:bodyPr/>
          <a:lstStyle/>
          <a:p>
            <a:r>
              <a:rPr lang="en-US"/>
              <a:t>Click to edit Master title style</a:t>
            </a:r>
            <a:endParaRPr lang="en-GB"/>
          </a:p>
        </p:txBody>
      </p:sp>
    </p:spTree>
    <p:extLst>
      <p:ext uri="{BB962C8B-B14F-4D97-AF65-F5344CB8AC3E}">
        <p14:creationId xmlns:p14="http://schemas.microsoft.com/office/powerpoint/2010/main" val="12022393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p:cNvSpPr>
            <a:spLocks noGrp="1"/>
          </p:cNvSpPr>
          <p:nvPr>
            <p:ph type="title"/>
          </p:nvPr>
        </p:nvSpPr>
        <p:spPr>
          <a:xfrm>
            <a:off x="868680" y="384048"/>
            <a:ext cx="10744200" cy="866648"/>
          </a:xfrm>
          <a:prstGeom prst="rect">
            <a:avLst/>
          </a:prstGeom>
        </p:spPr>
        <p:txBody>
          <a:bodyPr/>
          <a:lstStyle/>
          <a:p>
            <a:r>
              <a:rPr lang="en-US"/>
              <a:t>Click to edit Master title style</a:t>
            </a:r>
            <a:endParaRPr lang="en-GB" dirty="0"/>
          </a:p>
        </p:txBody>
      </p:sp>
      <p:sp>
        <p:nvSpPr>
          <p:cNvPr id="3" name="Content"/>
          <p:cNvSpPr>
            <a:spLocks noGrp="1"/>
          </p:cNvSpPr>
          <p:nvPr>
            <p:ph idx="11"/>
          </p:nvPr>
        </p:nvSpPr>
        <p:spPr>
          <a:xfrm>
            <a:off x="868680" y="1399032"/>
            <a:ext cx="10744200" cy="492861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53733663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ig Statement">
    <p:spTree>
      <p:nvGrpSpPr>
        <p:cNvPr id="1" name=""/>
        <p:cNvGrpSpPr/>
        <p:nvPr/>
      </p:nvGrpSpPr>
      <p:grpSpPr>
        <a:xfrm>
          <a:off x="0" y="0"/>
          <a:ext cx="0" cy="0"/>
          <a:chOff x="0" y="0"/>
          <a:chExt cx="0" cy="0"/>
        </a:xfrm>
      </p:grpSpPr>
      <p:sp>
        <p:nvSpPr>
          <p:cNvPr id="3" name="Content"/>
          <p:cNvSpPr>
            <a:spLocks noGrp="1"/>
          </p:cNvSpPr>
          <p:nvPr>
            <p:ph idx="11"/>
          </p:nvPr>
        </p:nvSpPr>
        <p:spPr>
          <a:xfrm>
            <a:off x="868680" y="2488320"/>
            <a:ext cx="10744200" cy="3840480"/>
          </a:xfrm>
          <a:prstGeom prst="rect">
            <a:avLst/>
          </a:prstGeom>
        </p:spPr>
        <p:txBody>
          <a:bodyPr/>
          <a:lstStyle>
            <a:lvl1pPr marL="0" indent="0">
              <a:defRPr sz="4000" dirty="0" smtClean="0"/>
            </a:lvl1pPr>
            <a:lvl2pPr marL="0" indent="0">
              <a:defRPr sz="3200" dirty="0" smtClean="0"/>
            </a:lvl2pPr>
            <a:lvl3pPr marL="324000" indent="-324000">
              <a:defRPr sz="3200" dirty="0" smtClean="0"/>
            </a:lvl3pPr>
            <a:lvl4pPr marL="648000" indent="-324000">
              <a:defRPr sz="3200" dirty="0" smtClean="0"/>
            </a:lvl4pPr>
            <a:lvl5pPr marL="972000" indent="-324000">
              <a:defRPr sz="3200" dirty="0" smtClean="0"/>
            </a:lvl5pPr>
            <a:lvl6pPr marL="1296000" indent="-324000">
              <a:defRPr sz="3200" dirty="0" smtClean="0"/>
            </a:lvl6pPr>
            <a:lvl7pPr marL="1620000" indent="-324000">
              <a:defRPr sz="3200" dirty="0" smtClean="0"/>
            </a:lvl7pPr>
            <a:lvl8pPr marL="1944000" indent="-324000">
              <a:defRPr sz="3200" dirty="0" smtClean="0"/>
            </a:lvl8pPr>
            <a:lvl9pPr marL="2268000" indent="-324000">
              <a:defRPr sz="3200" dirty="0" smtClean="0"/>
            </a:lvl9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52434476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 columns 1/3 split">
    <p:spTree>
      <p:nvGrpSpPr>
        <p:cNvPr id="1" name=""/>
        <p:cNvGrpSpPr/>
        <p:nvPr/>
      </p:nvGrpSpPr>
      <p:grpSpPr>
        <a:xfrm>
          <a:off x="0" y="0"/>
          <a:ext cx="0" cy="0"/>
          <a:chOff x="0" y="0"/>
          <a:chExt cx="0" cy="0"/>
        </a:xfrm>
      </p:grpSpPr>
      <p:sp>
        <p:nvSpPr>
          <p:cNvPr id="4" name="Content Left"/>
          <p:cNvSpPr>
            <a:spLocks noGrp="1"/>
          </p:cNvSpPr>
          <p:nvPr>
            <p:ph idx="11"/>
          </p:nvPr>
        </p:nvSpPr>
        <p:spPr>
          <a:xfrm>
            <a:off x="868680" y="384048"/>
            <a:ext cx="3246120" cy="5944752"/>
          </a:xfrm>
          <a:prstGeom prst="rect">
            <a:avLst/>
          </a:prstGeom>
        </p:spPr>
        <p:txBody>
          <a:bodyPr>
            <a:noAutofit/>
          </a:bodyPr>
          <a:lstStyle>
            <a:lvl1pPr>
              <a:defRPr sz="2000" dirty="0" smtClean="0"/>
            </a:lvl1pPr>
            <a:lvl2pPr>
              <a:defRPr sz="2000" dirty="0" smtClean="0"/>
            </a:lvl2pPr>
            <a:lvl3pPr>
              <a:defRPr sz="2000" dirty="0" smtClean="0"/>
            </a:lvl3pPr>
            <a:lvl4pPr>
              <a:defRPr sz="2000" dirty="0" smtClean="0"/>
            </a:lvl4pPr>
            <a:lvl5pPr>
              <a:defRPr sz="2000" dirty="0" smtClean="0"/>
            </a:lvl5pPr>
            <a:lvl6pPr>
              <a:defRPr sz="2000" dirty="0" smtClean="0"/>
            </a:lvl6pPr>
            <a:lvl7pPr>
              <a:defRPr sz="2000" dirty="0" smtClean="0"/>
            </a:lvl7pPr>
            <a:lvl8pPr>
              <a:defRPr sz="2000" dirty="0" smtClean="0"/>
            </a:lvl8pPr>
            <a:lvl9pPr>
              <a:defRPr sz="2000" dirty="0" smtClean="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Content Right"/>
          <p:cNvSpPr>
            <a:spLocks noGrp="1"/>
          </p:cNvSpPr>
          <p:nvPr>
            <p:ph idx="12"/>
          </p:nvPr>
        </p:nvSpPr>
        <p:spPr>
          <a:xfrm>
            <a:off x="4343400" y="384047"/>
            <a:ext cx="7269480" cy="5944752"/>
          </a:xfrm>
          <a:prstGeom prst="rect">
            <a:avLst/>
          </a:prstGeom>
        </p:spPr>
        <p:txBody>
          <a:bodyPr>
            <a:noAutofit/>
          </a:bodyPr>
          <a:lstStyle>
            <a:lvl1pPr>
              <a:defRPr sz="2000" dirty="0" smtClean="0"/>
            </a:lvl1pPr>
            <a:lvl2pPr>
              <a:defRPr sz="2000" dirty="0" smtClean="0"/>
            </a:lvl2pPr>
            <a:lvl3pPr>
              <a:defRPr sz="2000" dirty="0" smtClean="0"/>
            </a:lvl3pPr>
            <a:lvl4pPr>
              <a:defRPr sz="2000" dirty="0" smtClean="0"/>
            </a:lvl4pPr>
            <a:lvl5pPr>
              <a:defRPr sz="2000" dirty="0" smtClean="0"/>
            </a:lvl5pPr>
            <a:lvl6pPr>
              <a:defRPr sz="2000" dirty="0" smtClean="0"/>
            </a:lvl6pPr>
            <a:lvl7pPr>
              <a:defRPr sz="2000" dirty="0" smtClean="0"/>
            </a:lvl7pPr>
            <a:lvl8pPr>
              <a:defRPr sz="2000" dirty="0" smtClean="0"/>
            </a:lvl8pPr>
            <a:lvl9pPr>
              <a:defRPr sz="2000" dirty="0" smtClean="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72302292"/>
      </p:ext>
    </p:extLst>
  </p:cSld>
  <p:clrMapOvr>
    <a:masterClrMapping/>
  </p:clrMapOvr>
  <p:extLst>
    <p:ext uri="{DCECCB84-F9BA-43D5-87BE-67443E8EF086}">
      <p15:sldGuideLst xmlns:p15="http://schemas.microsoft.com/office/powerpoint/2012/main">
        <p15:guide id="2" pos="2592" userDrawn="1">
          <p15:clr>
            <a:srgbClr val="547EBF"/>
          </p15:clr>
        </p15:guide>
        <p15:guide id="4" pos="2736" userDrawn="1">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2 columns">
    <p:spTree>
      <p:nvGrpSpPr>
        <p:cNvPr id="1" name=""/>
        <p:cNvGrpSpPr/>
        <p:nvPr/>
      </p:nvGrpSpPr>
      <p:grpSpPr>
        <a:xfrm>
          <a:off x="0" y="0"/>
          <a:ext cx="0" cy="0"/>
          <a:chOff x="0" y="0"/>
          <a:chExt cx="0" cy="0"/>
        </a:xfrm>
      </p:grpSpPr>
      <p:sp>
        <p:nvSpPr>
          <p:cNvPr id="2" name="Title"/>
          <p:cNvSpPr>
            <a:spLocks noGrp="1"/>
          </p:cNvSpPr>
          <p:nvPr>
            <p:ph type="title"/>
          </p:nvPr>
        </p:nvSpPr>
        <p:spPr>
          <a:xfrm>
            <a:off x="868680" y="384048"/>
            <a:ext cx="10744200" cy="866648"/>
          </a:xfrm>
          <a:prstGeom prst="rect">
            <a:avLst/>
          </a:prstGeom>
        </p:spPr>
        <p:txBody>
          <a:bodyPr/>
          <a:lstStyle/>
          <a:p>
            <a:r>
              <a:rPr lang="en-US"/>
              <a:t>Click to edit Master title style</a:t>
            </a:r>
            <a:endParaRPr lang="en-GB"/>
          </a:p>
        </p:txBody>
      </p:sp>
      <p:sp>
        <p:nvSpPr>
          <p:cNvPr id="3" name="Content Left"/>
          <p:cNvSpPr>
            <a:spLocks noGrp="1"/>
          </p:cNvSpPr>
          <p:nvPr>
            <p:ph idx="11"/>
          </p:nvPr>
        </p:nvSpPr>
        <p:spPr>
          <a:xfrm>
            <a:off x="868680" y="1399032"/>
            <a:ext cx="5029200" cy="4928616"/>
          </a:xfrm>
          <a:prstGeom prst="rect">
            <a:avLst/>
          </a:prstGeom>
        </p:spPr>
        <p:txBody>
          <a:bodyPr>
            <a:noAutofit/>
          </a:bodyPr>
          <a:lstStyle>
            <a:lvl1pPr>
              <a:defRPr sz="2000" dirty="0" smtClean="0"/>
            </a:lvl1pPr>
            <a:lvl2pPr>
              <a:defRPr sz="2000" dirty="0" smtClean="0"/>
            </a:lvl2pPr>
            <a:lvl3pPr>
              <a:defRPr sz="2000" dirty="0" smtClean="0"/>
            </a:lvl3pPr>
            <a:lvl4pPr>
              <a:defRPr sz="2000" dirty="0" smtClean="0"/>
            </a:lvl4pPr>
            <a:lvl5pPr>
              <a:defRPr sz="2000" dirty="0" smtClean="0"/>
            </a:lvl5pPr>
            <a:lvl6pPr>
              <a:defRPr sz="2000" dirty="0" smtClean="0"/>
            </a:lvl6pPr>
            <a:lvl7pPr>
              <a:defRPr sz="2000" dirty="0" smtClean="0"/>
            </a:lvl7pPr>
            <a:lvl8pPr>
              <a:defRPr sz="2000" dirty="0" smtClean="0"/>
            </a:lvl8pPr>
            <a:lvl9pPr>
              <a:defRPr sz="2000" dirty="0" smtClean="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Right"/>
          <p:cNvSpPr>
            <a:spLocks noGrp="1"/>
          </p:cNvSpPr>
          <p:nvPr>
            <p:ph idx="12"/>
          </p:nvPr>
        </p:nvSpPr>
        <p:spPr>
          <a:xfrm>
            <a:off x="6583680" y="1399032"/>
            <a:ext cx="5029200" cy="4928616"/>
          </a:xfrm>
          <a:prstGeom prst="rect">
            <a:avLst/>
          </a:prstGeom>
        </p:spPr>
        <p:txBody>
          <a:bodyPr>
            <a:noAutofit/>
          </a:bodyPr>
          <a:lstStyle>
            <a:lvl1pPr>
              <a:defRPr sz="2000" dirty="0" smtClean="0"/>
            </a:lvl1pPr>
            <a:lvl2pPr>
              <a:defRPr sz="2000" dirty="0" smtClean="0"/>
            </a:lvl2pPr>
            <a:lvl3pPr>
              <a:defRPr sz="2000" dirty="0" smtClean="0"/>
            </a:lvl3pPr>
            <a:lvl4pPr>
              <a:defRPr sz="2000" dirty="0" smtClean="0"/>
            </a:lvl4pPr>
            <a:lvl5pPr>
              <a:defRPr sz="2000" dirty="0" smtClean="0"/>
            </a:lvl5pPr>
            <a:lvl6pPr>
              <a:defRPr sz="2000" dirty="0" smtClean="0"/>
            </a:lvl6pPr>
            <a:lvl7pPr>
              <a:defRPr sz="2000" dirty="0" smtClean="0"/>
            </a:lvl7pPr>
            <a:lvl8pPr>
              <a:defRPr sz="2000" dirty="0" smtClean="0"/>
            </a:lvl8pPr>
            <a:lvl9pPr>
              <a:defRPr sz="2000" dirty="0" smtClean="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223809906"/>
      </p:ext>
    </p:extLst>
  </p:cSld>
  <p:clrMapOvr>
    <a:masterClrMapping/>
  </p:clrMapOvr>
  <p:extLst>
    <p:ext uri="{DCECCB84-F9BA-43D5-87BE-67443E8EF086}">
      <p15:sldGuideLst xmlns:p15="http://schemas.microsoft.com/office/powerpoint/2012/main">
        <p15:guide id="1" pos="3715" userDrawn="1">
          <p15:clr>
            <a:srgbClr val="547EBF"/>
          </p15:clr>
        </p15:guide>
        <p15:guide id="2" pos="4147" userDrawn="1">
          <p15:clr>
            <a:srgbClr val="547EB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109421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7BED9D67-6A1B-47F6-9A78-70228FCF05EC}"/>
              </a:ext>
            </a:extLst>
          </p:cNvPr>
          <p:cNvGraphicFramePr>
            <a:graphicFrameLocks noChangeAspect="1"/>
          </p:cNvGraphicFramePr>
          <p:nvPr userDrawn="1">
            <p:custDataLst>
              <p:tags r:id="rId10"/>
            </p:custDataLst>
            <p:extLst>
              <p:ext uri="{D42A27DB-BD31-4B8C-83A1-F6EECF244321}">
                <p14:modId xmlns:p14="http://schemas.microsoft.com/office/powerpoint/2010/main" val="3467519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8" name="think-cell Slide" r:id="rId12" imgW="360" imgH="360" progId="TCLayout.ActiveDocument.1">
                  <p:embed/>
                </p:oleObj>
              </mc:Choice>
              <mc:Fallback>
                <p:oleObj name="think-cell Slide" r:id="rId12" imgW="360" imgH="360" progId="TCLayout.ActiveDocument.1">
                  <p:embed/>
                  <p:pic>
                    <p:nvPicPr>
                      <p:cNvPr id="9" name="Object 8" hidden="1">
                        <a:extLst>
                          <a:ext uri="{FF2B5EF4-FFF2-40B4-BE49-F238E27FC236}">
                            <a16:creationId xmlns:a16="http://schemas.microsoft.com/office/drawing/2014/main" id="{7BED9D67-6A1B-47F6-9A78-70228FCF05EC}"/>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34B6F8EE-726C-4FC7-8283-2869321F7941}"/>
              </a:ext>
            </a:extLst>
          </p:cNvPr>
          <p:cNvSpPr/>
          <p:nvPr userDrawn="1">
            <p:custDataLst>
              <p:tags r:id="rId11"/>
            </p:custDataLst>
          </p:nvPr>
        </p:nvSpPr>
        <p:spPr>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kern="0" baseline="0" dirty="0" err="1">
              <a:solidFill>
                <a:schemeClr val="tx1"/>
              </a:solidFill>
              <a:latin typeface="Segoe UI Black" panose="020B0A02040204020203" pitchFamily="34" charset="0"/>
              <a:ea typeface="+mj-ea"/>
              <a:cs typeface="+mj-cs"/>
              <a:sym typeface="Segoe UI Black" panose="020B0A02040204020203" pitchFamily="34" charset="0"/>
            </a:endParaRPr>
          </a:p>
        </p:txBody>
      </p:sp>
      <p:sp>
        <p:nvSpPr>
          <p:cNvPr id="2" name="Title"/>
          <p:cNvSpPr>
            <a:spLocks noGrp="1"/>
          </p:cNvSpPr>
          <p:nvPr>
            <p:ph type="title"/>
          </p:nvPr>
        </p:nvSpPr>
        <p:spPr>
          <a:xfrm>
            <a:off x="868680" y="384048"/>
            <a:ext cx="10744200" cy="866648"/>
          </a:xfrm>
          <a:prstGeom prst="rect">
            <a:avLst/>
          </a:prstGeom>
        </p:spPr>
        <p:txBody>
          <a:bodyPr vert="horz" lIns="0" tIns="0" rIns="0" bIns="0" rtlCol="0" anchorCtr="0">
            <a:noAutofit/>
          </a:bodyPr>
          <a:lstStyle/>
          <a:p>
            <a:r>
              <a:rPr lang="en-US" dirty="0"/>
              <a:t>Click to edit Master title style</a:t>
            </a:r>
          </a:p>
        </p:txBody>
      </p:sp>
      <p:sp>
        <p:nvSpPr>
          <p:cNvPr id="3" name="BodyText"/>
          <p:cNvSpPr>
            <a:spLocks noGrp="1"/>
          </p:cNvSpPr>
          <p:nvPr>
            <p:ph type="body" idx="1"/>
          </p:nvPr>
        </p:nvSpPr>
        <p:spPr>
          <a:xfrm>
            <a:off x="868680" y="1399032"/>
            <a:ext cx="10744200" cy="4928616"/>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hidden="1"/>
          <p:cNvSpPr>
            <a:spLocks noGrp="1"/>
          </p:cNvSpPr>
          <p:nvPr>
            <p:ph type="dt" sz="half" idx="2"/>
          </p:nvPr>
        </p:nvSpPr>
        <p:spPr>
          <a:xfrm>
            <a:off x="457200" y="6864350"/>
            <a:ext cx="314325" cy="98425"/>
          </a:xfrm>
          <a:prstGeom prst="rect">
            <a:avLst/>
          </a:prstGeom>
        </p:spPr>
        <p:txBody>
          <a:bodyPr vert="horz" lIns="0" tIns="0" rIns="0" bIns="0" rtlCol="0" anchor="ctr"/>
          <a:lstStyle>
            <a:lvl1pPr algn="l">
              <a:defRPr sz="300">
                <a:solidFill>
                  <a:schemeClr val="accent4"/>
                </a:solidFill>
              </a:defRPr>
            </a:lvl1pPr>
          </a:lstStyle>
          <a:p>
            <a:fld id="{7ECE2914-4E17-487A-A4E5-C87617449E51}" type="datetimeFigureOut">
              <a:rPr lang="en-US" smtClean="0"/>
              <a:pPr/>
              <a:t>7/12/2020</a:t>
            </a:fld>
            <a:endParaRPr lang="en-US" dirty="0"/>
          </a:p>
        </p:txBody>
      </p:sp>
      <p:sp>
        <p:nvSpPr>
          <p:cNvPr id="5" name="Footer Placeholder" hidden="1"/>
          <p:cNvSpPr>
            <a:spLocks noGrp="1"/>
          </p:cNvSpPr>
          <p:nvPr>
            <p:ph type="ftr" sz="quarter" idx="3"/>
          </p:nvPr>
        </p:nvSpPr>
        <p:spPr>
          <a:xfrm>
            <a:off x="771525" y="6864350"/>
            <a:ext cx="533400" cy="98425"/>
          </a:xfrm>
          <a:prstGeom prst="rect">
            <a:avLst/>
          </a:prstGeom>
        </p:spPr>
        <p:txBody>
          <a:bodyPr vert="horz" lIns="0" tIns="0" rIns="0" bIns="0" rtlCol="0" anchor="ctr"/>
          <a:lstStyle>
            <a:lvl1pPr algn="ctr">
              <a:defRPr sz="300">
                <a:solidFill>
                  <a:schemeClr val="accent4"/>
                </a:solidFill>
              </a:defRPr>
            </a:lvl1pPr>
          </a:lstStyle>
          <a:p>
            <a:endParaRPr lang="en-US" dirty="0"/>
          </a:p>
        </p:txBody>
      </p:sp>
      <p:sp>
        <p:nvSpPr>
          <p:cNvPr id="6" name="Slide Number Placeholder" hidden="1"/>
          <p:cNvSpPr>
            <a:spLocks noGrp="1"/>
          </p:cNvSpPr>
          <p:nvPr>
            <p:ph type="sldNum" sz="quarter" idx="4"/>
          </p:nvPr>
        </p:nvSpPr>
        <p:spPr>
          <a:xfrm>
            <a:off x="1304925" y="6864350"/>
            <a:ext cx="152400" cy="98425"/>
          </a:xfrm>
          <a:prstGeom prst="rect">
            <a:avLst/>
          </a:prstGeom>
        </p:spPr>
        <p:txBody>
          <a:bodyPr vert="horz" lIns="0" tIns="0" rIns="0" bIns="0" rtlCol="0" anchor="ctr"/>
          <a:lstStyle>
            <a:lvl1pPr algn="r">
              <a:defRPr sz="300">
                <a:solidFill>
                  <a:schemeClr val="accent4"/>
                </a:solidFill>
              </a:defRPr>
            </a:lvl1pPr>
          </a:lstStyle>
          <a:p>
            <a:fld id="{8F63CC74-D785-4C96-8C6E-EB177D1B9A1D}" type="slidenum">
              <a:rPr lang="en-US" smtClean="0"/>
              <a:pPr/>
              <a:t>‹#›</a:t>
            </a:fld>
            <a:endParaRPr lang="en-US" dirty="0"/>
          </a:p>
        </p:txBody>
      </p:sp>
    </p:spTree>
    <p:extLst>
      <p:ext uri="{BB962C8B-B14F-4D97-AF65-F5344CB8AC3E}">
        <p14:creationId xmlns:p14="http://schemas.microsoft.com/office/powerpoint/2010/main" val="2764657770"/>
      </p:ext>
    </p:extLst>
  </p:cSld>
  <p:clrMap bg1="dk1" tx1="lt1" bg2="dk2" tx2="lt2" accent1="accent1" accent2="accent2" accent3="accent3" accent4="accent4" accent5="accent5" accent6="accent6" hlink="hlink" folHlink="folHlink"/>
  <p:sldLayoutIdLst>
    <p:sldLayoutId id="2147483649" r:id="rId1"/>
    <p:sldLayoutId id="2147483654" r:id="rId2"/>
    <p:sldLayoutId id="2147483650" r:id="rId3"/>
    <p:sldLayoutId id="2147483676" r:id="rId4"/>
    <p:sldLayoutId id="2147483658" r:id="rId5"/>
    <p:sldLayoutId id="2147483652" r:id="rId6"/>
    <p:sldLayoutId id="2147483656" r:id="rId7"/>
  </p:sldLayoutIdLst>
  <p:txStyles>
    <p:titleStyle>
      <a:lvl1pPr algn="l" defTabSz="914400" rtl="0" eaLnBrk="1" latinLnBrk="0" hangingPunct="1">
        <a:lnSpc>
          <a:spcPct val="88000"/>
        </a:lnSpc>
        <a:spcBef>
          <a:spcPct val="0"/>
        </a:spcBef>
        <a:buNone/>
        <a:defRPr sz="3200" kern="0">
          <a:solidFill>
            <a:schemeClr val="tx2"/>
          </a:solidFill>
          <a:latin typeface="+mj-lt"/>
          <a:ea typeface="+mj-ea"/>
          <a:cs typeface="+mj-cs"/>
        </a:defRPr>
      </a:lvl1pPr>
    </p:titleStyle>
    <p:bodyStyle>
      <a:lvl1pPr marL="0" indent="0" algn="l" defTabSz="914400" rtl="0" eaLnBrk="1" latinLnBrk="0" hangingPunct="1">
        <a:spcBef>
          <a:spcPts val="700"/>
        </a:spcBef>
        <a:buFont typeface="Arial" panose="020B0604020202020204" pitchFamily="34" charset="0"/>
        <a:buChar char="​"/>
        <a:defRPr sz="2400" kern="0">
          <a:solidFill>
            <a:schemeClr val="accent1"/>
          </a:solidFill>
          <a:latin typeface="+mj-lt"/>
          <a:ea typeface="+mn-ea"/>
          <a:cs typeface="+mn-cs"/>
        </a:defRPr>
      </a:lvl1pPr>
      <a:lvl2pPr marL="0" indent="0" algn="l" defTabSz="914400" rtl="0" eaLnBrk="1" latinLnBrk="0" hangingPunct="1">
        <a:spcBef>
          <a:spcPts val="700"/>
        </a:spcBef>
        <a:buFont typeface="Arial" panose="020B0604020202020204" pitchFamily="34" charset="0"/>
        <a:buChar char="​"/>
        <a:defRPr sz="2400" kern="0">
          <a:solidFill>
            <a:schemeClr val="tx1"/>
          </a:solidFill>
          <a:latin typeface="+mn-lt"/>
          <a:ea typeface="+mn-ea"/>
          <a:cs typeface="+mn-cs"/>
        </a:defRPr>
      </a:lvl2pPr>
      <a:lvl3pPr marL="252000" indent="-252000" algn="l" defTabSz="914400" rtl="0" eaLnBrk="1" latinLnBrk="0" hangingPunct="1">
        <a:spcBef>
          <a:spcPts val="700"/>
        </a:spcBef>
        <a:buFont typeface="Arial" panose="020B0604020202020204" pitchFamily="34" charset="0"/>
        <a:buChar char="•"/>
        <a:defRPr sz="2400" kern="0">
          <a:solidFill>
            <a:schemeClr val="tx1"/>
          </a:solidFill>
          <a:latin typeface="+mn-lt"/>
          <a:ea typeface="+mn-ea"/>
          <a:cs typeface="+mn-cs"/>
        </a:defRPr>
      </a:lvl3pPr>
      <a:lvl4pPr marL="504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4pPr>
      <a:lvl5pPr marL="756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5pPr>
      <a:lvl6pPr marL="1008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6pPr>
      <a:lvl7pPr marL="1260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7pPr>
      <a:lvl8pPr marL="1512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8pPr>
      <a:lvl9pPr marL="1764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9pPr>
    </p:bodyStyle>
    <p:otherStyle>
      <a:defPPr>
        <a:defRPr lang="en-US"/>
      </a:defPPr>
      <a:lvl1pPr marL="0" algn="l" defTabSz="914400" rtl="0" eaLnBrk="1" latinLnBrk="0" hangingPunct="1">
        <a:defRPr sz="2000" kern="0">
          <a:solidFill>
            <a:schemeClr val="tx1"/>
          </a:solidFill>
          <a:latin typeface="+mn-lt"/>
          <a:ea typeface="+mn-ea"/>
          <a:cs typeface="+mn-cs"/>
        </a:defRPr>
      </a:lvl1pPr>
      <a:lvl2pPr marL="252000" algn="l" defTabSz="914400" rtl="0" eaLnBrk="1" latinLnBrk="0" hangingPunct="1">
        <a:defRPr sz="2000" kern="0">
          <a:solidFill>
            <a:schemeClr val="tx1"/>
          </a:solidFill>
          <a:latin typeface="+mn-lt"/>
          <a:ea typeface="+mn-ea"/>
          <a:cs typeface="+mn-cs"/>
        </a:defRPr>
      </a:lvl2pPr>
      <a:lvl3pPr marL="504000" algn="l" defTabSz="914400" rtl="0" eaLnBrk="1" latinLnBrk="0" hangingPunct="1">
        <a:defRPr sz="2000" kern="0">
          <a:solidFill>
            <a:schemeClr val="tx1"/>
          </a:solidFill>
          <a:latin typeface="+mn-lt"/>
          <a:ea typeface="+mn-ea"/>
          <a:cs typeface="+mn-cs"/>
        </a:defRPr>
      </a:lvl3pPr>
      <a:lvl4pPr marL="756000" algn="l" defTabSz="914400" rtl="0" eaLnBrk="1" latinLnBrk="0" hangingPunct="1">
        <a:defRPr sz="200" kern="0">
          <a:solidFill>
            <a:schemeClr val="tx1"/>
          </a:solidFill>
          <a:latin typeface="+mn-lt"/>
          <a:ea typeface="+mn-ea"/>
          <a:cs typeface="+mn-cs"/>
        </a:defRPr>
      </a:lvl4pPr>
      <a:lvl5pPr marL="1008000" algn="l" defTabSz="914400" rtl="0" eaLnBrk="1" latinLnBrk="0" hangingPunct="1">
        <a:defRPr sz="2000" kern="0">
          <a:solidFill>
            <a:schemeClr val="tx1"/>
          </a:solidFill>
          <a:latin typeface="+mn-lt"/>
          <a:ea typeface="+mn-ea"/>
          <a:cs typeface="+mn-cs"/>
        </a:defRPr>
      </a:lvl5pPr>
      <a:lvl6pPr marL="1260000" algn="l" defTabSz="914400" rtl="0" eaLnBrk="1" latinLnBrk="0" hangingPunct="1">
        <a:defRPr sz="2000" kern="0">
          <a:solidFill>
            <a:schemeClr val="tx1"/>
          </a:solidFill>
          <a:latin typeface="+mn-lt"/>
          <a:ea typeface="+mn-ea"/>
          <a:cs typeface="+mn-cs"/>
        </a:defRPr>
      </a:lvl6pPr>
      <a:lvl7pPr marL="1512000" algn="l" defTabSz="914400" rtl="0" eaLnBrk="1" latinLnBrk="0" hangingPunct="1">
        <a:defRPr sz="2000" kern="0">
          <a:solidFill>
            <a:schemeClr val="tx1"/>
          </a:solidFill>
          <a:latin typeface="+mn-lt"/>
          <a:ea typeface="+mn-ea"/>
          <a:cs typeface="+mn-cs"/>
        </a:defRPr>
      </a:lvl7pPr>
      <a:lvl8pPr marL="1764000" algn="l" defTabSz="914400" rtl="0" eaLnBrk="1" latinLnBrk="0" hangingPunct="1">
        <a:defRPr sz="2000" kern="0">
          <a:solidFill>
            <a:schemeClr val="tx1"/>
          </a:solidFill>
          <a:latin typeface="+mn-lt"/>
          <a:ea typeface="+mn-ea"/>
          <a:cs typeface="+mn-cs"/>
        </a:defRPr>
      </a:lvl8pPr>
      <a:lvl9pPr marL="2016000" algn="l" defTabSz="914400" rtl="0" eaLnBrk="1" latinLnBrk="0" hangingPunct="1">
        <a:defRPr sz="2000" kern="0">
          <a:solidFill>
            <a:schemeClr val="tx1"/>
          </a:solidFill>
          <a:latin typeface="+mn-lt"/>
          <a:ea typeface="+mn-ea"/>
          <a:cs typeface="+mn-cs"/>
        </a:defRPr>
      </a:lvl9pPr>
    </p:otherStyle>
  </p:txStyles>
  <p:extLst>
    <p:ext uri="{27BBF7A9-308A-43DC-89C8-2F10F3537804}">
      <p15:sldGuideLst xmlns:p15="http://schemas.microsoft.com/office/powerpoint/2012/main">
        <p15:guide id="1" pos="544">
          <p15:clr>
            <a:srgbClr val="C35EA4"/>
          </p15:clr>
        </p15:guide>
        <p15:guide id="2" pos="7315">
          <p15:clr>
            <a:srgbClr val="C35EA4"/>
          </p15:clr>
        </p15:guide>
        <p15:guide id="3" orient="horz" pos="242">
          <p15:clr>
            <a:srgbClr val="C35EA4"/>
          </p15:clr>
        </p15:guide>
        <p15:guide id="4" orient="horz" pos="881">
          <p15:clr>
            <a:srgbClr val="C35EA4"/>
          </p15:clr>
        </p15:guide>
        <p15:guide id="5" orient="horz" pos="3992">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image" Target="../media/image6.png"/><Relationship Id="rId13" Type="http://schemas.openxmlformats.org/officeDocument/2006/relationships/image" Target="../media/image8.png"/><Relationship Id="rId3" Type="http://schemas.openxmlformats.org/officeDocument/2006/relationships/slideLayout" Target="../slideLayouts/slideLayout2.xml"/><Relationship Id="rId7" Type="http://schemas.openxmlformats.org/officeDocument/2006/relationships/image" Target="../media/image1.emf"/><Relationship Id="rId12" Type="http://schemas.openxmlformats.org/officeDocument/2006/relationships/image" Target="../media/image8.png"/><Relationship Id="rId2" Type="http://schemas.openxmlformats.org/officeDocument/2006/relationships/tags" Target="../tags/tag11.xml"/><Relationship Id="rId1" Type="http://schemas.openxmlformats.org/officeDocument/2006/relationships/vmlDrawing" Target="../drawings/vmlDrawing9.vml"/><Relationship Id="rId6" Type="http://schemas.openxmlformats.org/officeDocument/2006/relationships/oleObject" Target="../embeddings/oleObject3.bin"/><Relationship Id="rId11" Type="http://schemas.openxmlformats.org/officeDocument/2006/relationships/image" Target="../media/image70.png"/><Relationship Id="rId5" Type="http://schemas.microsoft.com/office/2007/relationships/hdphoto" Target="../media/hdphoto1.wdp"/><Relationship Id="rId10" Type="http://schemas.openxmlformats.org/officeDocument/2006/relationships/image" Target="../media/image7.png"/><Relationship Id="rId4" Type="http://schemas.openxmlformats.org/officeDocument/2006/relationships/image" Target="../media/image4.png"/><Relationship Id="rId9" Type="http://schemas.openxmlformats.org/officeDocument/2006/relationships/image" Target="../media/image6.png"/></Relationships>
</file>

<file path=ppt/slides/_rels/slide13.xml.rels><?xml version="1.0" encoding="UTF-8" standalone="yes"?>
<Relationships xmlns="http://schemas.openxmlformats.org/package/2006/relationships"><Relationship Id="rId8" Type="http://schemas.openxmlformats.org/officeDocument/2006/relationships/image" Target="../media/image12.jpg"/><Relationship Id="rId13" Type="http://schemas.openxmlformats.org/officeDocument/2006/relationships/image" Target="../media/image17.jpg"/><Relationship Id="rId3" Type="http://schemas.openxmlformats.org/officeDocument/2006/relationships/slideLayout" Target="../slideLayouts/slideLayout2.xml"/><Relationship Id="rId7" Type="http://schemas.openxmlformats.org/officeDocument/2006/relationships/image" Target="../media/image1.emf"/><Relationship Id="rId12" Type="http://schemas.openxmlformats.org/officeDocument/2006/relationships/image" Target="../media/image16.jpg"/><Relationship Id="rId2" Type="http://schemas.openxmlformats.org/officeDocument/2006/relationships/tags" Target="../tags/tag12.xml"/><Relationship Id="rId1" Type="http://schemas.openxmlformats.org/officeDocument/2006/relationships/vmlDrawing" Target="../drawings/vmlDrawing10.vml"/><Relationship Id="rId6" Type="http://schemas.openxmlformats.org/officeDocument/2006/relationships/oleObject" Target="../embeddings/oleObject3.bin"/><Relationship Id="rId11" Type="http://schemas.openxmlformats.org/officeDocument/2006/relationships/image" Target="../media/image15.jpg"/><Relationship Id="rId5" Type="http://schemas.microsoft.com/office/2007/relationships/hdphoto" Target="../media/hdphoto1.wdp"/><Relationship Id="rId10" Type="http://schemas.openxmlformats.org/officeDocument/2006/relationships/image" Target="../media/image14.png"/><Relationship Id="rId4" Type="http://schemas.openxmlformats.org/officeDocument/2006/relationships/image" Target="../media/image4.png"/><Relationship Id="rId9" Type="http://schemas.openxmlformats.org/officeDocument/2006/relationships/image" Target="../media/image13.jpg"/></Relationships>
</file>

<file path=ppt/slides/_rels/slide14.xml.rels><?xml version="1.0" encoding="UTF-8" standalone="yes"?>
<Relationships xmlns="http://schemas.openxmlformats.org/package/2006/relationships"><Relationship Id="rId8" Type="http://schemas.openxmlformats.org/officeDocument/2006/relationships/image" Target="../media/image12.jpg"/><Relationship Id="rId13" Type="http://schemas.openxmlformats.org/officeDocument/2006/relationships/image" Target="../media/image17.jpg"/><Relationship Id="rId3" Type="http://schemas.openxmlformats.org/officeDocument/2006/relationships/slideLayout" Target="../slideLayouts/slideLayout2.xml"/><Relationship Id="rId7" Type="http://schemas.openxmlformats.org/officeDocument/2006/relationships/image" Target="../media/image1.emf"/><Relationship Id="rId12" Type="http://schemas.openxmlformats.org/officeDocument/2006/relationships/image" Target="../media/image16.jpg"/><Relationship Id="rId2" Type="http://schemas.openxmlformats.org/officeDocument/2006/relationships/tags" Target="../tags/tag13.xml"/><Relationship Id="rId1" Type="http://schemas.openxmlformats.org/officeDocument/2006/relationships/vmlDrawing" Target="../drawings/vmlDrawing11.vml"/><Relationship Id="rId6" Type="http://schemas.openxmlformats.org/officeDocument/2006/relationships/oleObject" Target="../embeddings/oleObject3.bin"/><Relationship Id="rId11" Type="http://schemas.openxmlformats.org/officeDocument/2006/relationships/image" Target="../media/image15.jpg"/><Relationship Id="rId5" Type="http://schemas.microsoft.com/office/2007/relationships/hdphoto" Target="../media/hdphoto1.wdp"/><Relationship Id="rId10" Type="http://schemas.openxmlformats.org/officeDocument/2006/relationships/image" Target="../media/image14.png"/><Relationship Id="rId4" Type="http://schemas.openxmlformats.org/officeDocument/2006/relationships/image" Target="../media/image4.png"/><Relationship Id="rId9" Type="http://schemas.openxmlformats.org/officeDocument/2006/relationships/image" Target="../media/image13.jpg"/></Relationships>
</file>

<file path=ppt/slides/_rels/slide15.xml.rels><?xml version="1.0" encoding="UTF-8" standalone="yes"?>
<Relationships xmlns="http://schemas.openxmlformats.org/package/2006/relationships"><Relationship Id="rId8" Type="http://schemas.openxmlformats.org/officeDocument/2006/relationships/image" Target="../media/image13.jpg"/><Relationship Id="rId3" Type="http://schemas.openxmlformats.org/officeDocument/2006/relationships/slideLayout" Target="../slideLayouts/slideLayout2.xml"/><Relationship Id="rId7" Type="http://schemas.openxmlformats.org/officeDocument/2006/relationships/image" Target="../media/image1.emf"/><Relationship Id="rId12" Type="http://schemas.openxmlformats.org/officeDocument/2006/relationships/image" Target="../media/image17.jpg"/><Relationship Id="rId2" Type="http://schemas.openxmlformats.org/officeDocument/2006/relationships/tags" Target="../tags/tag14.xml"/><Relationship Id="rId1" Type="http://schemas.openxmlformats.org/officeDocument/2006/relationships/vmlDrawing" Target="../drawings/vmlDrawing12.vml"/><Relationship Id="rId6" Type="http://schemas.openxmlformats.org/officeDocument/2006/relationships/oleObject" Target="../embeddings/oleObject3.bin"/><Relationship Id="rId11" Type="http://schemas.openxmlformats.org/officeDocument/2006/relationships/image" Target="../media/image16.jpg"/><Relationship Id="rId5" Type="http://schemas.microsoft.com/office/2007/relationships/hdphoto" Target="../media/hdphoto1.wdp"/><Relationship Id="rId10" Type="http://schemas.openxmlformats.org/officeDocument/2006/relationships/image" Target="../media/image15.jpg"/><Relationship Id="rId4" Type="http://schemas.openxmlformats.org/officeDocument/2006/relationships/image" Target="../media/image4.png"/><Relationship Id="rId9" Type="http://schemas.openxmlformats.org/officeDocument/2006/relationships/image" Target="../media/image14.png"/></Relationships>
</file>

<file path=ppt/slides/_rels/slide16.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Layout" Target="../slideLayouts/slideLayout2.xml"/><Relationship Id="rId7" Type="http://schemas.openxmlformats.org/officeDocument/2006/relationships/image" Target="../media/image1.emf"/><Relationship Id="rId2" Type="http://schemas.openxmlformats.org/officeDocument/2006/relationships/tags" Target="../tags/tag15.xml"/><Relationship Id="rId1" Type="http://schemas.openxmlformats.org/officeDocument/2006/relationships/vmlDrawing" Target="../drawings/vmlDrawing13.vml"/><Relationship Id="rId6" Type="http://schemas.openxmlformats.org/officeDocument/2006/relationships/oleObject" Target="../embeddings/oleObject3.bin"/><Relationship Id="rId11" Type="http://schemas.openxmlformats.org/officeDocument/2006/relationships/image" Target="../media/image17.jpg"/><Relationship Id="rId5" Type="http://schemas.microsoft.com/office/2007/relationships/hdphoto" Target="../media/hdphoto1.wdp"/><Relationship Id="rId10" Type="http://schemas.openxmlformats.org/officeDocument/2006/relationships/image" Target="../media/image16.jpg"/><Relationship Id="rId4" Type="http://schemas.openxmlformats.org/officeDocument/2006/relationships/image" Target="../media/image4.png"/><Relationship Id="rId9" Type="http://schemas.openxmlformats.org/officeDocument/2006/relationships/image" Target="../media/image15.jpg"/></Relationships>
</file>

<file path=ppt/slides/_rels/slide17.xml.rels><?xml version="1.0" encoding="UTF-8" standalone="yes"?>
<Relationships xmlns="http://schemas.openxmlformats.org/package/2006/relationships"><Relationship Id="rId8" Type="http://schemas.openxmlformats.org/officeDocument/2006/relationships/image" Target="../media/image15.jpg"/><Relationship Id="rId3" Type="http://schemas.openxmlformats.org/officeDocument/2006/relationships/slideLayout" Target="../slideLayouts/slideLayout2.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vmlDrawing" Target="../drawings/vmlDrawing14.vml"/><Relationship Id="rId6" Type="http://schemas.openxmlformats.org/officeDocument/2006/relationships/oleObject" Target="../embeddings/oleObject3.bin"/><Relationship Id="rId5" Type="http://schemas.microsoft.com/office/2007/relationships/hdphoto" Target="../media/hdphoto1.wdp"/><Relationship Id="rId10" Type="http://schemas.openxmlformats.org/officeDocument/2006/relationships/image" Target="../media/image17.jpg"/><Relationship Id="rId4" Type="http://schemas.openxmlformats.org/officeDocument/2006/relationships/image" Target="../media/image4.png"/><Relationship Id="rId9" Type="http://schemas.openxmlformats.org/officeDocument/2006/relationships/image" Target="../media/image16.jpg"/></Relationships>
</file>

<file path=ppt/slides/_rels/slide18.xml.rels><?xml version="1.0" encoding="UTF-8" standalone="yes"?>
<Relationships xmlns="http://schemas.openxmlformats.org/package/2006/relationships"><Relationship Id="rId8" Type="http://schemas.openxmlformats.org/officeDocument/2006/relationships/image" Target="../media/image16.jpg"/><Relationship Id="rId3" Type="http://schemas.openxmlformats.org/officeDocument/2006/relationships/slideLayout" Target="../slideLayouts/slideLayout2.xml"/><Relationship Id="rId7" Type="http://schemas.openxmlformats.org/officeDocument/2006/relationships/image" Target="../media/image1.emf"/><Relationship Id="rId2" Type="http://schemas.openxmlformats.org/officeDocument/2006/relationships/tags" Target="../tags/tag17.xml"/><Relationship Id="rId1" Type="http://schemas.openxmlformats.org/officeDocument/2006/relationships/vmlDrawing" Target="../drawings/vmlDrawing15.vml"/><Relationship Id="rId6" Type="http://schemas.openxmlformats.org/officeDocument/2006/relationships/oleObject" Target="../embeddings/oleObject3.bin"/><Relationship Id="rId5" Type="http://schemas.microsoft.com/office/2007/relationships/hdphoto" Target="../media/hdphoto1.wdp"/><Relationship Id="rId4" Type="http://schemas.openxmlformats.org/officeDocument/2006/relationships/image" Target="../media/image4.png"/><Relationship Id="rId9" Type="http://schemas.openxmlformats.org/officeDocument/2006/relationships/image" Target="../media/image17.jpg"/></Relationships>
</file>

<file path=ppt/slides/_rels/slide19.xml.rels><?xml version="1.0" encoding="UTF-8" standalone="yes"?>
<Relationships xmlns="http://schemas.openxmlformats.org/package/2006/relationships"><Relationship Id="rId8" Type="http://schemas.openxmlformats.org/officeDocument/2006/relationships/image" Target="../media/image16.jpg"/><Relationship Id="rId3" Type="http://schemas.openxmlformats.org/officeDocument/2006/relationships/slideLayout" Target="../slideLayouts/slideLayout2.xml"/><Relationship Id="rId7" Type="http://schemas.openxmlformats.org/officeDocument/2006/relationships/image" Target="../media/image1.emf"/><Relationship Id="rId2" Type="http://schemas.openxmlformats.org/officeDocument/2006/relationships/tags" Target="../tags/tag18.xml"/><Relationship Id="rId1" Type="http://schemas.openxmlformats.org/officeDocument/2006/relationships/vmlDrawing" Target="../drawings/vmlDrawing16.vml"/><Relationship Id="rId6" Type="http://schemas.openxmlformats.org/officeDocument/2006/relationships/oleObject" Target="../embeddings/oleObject3.bin"/><Relationship Id="rId5" Type="http://schemas.microsoft.com/office/2007/relationships/hdphoto" Target="../media/hdphoto1.wdp"/><Relationship Id="rId4" Type="http://schemas.openxmlformats.org/officeDocument/2006/relationships/image" Target="../media/image4.pn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emf"/><Relationship Id="rId2" Type="http://schemas.openxmlformats.org/officeDocument/2006/relationships/tags" Target="../tags/tag19.xml"/><Relationship Id="rId1" Type="http://schemas.openxmlformats.org/officeDocument/2006/relationships/vmlDrawing" Target="../drawings/vmlDrawing17.vml"/><Relationship Id="rId6" Type="http://schemas.openxmlformats.org/officeDocument/2006/relationships/oleObject" Target="../embeddings/oleObject3.bin"/><Relationship Id="rId5" Type="http://schemas.microsoft.com/office/2007/relationships/hdphoto" Target="../media/hdphoto1.wdp"/><Relationship Id="rId4" Type="http://schemas.openxmlformats.org/officeDocument/2006/relationships/image" Target="../media/image18.png"/></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emf"/><Relationship Id="rId2" Type="http://schemas.openxmlformats.org/officeDocument/2006/relationships/tags" Target="../tags/tag20.xml"/><Relationship Id="rId1" Type="http://schemas.openxmlformats.org/officeDocument/2006/relationships/vmlDrawing" Target="../drawings/vmlDrawing18.vml"/><Relationship Id="rId6" Type="http://schemas.openxmlformats.org/officeDocument/2006/relationships/oleObject" Target="../embeddings/oleObject3.bin"/><Relationship Id="rId5" Type="http://schemas.microsoft.com/office/2007/relationships/hdphoto" Target="../media/hdphoto1.wdp"/><Relationship Id="rId4" Type="http://schemas.openxmlformats.org/officeDocument/2006/relationships/image" Target="../media/image18.png"/></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emf"/><Relationship Id="rId2" Type="http://schemas.openxmlformats.org/officeDocument/2006/relationships/tags" Target="../tags/tag21.xml"/><Relationship Id="rId1" Type="http://schemas.openxmlformats.org/officeDocument/2006/relationships/vmlDrawing" Target="../drawings/vmlDrawing19.vml"/><Relationship Id="rId6" Type="http://schemas.openxmlformats.org/officeDocument/2006/relationships/oleObject" Target="../embeddings/oleObject3.bin"/><Relationship Id="rId5" Type="http://schemas.microsoft.com/office/2007/relationships/hdphoto" Target="../media/hdphoto1.wdp"/><Relationship Id="rId4" Type="http://schemas.openxmlformats.org/officeDocument/2006/relationships/image" Target="../media/image18.png"/></Relationships>
</file>

<file path=ppt/slides/_rels/slide23.xml.rels><?xml version="1.0" encoding="UTF-8" standalone="yes"?>
<Relationships xmlns="http://schemas.openxmlformats.org/package/2006/relationships"><Relationship Id="rId8" Type="http://schemas.openxmlformats.org/officeDocument/2006/relationships/image" Target="../media/image19.jpg"/><Relationship Id="rId3" Type="http://schemas.openxmlformats.org/officeDocument/2006/relationships/slideLayout" Target="../slideLayouts/slideLayout2.xml"/><Relationship Id="rId7" Type="http://schemas.openxmlformats.org/officeDocument/2006/relationships/image" Target="../media/image1.emf"/><Relationship Id="rId2" Type="http://schemas.openxmlformats.org/officeDocument/2006/relationships/tags" Target="../tags/tag22.xml"/><Relationship Id="rId1" Type="http://schemas.openxmlformats.org/officeDocument/2006/relationships/vmlDrawing" Target="../drawings/vmlDrawing20.vml"/><Relationship Id="rId6" Type="http://schemas.openxmlformats.org/officeDocument/2006/relationships/oleObject" Target="../embeddings/oleObject3.bin"/><Relationship Id="rId5" Type="http://schemas.microsoft.com/office/2007/relationships/hdphoto" Target="../media/hdphoto1.wdp"/><Relationship Id="rId4" Type="http://schemas.openxmlformats.org/officeDocument/2006/relationships/image" Target="../media/image18.png"/><Relationship Id="rId9" Type="http://schemas.openxmlformats.org/officeDocument/2006/relationships/image" Target="../media/image20.jpg"/></Relationships>
</file>

<file path=ppt/slides/_rels/slide24.xml.rels><?xml version="1.0" encoding="UTF-8" standalone="yes"?>
<Relationships xmlns="http://schemas.openxmlformats.org/package/2006/relationships"><Relationship Id="rId8" Type="http://schemas.openxmlformats.org/officeDocument/2006/relationships/image" Target="../media/image19.jpg"/><Relationship Id="rId3" Type="http://schemas.openxmlformats.org/officeDocument/2006/relationships/slideLayout" Target="../slideLayouts/slideLayout2.xml"/><Relationship Id="rId7" Type="http://schemas.openxmlformats.org/officeDocument/2006/relationships/image" Target="../media/image1.emf"/><Relationship Id="rId2" Type="http://schemas.openxmlformats.org/officeDocument/2006/relationships/tags" Target="../tags/tag23.xml"/><Relationship Id="rId1" Type="http://schemas.openxmlformats.org/officeDocument/2006/relationships/vmlDrawing" Target="../drawings/vmlDrawing21.vml"/><Relationship Id="rId6" Type="http://schemas.openxmlformats.org/officeDocument/2006/relationships/oleObject" Target="../embeddings/oleObject3.bin"/><Relationship Id="rId5" Type="http://schemas.microsoft.com/office/2007/relationships/hdphoto" Target="../media/hdphoto1.wdp"/><Relationship Id="rId4" Type="http://schemas.openxmlformats.org/officeDocument/2006/relationships/image" Target="../media/image18.png"/><Relationship Id="rId9" Type="http://schemas.openxmlformats.org/officeDocument/2006/relationships/image" Target="../media/image20.jpg"/></Relationships>
</file>

<file path=ppt/slides/_rels/slide25.xml.rels><?xml version="1.0" encoding="UTF-8" standalone="yes"?>
<Relationships xmlns="http://schemas.openxmlformats.org/package/2006/relationships"><Relationship Id="rId8" Type="http://schemas.openxmlformats.org/officeDocument/2006/relationships/image" Target="../media/image20.jpg"/><Relationship Id="rId3" Type="http://schemas.openxmlformats.org/officeDocument/2006/relationships/slideLayout" Target="../slideLayouts/slideLayout2.xml"/><Relationship Id="rId7" Type="http://schemas.openxmlformats.org/officeDocument/2006/relationships/image" Target="../media/image1.emf"/><Relationship Id="rId2" Type="http://schemas.openxmlformats.org/officeDocument/2006/relationships/tags" Target="../tags/tag24.xml"/><Relationship Id="rId1" Type="http://schemas.openxmlformats.org/officeDocument/2006/relationships/vmlDrawing" Target="../drawings/vmlDrawing22.vml"/><Relationship Id="rId6" Type="http://schemas.openxmlformats.org/officeDocument/2006/relationships/oleObject" Target="../embeddings/oleObject3.bin"/><Relationship Id="rId5" Type="http://schemas.microsoft.com/office/2007/relationships/hdphoto" Target="../media/hdphoto1.wdp"/><Relationship Id="rId10" Type="http://schemas.openxmlformats.org/officeDocument/2006/relationships/image" Target="../media/image21.jpg"/><Relationship Id="rId4" Type="http://schemas.openxmlformats.org/officeDocument/2006/relationships/image" Target="../media/image18.png"/><Relationship Id="rId9" Type="http://schemas.openxmlformats.org/officeDocument/2006/relationships/image" Target="../media/image19.jpg"/></Relationships>
</file>

<file path=ppt/slides/_rels/slide26.xml.rels><?xml version="1.0" encoding="UTF-8" standalone="yes"?>
<Relationships xmlns="http://schemas.openxmlformats.org/package/2006/relationships"><Relationship Id="rId8" Type="http://schemas.openxmlformats.org/officeDocument/2006/relationships/image" Target="../media/image20.jpg"/><Relationship Id="rId3" Type="http://schemas.openxmlformats.org/officeDocument/2006/relationships/slideLayout" Target="../slideLayouts/slideLayout2.xml"/><Relationship Id="rId7" Type="http://schemas.openxmlformats.org/officeDocument/2006/relationships/image" Target="../media/image1.emf"/><Relationship Id="rId2" Type="http://schemas.openxmlformats.org/officeDocument/2006/relationships/tags" Target="../tags/tag25.xml"/><Relationship Id="rId1" Type="http://schemas.openxmlformats.org/officeDocument/2006/relationships/vmlDrawing" Target="../drawings/vmlDrawing23.vml"/><Relationship Id="rId6" Type="http://schemas.openxmlformats.org/officeDocument/2006/relationships/oleObject" Target="../embeddings/oleObject3.bin"/><Relationship Id="rId11" Type="http://schemas.openxmlformats.org/officeDocument/2006/relationships/image" Target="../media/image22.jpg"/><Relationship Id="rId5" Type="http://schemas.microsoft.com/office/2007/relationships/hdphoto" Target="../media/hdphoto1.wdp"/><Relationship Id="rId10" Type="http://schemas.openxmlformats.org/officeDocument/2006/relationships/image" Target="../media/image21.jpg"/><Relationship Id="rId4" Type="http://schemas.openxmlformats.org/officeDocument/2006/relationships/image" Target="../media/image18.png"/><Relationship Id="rId9" Type="http://schemas.openxmlformats.org/officeDocument/2006/relationships/image" Target="../media/image19.jpg"/></Relationships>
</file>

<file path=ppt/slides/_rels/slide27.xml.rels><?xml version="1.0" encoding="UTF-8" standalone="yes"?>
<Relationships xmlns="http://schemas.openxmlformats.org/package/2006/relationships"><Relationship Id="rId8" Type="http://schemas.openxmlformats.org/officeDocument/2006/relationships/image" Target="../media/image20.jpg"/><Relationship Id="rId3" Type="http://schemas.openxmlformats.org/officeDocument/2006/relationships/slideLayout" Target="../slideLayouts/slideLayout2.xml"/><Relationship Id="rId7" Type="http://schemas.openxmlformats.org/officeDocument/2006/relationships/image" Target="../media/image1.emf"/><Relationship Id="rId12" Type="http://schemas.openxmlformats.org/officeDocument/2006/relationships/image" Target="../media/image23.jpg"/><Relationship Id="rId2" Type="http://schemas.openxmlformats.org/officeDocument/2006/relationships/tags" Target="../tags/tag26.xml"/><Relationship Id="rId1" Type="http://schemas.openxmlformats.org/officeDocument/2006/relationships/vmlDrawing" Target="../drawings/vmlDrawing24.vml"/><Relationship Id="rId6" Type="http://schemas.openxmlformats.org/officeDocument/2006/relationships/oleObject" Target="../embeddings/oleObject3.bin"/><Relationship Id="rId11" Type="http://schemas.openxmlformats.org/officeDocument/2006/relationships/image" Target="../media/image22.jpg"/><Relationship Id="rId5" Type="http://schemas.microsoft.com/office/2007/relationships/hdphoto" Target="../media/hdphoto1.wdp"/><Relationship Id="rId10" Type="http://schemas.openxmlformats.org/officeDocument/2006/relationships/image" Target="../media/image21.jpg"/><Relationship Id="rId4" Type="http://schemas.openxmlformats.org/officeDocument/2006/relationships/image" Target="../media/image18.png"/><Relationship Id="rId9" Type="http://schemas.openxmlformats.org/officeDocument/2006/relationships/image" Target="../media/image19.jpg"/></Relationships>
</file>

<file path=ppt/slides/_rels/slide28.xml.rels><?xml version="1.0" encoding="UTF-8" standalone="yes"?>
<Relationships xmlns="http://schemas.openxmlformats.org/package/2006/relationships"><Relationship Id="rId8" Type="http://schemas.openxmlformats.org/officeDocument/2006/relationships/image" Target="../media/image20.jpg"/><Relationship Id="rId3" Type="http://schemas.openxmlformats.org/officeDocument/2006/relationships/slideLayout" Target="../slideLayouts/slideLayout2.xml"/><Relationship Id="rId7" Type="http://schemas.openxmlformats.org/officeDocument/2006/relationships/image" Target="../media/image1.emf"/><Relationship Id="rId12" Type="http://schemas.openxmlformats.org/officeDocument/2006/relationships/image" Target="../media/image23.jpg"/><Relationship Id="rId2" Type="http://schemas.openxmlformats.org/officeDocument/2006/relationships/tags" Target="../tags/tag27.xml"/><Relationship Id="rId1" Type="http://schemas.openxmlformats.org/officeDocument/2006/relationships/vmlDrawing" Target="../drawings/vmlDrawing25.vml"/><Relationship Id="rId6" Type="http://schemas.openxmlformats.org/officeDocument/2006/relationships/oleObject" Target="../embeddings/oleObject3.bin"/><Relationship Id="rId11" Type="http://schemas.openxmlformats.org/officeDocument/2006/relationships/image" Target="../media/image22.jpg"/><Relationship Id="rId5" Type="http://schemas.microsoft.com/office/2007/relationships/hdphoto" Target="../media/hdphoto1.wdp"/><Relationship Id="rId10" Type="http://schemas.openxmlformats.org/officeDocument/2006/relationships/image" Target="../media/image21.jpg"/><Relationship Id="rId4" Type="http://schemas.openxmlformats.org/officeDocument/2006/relationships/image" Target="../media/image18.png"/><Relationship Id="rId9" Type="http://schemas.openxmlformats.org/officeDocument/2006/relationships/image" Target="../media/image19.jpg"/></Relationships>
</file>

<file path=ppt/slides/_rels/slide29.xml.rels><?xml version="1.0" encoding="UTF-8" standalone="yes"?>
<Relationships xmlns="http://schemas.openxmlformats.org/package/2006/relationships"><Relationship Id="rId8" Type="http://schemas.openxmlformats.org/officeDocument/2006/relationships/image" Target="../media/image20.jpg"/><Relationship Id="rId3" Type="http://schemas.openxmlformats.org/officeDocument/2006/relationships/slideLayout" Target="../slideLayouts/slideLayout2.xml"/><Relationship Id="rId7" Type="http://schemas.openxmlformats.org/officeDocument/2006/relationships/image" Target="../media/image1.emf"/><Relationship Id="rId12" Type="http://schemas.openxmlformats.org/officeDocument/2006/relationships/image" Target="../media/image23.jpg"/><Relationship Id="rId2" Type="http://schemas.openxmlformats.org/officeDocument/2006/relationships/tags" Target="../tags/tag28.xml"/><Relationship Id="rId1" Type="http://schemas.openxmlformats.org/officeDocument/2006/relationships/vmlDrawing" Target="../drawings/vmlDrawing26.vml"/><Relationship Id="rId6" Type="http://schemas.openxmlformats.org/officeDocument/2006/relationships/oleObject" Target="../embeddings/oleObject3.bin"/><Relationship Id="rId11" Type="http://schemas.openxmlformats.org/officeDocument/2006/relationships/image" Target="../media/image22.jpg"/><Relationship Id="rId5" Type="http://schemas.microsoft.com/office/2007/relationships/hdphoto" Target="../media/hdphoto1.wdp"/><Relationship Id="rId10" Type="http://schemas.openxmlformats.org/officeDocument/2006/relationships/image" Target="../media/image21.jpg"/><Relationship Id="rId4" Type="http://schemas.openxmlformats.org/officeDocument/2006/relationships/image" Target="../media/image18.png"/><Relationship Id="rId9" Type="http://schemas.openxmlformats.org/officeDocument/2006/relationships/image" Target="../media/image19.jp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emf"/><Relationship Id="rId2" Type="http://schemas.openxmlformats.org/officeDocument/2006/relationships/tags" Target="../tags/tag29.xml"/><Relationship Id="rId1" Type="http://schemas.openxmlformats.org/officeDocument/2006/relationships/vmlDrawing" Target="../drawings/vmlDrawing27.vml"/><Relationship Id="rId6" Type="http://schemas.openxmlformats.org/officeDocument/2006/relationships/oleObject" Target="../embeddings/oleObject3.bin"/><Relationship Id="rId5" Type="http://schemas.microsoft.com/office/2007/relationships/hdphoto" Target="../media/hdphoto1.wdp"/><Relationship Id="rId4" Type="http://schemas.openxmlformats.org/officeDocument/2006/relationships/image" Target="../media/image18.png"/></Relationships>
</file>

<file path=ppt/slides/_rels/slide31.xml.rels><?xml version="1.0" encoding="UTF-8" standalone="yes"?>
<Relationships xmlns="http://schemas.openxmlformats.org/package/2006/relationships"><Relationship Id="rId8" Type="http://schemas.openxmlformats.org/officeDocument/2006/relationships/image" Target="../media/image24.jpg"/><Relationship Id="rId3" Type="http://schemas.openxmlformats.org/officeDocument/2006/relationships/slideLayout" Target="../slideLayouts/slideLayout2.xml"/><Relationship Id="rId7" Type="http://schemas.openxmlformats.org/officeDocument/2006/relationships/image" Target="../media/image1.emf"/><Relationship Id="rId12" Type="http://schemas.openxmlformats.org/officeDocument/2006/relationships/image" Target="../media/image28.jpg"/><Relationship Id="rId2" Type="http://schemas.openxmlformats.org/officeDocument/2006/relationships/tags" Target="../tags/tag30.xml"/><Relationship Id="rId1" Type="http://schemas.openxmlformats.org/officeDocument/2006/relationships/vmlDrawing" Target="../drawings/vmlDrawing28.vml"/><Relationship Id="rId6" Type="http://schemas.openxmlformats.org/officeDocument/2006/relationships/oleObject" Target="../embeddings/oleObject3.bin"/><Relationship Id="rId11" Type="http://schemas.openxmlformats.org/officeDocument/2006/relationships/image" Target="../media/image27.jpg"/><Relationship Id="rId5" Type="http://schemas.microsoft.com/office/2007/relationships/hdphoto" Target="../media/hdphoto1.wdp"/><Relationship Id="rId10" Type="http://schemas.openxmlformats.org/officeDocument/2006/relationships/image" Target="../media/image26.png"/><Relationship Id="rId4" Type="http://schemas.openxmlformats.org/officeDocument/2006/relationships/image" Target="../media/image18.png"/><Relationship Id="rId9" Type="http://schemas.openxmlformats.org/officeDocument/2006/relationships/image" Target="../media/image25.png"/></Relationships>
</file>

<file path=ppt/slides/_rels/slide32.xml.rels><?xml version="1.0" encoding="UTF-8" standalone="yes"?>
<Relationships xmlns="http://schemas.openxmlformats.org/package/2006/relationships"><Relationship Id="rId8" Type="http://schemas.openxmlformats.org/officeDocument/2006/relationships/image" Target="../media/image29.jpg"/><Relationship Id="rId3" Type="http://schemas.openxmlformats.org/officeDocument/2006/relationships/slideLayout" Target="../slideLayouts/slideLayout2.xml"/><Relationship Id="rId7" Type="http://schemas.openxmlformats.org/officeDocument/2006/relationships/image" Target="../media/image1.emf"/><Relationship Id="rId2" Type="http://schemas.openxmlformats.org/officeDocument/2006/relationships/tags" Target="../tags/tag31.xml"/><Relationship Id="rId1" Type="http://schemas.openxmlformats.org/officeDocument/2006/relationships/vmlDrawing" Target="../drawings/vmlDrawing29.vml"/><Relationship Id="rId6" Type="http://schemas.openxmlformats.org/officeDocument/2006/relationships/oleObject" Target="../embeddings/oleObject3.bin"/><Relationship Id="rId5" Type="http://schemas.microsoft.com/office/2007/relationships/hdphoto" Target="../media/hdphoto1.wdp"/><Relationship Id="rId10" Type="http://schemas.openxmlformats.org/officeDocument/2006/relationships/image" Target="../media/image31.jpg"/><Relationship Id="rId4" Type="http://schemas.openxmlformats.org/officeDocument/2006/relationships/image" Target="../media/image18.png"/><Relationship Id="rId9" Type="http://schemas.openxmlformats.org/officeDocument/2006/relationships/image" Target="../media/image30.jpg"/></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emf"/><Relationship Id="rId2" Type="http://schemas.openxmlformats.org/officeDocument/2006/relationships/tags" Target="../tags/tag32.xml"/><Relationship Id="rId1" Type="http://schemas.openxmlformats.org/officeDocument/2006/relationships/vmlDrawing" Target="../drawings/vmlDrawing30.vml"/><Relationship Id="rId6" Type="http://schemas.openxmlformats.org/officeDocument/2006/relationships/oleObject" Target="../embeddings/oleObject3.bin"/><Relationship Id="rId5" Type="http://schemas.microsoft.com/office/2007/relationships/hdphoto" Target="../media/hdphoto1.wdp"/><Relationship Id="rId4" Type="http://schemas.openxmlformats.org/officeDocument/2006/relationships/image" Target="../media/image18.png"/></Relationships>
</file>

<file path=ppt/slides/_rels/slide34.xml.rels><?xml version="1.0" encoding="UTF-8" standalone="yes"?>
<Relationships xmlns="http://schemas.openxmlformats.org/package/2006/relationships"><Relationship Id="rId8" Type="http://schemas.openxmlformats.org/officeDocument/2006/relationships/image" Target="../media/image32.jpg"/><Relationship Id="rId3" Type="http://schemas.openxmlformats.org/officeDocument/2006/relationships/slideLayout" Target="../slideLayouts/slideLayout2.xml"/><Relationship Id="rId7" Type="http://schemas.openxmlformats.org/officeDocument/2006/relationships/image" Target="../media/image1.emf"/><Relationship Id="rId2" Type="http://schemas.openxmlformats.org/officeDocument/2006/relationships/tags" Target="../tags/tag33.xml"/><Relationship Id="rId1" Type="http://schemas.openxmlformats.org/officeDocument/2006/relationships/vmlDrawing" Target="../drawings/vmlDrawing31.vml"/><Relationship Id="rId6" Type="http://schemas.openxmlformats.org/officeDocument/2006/relationships/oleObject" Target="../embeddings/oleObject3.bin"/><Relationship Id="rId5" Type="http://schemas.microsoft.com/office/2007/relationships/hdphoto" Target="../media/hdphoto1.wdp"/><Relationship Id="rId4" Type="http://schemas.openxmlformats.org/officeDocument/2006/relationships/image" Target="../media/image18.png"/></Relationships>
</file>

<file path=ppt/slides/_rels/slide35.xml.rels><?xml version="1.0" encoding="UTF-8" standalone="yes"?>
<Relationships xmlns="http://schemas.openxmlformats.org/package/2006/relationships"><Relationship Id="rId8" Type="http://schemas.openxmlformats.org/officeDocument/2006/relationships/image" Target="../media/image33.jpg"/><Relationship Id="rId3" Type="http://schemas.openxmlformats.org/officeDocument/2006/relationships/slideLayout" Target="../slideLayouts/slideLayout2.xml"/><Relationship Id="rId7" Type="http://schemas.openxmlformats.org/officeDocument/2006/relationships/image" Target="../media/image1.emf"/><Relationship Id="rId2" Type="http://schemas.openxmlformats.org/officeDocument/2006/relationships/tags" Target="../tags/tag34.xml"/><Relationship Id="rId1" Type="http://schemas.openxmlformats.org/officeDocument/2006/relationships/vmlDrawing" Target="../drawings/vmlDrawing32.vml"/><Relationship Id="rId6" Type="http://schemas.openxmlformats.org/officeDocument/2006/relationships/oleObject" Target="../embeddings/oleObject3.bin"/><Relationship Id="rId5" Type="http://schemas.microsoft.com/office/2007/relationships/hdphoto" Target="../media/hdphoto1.wdp"/><Relationship Id="rId4" Type="http://schemas.openxmlformats.org/officeDocument/2006/relationships/image" Target="../media/image18.png"/></Relationships>
</file>

<file path=ppt/slides/_rels/slide36.xml.rels><?xml version="1.0" encoding="UTF-8" standalone="yes"?>
<Relationships xmlns="http://schemas.openxmlformats.org/package/2006/relationships"><Relationship Id="rId8" Type="http://schemas.openxmlformats.org/officeDocument/2006/relationships/image" Target="../media/image34.jpg"/><Relationship Id="rId3" Type="http://schemas.openxmlformats.org/officeDocument/2006/relationships/slideLayout" Target="../slideLayouts/slideLayout2.xml"/><Relationship Id="rId7" Type="http://schemas.openxmlformats.org/officeDocument/2006/relationships/image" Target="../media/image1.emf"/><Relationship Id="rId2" Type="http://schemas.openxmlformats.org/officeDocument/2006/relationships/tags" Target="../tags/tag35.xml"/><Relationship Id="rId1" Type="http://schemas.openxmlformats.org/officeDocument/2006/relationships/vmlDrawing" Target="../drawings/vmlDrawing33.vml"/><Relationship Id="rId6" Type="http://schemas.openxmlformats.org/officeDocument/2006/relationships/oleObject" Target="../embeddings/oleObject3.bin"/><Relationship Id="rId5" Type="http://schemas.microsoft.com/office/2007/relationships/hdphoto" Target="../media/hdphoto1.wdp"/><Relationship Id="rId4" Type="http://schemas.openxmlformats.org/officeDocument/2006/relationships/image" Target="../media/image18.png"/></Relationships>
</file>

<file path=ppt/slides/_rels/slide37.xml.rels><?xml version="1.0" encoding="UTF-8" standalone="yes"?>
<Relationships xmlns="http://schemas.openxmlformats.org/package/2006/relationships"><Relationship Id="rId8" Type="http://schemas.openxmlformats.org/officeDocument/2006/relationships/image" Target="../media/image35.jpg"/><Relationship Id="rId3" Type="http://schemas.openxmlformats.org/officeDocument/2006/relationships/slideLayout" Target="../slideLayouts/slideLayout2.xml"/><Relationship Id="rId7" Type="http://schemas.openxmlformats.org/officeDocument/2006/relationships/image" Target="../media/image1.emf"/><Relationship Id="rId2" Type="http://schemas.openxmlformats.org/officeDocument/2006/relationships/tags" Target="../tags/tag36.xml"/><Relationship Id="rId1" Type="http://schemas.openxmlformats.org/officeDocument/2006/relationships/vmlDrawing" Target="../drawings/vmlDrawing34.vml"/><Relationship Id="rId6" Type="http://schemas.openxmlformats.org/officeDocument/2006/relationships/oleObject" Target="../embeddings/oleObject3.bin"/><Relationship Id="rId11" Type="http://schemas.openxmlformats.org/officeDocument/2006/relationships/image" Target="../media/image38.jpg"/><Relationship Id="rId5" Type="http://schemas.microsoft.com/office/2007/relationships/hdphoto" Target="../media/hdphoto1.wdp"/><Relationship Id="rId10" Type="http://schemas.openxmlformats.org/officeDocument/2006/relationships/image" Target="../media/image37.jpg"/><Relationship Id="rId4" Type="http://schemas.openxmlformats.org/officeDocument/2006/relationships/image" Target="../media/image18.png"/><Relationship Id="rId9" Type="http://schemas.openxmlformats.org/officeDocument/2006/relationships/image" Target="../media/image36.jp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2.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oleObject" Target="../embeddings/oleObject3.bin"/><Relationship Id="rId5" Type="http://schemas.microsoft.com/office/2007/relationships/hdphoto" Target="../media/hdphoto1.wdp"/><Relationship Id="rId4" Type="http://schemas.openxmlformats.org/officeDocument/2006/relationships/image" Target="../media/image4.pn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microsoft.com/office/2007/relationships/hdphoto" Target="../media/hdphoto1.wdp"/><Relationship Id="rId2" Type="http://schemas.openxmlformats.org/officeDocument/2006/relationships/tags" Target="../tags/tag8.xml"/><Relationship Id="rId1" Type="http://schemas.openxmlformats.org/officeDocument/2006/relationships/vmlDrawing" Target="../drawings/vmlDrawing6.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emf"/><Relationship Id="rId2" Type="http://schemas.openxmlformats.org/officeDocument/2006/relationships/tags" Target="../tags/tag9.xml"/><Relationship Id="rId1" Type="http://schemas.openxmlformats.org/officeDocument/2006/relationships/vmlDrawing" Target="../drawings/vmlDrawing7.vml"/><Relationship Id="rId6" Type="http://schemas.openxmlformats.org/officeDocument/2006/relationships/oleObject" Target="../embeddings/oleObject3.bin"/><Relationship Id="rId5" Type="http://schemas.microsoft.com/office/2007/relationships/hdphoto" Target="../media/hdphoto1.wdp"/><Relationship Id="rId4" Type="http://schemas.openxmlformats.org/officeDocument/2006/relationships/image" Target="../media/image4.png"/></Relationships>
</file>

<file path=ppt/slides/_rels/slide8.xml.rels><?xml version="1.0" encoding="UTF-8" standalone="yes"?>
<Relationships xmlns="http://schemas.openxmlformats.org/package/2006/relationships"><Relationship Id="rId8" Type="http://schemas.openxmlformats.org/officeDocument/2006/relationships/image" Target="../media/image6.png"/><Relationship Id="rId13" Type="http://schemas.openxmlformats.org/officeDocument/2006/relationships/image" Target="../media/image8.png"/><Relationship Id="rId3" Type="http://schemas.openxmlformats.org/officeDocument/2006/relationships/slideLayout" Target="../slideLayouts/slideLayout2.xml"/><Relationship Id="rId7" Type="http://schemas.openxmlformats.org/officeDocument/2006/relationships/image" Target="../media/image1.emf"/><Relationship Id="rId12" Type="http://schemas.openxmlformats.org/officeDocument/2006/relationships/image" Target="../media/image8.png"/><Relationship Id="rId2" Type="http://schemas.openxmlformats.org/officeDocument/2006/relationships/tags" Target="../tags/tag10.xml"/><Relationship Id="rId1" Type="http://schemas.openxmlformats.org/officeDocument/2006/relationships/vmlDrawing" Target="../drawings/vmlDrawing8.vml"/><Relationship Id="rId6" Type="http://schemas.openxmlformats.org/officeDocument/2006/relationships/oleObject" Target="../embeddings/oleObject3.bin"/><Relationship Id="rId11" Type="http://schemas.openxmlformats.org/officeDocument/2006/relationships/image" Target="../media/image70.png"/><Relationship Id="rId5" Type="http://schemas.microsoft.com/office/2007/relationships/hdphoto" Target="../media/hdphoto1.wdp"/><Relationship Id="rId10" Type="http://schemas.openxmlformats.org/officeDocument/2006/relationships/image" Target="../media/image7.png"/><Relationship Id="rId4" Type="http://schemas.openxmlformats.org/officeDocument/2006/relationships/image" Target="../media/image4.png"/><Relationship Id="rId9" Type="http://schemas.openxmlformats.org/officeDocument/2006/relationships/image" Target="../media/image6.png"/></Relationships>
</file>

<file path=ppt/slides/_rels/slide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691059-C5A1-4547-A269-9ECF2BC811FB}"/>
              </a:ext>
            </a:extLst>
          </p:cNvPr>
          <p:cNvSpPr>
            <a:spLocks noGrp="1"/>
          </p:cNvSpPr>
          <p:nvPr>
            <p:ph type="title"/>
          </p:nvPr>
        </p:nvSpPr>
        <p:spPr>
          <a:xfrm>
            <a:off x="2961091" y="1446728"/>
            <a:ext cx="8555406" cy="2598049"/>
          </a:xfrm>
        </p:spPr>
        <p:txBody>
          <a:bodyPr/>
          <a:lstStyle/>
          <a:p>
            <a:r>
              <a:rPr lang="en-US" sz="8000" dirty="0"/>
              <a:t>          </a:t>
            </a:r>
            <a:br>
              <a:rPr lang="en-US" sz="8000" dirty="0"/>
            </a:br>
            <a:r>
              <a:rPr lang="en-US" sz="8000" dirty="0"/>
              <a:t>RLDWIDE </a:t>
            </a:r>
            <a:br>
              <a:rPr lang="en-US" sz="8000" dirty="0"/>
            </a:br>
            <a:r>
              <a:rPr lang="en-US" sz="8000" dirty="0"/>
              <a:t>PHENOMENA</a:t>
            </a:r>
          </a:p>
        </p:txBody>
      </p:sp>
      <p:pic>
        <p:nvPicPr>
          <p:cNvPr id="4" name="4K Background Orange Streak Flock Gold Glow Animation 2160p Footage Stock">
            <a:hlinkClick r:id="" action="ppaction://media"/>
            <a:extLst>
              <a:ext uri="{FF2B5EF4-FFF2-40B4-BE49-F238E27FC236}">
                <a16:creationId xmlns:a16="http://schemas.microsoft.com/office/drawing/2014/main" id="{3199BA87-C728-4B61-837D-EF9D0C4440F2}"/>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0" y="0"/>
            <a:ext cx="12192000" cy="6858000"/>
          </a:xfrm>
          <a:prstGeom prst="rect">
            <a:avLst/>
          </a:prstGeom>
        </p:spPr>
      </p:pic>
      <p:sp>
        <p:nvSpPr>
          <p:cNvPr id="7" name="Freeform: Shape 6">
            <a:extLst>
              <a:ext uri="{FF2B5EF4-FFF2-40B4-BE49-F238E27FC236}">
                <a16:creationId xmlns:a16="http://schemas.microsoft.com/office/drawing/2014/main" id="{A0CF4BC2-3A06-43C1-BAD9-51F6F50D3E27}"/>
              </a:ext>
            </a:extLst>
          </p:cNvPr>
          <p:cNvSpPr/>
          <p:nvPr/>
        </p:nvSpPr>
        <p:spPr>
          <a:xfrm>
            <a:off x="0" y="0"/>
            <a:ext cx="12192000" cy="6858000"/>
          </a:xfrm>
          <a:custGeom>
            <a:avLst/>
            <a:gdLst/>
            <a:ahLst/>
            <a:cxnLst/>
            <a:rect l="l" t="t" r="r" b="b"/>
            <a:pathLst>
              <a:path w="12192000" h="6858000">
                <a:moveTo>
                  <a:pt x="8731898" y="4081173"/>
                </a:moveTo>
                <a:lnTo>
                  <a:pt x="8731898" y="4100581"/>
                </a:lnTo>
                <a:cubicBezTo>
                  <a:pt x="8731898" y="4126459"/>
                  <a:pt x="8725014" y="4147691"/>
                  <a:pt x="8711246" y="4164280"/>
                </a:cubicBezTo>
                <a:cubicBezTo>
                  <a:pt x="8697477" y="4180868"/>
                  <a:pt x="8679479" y="4189162"/>
                  <a:pt x="8657251" y="4189162"/>
                </a:cubicBezTo>
                <a:cubicBezTo>
                  <a:pt x="8640994" y="4189162"/>
                  <a:pt x="8628470" y="4184683"/>
                  <a:pt x="8619679" y="4175725"/>
                </a:cubicBezTo>
                <a:cubicBezTo>
                  <a:pt x="8610887" y="4166768"/>
                  <a:pt x="8606491" y="4155322"/>
                  <a:pt x="8606491" y="4141388"/>
                </a:cubicBezTo>
                <a:cubicBezTo>
                  <a:pt x="8606491" y="4113852"/>
                  <a:pt x="8624406" y="4097098"/>
                  <a:pt x="8660237" y="4091126"/>
                </a:cubicBezTo>
                <a:close/>
                <a:moveTo>
                  <a:pt x="5892522" y="3947804"/>
                </a:moveTo>
                <a:cubicBezTo>
                  <a:pt x="5945604" y="3947804"/>
                  <a:pt x="5972145" y="3982474"/>
                  <a:pt x="5972145" y="4051812"/>
                </a:cubicBezTo>
                <a:cubicBezTo>
                  <a:pt x="5972145" y="4131767"/>
                  <a:pt x="5945936" y="4171744"/>
                  <a:pt x="5893518" y="4171744"/>
                </a:cubicBezTo>
                <a:cubicBezTo>
                  <a:pt x="5839772" y="4171744"/>
                  <a:pt x="5812899" y="4133426"/>
                  <a:pt x="5812899" y="4056789"/>
                </a:cubicBezTo>
                <a:cubicBezTo>
                  <a:pt x="5812899" y="3984132"/>
                  <a:pt x="5839441" y="3947804"/>
                  <a:pt x="5892522" y="3947804"/>
                </a:cubicBezTo>
                <a:close/>
                <a:moveTo>
                  <a:pt x="7486392" y="3920932"/>
                </a:moveTo>
                <a:cubicBezTo>
                  <a:pt x="7528526" y="3920932"/>
                  <a:pt x="7549593" y="3950293"/>
                  <a:pt x="7549593" y="4009015"/>
                </a:cubicBezTo>
                <a:lnTo>
                  <a:pt x="7421201" y="4009015"/>
                </a:lnTo>
                <a:cubicBezTo>
                  <a:pt x="7423192" y="3982474"/>
                  <a:pt x="7430159" y="3961158"/>
                  <a:pt x="7442102" y="3945067"/>
                </a:cubicBezTo>
                <a:cubicBezTo>
                  <a:pt x="7454046" y="3928977"/>
                  <a:pt x="7468809" y="3920932"/>
                  <a:pt x="7486392" y="3920932"/>
                </a:cubicBezTo>
                <a:close/>
                <a:moveTo>
                  <a:pt x="4657467" y="3920932"/>
                </a:moveTo>
                <a:cubicBezTo>
                  <a:pt x="4699601" y="3920932"/>
                  <a:pt x="4720669" y="3950293"/>
                  <a:pt x="4720669" y="4009015"/>
                </a:cubicBezTo>
                <a:lnTo>
                  <a:pt x="4592276" y="4009015"/>
                </a:lnTo>
                <a:cubicBezTo>
                  <a:pt x="4594267" y="3982474"/>
                  <a:pt x="4601234" y="3961158"/>
                  <a:pt x="4613177" y="3945067"/>
                </a:cubicBezTo>
                <a:cubicBezTo>
                  <a:pt x="4625121" y="3928977"/>
                  <a:pt x="4639884" y="3920932"/>
                  <a:pt x="4657467" y="3920932"/>
                </a:cubicBezTo>
                <a:close/>
                <a:moveTo>
                  <a:pt x="8678650" y="3792540"/>
                </a:moveTo>
                <a:cubicBezTo>
                  <a:pt x="8649123" y="3792540"/>
                  <a:pt x="8613624" y="3796355"/>
                  <a:pt x="8572154" y="3803985"/>
                </a:cubicBezTo>
                <a:cubicBezTo>
                  <a:pt x="8530684" y="3811616"/>
                  <a:pt x="8496180" y="3821403"/>
                  <a:pt x="8468644" y="3833346"/>
                </a:cubicBezTo>
                <a:lnTo>
                  <a:pt x="8468644" y="3971194"/>
                </a:lnTo>
                <a:cubicBezTo>
                  <a:pt x="8532010" y="3938681"/>
                  <a:pt x="8592225" y="3922425"/>
                  <a:pt x="8649288" y="3922425"/>
                </a:cubicBezTo>
                <a:cubicBezTo>
                  <a:pt x="8674503" y="3922425"/>
                  <a:pt x="8694574" y="3927733"/>
                  <a:pt x="8709504" y="3938349"/>
                </a:cubicBezTo>
                <a:cubicBezTo>
                  <a:pt x="8724433" y="3948966"/>
                  <a:pt x="8731898" y="3962568"/>
                  <a:pt x="8731898" y="3979156"/>
                </a:cubicBezTo>
                <a:lnTo>
                  <a:pt x="8605496" y="3995578"/>
                </a:lnTo>
                <a:cubicBezTo>
                  <a:pt x="8482412" y="4011503"/>
                  <a:pt x="8420870" y="4069561"/>
                  <a:pt x="8420870" y="4169754"/>
                </a:cubicBezTo>
                <a:cubicBezTo>
                  <a:pt x="8420870" y="4217528"/>
                  <a:pt x="8434472" y="4255680"/>
                  <a:pt x="8461677" y="4284212"/>
                </a:cubicBezTo>
                <a:cubicBezTo>
                  <a:pt x="8488882" y="4312744"/>
                  <a:pt x="8526536" y="4327009"/>
                  <a:pt x="8574642" y="4327009"/>
                </a:cubicBezTo>
                <a:cubicBezTo>
                  <a:pt x="8644312" y="4327009"/>
                  <a:pt x="8696067" y="4296985"/>
                  <a:pt x="8729907" y="4236936"/>
                </a:cubicBezTo>
                <a:lnTo>
                  <a:pt x="8731898" y="4236936"/>
                </a:lnTo>
                <a:lnTo>
                  <a:pt x="8731898" y="4314568"/>
                </a:lnTo>
                <a:lnTo>
                  <a:pt x="8925481" y="4314568"/>
                </a:lnTo>
                <a:lnTo>
                  <a:pt x="8925481" y="4033399"/>
                </a:lnTo>
                <a:cubicBezTo>
                  <a:pt x="8925481" y="3946809"/>
                  <a:pt x="8905990" y="3885018"/>
                  <a:pt x="8867008" y="3848027"/>
                </a:cubicBezTo>
                <a:cubicBezTo>
                  <a:pt x="8828026" y="3811035"/>
                  <a:pt x="8765240" y="3792540"/>
                  <a:pt x="8678650" y="3792540"/>
                </a:cubicBezTo>
                <a:close/>
                <a:moveTo>
                  <a:pt x="8186285" y="3792540"/>
                </a:moveTo>
                <a:cubicBezTo>
                  <a:pt x="8152777" y="3792540"/>
                  <a:pt x="8121757" y="3800585"/>
                  <a:pt x="8093225" y="3816675"/>
                </a:cubicBezTo>
                <a:cubicBezTo>
                  <a:pt x="8064694" y="3832766"/>
                  <a:pt x="8041968" y="3855409"/>
                  <a:pt x="8025048" y="3884604"/>
                </a:cubicBezTo>
                <a:lnTo>
                  <a:pt x="8023057" y="3884604"/>
                </a:lnTo>
                <a:lnTo>
                  <a:pt x="8023057" y="3804981"/>
                </a:lnTo>
                <a:lnTo>
                  <a:pt x="7811061" y="3804981"/>
                </a:lnTo>
                <a:lnTo>
                  <a:pt x="7811061" y="4314568"/>
                </a:lnTo>
                <a:lnTo>
                  <a:pt x="8023057" y="4314568"/>
                </a:lnTo>
                <a:lnTo>
                  <a:pt x="8023057" y="4023944"/>
                </a:lnTo>
                <a:cubicBezTo>
                  <a:pt x="8023057" y="4001716"/>
                  <a:pt x="8028199" y="3983469"/>
                  <a:pt x="8038484" y="3969203"/>
                </a:cubicBezTo>
                <a:cubicBezTo>
                  <a:pt x="8048769" y="3954937"/>
                  <a:pt x="8063035" y="3947804"/>
                  <a:pt x="8081282" y="3947804"/>
                </a:cubicBezTo>
                <a:cubicBezTo>
                  <a:pt x="8102515" y="3947804"/>
                  <a:pt x="8117858" y="3954688"/>
                  <a:pt x="8127314" y="3968457"/>
                </a:cubicBezTo>
                <a:cubicBezTo>
                  <a:pt x="8136769" y="3982225"/>
                  <a:pt x="8141497" y="4004868"/>
                  <a:pt x="8141497" y="4036385"/>
                </a:cubicBezTo>
                <a:lnTo>
                  <a:pt x="8141497" y="4314568"/>
                </a:lnTo>
                <a:lnTo>
                  <a:pt x="8353493" y="4314568"/>
                </a:lnTo>
                <a:lnTo>
                  <a:pt x="8353493" y="4003541"/>
                </a:lnTo>
                <a:cubicBezTo>
                  <a:pt x="8353493" y="3862873"/>
                  <a:pt x="8297757" y="3792540"/>
                  <a:pt x="8186285" y="3792540"/>
                </a:cubicBezTo>
                <a:close/>
                <a:moveTo>
                  <a:pt x="7487388" y="3792540"/>
                </a:moveTo>
                <a:cubicBezTo>
                  <a:pt x="7435964" y="3792540"/>
                  <a:pt x="7388937" y="3804400"/>
                  <a:pt x="7346306" y="3828121"/>
                </a:cubicBezTo>
                <a:cubicBezTo>
                  <a:pt x="7303674" y="3851842"/>
                  <a:pt x="7271493" y="3884604"/>
                  <a:pt x="7249763" y="3926406"/>
                </a:cubicBezTo>
                <a:cubicBezTo>
                  <a:pt x="7228032" y="3968208"/>
                  <a:pt x="7217167" y="4016479"/>
                  <a:pt x="7217167" y="4071220"/>
                </a:cubicBezTo>
                <a:cubicBezTo>
                  <a:pt x="7217167" y="4150843"/>
                  <a:pt x="7241883" y="4213380"/>
                  <a:pt x="7291316" y="4258832"/>
                </a:cubicBezTo>
                <a:cubicBezTo>
                  <a:pt x="7340749" y="4304284"/>
                  <a:pt x="7409921" y="4327009"/>
                  <a:pt x="7498833" y="4327009"/>
                </a:cubicBezTo>
                <a:cubicBezTo>
                  <a:pt x="7572153" y="4327009"/>
                  <a:pt x="7634524" y="4316725"/>
                  <a:pt x="7685948" y="4296155"/>
                </a:cubicBezTo>
                <a:lnTo>
                  <a:pt x="7685948" y="4161791"/>
                </a:lnTo>
                <a:cubicBezTo>
                  <a:pt x="7641823" y="4180702"/>
                  <a:pt x="7595045" y="4190157"/>
                  <a:pt x="7545612" y="4190157"/>
                </a:cubicBezTo>
                <a:cubicBezTo>
                  <a:pt x="7510113" y="4190157"/>
                  <a:pt x="7481582" y="4183937"/>
                  <a:pt x="7460017" y="4171495"/>
                </a:cubicBezTo>
                <a:cubicBezTo>
                  <a:pt x="7438453" y="4159054"/>
                  <a:pt x="7425846" y="4141886"/>
                  <a:pt x="7422196" y="4119989"/>
                </a:cubicBezTo>
                <a:lnTo>
                  <a:pt x="7737205" y="4119989"/>
                </a:lnTo>
                <a:lnTo>
                  <a:pt x="7737205" y="4040366"/>
                </a:lnTo>
                <a:cubicBezTo>
                  <a:pt x="7737205" y="3990602"/>
                  <a:pt x="7727501" y="3947141"/>
                  <a:pt x="7708093" y="3909984"/>
                </a:cubicBezTo>
                <a:cubicBezTo>
                  <a:pt x="7688685" y="3872826"/>
                  <a:pt x="7660236" y="3843963"/>
                  <a:pt x="7622747" y="3823393"/>
                </a:cubicBezTo>
                <a:cubicBezTo>
                  <a:pt x="7585258" y="3802824"/>
                  <a:pt x="7540138" y="3792540"/>
                  <a:pt x="7487388" y="3792540"/>
                </a:cubicBezTo>
                <a:close/>
                <a:moveTo>
                  <a:pt x="6650201" y="3792540"/>
                </a:moveTo>
                <a:cubicBezTo>
                  <a:pt x="6624656" y="3792540"/>
                  <a:pt x="6600935" y="3797101"/>
                  <a:pt x="6579038" y="3806225"/>
                </a:cubicBezTo>
                <a:cubicBezTo>
                  <a:pt x="6557142" y="3815348"/>
                  <a:pt x="6537485" y="3827292"/>
                  <a:pt x="6520068" y="3842055"/>
                </a:cubicBezTo>
                <a:cubicBezTo>
                  <a:pt x="6502650" y="3856819"/>
                  <a:pt x="6489960" y="3871333"/>
                  <a:pt x="6481998" y="3885599"/>
                </a:cubicBezTo>
                <a:lnTo>
                  <a:pt x="6480007" y="3885599"/>
                </a:lnTo>
                <a:lnTo>
                  <a:pt x="6480007" y="3804981"/>
                </a:lnTo>
                <a:lnTo>
                  <a:pt x="6268011" y="3804981"/>
                </a:lnTo>
                <a:lnTo>
                  <a:pt x="6268011" y="4314568"/>
                </a:lnTo>
                <a:lnTo>
                  <a:pt x="6480007" y="4314568"/>
                </a:lnTo>
                <a:lnTo>
                  <a:pt x="6480007" y="4035390"/>
                </a:lnTo>
                <a:cubicBezTo>
                  <a:pt x="6480007" y="4007190"/>
                  <a:pt x="6485481" y="3985542"/>
                  <a:pt x="6496429" y="3970447"/>
                </a:cubicBezTo>
                <a:cubicBezTo>
                  <a:pt x="6507378" y="3955352"/>
                  <a:pt x="6523634" y="3947804"/>
                  <a:pt x="6545199" y="3947804"/>
                </a:cubicBezTo>
                <a:cubicBezTo>
                  <a:pt x="6580697" y="3947804"/>
                  <a:pt x="6598446" y="3973848"/>
                  <a:pt x="6598446" y="4025935"/>
                </a:cubicBezTo>
                <a:lnTo>
                  <a:pt x="6598446" y="4314568"/>
                </a:lnTo>
                <a:lnTo>
                  <a:pt x="6810443" y="4314568"/>
                </a:lnTo>
                <a:lnTo>
                  <a:pt x="6810443" y="4031409"/>
                </a:lnTo>
                <a:cubicBezTo>
                  <a:pt x="6810443" y="4005199"/>
                  <a:pt x="6815917" y="3984713"/>
                  <a:pt x="6826865" y="3969950"/>
                </a:cubicBezTo>
                <a:cubicBezTo>
                  <a:pt x="6837813" y="3955186"/>
                  <a:pt x="6853074" y="3947804"/>
                  <a:pt x="6872648" y="3947804"/>
                </a:cubicBezTo>
                <a:cubicBezTo>
                  <a:pt x="6892554" y="3947804"/>
                  <a:pt x="6906903" y="3953859"/>
                  <a:pt x="6915695" y="3965968"/>
                </a:cubicBezTo>
                <a:cubicBezTo>
                  <a:pt x="6924486" y="3978078"/>
                  <a:pt x="6928882" y="3996408"/>
                  <a:pt x="6928882" y="4020958"/>
                </a:cubicBezTo>
                <a:lnTo>
                  <a:pt x="6928882" y="4314568"/>
                </a:lnTo>
                <a:lnTo>
                  <a:pt x="7140381" y="4314568"/>
                </a:lnTo>
                <a:lnTo>
                  <a:pt x="7140381" y="3995578"/>
                </a:lnTo>
                <a:cubicBezTo>
                  <a:pt x="7140381" y="3929889"/>
                  <a:pt x="7126115" y="3879627"/>
                  <a:pt x="7097583" y="3844792"/>
                </a:cubicBezTo>
                <a:cubicBezTo>
                  <a:pt x="7069052" y="3809957"/>
                  <a:pt x="7028079" y="3792540"/>
                  <a:pt x="6974665" y="3792540"/>
                </a:cubicBezTo>
                <a:cubicBezTo>
                  <a:pt x="6938171" y="3792540"/>
                  <a:pt x="6904995" y="3800253"/>
                  <a:pt x="6875137" y="3815680"/>
                </a:cubicBezTo>
                <a:cubicBezTo>
                  <a:pt x="6845278" y="3831107"/>
                  <a:pt x="6821391" y="3853086"/>
                  <a:pt x="6803476" y="3881618"/>
                </a:cubicBezTo>
                <a:cubicBezTo>
                  <a:pt x="6786888" y="3850764"/>
                  <a:pt x="6766235" y="3828204"/>
                  <a:pt x="6741519" y="3813938"/>
                </a:cubicBezTo>
                <a:cubicBezTo>
                  <a:pt x="6716803" y="3799673"/>
                  <a:pt x="6686363" y="3792540"/>
                  <a:pt x="6650201" y="3792540"/>
                </a:cubicBezTo>
                <a:close/>
                <a:moveTo>
                  <a:pt x="5892522" y="3792540"/>
                </a:moveTo>
                <a:cubicBezTo>
                  <a:pt x="5834133" y="3792540"/>
                  <a:pt x="5782543" y="3803156"/>
                  <a:pt x="5737755" y="3824389"/>
                </a:cubicBezTo>
                <a:cubicBezTo>
                  <a:pt x="5692967" y="3845622"/>
                  <a:pt x="5658463" y="3876144"/>
                  <a:pt x="5634245" y="3915955"/>
                </a:cubicBezTo>
                <a:cubicBezTo>
                  <a:pt x="5610026" y="3955767"/>
                  <a:pt x="5597917" y="4002711"/>
                  <a:pt x="5597917" y="4056789"/>
                </a:cubicBezTo>
                <a:cubicBezTo>
                  <a:pt x="5597917" y="4141056"/>
                  <a:pt x="5623711" y="4207160"/>
                  <a:pt x="5675300" y="4255100"/>
                </a:cubicBezTo>
                <a:cubicBezTo>
                  <a:pt x="5726889" y="4303039"/>
                  <a:pt x="5798966" y="4327009"/>
                  <a:pt x="5891527" y="4327009"/>
                </a:cubicBezTo>
                <a:cubicBezTo>
                  <a:pt x="5984752" y="4327009"/>
                  <a:pt x="6057325" y="4302459"/>
                  <a:pt x="6109246" y="4253358"/>
                </a:cubicBezTo>
                <a:cubicBezTo>
                  <a:pt x="6161167" y="4204257"/>
                  <a:pt x="6187127" y="4136743"/>
                  <a:pt x="6187127" y="4050817"/>
                </a:cubicBezTo>
                <a:cubicBezTo>
                  <a:pt x="6187127" y="4002048"/>
                  <a:pt x="6175267" y="3957923"/>
                  <a:pt x="6151546" y="3918443"/>
                </a:cubicBezTo>
                <a:cubicBezTo>
                  <a:pt x="6127825" y="3878964"/>
                  <a:pt x="6093819" y="3848110"/>
                  <a:pt x="6049529" y="3825882"/>
                </a:cubicBezTo>
                <a:cubicBezTo>
                  <a:pt x="6005238" y="3803654"/>
                  <a:pt x="5952903" y="3792540"/>
                  <a:pt x="5892522" y="3792540"/>
                </a:cubicBezTo>
                <a:close/>
                <a:moveTo>
                  <a:pt x="5357359" y="3792540"/>
                </a:moveTo>
                <a:cubicBezTo>
                  <a:pt x="5323852" y="3792540"/>
                  <a:pt x="5292832" y="3800585"/>
                  <a:pt x="5264300" y="3816675"/>
                </a:cubicBezTo>
                <a:cubicBezTo>
                  <a:pt x="5235769" y="3832766"/>
                  <a:pt x="5213043" y="3855409"/>
                  <a:pt x="5196123" y="3884604"/>
                </a:cubicBezTo>
                <a:lnTo>
                  <a:pt x="5194133" y="3884604"/>
                </a:lnTo>
                <a:lnTo>
                  <a:pt x="5194133" y="3804981"/>
                </a:lnTo>
                <a:lnTo>
                  <a:pt x="4982136" y="3804981"/>
                </a:lnTo>
                <a:lnTo>
                  <a:pt x="4982136" y="4314568"/>
                </a:lnTo>
                <a:lnTo>
                  <a:pt x="5194133" y="4314568"/>
                </a:lnTo>
                <a:lnTo>
                  <a:pt x="5194133" y="4023944"/>
                </a:lnTo>
                <a:cubicBezTo>
                  <a:pt x="5194133" y="4001716"/>
                  <a:pt x="5199275" y="3983469"/>
                  <a:pt x="5209559" y="3969203"/>
                </a:cubicBezTo>
                <a:cubicBezTo>
                  <a:pt x="5219844" y="3954937"/>
                  <a:pt x="5234110" y="3947804"/>
                  <a:pt x="5252357" y="3947804"/>
                </a:cubicBezTo>
                <a:cubicBezTo>
                  <a:pt x="5273590" y="3947804"/>
                  <a:pt x="5288934" y="3954688"/>
                  <a:pt x="5298389" y="3968457"/>
                </a:cubicBezTo>
                <a:cubicBezTo>
                  <a:pt x="5307845" y="3982225"/>
                  <a:pt x="5312572" y="4004868"/>
                  <a:pt x="5312572" y="4036385"/>
                </a:cubicBezTo>
                <a:lnTo>
                  <a:pt x="5312572" y="4314568"/>
                </a:lnTo>
                <a:lnTo>
                  <a:pt x="5524568" y="4314568"/>
                </a:lnTo>
                <a:lnTo>
                  <a:pt x="5524568" y="4003541"/>
                </a:lnTo>
                <a:cubicBezTo>
                  <a:pt x="5524568" y="3862873"/>
                  <a:pt x="5468832" y="3792540"/>
                  <a:pt x="5357359" y="3792540"/>
                </a:cubicBezTo>
                <a:close/>
                <a:moveTo>
                  <a:pt x="4658463" y="3792540"/>
                </a:moveTo>
                <a:cubicBezTo>
                  <a:pt x="4607039" y="3792540"/>
                  <a:pt x="4560012" y="3804400"/>
                  <a:pt x="4517381" y="3828121"/>
                </a:cubicBezTo>
                <a:cubicBezTo>
                  <a:pt x="4474749" y="3851842"/>
                  <a:pt x="4442568" y="3884604"/>
                  <a:pt x="4420838" y="3926406"/>
                </a:cubicBezTo>
                <a:cubicBezTo>
                  <a:pt x="4399107" y="3968208"/>
                  <a:pt x="4388242" y="4016479"/>
                  <a:pt x="4388242" y="4071220"/>
                </a:cubicBezTo>
                <a:cubicBezTo>
                  <a:pt x="4388242" y="4150843"/>
                  <a:pt x="4412958" y="4213380"/>
                  <a:pt x="4462391" y="4258832"/>
                </a:cubicBezTo>
                <a:cubicBezTo>
                  <a:pt x="4511824" y="4304284"/>
                  <a:pt x="4580996" y="4327009"/>
                  <a:pt x="4669909" y="4327009"/>
                </a:cubicBezTo>
                <a:cubicBezTo>
                  <a:pt x="4743228" y="4327009"/>
                  <a:pt x="4805600" y="4316725"/>
                  <a:pt x="4857023" y="4296155"/>
                </a:cubicBezTo>
                <a:lnTo>
                  <a:pt x="4857023" y="4161791"/>
                </a:lnTo>
                <a:cubicBezTo>
                  <a:pt x="4812899" y="4180702"/>
                  <a:pt x="4766120" y="4190157"/>
                  <a:pt x="4716687" y="4190157"/>
                </a:cubicBezTo>
                <a:cubicBezTo>
                  <a:pt x="4681188" y="4190157"/>
                  <a:pt x="4652657" y="4183937"/>
                  <a:pt x="4631092" y="4171495"/>
                </a:cubicBezTo>
                <a:cubicBezTo>
                  <a:pt x="4609528" y="4159054"/>
                  <a:pt x="4596921" y="4141886"/>
                  <a:pt x="4593271" y="4119989"/>
                </a:cubicBezTo>
                <a:lnTo>
                  <a:pt x="4908280" y="4119989"/>
                </a:lnTo>
                <a:lnTo>
                  <a:pt x="4908280" y="4040366"/>
                </a:lnTo>
                <a:cubicBezTo>
                  <a:pt x="4908280" y="3990602"/>
                  <a:pt x="4898576" y="3947141"/>
                  <a:pt x="4879168" y="3909984"/>
                </a:cubicBezTo>
                <a:cubicBezTo>
                  <a:pt x="4859760" y="3872826"/>
                  <a:pt x="4831311" y="3843963"/>
                  <a:pt x="4793822" y="3823393"/>
                </a:cubicBezTo>
                <a:cubicBezTo>
                  <a:pt x="4756333" y="3802824"/>
                  <a:pt x="4711213" y="3792540"/>
                  <a:pt x="4658463" y="3792540"/>
                </a:cubicBezTo>
                <a:close/>
                <a:moveTo>
                  <a:pt x="3349626" y="3755216"/>
                </a:moveTo>
                <a:lnTo>
                  <a:pt x="3390434" y="3755216"/>
                </a:lnTo>
                <a:cubicBezTo>
                  <a:pt x="3423278" y="3755216"/>
                  <a:pt x="3448160" y="3762681"/>
                  <a:pt x="3465080" y="3777610"/>
                </a:cubicBezTo>
                <a:cubicBezTo>
                  <a:pt x="3482000" y="3792540"/>
                  <a:pt x="3490460" y="3814602"/>
                  <a:pt x="3490460" y="3843797"/>
                </a:cubicBezTo>
                <a:cubicBezTo>
                  <a:pt x="3490460" y="3902187"/>
                  <a:pt x="3459606" y="3931382"/>
                  <a:pt x="3397898" y="3931382"/>
                </a:cubicBezTo>
                <a:lnTo>
                  <a:pt x="3349626" y="3931382"/>
                </a:lnTo>
                <a:close/>
                <a:moveTo>
                  <a:pt x="3134644" y="3600947"/>
                </a:moveTo>
                <a:lnTo>
                  <a:pt x="3134644" y="4314568"/>
                </a:lnTo>
                <a:lnTo>
                  <a:pt x="3349626" y="4314568"/>
                </a:lnTo>
                <a:lnTo>
                  <a:pt x="3349626" y="4085154"/>
                </a:lnTo>
                <a:lnTo>
                  <a:pt x="3415315" y="4085154"/>
                </a:lnTo>
                <a:cubicBezTo>
                  <a:pt x="3476028" y="4085154"/>
                  <a:pt x="3529276" y="4074787"/>
                  <a:pt x="3575059" y="4054051"/>
                </a:cubicBezTo>
                <a:cubicBezTo>
                  <a:pt x="3620842" y="4033316"/>
                  <a:pt x="3656092" y="4004038"/>
                  <a:pt x="3680809" y="3966217"/>
                </a:cubicBezTo>
                <a:cubicBezTo>
                  <a:pt x="3705525" y="3928396"/>
                  <a:pt x="3717883" y="3885101"/>
                  <a:pt x="3717883" y="3836332"/>
                </a:cubicBezTo>
                <a:cubicBezTo>
                  <a:pt x="3717883" y="3755714"/>
                  <a:pt x="3694577" y="3696328"/>
                  <a:pt x="3647964" y="3658176"/>
                </a:cubicBezTo>
                <a:cubicBezTo>
                  <a:pt x="3601351" y="3620023"/>
                  <a:pt x="3527783" y="3600947"/>
                  <a:pt x="3427259" y="3600947"/>
                </a:cubicBezTo>
                <a:close/>
                <a:moveTo>
                  <a:pt x="3781986" y="3560140"/>
                </a:moveTo>
                <a:lnTo>
                  <a:pt x="3781986" y="4314568"/>
                </a:lnTo>
                <a:lnTo>
                  <a:pt x="3993982" y="4314568"/>
                </a:lnTo>
                <a:lnTo>
                  <a:pt x="3993982" y="4024939"/>
                </a:lnTo>
                <a:cubicBezTo>
                  <a:pt x="3993982" y="4002379"/>
                  <a:pt x="3998959" y="3983884"/>
                  <a:pt x="4008912" y="3969452"/>
                </a:cubicBezTo>
                <a:cubicBezTo>
                  <a:pt x="4018865" y="3955020"/>
                  <a:pt x="4033296" y="3947804"/>
                  <a:pt x="4052207" y="3947804"/>
                </a:cubicBezTo>
                <a:cubicBezTo>
                  <a:pt x="4091023" y="3947804"/>
                  <a:pt x="4110431" y="3973184"/>
                  <a:pt x="4110431" y="4023944"/>
                </a:cubicBezTo>
                <a:lnTo>
                  <a:pt x="4110431" y="4314568"/>
                </a:lnTo>
                <a:lnTo>
                  <a:pt x="4315460" y="4314568"/>
                </a:lnTo>
                <a:lnTo>
                  <a:pt x="4315460" y="4001550"/>
                </a:lnTo>
                <a:cubicBezTo>
                  <a:pt x="4315460" y="3932875"/>
                  <a:pt x="4301029" y="3880871"/>
                  <a:pt x="4272165" y="3845539"/>
                </a:cubicBezTo>
                <a:cubicBezTo>
                  <a:pt x="4243302" y="3810206"/>
                  <a:pt x="4201334" y="3792540"/>
                  <a:pt x="4146261" y="3792540"/>
                </a:cubicBezTo>
                <a:cubicBezTo>
                  <a:pt x="4116403" y="3792540"/>
                  <a:pt x="4088452" y="3799589"/>
                  <a:pt x="4062409" y="3813689"/>
                </a:cubicBezTo>
                <a:cubicBezTo>
                  <a:pt x="4036365" y="3827789"/>
                  <a:pt x="4014220" y="3847944"/>
                  <a:pt x="3995973" y="3874153"/>
                </a:cubicBezTo>
                <a:lnTo>
                  <a:pt x="3993982" y="3874153"/>
                </a:lnTo>
                <a:lnTo>
                  <a:pt x="3993982" y="3560140"/>
                </a:lnTo>
                <a:close/>
                <a:moveTo>
                  <a:pt x="7700282" y="2423804"/>
                </a:moveTo>
                <a:cubicBezTo>
                  <a:pt x="7723173" y="2423804"/>
                  <a:pt x="7741337" y="2432264"/>
                  <a:pt x="7754774" y="2449185"/>
                </a:cubicBezTo>
                <a:cubicBezTo>
                  <a:pt x="7768210" y="2466104"/>
                  <a:pt x="7774928" y="2489825"/>
                  <a:pt x="7774928" y="2520347"/>
                </a:cubicBezTo>
                <a:lnTo>
                  <a:pt x="7774928" y="2533784"/>
                </a:lnTo>
                <a:cubicBezTo>
                  <a:pt x="7774928" y="2570941"/>
                  <a:pt x="7767878" y="2599224"/>
                  <a:pt x="7753778" y="2618632"/>
                </a:cubicBezTo>
                <a:cubicBezTo>
                  <a:pt x="7739678" y="2638040"/>
                  <a:pt x="7720851" y="2647745"/>
                  <a:pt x="7697296" y="2647745"/>
                </a:cubicBezTo>
                <a:cubicBezTo>
                  <a:pt x="7647531" y="2647745"/>
                  <a:pt x="7622649" y="2611748"/>
                  <a:pt x="7622649" y="2539756"/>
                </a:cubicBezTo>
                <a:cubicBezTo>
                  <a:pt x="7622649" y="2504589"/>
                  <a:pt x="7629865" y="2476472"/>
                  <a:pt x="7644297" y="2455405"/>
                </a:cubicBezTo>
                <a:cubicBezTo>
                  <a:pt x="7658728" y="2434338"/>
                  <a:pt x="7677390" y="2423804"/>
                  <a:pt x="7700282" y="2423804"/>
                </a:cubicBezTo>
                <a:close/>
                <a:moveTo>
                  <a:pt x="5871482" y="2423804"/>
                </a:moveTo>
                <a:cubicBezTo>
                  <a:pt x="5894373" y="2423804"/>
                  <a:pt x="5912537" y="2432264"/>
                  <a:pt x="5925974" y="2449185"/>
                </a:cubicBezTo>
                <a:cubicBezTo>
                  <a:pt x="5939410" y="2466104"/>
                  <a:pt x="5946128" y="2489825"/>
                  <a:pt x="5946128" y="2520347"/>
                </a:cubicBezTo>
                <a:lnTo>
                  <a:pt x="5946128" y="2533784"/>
                </a:lnTo>
                <a:cubicBezTo>
                  <a:pt x="5946128" y="2570941"/>
                  <a:pt x="5939079" y="2599224"/>
                  <a:pt x="5924978" y="2618632"/>
                </a:cubicBezTo>
                <a:cubicBezTo>
                  <a:pt x="5910878" y="2638040"/>
                  <a:pt x="5892051" y="2647745"/>
                  <a:pt x="5868496" y="2647745"/>
                </a:cubicBezTo>
                <a:cubicBezTo>
                  <a:pt x="5818731" y="2647745"/>
                  <a:pt x="5793849" y="2611748"/>
                  <a:pt x="5793849" y="2539756"/>
                </a:cubicBezTo>
                <a:cubicBezTo>
                  <a:pt x="5793849" y="2504589"/>
                  <a:pt x="5801065" y="2476472"/>
                  <a:pt x="5815497" y="2455405"/>
                </a:cubicBezTo>
                <a:cubicBezTo>
                  <a:pt x="5829928" y="2434338"/>
                  <a:pt x="5848590" y="2423804"/>
                  <a:pt x="5871482" y="2423804"/>
                </a:cubicBezTo>
                <a:close/>
                <a:moveTo>
                  <a:pt x="4463772" y="2423804"/>
                </a:moveTo>
                <a:cubicBezTo>
                  <a:pt x="4516854" y="2423804"/>
                  <a:pt x="4543395" y="2458474"/>
                  <a:pt x="4543395" y="2527812"/>
                </a:cubicBezTo>
                <a:cubicBezTo>
                  <a:pt x="4543395" y="2607767"/>
                  <a:pt x="4517186" y="2647745"/>
                  <a:pt x="4464768" y="2647745"/>
                </a:cubicBezTo>
                <a:cubicBezTo>
                  <a:pt x="4411022" y="2647745"/>
                  <a:pt x="4384149" y="2609426"/>
                  <a:pt x="4384149" y="2532789"/>
                </a:cubicBezTo>
                <a:cubicBezTo>
                  <a:pt x="4384149" y="2460133"/>
                  <a:pt x="4410691" y="2423804"/>
                  <a:pt x="4463772" y="2423804"/>
                </a:cubicBezTo>
                <a:close/>
                <a:moveTo>
                  <a:pt x="8334117" y="2396932"/>
                </a:moveTo>
                <a:cubicBezTo>
                  <a:pt x="8376251" y="2396932"/>
                  <a:pt x="8397318" y="2426293"/>
                  <a:pt x="8397318" y="2485015"/>
                </a:cubicBezTo>
                <a:lnTo>
                  <a:pt x="8268926" y="2485015"/>
                </a:lnTo>
                <a:cubicBezTo>
                  <a:pt x="8270917" y="2458474"/>
                  <a:pt x="8277884" y="2437158"/>
                  <a:pt x="8289827" y="2421067"/>
                </a:cubicBezTo>
                <a:cubicBezTo>
                  <a:pt x="8301771" y="2404977"/>
                  <a:pt x="8316534" y="2396932"/>
                  <a:pt x="8334117" y="2396932"/>
                </a:cubicBezTo>
                <a:close/>
                <a:moveTo>
                  <a:pt x="7115736" y="2280981"/>
                </a:moveTo>
                <a:lnTo>
                  <a:pt x="7115736" y="2790568"/>
                </a:lnTo>
                <a:lnTo>
                  <a:pt x="7327733" y="2790568"/>
                </a:lnTo>
                <a:lnTo>
                  <a:pt x="7327733" y="2280981"/>
                </a:lnTo>
                <a:close/>
                <a:moveTo>
                  <a:pt x="6214693" y="2280981"/>
                </a:moveTo>
                <a:lnTo>
                  <a:pt x="6349555" y="2790568"/>
                </a:lnTo>
                <a:lnTo>
                  <a:pt x="6569513" y="2790568"/>
                </a:lnTo>
                <a:lnTo>
                  <a:pt x="6624752" y="2539756"/>
                </a:lnTo>
                <a:cubicBezTo>
                  <a:pt x="6628401" y="2524163"/>
                  <a:pt x="6632051" y="2498783"/>
                  <a:pt x="6635700" y="2463616"/>
                </a:cubicBezTo>
                <a:lnTo>
                  <a:pt x="6638686" y="2463616"/>
                </a:lnTo>
                <a:cubicBezTo>
                  <a:pt x="6638686" y="2486508"/>
                  <a:pt x="6641838" y="2512883"/>
                  <a:pt x="6648141" y="2542741"/>
                </a:cubicBezTo>
                <a:lnTo>
                  <a:pt x="6698901" y="2790568"/>
                </a:lnTo>
                <a:lnTo>
                  <a:pt x="6919357" y="2790568"/>
                </a:lnTo>
                <a:lnTo>
                  <a:pt x="7061683" y="2280981"/>
                </a:lnTo>
                <a:lnTo>
                  <a:pt x="6871086" y="2280981"/>
                </a:lnTo>
                <a:lnTo>
                  <a:pt x="6825800" y="2628336"/>
                </a:lnTo>
                <a:lnTo>
                  <a:pt x="6824307" y="2642768"/>
                </a:lnTo>
                <a:lnTo>
                  <a:pt x="6821321" y="2642768"/>
                </a:lnTo>
                <a:lnTo>
                  <a:pt x="6818833" y="2610919"/>
                </a:lnTo>
                <a:lnTo>
                  <a:pt x="6814354" y="2575586"/>
                </a:lnTo>
                <a:lnTo>
                  <a:pt x="6758120" y="2280981"/>
                </a:lnTo>
                <a:lnTo>
                  <a:pt x="6556077" y="2280981"/>
                </a:lnTo>
                <a:lnTo>
                  <a:pt x="6490886" y="2575586"/>
                </a:lnTo>
                <a:cubicBezTo>
                  <a:pt x="6489227" y="2582221"/>
                  <a:pt x="6486241" y="2604947"/>
                  <a:pt x="6481928" y="2643763"/>
                </a:cubicBezTo>
                <a:lnTo>
                  <a:pt x="6478942" y="2643763"/>
                </a:lnTo>
                <a:lnTo>
                  <a:pt x="6471477" y="2577577"/>
                </a:lnTo>
                <a:lnTo>
                  <a:pt x="6427685" y="2280981"/>
                </a:lnTo>
                <a:close/>
                <a:moveTo>
                  <a:pt x="5192091" y="2272023"/>
                </a:moveTo>
                <a:cubicBezTo>
                  <a:pt x="5160242" y="2272023"/>
                  <a:pt x="5132374" y="2280400"/>
                  <a:pt x="5108486" y="2297154"/>
                </a:cubicBezTo>
                <a:cubicBezTo>
                  <a:pt x="5084600" y="2313908"/>
                  <a:pt x="5066187" y="2338376"/>
                  <a:pt x="5053248" y="2370557"/>
                </a:cubicBezTo>
                <a:lnTo>
                  <a:pt x="5051258" y="2370557"/>
                </a:lnTo>
                <a:lnTo>
                  <a:pt x="5051258" y="2280981"/>
                </a:lnTo>
                <a:lnTo>
                  <a:pt x="4839261" y="2280981"/>
                </a:lnTo>
                <a:lnTo>
                  <a:pt x="4839261" y="2790568"/>
                </a:lnTo>
                <a:lnTo>
                  <a:pt x="5051258" y="2790568"/>
                </a:lnTo>
                <a:lnTo>
                  <a:pt x="5051258" y="2569614"/>
                </a:lnTo>
                <a:cubicBezTo>
                  <a:pt x="5051258" y="2488664"/>
                  <a:pt x="5086258" y="2448189"/>
                  <a:pt x="5156260" y="2448189"/>
                </a:cubicBezTo>
                <a:cubicBezTo>
                  <a:pt x="5165218" y="2448189"/>
                  <a:pt x="5176498" y="2449682"/>
                  <a:pt x="5190100" y="2452668"/>
                </a:cubicBezTo>
                <a:cubicBezTo>
                  <a:pt x="5203702" y="2455654"/>
                  <a:pt x="5214485" y="2458971"/>
                  <a:pt x="5222447" y="2462621"/>
                </a:cubicBezTo>
                <a:lnTo>
                  <a:pt x="5222447" y="2277995"/>
                </a:lnTo>
                <a:cubicBezTo>
                  <a:pt x="5213821" y="2274014"/>
                  <a:pt x="5203702" y="2272023"/>
                  <a:pt x="5192091" y="2272023"/>
                </a:cubicBezTo>
                <a:close/>
                <a:moveTo>
                  <a:pt x="8335113" y="2268540"/>
                </a:moveTo>
                <a:cubicBezTo>
                  <a:pt x="8283689" y="2268540"/>
                  <a:pt x="8236662" y="2280400"/>
                  <a:pt x="8194031" y="2304121"/>
                </a:cubicBezTo>
                <a:cubicBezTo>
                  <a:pt x="8151399" y="2327842"/>
                  <a:pt x="8119218" y="2360604"/>
                  <a:pt x="8097488" y="2402406"/>
                </a:cubicBezTo>
                <a:cubicBezTo>
                  <a:pt x="8075757" y="2444208"/>
                  <a:pt x="8064892" y="2492479"/>
                  <a:pt x="8064892" y="2547220"/>
                </a:cubicBezTo>
                <a:cubicBezTo>
                  <a:pt x="8064892" y="2626843"/>
                  <a:pt x="8089608" y="2689381"/>
                  <a:pt x="8139041" y="2734832"/>
                </a:cubicBezTo>
                <a:cubicBezTo>
                  <a:pt x="8188473" y="2780284"/>
                  <a:pt x="8257646" y="2803009"/>
                  <a:pt x="8346558" y="2803009"/>
                </a:cubicBezTo>
                <a:cubicBezTo>
                  <a:pt x="8419878" y="2803009"/>
                  <a:pt x="8482250" y="2792725"/>
                  <a:pt x="8533672" y="2772155"/>
                </a:cubicBezTo>
                <a:lnTo>
                  <a:pt x="8533672" y="2637792"/>
                </a:lnTo>
                <a:cubicBezTo>
                  <a:pt x="8489548" y="2656702"/>
                  <a:pt x="8442769" y="2666157"/>
                  <a:pt x="8393337" y="2666157"/>
                </a:cubicBezTo>
                <a:cubicBezTo>
                  <a:pt x="8357839" y="2666157"/>
                  <a:pt x="8329307" y="2659937"/>
                  <a:pt x="8307742" y="2647495"/>
                </a:cubicBezTo>
                <a:cubicBezTo>
                  <a:pt x="8286177" y="2635054"/>
                  <a:pt x="8273571" y="2617886"/>
                  <a:pt x="8269921" y="2595989"/>
                </a:cubicBezTo>
                <a:lnTo>
                  <a:pt x="8584930" y="2595989"/>
                </a:lnTo>
                <a:lnTo>
                  <a:pt x="8584930" y="2516366"/>
                </a:lnTo>
                <a:cubicBezTo>
                  <a:pt x="8584930" y="2466602"/>
                  <a:pt x="8575226" y="2423141"/>
                  <a:pt x="8555818" y="2385984"/>
                </a:cubicBezTo>
                <a:cubicBezTo>
                  <a:pt x="8536410" y="2348826"/>
                  <a:pt x="8507960" y="2319963"/>
                  <a:pt x="8470472" y="2299393"/>
                </a:cubicBezTo>
                <a:cubicBezTo>
                  <a:pt x="8432982" y="2278824"/>
                  <a:pt x="8387863" y="2268540"/>
                  <a:pt x="8335113" y="2268540"/>
                </a:cubicBezTo>
                <a:close/>
                <a:moveTo>
                  <a:pt x="4463772" y="2268540"/>
                </a:moveTo>
                <a:cubicBezTo>
                  <a:pt x="4405383" y="2268540"/>
                  <a:pt x="4353793" y="2279156"/>
                  <a:pt x="4309005" y="2300389"/>
                </a:cubicBezTo>
                <a:cubicBezTo>
                  <a:pt x="4264217" y="2321622"/>
                  <a:pt x="4229714" y="2352144"/>
                  <a:pt x="4205495" y="2391955"/>
                </a:cubicBezTo>
                <a:cubicBezTo>
                  <a:pt x="4181277" y="2431767"/>
                  <a:pt x="4169167" y="2478711"/>
                  <a:pt x="4169167" y="2532789"/>
                </a:cubicBezTo>
                <a:cubicBezTo>
                  <a:pt x="4169167" y="2617056"/>
                  <a:pt x="4194962" y="2683160"/>
                  <a:pt x="4246551" y="2731100"/>
                </a:cubicBezTo>
                <a:cubicBezTo>
                  <a:pt x="4298140" y="2779039"/>
                  <a:pt x="4370216" y="2803009"/>
                  <a:pt x="4462777" y="2803009"/>
                </a:cubicBezTo>
                <a:cubicBezTo>
                  <a:pt x="4556002" y="2803009"/>
                  <a:pt x="4628575" y="2778459"/>
                  <a:pt x="4680496" y="2729358"/>
                </a:cubicBezTo>
                <a:cubicBezTo>
                  <a:pt x="4732417" y="2680257"/>
                  <a:pt x="4758378" y="2612743"/>
                  <a:pt x="4758378" y="2526817"/>
                </a:cubicBezTo>
                <a:cubicBezTo>
                  <a:pt x="4758378" y="2478048"/>
                  <a:pt x="4746517" y="2433923"/>
                  <a:pt x="4722796" y="2394443"/>
                </a:cubicBezTo>
                <a:cubicBezTo>
                  <a:pt x="4699075" y="2354964"/>
                  <a:pt x="4665069" y="2324110"/>
                  <a:pt x="4620779" y="2301882"/>
                </a:cubicBezTo>
                <a:cubicBezTo>
                  <a:pt x="4576489" y="2279654"/>
                  <a:pt x="4524153" y="2268540"/>
                  <a:pt x="4463772" y="2268540"/>
                </a:cubicBezTo>
                <a:close/>
                <a:moveTo>
                  <a:pt x="3074429" y="2076947"/>
                </a:moveTo>
                <a:lnTo>
                  <a:pt x="3244623" y="2790568"/>
                </a:lnTo>
                <a:lnTo>
                  <a:pt x="3486479" y="2790568"/>
                </a:lnTo>
                <a:lnTo>
                  <a:pt x="3593472" y="2383993"/>
                </a:lnTo>
                <a:cubicBezTo>
                  <a:pt x="3598117" y="2367073"/>
                  <a:pt x="3602927" y="2338210"/>
                  <a:pt x="3607904" y="2297403"/>
                </a:cubicBezTo>
                <a:lnTo>
                  <a:pt x="3609894" y="2297403"/>
                </a:lnTo>
                <a:cubicBezTo>
                  <a:pt x="3613544" y="2343518"/>
                  <a:pt x="3616861" y="2372381"/>
                  <a:pt x="3619847" y="2383993"/>
                </a:cubicBezTo>
                <a:lnTo>
                  <a:pt x="3718878" y="2790568"/>
                </a:lnTo>
                <a:lnTo>
                  <a:pt x="3947297" y="2790568"/>
                </a:lnTo>
                <a:lnTo>
                  <a:pt x="4127444" y="2076947"/>
                </a:lnTo>
                <a:lnTo>
                  <a:pt x="3915448" y="2076947"/>
                </a:lnTo>
                <a:lnTo>
                  <a:pt x="3853242" y="2496958"/>
                </a:lnTo>
                <a:lnTo>
                  <a:pt x="3846773" y="2566131"/>
                </a:lnTo>
                <a:lnTo>
                  <a:pt x="3845280" y="2583548"/>
                </a:lnTo>
                <a:lnTo>
                  <a:pt x="3843289" y="2583548"/>
                </a:lnTo>
                <a:lnTo>
                  <a:pt x="3838313" y="2542244"/>
                </a:lnTo>
                <a:lnTo>
                  <a:pt x="3831844" y="2499944"/>
                </a:lnTo>
                <a:lnTo>
                  <a:pt x="3740277" y="2076947"/>
                </a:lnTo>
                <a:lnTo>
                  <a:pt x="3505887" y="2076947"/>
                </a:lnTo>
                <a:lnTo>
                  <a:pt x="3395907" y="2493972"/>
                </a:lnTo>
                <a:cubicBezTo>
                  <a:pt x="3392921" y="2504257"/>
                  <a:pt x="3389770" y="2519767"/>
                  <a:pt x="3386452" y="2540502"/>
                </a:cubicBezTo>
                <a:cubicBezTo>
                  <a:pt x="3383135" y="2561237"/>
                  <a:pt x="3381144" y="2575918"/>
                  <a:pt x="3380480" y="2584544"/>
                </a:cubicBezTo>
                <a:lnTo>
                  <a:pt x="3377495" y="2584544"/>
                </a:lnTo>
                <a:lnTo>
                  <a:pt x="3374509" y="2543239"/>
                </a:lnTo>
                <a:cubicBezTo>
                  <a:pt x="3372518" y="2517693"/>
                  <a:pt x="3371025" y="2502267"/>
                  <a:pt x="3370030" y="2496958"/>
                </a:cubicBezTo>
                <a:lnTo>
                  <a:pt x="3310313" y="2076947"/>
                </a:lnTo>
                <a:close/>
                <a:moveTo>
                  <a:pt x="7221734" y="2045595"/>
                </a:moveTo>
                <a:cubicBezTo>
                  <a:pt x="7185904" y="2045595"/>
                  <a:pt x="7157289" y="2054636"/>
                  <a:pt x="7135890" y="2072717"/>
                </a:cubicBezTo>
                <a:cubicBezTo>
                  <a:pt x="7114492" y="2090798"/>
                  <a:pt x="7103792" y="2114436"/>
                  <a:pt x="7103792" y="2143631"/>
                </a:cubicBezTo>
                <a:cubicBezTo>
                  <a:pt x="7103792" y="2172163"/>
                  <a:pt x="7114824" y="2196050"/>
                  <a:pt x="7136886" y="2215292"/>
                </a:cubicBezTo>
                <a:cubicBezTo>
                  <a:pt x="7158948" y="2234534"/>
                  <a:pt x="7187231" y="2244155"/>
                  <a:pt x="7221734" y="2244155"/>
                </a:cubicBezTo>
                <a:cubicBezTo>
                  <a:pt x="7257233" y="2244155"/>
                  <a:pt x="7285847" y="2234866"/>
                  <a:pt x="7307578" y="2216287"/>
                </a:cubicBezTo>
                <a:cubicBezTo>
                  <a:pt x="7329308" y="2197708"/>
                  <a:pt x="7340174" y="2173490"/>
                  <a:pt x="7340174" y="2143631"/>
                </a:cubicBezTo>
                <a:cubicBezTo>
                  <a:pt x="7340174" y="2114436"/>
                  <a:pt x="7329308" y="2090798"/>
                  <a:pt x="7307578" y="2072717"/>
                </a:cubicBezTo>
                <a:cubicBezTo>
                  <a:pt x="7285847" y="2054636"/>
                  <a:pt x="7257233" y="2045595"/>
                  <a:pt x="7221734" y="2045595"/>
                </a:cubicBezTo>
                <a:close/>
                <a:moveTo>
                  <a:pt x="7770449" y="2036140"/>
                </a:moveTo>
                <a:lnTo>
                  <a:pt x="7770449" y="2331740"/>
                </a:lnTo>
                <a:lnTo>
                  <a:pt x="7768459" y="2331740"/>
                </a:lnTo>
                <a:cubicBezTo>
                  <a:pt x="7764809" y="2321787"/>
                  <a:pt x="7756432" y="2311752"/>
                  <a:pt x="7743328" y="2301633"/>
                </a:cubicBezTo>
                <a:cubicBezTo>
                  <a:pt x="7730223" y="2291514"/>
                  <a:pt x="7714796" y="2283469"/>
                  <a:pt x="7697047" y="2277497"/>
                </a:cubicBezTo>
                <a:cubicBezTo>
                  <a:pt x="7679297" y="2271525"/>
                  <a:pt x="7659972" y="2268540"/>
                  <a:pt x="7639071" y="2268540"/>
                </a:cubicBezTo>
                <a:cubicBezTo>
                  <a:pt x="7594947" y="2268540"/>
                  <a:pt x="7555135" y="2280151"/>
                  <a:pt x="7519637" y="2303375"/>
                </a:cubicBezTo>
                <a:cubicBezTo>
                  <a:pt x="7484138" y="2326598"/>
                  <a:pt x="7456602" y="2359111"/>
                  <a:pt x="7437028" y="2400913"/>
                </a:cubicBezTo>
                <a:cubicBezTo>
                  <a:pt x="7417454" y="2442715"/>
                  <a:pt x="7407667" y="2490655"/>
                  <a:pt x="7407667" y="2544732"/>
                </a:cubicBezTo>
                <a:cubicBezTo>
                  <a:pt x="7407667" y="2597151"/>
                  <a:pt x="7415878" y="2642602"/>
                  <a:pt x="7432300" y="2681086"/>
                </a:cubicBezTo>
                <a:cubicBezTo>
                  <a:pt x="7448723" y="2719571"/>
                  <a:pt x="7473522" y="2749513"/>
                  <a:pt x="7506698" y="2770911"/>
                </a:cubicBezTo>
                <a:cubicBezTo>
                  <a:pt x="7539874" y="2792310"/>
                  <a:pt x="7578193" y="2803009"/>
                  <a:pt x="7621654" y="2803009"/>
                </a:cubicBezTo>
                <a:cubicBezTo>
                  <a:pt x="7648195" y="2803009"/>
                  <a:pt x="7675067" y="2796623"/>
                  <a:pt x="7702272" y="2783850"/>
                </a:cubicBezTo>
                <a:cubicBezTo>
                  <a:pt x="7729477" y="2771077"/>
                  <a:pt x="7751539" y="2753577"/>
                  <a:pt x="7768459" y="2731349"/>
                </a:cubicBezTo>
                <a:lnTo>
                  <a:pt x="7770449" y="2731349"/>
                </a:lnTo>
                <a:lnTo>
                  <a:pt x="7770449" y="2790568"/>
                </a:lnTo>
                <a:lnTo>
                  <a:pt x="7982446" y="2790568"/>
                </a:lnTo>
                <a:lnTo>
                  <a:pt x="7982446" y="2036140"/>
                </a:lnTo>
                <a:close/>
                <a:moveTo>
                  <a:pt x="5941649" y="2036140"/>
                </a:moveTo>
                <a:lnTo>
                  <a:pt x="5941649" y="2331740"/>
                </a:lnTo>
                <a:lnTo>
                  <a:pt x="5939660" y="2331740"/>
                </a:lnTo>
                <a:cubicBezTo>
                  <a:pt x="5936009" y="2321787"/>
                  <a:pt x="5927632" y="2311752"/>
                  <a:pt x="5914528" y="2301633"/>
                </a:cubicBezTo>
                <a:cubicBezTo>
                  <a:pt x="5901423" y="2291514"/>
                  <a:pt x="5885996" y="2283469"/>
                  <a:pt x="5868247" y="2277497"/>
                </a:cubicBezTo>
                <a:cubicBezTo>
                  <a:pt x="5850497" y="2271525"/>
                  <a:pt x="5831172" y="2268540"/>
                  <a:pt x="5810272" y="2268540"/>
                </a:cubicBezTo>
                <a:cubicBezTo>
                  <a:pt x="5766147" y="2268540"/>
                  <a:pt x="5726335" y="2280151"/>
                  <a:pt x="5690837" y="2303375"/>
                </a:cubicBezTo>
                <a:cubicBezTo>
                  <a:pt x="5655338" y="2326598"/>
                  <a:pt x="5627802" y="2359111"/>
                  <a:pt x="5608228" y="2400913"/>
                </a:cubicBezTo>
                <a:cubicBezTo>
                  <a:pt x="5588654" y="2442715"/>
                  <a:pt x="5578867" y="2490655"/>
                  <a:pt x="5578867" y="2544732"/>
                </a:cubicBezTo>
                <a:cubicBezTo>
                  <a:pt x="5578867" y="2597151"/>
                  <a:pt x="5587078" y="2642602"/>
                  <a:pt x="5603501" y="2681086"/>
                </a:cubicBezTo>
                <a:cubicBezTo>
                  <a:pt x="5619922" y="2719571"/>
                  <a:pt x="5644722" y="2749513"/>
                  <a:pt x="5677898" y="2770911"/>
                </a:cubicBezTo>
                <a:cubicBezTo>
                  <a:pt x="5711074" y="2792310"/>
                  <a:pt x="5749393" y="2803009"/>
                  <a:pt x="5792855" y="2803009"/>
                </a:cubicBezTo>
                <a:cubicBezTo>
                  <a:pt x="5819395" y="2803009"/>
                  <a:pt x="5846267" y="2796623"/>
                  <a:pt x="5873472" y="2783850"/>
                </a:cubicBezTo>
                <a:cubicBezTo>
                  <a:pt x="5900677" y="2771077"/>
                  <a:pt x="5922739" y="2753577"/>
                  <a:pt x="5939660" y="2731349"/>
                </a:cubicBezTo>
                <a:lnTo>
                  <a:pt x="5941649" y="2731349"/>
                </a:lnTo>
                <a:lnTo>
                  <a:pt x="5941649" y="2790568"/>
                </a:lnTo>
                <a:lnTo>
                  <a:pt x="6153646" y="2790568"/>
                </a:lnTo>
                <a:lnTo>
                  <a:pt x="6153646" y="2036140"/>
                </a:lnTo>
                <a:close/>
                <a:moveTo>
                  <a:pt x="5286936" y="2036140"/>
                </a:moveTo>
                <a:lnTo>
                  <a:pt x="5286936" y="2790568"/>
                </a:lnTo>
                <a:lnTo>
                  <a:pt x="5498932" y="2790568"/>
                </a:lnTo>
                <a:lnTo>
                  <a:pt x="5498932" y="2036140"/>
                </a:lnTo>
                <a:close/>
                <a:moveTo>
                  <a:pt x="0" y="0"/>
                </a:moveTo>
                <a:lnTo>
                  <a:pt x="12192000" y="0"/>
                </a:lnTo>
                <a:lnTo>
                  <a:pt x="12192000" y="6858000"/>
                </a:lnTo>
                <a:lnTo>
                  <a:pt x="0" y="6858000"/>
                </a:lnTo>
                <a:close/>
              </a:path>
            </a:pathLst>
          </a:custGeom>
          <a:solidFill>
            <a:schemeClr val="tx1">
              <a:lumMod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73152" tIns="73152" rIns="73152" bIns="73152" rtlCol="0" anchor="ctr">
            <a:noAutofit/>
          </a:bodyPr>
          <a:lstStyle/>
          <a:p>
            <a:pPr algn="ctr"/>
            <a:endParaRPr lang="en-US" sz="1000" kern="0" dirty="0" err="1">
              <a:solidFill>
                <a:schemeClr val="tx1"/>
              </a:solidFill>
            </a:endParaRPr>
          </a:p>
        </p:txBody>
      </p:sp>
    </p:spTree>
    <p:extLst>
      <p:ext uri="{BB962C8B-B14F-4D97-AF65-F5344CB8AC3E}">
        <p14:creationId xmlns:p14="http://schemas.microsoft.com/office/powerpoint/2010/main" val="17407691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59977"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0BC6CB6-6E5E-4AA6-B35B-DE075911414E}"/>
              </a:ext>
            </a:extLst>
          </p:cNvPr>
          <p:cNvPicPr>
            <a:picLocks noChangeAspect="1"/>
          </p:cNvPicPr>
          <p:nvPr/>
        </p:nvPicPr>
        <p:blipFill rotWithShape="1">
          <a:blip r:embed="rId2"/>
          <a:srcRect l="6020" t="882" r="21090" b="-529"/>
          <a:stretch/>
        </p:blipFill>
        <p:spPr>
          <a:xfrm>
            <a:off x="6305558" y="1120346"/>
            <a:ext cx="5103847" cy="4994347"/>
          </a:xfrm>
          <a:prstGeom prst="ellipse">
            <a:avLst/>
          </a:prstGeom>
        </p:spPr>
      </p:pic>
      <p:grpSp>
        <p:nvGrpSpPr>
          <p:cNvPr id="12" name="Group 11">
            <a:extLst>
              <a:ext uri="{FF2B5EF4-FFF2-40B4-BE49-F238E27FC236}">
                <a16:creationId xmlns:a16="http://schemas.microsoft.com/office/drawing/2014/main" id="{9DA386B6-E85A-45C2-A49C-AD6A59DC6391}"/>
              </a:ext>
            </a:extLst>
          </p:cNvPr>
          <p:cNvGrpSpPr/>
          <p:nvPr/>
        </p:nvGrpSpPr>
        <p:grpSpPr>
          <a:xfrm>
            <a:off x="-4642218" y="1308248"/>
            <a:ext cx="5000367" cy="3630157"/>
            <a:chOff x="263611" y="1235676"/>
            <a:chExt cx="5000367" cy="3630157"/>
          </a:xfrm>
        </p:grpSpPr>
        <p:sp>
          <p:nvSpPr>
            <p:cNvPr id="5" name="TextBox 4">
              <a:extLst>
                <a:ext uri="{FF2B5EF4-FFF2-40B4-BE49-F238E27FC236}">
                  <a16:creationId xmlns:a16="http://schemas.microsoft.com/office/drawing/2014/main" id="{73AAC8C4-913C-4A14-A7EF-FCB1D90258DB}"/>
                </a:ext>
              </a:extLst>
            </p:cNvPr>
            <p:cNvSpPr txBox="1"/>
            <p:nvPr/>
          </p:nvSpPr>
          <p:spPr>
            <a:xfrm>
              <a:off x="263611" y="1235676"/>
              <a:ext cx="5000367" cy="861774"/>
            </a:xfrm>
            <a:prstGeom prst="rect">
              <a:avLst/>
            </a:prstGeom>
            <a:noFill/>
          </p:spPr>
          <p:txBody>
            <a:bodyPr wrap="square" lIns="0" tIns="0" rIns="0" bIns="0" rtlCol="0">
              <a:spAutoFit/>
            </a:bodyPr>
            <a:lstStyle/>
            <a:p>
              <a:r>
                <a:rPr lang="en-US" sz="2800" dirty="0">
                  <a:solidFill>
                    <a:srgbClr val="FD63B0"/>
                  </a:solidFill>
                </a:rPr>
                <a:t>Urbanization</a:t>
              </a:r>
              <a:r>
                <a:rPr lang="en-US" sz="2800" dirty="0"/>
                <a:t> </a:t>
              </a:r>
              <a:r>
                <a:rPr lang="en-US" sz="2800" kern="0" dirty="0">
                  <a:solidFill>
                    <a:srgbClr val="FD63B0"/>
                  </a:solidFill>
                </a:rPr>
                <a:t>| </a:t>
              </a:r>
            </a:p>
            <a:p>
              <a:pPr algn="l"/>
              <a:endParaRPr lang="en-US" sz="2800" kern="0" dirty="0"/>
            </a:p>
          </p:txBody>
        </p:sp>
        <p:sp>
          <p:nvSpPr>
            <p:cNvPr id="6" name="TextBox 5">
              <a:extLst>
                <a:ext uri="{FF2B5EF4-FFF2-40B4-BE49-F238E27FC236}">
                  <a16:creationId xmlns:a16="http://schemas.microsoft.com/office/drawing/2014/main" id="{42BD364A-2D66-498E-9AC9-EE8974EDC75C}"/>
                </a:ext>
              </a:extLst>
            </p:cNvPr>
            <p:cNvSpPr txBox="1"/>
            <p:nvPr/>
          </p:nvSpPr>
          <p:spPr>
            <a:xfrm>
              <a:off x="263611" y="1911178"/>
              <a:ext cx="4217773" cy="2954655"/>
            </a:xfrm>
            <a:prstGeom prst="rect">
              <a:avLst/>
            </a:prstGeom>
            <a:noFill/>
          </p:spPr>
          <p:txBody>
            <a:bodyPr wrap="square" lIns="0" tIns="0" rIns="0" bIns="0" rtlCol="0">
              <a:spAutoFit/>
            </a:bodyPr>
            <a:lstStyle/>
            <a:p>
              <a:r>
                <a:rPr lang="en-US" sz="1200" dirty="0"/>
                <a:t>Urbanization refers to the population shift from rural to urban areas, the decrease in the proportion of people living in rural areas, and the ways in which societies adapt to this change. It is predominantly the process by which towns and cities are formed and become larger as more people begin living and working in central areas. Lack of opportunities for gainful employment in villages and the ecological stresses is leading to an ever-increasing movement of poor families to towns. Such fast and spontaneous extension of urban areas has brought about debasement of urban condition. It has extended the hole amongst request and supply of infrastructural administrations, for example, vitality, lodging, transport, correspondence, instruction, water supply and sewerage and recreational pleasantries, along these lines exhausting the valuable ecological asset base of the urban areas.</a:t>
              </a:r>
              <a:endParaRPr lang="en-US" sz="1200" kern="0" dirty="0"/>
            </a:p>
          </p:txBody>
        </p:sp>
      </p:grpSp>
      <p:sp>
        <p:nvSpPr>
          <p:cNvPr id="7" name="Oval 6">
            <a:extLst>
              <a:ext uri="{FF2B5EF4-FFF2-40B4-BE49-F238E27FC236}">
                <a16:creationId xmlns:a16="http://schemas.microsoft.com/office/drawing/2014/main" id="{1035979F-DD4F-4B9E-B53A-4ED0B5A2C39C}"/>
              </a:ext>
            </a:extLst>
          </p:cNvPr>
          <p:cNvSpPr/>
          <p:nvPr/>
        </p:nvSpPr>
        <p:spPr>
          <a:xfrm>
            <a:off x="1062681" y="5782962"/>
            <a:ext cx="584886" cy="584886"/>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US" sz="1000" kern="0" dirty="0" err="1">
              <a:solidFill>
                <a:schemeClr val="tx1"/>
              </a:solidFill>
            </a:endParaRPr>
          </a:p>
        </p:txBody>
      </p:sp>
      <p:sp>
        <p:nvSpPr>
          <p:cNvPr id="8" name="Oval 7">
            <a:extLst>
              <a:ext uri="{FF2B5EF4-FFF2-40B4-BE49-F238E27FC236}">
                <a16:creationId xmlns:a16="http://schemas.microsoft.com/office/drawing/2014/main" id="{767DA672-2F9D-440B-A973-A61FC964316D}"/>
              </a:ext>
            </a:extLst>
          </p:cNvPr>
          <p:cNvSpPr/>
          <p:nvPr/>
        </p:nvSpPr>
        <p:spPr>
          <a:xfrm>
            <a:off x="1231558" y="5721178"/>
            <a:ext cx="123566" cy="123567"/>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US" sz="1000" kern="0" dirty="0" err="1">
              <a:solidFill>
                <a:schemeClr val="tx1"/>
              </a:solidFill>
            </a:endParaRPr>
          </a:p>
        </p:txBody>
      </p:sp>
      <p:sp>
        <p:nvSpPr>
          <p:cNvPr id="9" name="Oval 8">
            <a:extLst>
              <a:ext uri="{FF2B5EF4-FFF2-40B4-BE49-F238E27FC236}">
                <a16:creationId xmlns:a16="http://schemas.microsoft.com/office/drawing/2014/main" id="{ED40F455-F162-466F-84C7-C0D51E162CC0}"/>
              </a:ext>
            </a:extLst>
          </p:cNvPr>
          <p:cNvSpPr/>
          <p:nvPr/>
        </p:nvSpPr>
        <p:spPr>
          <a:xfrm>
            <a:off x="1083275" y="6207209"/>
            <a:ext cx="123567" cy="123567"/>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US" sz="1000" kern="0" dirty="0" err="1">
              <a:solidFill>
                <a:schemeClr val="tx1"/>
              </a:solidFill>
            </a:endParaRPr>
          </a:p>
        </p:txBody>
      </p:sp>
      <p:sp>
        <p:nvSpPr>
          <p:cNvPr id="10" name="Oval 9">
            <a:extLst>
              <a:ext uri="{FF2B5EF4-FFF2-40B4-BE49-F238E27FC236}">
                <a16:creationId xmlns:a16="http://schemas.microsoft.com/office/drawing/2014/main" id="{E93A31C8-E4CF-421A-A71C-093488B5C9AF}"/>
              </a:ext>
            </a:extLst>
          </p:cNvPr>
          <p:cNvSpPr/>
          <p:nvPr/>
        </p:nvSpPr>
        <p:spPr>
          <a:xfrm>
            <a:off x="1585783" y="6075405"/>
            <a:ext cx="123567" cy="123567"/>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US" sz="1000" kern="0" dirty="0" err="1">
              <a:solidFill>
                <a:schemeClr val="tx1"/>
              </a:solidFill>
            </a:endParaRPr>
          </a:p>
        </p:txBody>
      </p:sp>
      <p:sp>
        <p:nvSpPr>
          <p:cNvPr id="11" name="Oval 10">
            <a:extLst>
              <a:ext uri="{FF2B5EF4-FFF2-40B4-BE49-F238E27FC236}">
                <a16:creationId xmlns:a16="http://schemas.microsoft.com/office/drawing/2014/main" id="{53317B92-F931-41BA-B818-D64193B2AC75}"/>
              </a:ext>
            </a:extLst>
          </p:cNvPr>
          <p:cNvSpPr/>
          <p:nvPr/>
        </p:nvSpPr>
        <p:spPr>
          <a:xfrm>
            <a:off x="924697" y="5626442"/>
            <a:ext cx="860854" cy="860854"/>
          </a:xfrm>
          <a:prstGeom prst="ellipse">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US" sz="1000" kern="0" dirty="0" err="1">
              <a:solidFill>
                <a:schemeClr val="tx1"/>
              </a:solidFill>
            </a:endParaRPr>
          </a:p>
        </p:txBody>
      </p:sp>
    </p:spTree>
    <p:extLst>
      <p:ext uri="{BB962C8B-B14F-4D97-AF65-F5344CB8AC3E}">
        <p14:creationId xmlns:p14="http://schemas.microsoft.com/office/powerpoint/2010/main" val="35953565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grpId="0" nodeType="withEffect">
                                  <p:stCondLst>
                                    <p:cond delay="0"/>
                                  </p:stCondLst>
                                  <p:childTnLst>
                                    <p:animEffect transition="out" filter="fade">
                                      <p:cBhvr>
                                        <p:cTn id="6" dur="500"/>
                                        <p:tgtEl>
                                          <p:spTgt spid="11"/>
                                        </p:tgtEl>
                                      </p:cBhvr>
                                    </p:animEffect>
                                    <p:set>
                                      <p:cBhvr>
                                        <p:cTn id="7" dur="1" fill="hold">
                                          <p:stCondLst>
                                            <p:cond delay="499"/>
                                          </p:stCondLst>
                                        </p:cTn>
                                        <p:tgtEl>
                                          <p:spTgt spid="11"/>
                                        </p:tgtEl>
                                        <p:attrNameLst>
                                          <p:attrName>style.visibility</p:attrName>
                                        </p:attrNameLst>
                                      </p:cBhvr>
                                      <p:to>
                                        <p:strVal val="hidden"/>
                                      </p:to>
                                    </p:set>
                                  </p:childTnLst>
                                </p:cTn>
                              </p:par>
                              <p:par>
                                <p:cTn id="8" presetID="42" presetClass="path" presetSubtype="0" accel="50000" decel="50000" fill="hold" nodeType="withEffect">
                                  <p:stCondLst>
                                    <p:cond delay="0"/>
                                  </p:stCondLst>
                                  <p:childTnLst>
                                    <p:animMotion origin="layout" path="M 1.04167E-6 -4.07407E-6 L 0.43607 -0.00162 " pathEditMode="relative" rAng="0" ptsTypes="AA">
                                      <p:cBhvr>
                                        <p:cTn id="9" dur="2000" fill="hold"/>
                                        <p:tgtEl>
                                          <p:spTgt spid="12"/>
                                        </p:tgtEl>
                                        <p:attrNameLst>
                                          <p:attrName>ppt_x</p:attrName>
                                          <p:attrName>ppt_y</p:attrName>
                                        </p:attrNameLst>
                                      </p:cBhvr>
                                      <p:rCtr x="21797" y="-9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A6C25D7-C0A7-4B6D-ADE5-D7589E7A8D57}"/>
              </a:ext>
            </a:extLst>
          </p:cNvPr>
          <p:cNvPicPr>
            <a:picLocks noChangeAspect="1"/>
          </p:cNvPicPr>
          <p:nvPr/>
        </p:nvPicPr>
        <p:blipFill rotWithShape="1">
          <a:blip r:embed="rId2"/>
          <a:srcRect l="34604" t="-212" r="10619" b="1178"/>
          <a:stretch/>
        </p:blipFill>
        <p:spPr>
          <a:xfrm>
            <a:off x="6298443" y="1036317"/>
            <a:ext cx="5094485" cy="4785365"/>
          </a:xfrm>
          <a:prstGeom prst="ellipse">
            <a:avLst/>
          </a:prstGeom>
        </p:spPr>
      </p:pic>
      <p:grpSp>
        <p:nvGrpSpPr>
          <p:cNvPr id="15" name="Group 14">
            <a:extLst>
              <a:ext uri="{FF2B5EF4-FFF2-40B4-BE49-F238E27FC236}">
                <a16:creationId xmlns:a16="http://schemas.microsoft.com/office/drawing/2014/main" id="{9E3C0573-DA97-4D02-8AC0-79CA6D5EC6B3}"/>
              </a:ext>
            </a:extLst>
          </p:cNvPr>
          <p:cNvGrpSpPr/>
          <p:nvPr/>
        </p:nvGrpSpPr>
        <p:grpSpPr>
          <a:xfrm>
            <a:off x="-4695567" y="1036317"/>
            <a:ext cx="5000367" cy="3907156"/>
            <a:chOff x="263611" y="1235676"/>
            <a:chExt cx="5000367" cy="3907156"/>
          </a:xfrm>
        </p:grpSpPr>
        <p:sp>
          <p:nvSpPr>
            <p:cNvPr id="8" name="TextBox 7">
              <a:extLst>
                <a:ext uri="{FF2B5EF4-FFF2-40B4-BE49-F238E27FC236}">
                  <a16:creationId xmlns:a16="http://schemas.microsoft.com/office/drawing/2014/main" id="{A6CCC41D-2E24-4B32-9338-130D862A0AE5}"/>
                </a:ext>
              </a:extLst>
            </p:cNvPr>
            <p:cNvSpPr txBox="1"/>
            <p:nvPr/>
          </p:nvSpPr>
          <p:spPr>
            <a:xfrm>
              <a:off x="263611" y="1235676"/>
              <a:ext cx="5000367" cy="923330"/>
            </a:xfrm>
            <a:prstGeom prst="rect">
              <a:avLst/>
            </a:prstGeom>
            <a:noFill/>
          </p:spPr>
          <p:txBody>
            <a:bodyPr wrap="square" lIns="0" tIns="0" rIns="0" bIns="0" rtlCol="0">
              <a:spAutoFit/>
            </a:bodyPr>
            <a:lstStyle/>
            <a:p>
              <a:r>
                <a:rPr lang="en-US" sz="3200" dirty="0">
                  <a:solidFill>
                    <a:srgbClr val="FD63B0"/>
                  </a:solidFill>
                </a:rPr>
                <a:t>Industrialization</a:t>
              </a:r>
              <a:r>
                <a:rPr lang="en-US" sz="3200" kern="0" dirty="0">
                  <a:solidFill>
                    <a:srgbClr val="FD63B0"/>
                  </a:solidFill>
                </a:rPr>
                <a:t> </a:t>
              </a:r>
              <a:r>
                <a:rPr lang="en-US" sz="2800" kern="0" dirty="0">
                  <a:solidFill>
                    <a:srgbClr val="FD63B0"/>
                  </a:solidFill>
                </a:rPr>
                <a:t>| </a:t>
              </a:r>
            </a:p>
            <a:p>
              <a:pPr algn="l"/>
              <a:endParaRPr lang="en-US" sz="2800" kern="0" dirty="0"/>
            </a:p>
          </p:txBody>
        </p:sp>
        <p:sp>
          <p:nvSpPr>
            <p:cNvPr id="9" name="TextBox 8">
              <a:extLst>
                <a:ext uri="{FF2B5EF4-FFF2-40B4-BE49-F238E27FC236}">
                  <a16:creationId xmlns:a16="http://schemas.microsoft.com/office/drawing/2014/main" id="{48C94876-13CA-48E2-BB0B-BEE858A2891A}"/>
                </a:ext>
              </a:extLst>
            </p:cNvPr>
            <p:cNvSpPr txBox="1"/>
            <p:nvPr/>
          </p:nvSpPr>
          <p:spPr>
            <a:xfrm>
              <a:off x="263611" y="1911178"/>
              <a:ext cx="4217773" cy="3231654"/>
            </a:xfrm>
            <a:prstGeom prst="rect">
              <a:avLst/>
            </a:prstGeom>
            <a:noFill/>
          </p:spPr>
          <p:txBody>
            <a:bodyPr wrap="square" lIns="0" tIns="0" rIns="0" bIns="0" rtlCol="0">
              <a:spAutoFit/>
            </a:bodyPr>
            <a:lstStyle/>
            <a:p>
              <a:r>
                <a:rPr lang="en-US" sz="1400" dirty="0"/>
                <a:t>Industrialization is the period of social and economic change that transforms a human group from an agrarian society into an industrial society. This involves an extensive reorganization of an economy for the purpose of manufacturing. Industrialization has brought economic prosperity; additionally, it has resulted in more population, urbanization, obvious stress on the basic life supporting systems while pushing the environmental impacts closer to the threshold limits of tolerance. With booming industrial growth and relatively low land mass, environmental degradation is biggest negative effect of industrial development process. Pollution is the most common byproduct of industrialization.</a:t>
              </a:r>
              <a:endParaRPr lang="en-US" sz="1400" kern="0" dirty="0"/>
            </a:p>
          </p:txBody>
        </p:sp>
      </p:grpSp>
      <p:sp>
        <p:nvSpPr>
          <p:cNvPr id="10" name="Oval 9">
            <a:extLst>
              <a:ext uri="{FF2B5EF4-FFF2-40B4-BE49-F238E27FC236}">
                <a16:creationId xmlns:a16="http://schemas.microsoft.com/office/drawing/2014/main" id="{3F368244-17F4-4322-803F-14FD6F52E4DC}"/>
              </a:ext>
            </a:extLst>
          </p:cNvPr>
          <p:cNvSpPr/>
          <p:nvPr/>
        </p:nvSpPr>
        <p:spPr>
          <a:xfrm>
            <a:off x="1164352" y="5631591"/>
            <a:ext cx="584886" cy="584886"/>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US" sz="1000" kern="0" dirty="0" err="1">
              <a:solidFill>
                <a:schemeClr val="tx1"/>
              </a:solidFill>
            </a:endParaRPr>
          </a:p>
        </p:txBody>
      </p:sp>
      <p:sp>
        <p:nvSpPr>
          <p:cNvPr id="11" name="Oval 10">
            <a:extLst>
              <a:ext uri="{FF2B5EF4-FFF2-40B4-BE49-F238E27FC236}">
                <a16:creationId xmlns:a16="http://schemas.microsoft.com/office/drawing/2014/main" id="{7A7ADF5D-06B1-40B3-B683-EA1BF38BFF01}"/>
              </a:ext>
            </a:extLst>
          </p:cNvPr>
          <p:cNvSpPr/>
          <p:nvPr/>
        </p:nvSpPr>
        <p:spPr>
          <a:xfrm>
            <a:off x="1276008" y="5569807"/>
            <a:ext cx="123566" cy="123567"/>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US" sz="1000" kern="0" dirty="0" err="1">
              <a:solidFill>
                <a:schemeClr val="tx1"/>
              </a:solidFill>
            </a:endParaRPr>
          </a:p>
        </p:txBody>
      </p:sp>
      <p:sp>
        <p:nvSpPr>
          <p:cNvPr id="12" name="Oval 11">
            <a:extLst>
              <a:ext uri="{FF2B5EF4-FFF2-40B4-BE49-F238E27FC236}">
                <a16:creationId xmlns:a16="http://schemas.microsoft.com/office/drawing/2014/main" id="{BA98790D-6E08-47FD-A9C1-714ABC6BC504}"/>
              </a:ext>
            </a:extLst>
          </p:cNvPr>
          <p:cNvSpPr/>
          <p:nvPr/>
        </p:nvSpPr>
        <p:spPr>
          <a:xfrm>
            <a:off x="1189717" y="6083297"/>
            <a:ext cx="123567" cy="123567"/>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US" sz="1000" kern="0" dirty="0" err="1">
              <a:solidFill>
                <a:schemeClr val="tx1"/>
              </a:solidFill>
            </a:endParaRPr>
          </a:p>
        </p:txBody>
      </p:sp>
      <p:sp>
        <p:nvSpPr>
          <p:cNvPr id="13" name="Oval 12">
            <a:extLst>
              <a:ext uri="{FF2B5EF4-FFF2-40B4-BE49-F238E27FC236}">
                <a16:creationId xmlns:a16="http://schemas.microsoft.com/office/drawing/2014/main" id="{FA9E8B42-434C-4257-9CD8-0FAF779B7F31}"/>
              </a:ext>
            </a:extLst>
          </p:cNvPr>
          <p:cNvSpPr/>
          <p:nvPr/>
        </p:nvSpPr>
        <p:spPr>
          <a:xfrm>
            <a:off x="1687454" y="5951660"/>
            <a:ext cx="123567" cy="123567"/>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US" sz="1000" kern="0" dirty="0" err="1">
              <a:solidFill>
                <a:schemeClr val="tx1"/>
              </a:solidFill>
            </a:endParaRPr>
          </a:p>
        </p:txBody>
      </p:sp>
      <p:sp>
        <p:nvSpPr>
          <p:cNvPr id="14" name="Oval 13">
            <a:extLst>
              <a:ext uri="{FF2B5EF4-FFF2-40B4-BE49-F238E27FC236}">
                <a16:creationId xmlns:a16="http://schemas.microsoft.com/office/drawing/2014/main" id="{B85C5E5E-3A1F-466D-9D46-9D80309C3730}"/>
              </a:ext>
            </a:extLst>
          </p:cNvPr>
          <p:cNvSpPr/>
          <p:nvPr/>
        </p:nvSpPr>
        <p:spPr>
          <a:xfrm>
            <a:off x="1026368" y="5493607"/>
            <a:ext cx="860854" cy="860854"/>
          </a:xfrm>
          <a:prstGeom prst="ellipse">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US" sz="1000" kern="0" dirty="0" err="1">
              <a:solidFill>
                <a:schemeClr val="tx1"/>
              </a:solidFill>
            </a:endParaRPr>
          </a:p>
        </p:txBody>
      </p:sp>
    </p:spTree>
    <p:extLst>
      <p:ext uri="{BB962C8B-B14F-4D97-AF65-F5344CB8AC3E}">
        <p14:creationId xmlns:p14="http://schemas.microsoft.com/office/powerpoint/2010/main" val="41986449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grpId="0" nodeType="withEffect">
                                  <p:stCondLst>
                                    <p:cond delay="0"/>
                                  </p:stCondLst>
                                  <p:childTnLst>
                                    <p:animEffect transition="out" filter="fade">
                                      <p:cBhvr>
                                        <p:cTn id="6" dur="500"/>
                                        <p:tgtEl>
                                          <p:spTgt spid="14"/>
                                        </p:tgtEl>
                                      </p:cBhvr>
                                    </p:animEffect>
                                    <p:set>
                                      <p:cBhvr>
                                        <p:cTn id="7" dur="1" fill="hold">
                                          <p:stCondLst>
                                            <p:cond delay="499"/>
                                          </p:stCondLst>
                                        </p:cTn>
                                        <p:tgtEl>
                                          <p:spTgt spid="14"/>
                                        </p:tgtEl>
                                        <p:attrNameLst>
                                          <p:attrName>style.visibility</p:attrName>
                                        </p:attrNameLst>
                                      </p:cBhvr>
                                      <p:to>
                                        <p:strVal val="hidden"/>
                                      </p:to>
                                    </p:set>
                                  </p:childTnLst>
                                </p:cTn>
                              </p:par>
                              <p:par>
                                <p:cTn id="8" presetID="42" presetClass="path" presetSubtype="0" accel="50000" decel="50000" fill="hold" nodeType="withEffect">
                                  <p:stCondLst>
                                    <p:cond delay="0"/>
                                  </p:stCondLst>
                                  <p:childTnLst>
                                    <p:animMotion origin="layout" path="M -1.875E-6 3.7037E-7 L 0.41784 -0.00139 " pathEditMode="relative" rAng="0" ptsTypes="AA">
                                      <p:cBhvr>
                                        <p:cTn id="9" dur="2000" fill="hold"/>
                                        <p:tgtEl>
                                          <p:spTgt spid="15"/>
                                        </p:tgtEl>
                                        <p:attrNameLst>
                                          <p:attrName>ppt_x</p:attrName>
                                          <p:attrName>ppt_y</p:attrName>
                                        </p:attrNameLst>
                                      </p:cBhvr>
                                      <p:rCtr x="20885" y="-6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1F74D4A-9E16-4275-90C5-F97189B724F9}"/>
              </a:ext>
            </a:extLst>
          </p:cNvPr>
          <p:cNvPicPr>
            <a:picLocks noChangeAspect="1"/>
          </p:cNvPicPr>
          <p:nvPr/>
        </p:nvPicPr>
        <p:blipFill>
          <a:blip r:embed="rId4">
            <a:duotone>
              <a:schemeClr val="accent1">
                <a:shade val="45000"/>
                <a:satMod val="135000"/>
              </a:schemeClr>
              <a:prstClr val="white"/>
            </a:duotone>
            <a:extLst>
              <a:ext uri="{BEBA8EAE-BF5A-486C-A8C5-ECC9F3942E4B}">
                <a14:imgProps xmlns:a14="http://schemas.microsoft.com/office/drawing/2010/main">
                  <a14:imgLayer r:embed="rId5">
                    <a14:imgEffect>
                      <a14:saturation sat="400000"/>
                    </a14:imgEffect>
                  </a14:imgLayer>
                </a14:imgProps>
              </a:ext>
            </a:extLst>
          </a:blip>
          <a:stretch>
            <a:fillRect/>
          </a:stretch>
        </p:blipFill>
        <p:spPr>
          <a:xfrm>
            <a:off x="7027335" y="1857674"/>
            <a:ext cx="8779084" cy="11280100"/>
          </a:xfrm>
          <a:prstGeom prst="rect">
            <a:avLst/>
          </a:prstGeom>
        </p:spPr>
      </p:pic>
      <p:graphicFrame>
        <p:nvGraphicFramePr>
          <p:cNvPr id="3" name="Object 2" hidden="1">
            <a:extLst>
              <a:ext uri="{FF2B5EF4-FFF2-40B4-BE49-F238E27FC236}">
                <a16:creationId xmlns:a16="http://schemas.microsoft.com/office/drawing/2014/main" id="{29F5A9FD-BD4B-41CD-9545-C14EE113DFB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4" name="think-cell Slide" r:id="rId6" imgW="360" imgH="360" progId="TCLayout.ActiveDocument.1">
                  <p:embed/>
                </p:oleObj>
              </mc:Choice>
              <mc:Fallback>
                <p:oleObj name="think-cell Slide" r:id="rId6" imgW="360" imgH="360" progId="TCLayout.ActiveDocument.1">
                  <p:embed/>
                  <p:pic>
                    <p:nvPicPr>
                      <p:cNvPr id="3" name="Object 2" hidden="1">
                        <a:extLst>
                          <a:ext uri="{FF2B5EF4-FFF2-40B4-BE49-F238E27FC236}">
                            <a16:creationId xmlns:a16="http://schemas.microsoft.com/office/drawing/2014/main" id="{29F5A9FD-BD4B-41CD-9545-C14EE113DFB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26F784E-485C-46E9-A476-2051D18874E2}"/>
              </a:ext>
            </a:extLst>
          </p:cNvPr>
          <p:cNvSpPr>
            <a:spLocks noGrp="1"/>
          </p:cNvSpPr>
          <p:nvPr>
            <p:ph type="title"/>
          </p:nvPr>
        </p:nvSpPr>
        <p:spPr>
          <a:xfrm>
            <a:off x="282770" y="357691"/>
            <a:ext cx="2180344" cy="688514"/>
          </a:xfrm>
        </p:spPr>
        <p:txBody>
          <a:bodyPr vert="horz" lIns="0" tIns="0" rIns="0" bIns="0" rtlCol="0" anchor="t" anchorCtr="0">
            <a:noAutofit/>
          </a:bodyPr>
          <a:lstStyle/>
          <a:p>
            <a:r>
              <a:rPr lang="en-US" sz="1200" dirty="0">
                <a:ea typeface="+mj-lt"/>
                <a:cs typeface="+mj-lt"/>
              </a:rPr>
              <a:t>Environmental Problems </a:t>
            </a:r>
            <a:br>
              <a:rPr lang="en-US" sz="1200" dirty="0">
                <a:ea typeface="+mj-lt"/>
                <a:cs typeface="+mj-lt"/>
              </a:rPr>
            </a:br>
            <a:br>
              <a:rPr lang="en-US" sz="1200" dirty="0">
                <a:ea typeface="+mj-lt"/>
                <a:cs typeface="+mj-lt"/>
              </a:rPr>
            </a:br>
            <a:endParaRPr lang="en-US" sz="1200" dirty="0"/>
          </a:p>
        </p:txBody>
      </p:sp>
      <p:sp>
        <p:nvSpPr>
          <p:cNvPr id="4" name="TextBox 3">
            <a:extLst>
              <a:ext uri="{FF2B5EF4-FFF2-40B4-BE49-F238E27FC236}">
                <a16:creationId xmlns:a16="http://schemas.microsoft.com/office/drawing/2014/main" id="{32DF85C0-3BEE-4729-9C07-A4274FBB1381}"/>
              </a:ext>
            </a:extLst>
          </p:cNvPr>
          <p:cNvSpPr txBox="1"/>
          <p:nvPr/>
        </p:nvSpPr>
        <p:spPr>
          <a:xfrm>
            <a:off x="282770" y="486504"/>
            <a:ext cx="4879445" cy="430887"/>
          </a:xfrm>
          <a:prstGeom prst="rect">
            <a:avLst/>
          </a:prstGeom>
          <a:noFill/>
        </p:spPr>
        <p:txBody>
          <a:bodyPr wrap="square" lIns="0" tIns="0" rIns="0" bIns="0" rtlCol="0">
            <a:spAutoFit/>
          </a:bodyPr>
          <a:lstStyle/>
          <a:p>
            <a:r>
              <a:rPr lang="en-US" sz="1400" b="1" dirty="0">
                <a:ea typeface="+mj-lt"/>
                <a:cs typeface="+mj-lt"/>
              </a:rPr>
              <a:t>in</a:t>
            </a:r>
            <a:br>
              <a:rPr lang="en-US" sz="1400" b="1" dirty="0">
                <a:ea typeface="+mj-lt"/>
                <a:cs typeface="+mj-lt"/>
              </a:rPr>
            </a:br>
            <a:r>
              <a:rPr lang="en-US" sz="1400" b="1" dirty="0">
                <a:ea typeface="+mj-lt"/>
                <a:cs typeface="+mj-lt"/>
              </a:rPr>
              <a:t>Bangladesh</a:t>
            </a:r>
            <a:endParaRPr lang="en-US" sz="1400" b="1" kern="0" dirty="0"/>
          </a:p>
        </p:txBody>
      </p:sp>
      <p:grpSp>
        <p:nvGrpSpPr>
          <p:cNvPr id="16" name="Group 15">
            <a:extLst>
              <a:ext uri="{FF2B5EF4-FFF2-40B4-BE49-F238E27FC236}">
                <a16:creationId xmlns:a16="http://schemas.microsoft.com/office/drawing/2014/main" id="{C93EA627-E140-4805-A4C1-07B4F53B6A82}"/>
              </a:ext>
            </a:extLst>
          </p:cNvPr>
          <p:cNvGrpSpPr/>
          <p:nvPr/>
        </p:nvGrpSpPr>
        <p:grpSpPr>
          <a:xfrm>
            <a:off x="534413" y="1175018"/>
            <a:ext cx="5768535" cy="5374492"/>
            <a:chOff x="303317" y="865442"/>
            <a:chExt cx="5768535" cy="5374492"/>
          </a:xfrm>
        </p:grpSpPr>
        <p:sp>
          <p:nvSpPr>
            <p:cNvPr id="5" name="Oval 4">
              <a:extLst>
                <a:ext uri="{FF2B5EF4-FFF2-40B4-BE49-F238E27FC236}">
                  <a16:creationId xmlns:a16="http://schemas.microsoft.com/office/drawing/2014/main" id="{774F60E6-7352-4B5C-AE72-36864B38FB92}"/>
                </a:ext>
              </a:extLst>
            </p:cNvPr>
            <p:cNvSpPr/>
            <p:nvPr/>
          </p:nvSpPr>
          <p:spPr>
            <a:xfrm>
              <a:off x="943597" y="1424492"/>
              <a:ext cx="4815442" cy="4815442"/>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US" sz="1000" kern="0" dirty="0" err="1">
                <a:solidFill>
                  <a:schemeClr val="tx1"/>
                </a:solidFill>
              </a:endParaRPr>
            </a:p>
          </p:txBody>
        </p:sp>
        <p:sp>
          <p:nvSpPr>
            <p:cNvPr id="7" name="Oval 6">
              <a:extLst>
                <a:ext uri="{FF2B5EF4-FFF2-40B4-BE49-F238E27FC236}">
                  <a16:creationId xmlns:a16="http://schemas.microsoft.com/office/drawing/2014/main" id="{65374F8B-E21E-43CA-B245-3B9AB1301F29}"/>
                </a:ext>
              </a:extLst>
            </p:cNvPr>
            <p:cNvSpPr/>
            <p:nvPr/>
          </p:nvSpPr>
          <p:spPr>
            <a:xfrm>
              <a:off x="1088819" y="1553306"/>
              <a:ext cx="4524997" cy="4524997"/>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US" sz="1000" kern="0" dirty="0" err="1">
                <a:solidFill>
                  <a:schemeClr val="tx1"/>
                </a:solidFill>
              </a:endParaRPr>
            </a:p>
          </p:txBody>
        </p:sp>
        <mc:AlternateContent xmlns:mc="http://schemas.openxmlformats.org/markup-compatibility/2006" xmlns:pslz="http://schemas.microsoft.com/office/powerpoint/2016/slidezoom">
          <mc:Choice Requires="pslz">
            <p:graphicFrame>
              <p:nvGraphicFramePr>
                <p:cNvPr id="11" name="Slide Zoom 10">
                  <a:extLst>
                    <a:ext uri="{FF2B5EF4-FFF2-40B4-BE49-F238E27FC236}">
                      <a16:creationId xmlns:a16="http://schemas.microsoft.com/office/drawing/2014/main" id="{C60742AC-32AE-4687-8746-ACE4634585BB}"/>
                    </a:ext>
                  </a:extLst>
                </p:cNvPr>
                <p:cNvGraphicFramePr>
                  <a:graphicFrameLocks noChangeAspect="1"/>
                </p:cNvGraphicFramePr>
                <p:nvPr/>
              </p:nvGraphicFramePr>
              <p:xfrm>
                <a:off x="303317" y="865442"/>
                <a:ext cx="3048000" cy="1714500"/>
              </p:xfrm>
              <a:graphic>
                <a:graphicData uri="http://schemas.microsoft.com/office/powerpoint/2016/slidezoom">
                  <pslz:sldZm>
                    <pslz:sldZmObj sldId="264" cId="3199586605">
                      <pslz:zmPr id="{E503200B-98DD-4EBD-9DE7-9259B17BCD61}" returnToParent="0" transitionDur="1000" showBg="0">
                        <p166:blipFill xmlns:p166="http://schemas.microsoft.com/office/powerpoint/2016/6/main">
                          <a:blip r:embed="rId8"/>
                          <a:stretch>
                            <a:fillRect/>
                          </a:stretch>
                        </p166:blipFill>
                        <p166:spPr xmlns:p166="http://schemas.microsoft.com/office/powerpoint/2016/6/main">
                          <a:xfrm>
                            <a:off x="0" y="0"/>
                            <a:ext cx="3048000" cy="1714500"/>
                          </a:xfrm>
                          <a:prstGeom prst="rect">
                            <a:avLst/>
                          </a:prstGeom>
                        </p166:spPr>
                      </pslz:zmPr>
                    </pslz:sldZmObj>
                  </pslz:sldZm>
                </a:graphicData>
              </a:graphic>
            </p:graphicFrame>
          </mc:Choice>
          <mc:Fallback xmlns="">
            <p:pic>
              <p:nvPicPr>
                <p:cNvPr id="11" name="Slide Zoom 10">
                  <a:extLst>
                    <a:ext uri="{FF2B5EF4-FFF2-40B4-BE49-F238E27FC236}">
                      <a16:creationId xmlns:a16="http://schemas.microsoft.com/office/drawing/2014/main" id="{C60742AC-32AE-4687-8746-ACE4634585BB}"/>
                    </a:ext>
                  </a:extLst>
                </p:cNvPr>
                <p:cNvPicPr>
                  <a:picLocks noGrp="1" noRot="1" noChangeAspect="1" noMove="1" noResize="1" noEditPoints="1" noAdjustHandles="1" noChangeArrowheads="1" noChangeShapeType="1"/>
                </p:cNvPicPr>
                <p:nvPr/>
              </p:nvPicPr>
              <p:blipFill>
                <a:blip r:embed="rId9"/>
                <a:stretch>
                  <a:fillRect/>
                </a:stretch>
              </p:blipFill>
              <p:spPr>
                <a:xfrm>
                  <a:off x="534413" y="1175018"/>
                  <a:ext cx="3048000" cy="1714500"/>
                </a:xfrm>
                <a:prstGeom prst="rect">
                  <a:avLst/>
                </a:prstGeom>
              </p:spPr>
            </p:pic>
          </mc:Fallback>
        </mc:AlternateContent>
        <mc:AlternateContent xmlns:mc="http://schemas.openxmlformats.org/markup-compatibility/2006" xmlns:pslz="http://schemas.microsoft.com/office/powerpoint/2016/slidezoom">
          <mc:Choice Requires="pslz">
            <p:graphicFrame>
              <p:nvGraphicFramePr>
                <p:cNvPr id="13" name="Slide Zoom 12">
                  <a:extLst>
                    <a:ext uri="{FF2B5EF4-FFF2-40B4-BE49-F238E27FC236}">
                      <a16:creationId xmlns:a16="http://schemas.microsoft.com/office/drawing/2014/main" id="{F8DB111C-13FB-463F-A878-34E9FB1BCB5B}"/>
                    </a:ext>
                  </a:extLst>
                </p:cNvPr>
                <p:cNvGraphicFramePr>
                  <a:graphicFrameLocks noChangeAspect="1"/>
                </p:cNvGraphicFramePr>
                <p:nvPr/>
              </p:nvGraphicFramePr>
              <p:xfrm>
                <a:off x="2816904" y="4458005"/>
                <a:ext cx="3048000" cy="1714500"/>
              </p:xfrm>
              <a:graphic>
                <a:graphicData uri="http://schemas.microsoft.com/office/powerpoint/2016/slidezoom">
                  <pslz:sldZm>
                    <pslz:sldZmObj sldId="266" cId="4198644984">
                      <pslz:zmPr id="{74D8AA53-9A46-495F-B996-F6F69C67DA19}" returnToParent="0" transitionDur="1000" showBg="0">
                        <p166:blipFill xmlns:p166="http://schemas.microsoft.com/office/powerpoint/2016/6/main">
                          <a:blip r:embed="rId10"/>
                          <a:stretch>
                            <a:fillRect/>
                          </a:stretch>
                        </p166:blipFill>
                        <p166:spPr xmlns:p166="http://schemas.microsoft.com/office/powerpoint/2016/6/main">
                          <a:xfrm>
                            <a:off x="0" y="0"/>
                            <a:ext cx="3048000" cy="1714500"/>
                          </a:xfrm>
                          <a:prstGeom prst="rect">
                            <a:avLst/>
                          </a:prstGeom>
                        </p166:spPr>
                      </pslz:zmPr>
                    </pslz:sldZmObj>
                  </pslz:sldZm>
                </a:graphicData>
              </a:graphic>
            </p:graphicFrame>
          </mc:Choice>
          <mc:Fallback xmlns="">
            <p:pic>
              <p:nvPicPr>
                <p:cNvPr id="13" name="Slide Zoom 12">
                  <a:extLst>
                    <a:ext uri="{FF2B5EF4-FFF2-40B4-BE49-F238E27FC236}">
                      <a16:creationId xmlns:a16="http://schemas.microsoft.com/office/drawing/2014/main" id="{F8DB111C-13FB-463F-A878-34E9FB1BCB5B}"/>
                    </a:ext>
                  </a:extLst>
                </p:cNvPr>
                <p:cNvPicPr>
                  <a:picLocks noGrp="1" noRot="1" noChangeAspect="1" noMove="1" noResize="1" noEditPoints="1" noAdjustHandles="1" noChangeArrowheads="1" noChangeShapeType="1"/>
                </p:cNvPicPr>
                <p:nvPr/>
              </p:nvPicPr>
              <p:blipFill>
                <a:blip r:embed="rId11"/>
                <a:stretch>
                  <a:fillRect/>
                </a:stretch>
              </p:blipFill>
              <p:spPr>
                <a:xfrm>
                  <a:off x="3048000" y="4767581"/>
                  <a:ext cx="3048000" cy="1714500"/>
                </a:xfrm>
                <a:prstGeom prst="rect">
                  <a:avLst/>
                </a:prstGeom>
              </p:spPr>
            </p:pic>
          </mc:Fallback>
        </mc:AlternateContent>
        <mc:AlternateContent xmlns:mc="http://schemas.openxmlformats.org/markup-compatibility/2006" xmlns:pslz="http://schemas.microsoft.com/office/powerpoint/2016/slidezoom">
          <mc:Choice Requires="pslz">
            <p:graphicFrame>
              <p:nvGraphicFramePr>
                <p:cNvPr id="15" name="Slide Zoom 14">
                  <a:extLst>
                    <a:ext uri="{FF2B5EF4-FFF2-40B4-BE49-F238E27FC236}">
                      <a16:creationId xmlns:a16="http://schemas.microsoft.com/office/drawing/2014/main" id="{44AAD99C-AFFC-42EE-BEB2-0C207778D4FE}"/>
                    </a:ext>
                  </a:extLst>
                </p:cNvPr>
                <p:cNvGraphicFramePr>
                  <a:graphicFrameLocks noChangeAspect="1"/>
                </p:cNvGraphicFramePr>
                <p:nvPr/>
              </p:nvGraphicFramePr>
              <p:xfrm>
                <a:off x="2792954" y="1643368"/>
                <a:ext cx="3278898" cy="1844380"/>
              </p:xfrm>
              <a:graphic>
                <a:graphicData uri="http://schemas.microsoft.com/office/powerpoint/2016/slidezoom">
                  <pslz:sldZm>
                    <pslz:sldZmObj sldId="267" cId="3595356556">
                      <pslz:zmPr id="{BEB17AB8-8269-4D2F-A45F-52C0BC2E6C13}" returnToParent="0" transitionDur="1000" showBg="0">
                        <p166:blipFill xmlns:p166="http://schemas.microsoft.com/office/powerpoint/2016/6/main">
                          <a:blip r:embed="rId12"/>
                          <a:stretch>
                            <a:fillRect/>
                          </a:stretch>
                        </p166:blipFill>
                        <p166:spPr xmlns:p166="http://schemas.microsoft.com/office/powerpoint/2016/6/main">
                          <a:xfrm>
                            <a:off x="0" y="0"/>
                            <a:ext cx="3278898" cy="1844380"/>
                          </a:xfrm>
                          <a:prstGeom prst="rect">
                            <a:avLst/>
                          </a:prstGeom>
                        </p166:spPr>
                      </pslz:zmPr>
                    </pslz:sldZmObj>
                  </pslz:sldZm>
                </a:graphicData>
              </a:graphic>
            </p:graphicFrame>
          </mc:Choice>
          <mc:Fallback xmlns="">
            <p:pic>
              <p:nvPicPr>
                <p:cNvPr id="15" name="Slide Zoom 14">
                  <a:extLst>
                    <a:ext uri="{FF2B5EF4-FFF2-40B4-BE49-F238E27FC236}">
                      <a16:creationId xmlns:a16="http://schemas.microsoft.com/office/drawing/2014/main" id="{44AAD99C-AFFC-42EE-BEB2-0C207778D4FE}"/>
                    </a:ext>
                  </a:extLst>
                </p:cNvPr>
                <p:cNvPicPr>
                  <a:picLocks noGrp="1" noRot="1" noChangeAspect="1" noMove="1" noResize="1" noEditPoints="1" noAdjustHandles="1" noChangeArrowheads="1" noChangeShapeType="1"/>
                </p:cNvPicPr>
                <p:nvPr/>
              </p:nvPicPr>
              <p:blipFill>
                <a:blip r:embed="rId13"/>
                <a:stretch>
                  <a:fillRect/>
                </a:stretch>
              </p:blipFill>
              <p:spPr>
                <a:xfrm>
                  <a:off x="3024050" y="1952944"/>
                  <a:ext cx="3278898" cy="1844380"/>
                </a:xfrm>
                <a:prstGeom prst="rect">
                  <a:avLst/>
                </a:prstGeom>
              </p:spPr>
            </p:pic>
          </mc:Fallback>
        </mc:AlternateContent>
      </p:grpSp>
      <p:sp>
        <p:nvSpPr>
          <p:cNvPr id="14" name="Rectangle 13">
            <a:extLst>
              <a:ext uri="{FF2B5EF4-FFF2-40B4-BE49-F238E27FC236}">
                <a16:creationId xmlns:a16="http://schemas.microsoft.com/office/drawing/2014/main" id="{B1F14749-8947-49E5-83FE-57065F2F0C7A}"/>
              </a:ext>
            </a:extLst>
          </p:cNvPr>
          <p:cNvSpPr/>
          <p:nvPr/>
        </p:nvSpPr>
        <p:spPr>
          <a:xfrm>
            <a:off x="4572000" y="308490"/>
            <a:ext cx="7720383" cy="1138773"/>
          </a:xfrm>
          <a:prstGeom prst="rect">
            <a:avLst/>
          </a:prstGeom>
        </p:spPr>
        <p:txBody>
          <a:bodyPr wrap="none">
            <a:spAutoFit/>
          </a:bodyPr>
          <a:lstStyle/>
          <a:p>
            <a:r>
              <a:rPr lang="en-US" sz="4400" dirty="0">
                <a:solidFill>
                  <a:srgbClr val="3699DC"/>
                </a:solidFill>
              </a:rPr>
              <a:t>|</a:t>
            </a:r>
            <a:r>
              <a:rPr lang="en-US" sz="3200" dirty="0">
                <a:solidFill>
                  <a:srgbClr val="3699DC"/>
                </a:solidFill>
              </a:rPr>
              <a:t>  Causes of Environment Degradation</a:t>
            </a:r>
          </a:p>
          <a:p>
            <a:pPr algn="r"/>
            <a:r>
              <a:rPr lang="en-US" sz="2400" dirty="0">
                <a:solidFill>
                  <a:srgbClr val="3699DC"/>
                </a:solidFill>
              </a:rPr>
              <a:t>three major interlinked causes       </a:t>
            </a:r>
          </a:p>
        </p:txBody>
      </p:sp>
    </p:spTree>
    <p:extLst>
      <p:ext uri="{BB962C8B-B14F-4D97-AF65-F5344CB8AC3E}">
        <p14:creationId xmlns:p14="http://schemas.microsoft.com/office/powerpoint/2010/main" val="759387460"/>
      </p:ext>
    </p:extLst>
  </p:cSld>
  <p:clrMapOvr>
    <a:masterClrMapping/>
  </p:clrMapOvr>
  <mc:AlternateContent xmlns:mc="http://schemas.openxmlformats.org/markup-compatibility/2006">
    <mc:Choice xmlns:p14="http://schemas.microsoft.com/office/powerpoint/2010/main" Requires="p14">
      <p:transition spd="slow" p14:dur="800">
        <p14:flythrough/>
      </p:transition>
    </mc:Choice>
    <mc:Fallback>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1F74D4A-9E16-4275-90C5-F97189B724F9}"/>
              </a:ext>
            </a:extLst>
          </p:cNvPr>
          <p:cNvPicPr>
            <a:picLocks noChangeAspect="1"/>
          </p:cNvPicPr>
          <p:nvPr/>
        </p:nvPicPr>
        <p:blipFill>
          <a:blip r:embed="rId4">
            <a:duotone>
              <a:schemeClr val="accent1">
                <a:shade val="45000"/>
                <a:satMod val="135000"/>
              </a:schemeClr>
              <a:prstClr val="white"/>
            </a:duotone>
            <a:extLst>
              <a:ext uri="{BEBA8EAE-BF5A-486C-A8C5-ECC9F3942E4B}">
                <a14:imgProps xmlns:a14="http://schemas.microsoft.com/office/drawing/2010/main">
                  <a14:imgLayer r:embed="rId5">
                    <a14:imgEffect>
                      <a14:saturation sat="400000"/>
                    </a14:imgEffect>
                  </a14:imgLayer>
                </a14:imgProps>
              </a:ext>
            </a:extLst>
          </a:blip>
          <a:stretch>
            <a:fillRect/>
          </a:stretch>
        </p:blipFill>
        <p:spPr>
          <a:xfrm>
            <a:off x="1206419" y="486504"/>
            <a:ext cx="497801" cy="639616"/>
          </a:xfrm>
          <a:prstGeom prst="rect">
            <a:avLst/>
          </a:prstGeom>
        </p:spPr>
      </p:pic>
      <p:graphicFrame>
        <p:nvGraphicFramePr>
          <p:cNvPr id="3" name="Object 2" hidden="1">
            <a:extLst>
              <a:ext uri="{FF2B5EF4-FFF2-40B4-BE49-F238E27FC236}">
                <a16:creationId xmlns:a16="http://schemas.microsoft.com/office/drawing/2014/main" id="{29F5A9FD-BD4B-41CD-9545-C14EE113DFB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8" name="think-cell Slide" r:id="rId6" imgW="360" imgH="360" progId="TCLayout.ActiveDocument.1">
                  <p:embed/>
                </p:oleObj>
              </mc:Choice>
              <mc:Fallback>
                <p:oleObj name="think-cell Slide" r:id="rId6" imgW="360" imgH="360" progId="TCLayout.ActiveDocument.1">
                  <p:embed/>
                  <p:pic>
                    <p:nvPicPr>
                      <p:cNvPr id="3" name="Object 2" hidden="1">
                        <a:extLst>
                          <a:ext uri="{FF2B5EF4-FFF2-40B4-BE49-F238E27FC236}">
                            <a16:creationId xmlns:a16="http://schemas.microsoft.com/office/drawing/2014/main" id="{29F5A9FD-BD4B-41CD-9545-C14EE113DFB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26F784E-485C-46E9-A476-2051D18874E2}"/>
              </a:ext>
            </a:extLst>
          </p:cNvPr>
          <p:cNvSpPr>
            <a:spLocks noGrp="1"/>
          </p:cNvSpPr>
          <p:nvPr>
            <p:ph type="title"/>
          </p:nvPr>
        </p:nvSpPr>
        <p:spPr>
          <a:xfrm>
            <a:off x="282770" y="357691"/>
            <a:ext cx="2180344" cy="688514"/>
          </a:xfrm>
        </p:spPr>
        <p:txBody>
          <a:bodyPr vert="horz" lIns="0" tIns="0" rIns="0" bIns="0" rtlCol="0" anchor="t" anchorCtr="0">
            <a:noAutofit/>
          </a:bodyPr>
          <a:lstStyle/>
          <a:p>
            <a:r>
              <a:rPr lang="en-US" sz="1200" dirty="0">
                <a:ea typeface="+mj-lt"/>
                <a:cs typeface="+mj-lt"/>
              </a:rPr>
              <a:t>Environmental Problems </a:t>
            </a:r>
            <a:br>
              <a:rPr lang="en-US" sz="1200" dirty="0">
                <a:ea typeface="+mj-lt"/>
                <a:cs typeface="+mj-lt"/>
              </a:rPr>
            </a:br>
            <a:br>
              <a:rPr lang="en-US" sz="1200" dirty="0">
                <a:ea typeface="+mj-lt"/>
                <a:cs typeface="+mj-lt"/>
              </a:rPr>
            </a:br>
            <a:endParaRPr lang="en-US" sz="1200" dirty="0"/>
          </a:p>
        </p:txBody>
      </p:sp>
      <p:sp>
        <p:nvSpPr>
          <p:cNvPr id="4" name="TextBox 3">
            <a:extLst>
              <a:ext uri="{FF2B5EF4-FFF2-40B4-BE49-F238E27FC236}">
                <a16:creationId xmlns:a16="http://schemas.microsoft.com/office/drawing/2014/main" id="{32DF85C0-3BEE-4729-9C07-A4274FBB1381}"/>
              </a:ext>
            </a:extLst>
          </p:cNvPr>
          <p:cNvSpPr txBox="1"/>
          <p:nvPr/>
        </p:nvSpPr>
        <p:spPr>
          <a:xfrm>
            <a:off x="282770" y="486504"/>
            <a:ext cx="4879445" cy="430887"/>
          </a:xfrm>
          <a:prstGeom prst="rect">
            <a:avLst/>
          </a:prstGeom>
          <a:noFill/>
        </p:spPr>
        <p:txBody>
          <a:bodyPr wrap="square" lIns="0" tIns="0" rIns="0" bIns="0" rtlCol="0">
            <a:spAutoFit/>
          </a:bodyPr>
          <a:lstStyle/>
          <a:p>
            <a:r>
              <a:rPr lang="en-US" sz="1400" b="1" dirty="0">
                <a:ea typeface="+mj-lt"/>
                <a:cs typeface="+mj-lt"/>
              </a:rPr>
              <a:t>in</a:t>
            </a:r>
            <a:br>
              <a:rPr lang="en-US" sz="1400" b="1" dirty="0">
                <a:ea typeface="+mj-lt"/>
                <a:cs typeface="+mj-lt"/>
              </a:rPr>
            </a:br>
            <a:r>
              <a:rPr lang="en-US" sz="1400" b="1" dirty="0">
                <a:ea typeface="+mj-lt"/>
                <a:cs typeface="+mj-lt"/>
              </a:rPr>
              <a:t>Bangladesh</a:t>
            </a:r>
            <a:endParaRPr lang="en-US" sz="1400" b="1" kern="0" dirty="0"/>
          </a:p>
        </p:txBody>
      </p:sp>
      <p:sp>
        <p:nvSpPr>
          <p:cNvPr id="7" name="TextBox 6">
            <a:extLst>
              <a:ext uri="{FF2B5EF4-FFF2-40B4-BE49-F238E27FC236}">
                <a16:creationId xmlns:a16="http://schemas.microsoft.com/office/drawing/2014/main" id="{70473734-93BA-4243-8DF0-D39BF70A07A7}"/>
              </a:ext>
            </a:extLst>
          </p:cNvPr>
          <p:cNvSpPr txBox="1"/>
          <p:nvPr/>
        </p:nvSpPr>
        <p:spPr>
          <a:xfrm>
            <a:off x="6911803" y="418234"/>
            <a:ext cx="5078039" cy="707886"/>
          </a:xfrm>
          <a:prstGeom prst="rect">
            <a:avLst/>
          </a:prstGeom>
          <a:noFill/>
        </p:spPr>
        <p:txBody>
          <a:bodyPr wrap="square" lIns="0" tIns="0" rIns="0" bIns="0" rtlCol="0">
            <a:spAutoFit/>
          </a:bodyPr>
          <a:lstStyle/>
          <a:p>
            <a:r>
              <a:rPr lang="en-US" sz="3200" dirty="0">
                <a:solidFill>
                  <a:schemeClr val="accent1">
                    <a:lumMod val="60000"/>
                    <a:lumOff val="40000"/>
                  </a:schemeClr>
                </a:solidFill>
              </a:rPr>
              <a:t>|  </a:t>
            </a:r>
            <a:r>
              <a:rPr lang="en-US" sz="2400" dirty="0">
                <a:solidFill>
                  <a:schemeClr val="accent1">
                    <a:lumMod val="60000"/>
                    <a:lumOff val="40000"/>
                  </a:schemeClr>
                </a:solidFill>
              </a:rPr>
              <a:t>How Environment is Degrading</a:t>
            </a:r>
          </a:p>
          <a:p>
            <a:pPr algn="l"/>
            <a:endParaRPr lang="en-US" sz="1400" kern="0" dirty="0"/>
          </a:p>
        </p:txBody>
      </p:sp>
      <p:pic>
        <p:nvPicPr>
          <p:cNvPr id="9" name="Picture 8">
            <a:extLst>
              <a:ext uri="{FF2B5EF4-FFF2-40B4-BE49-F238E27FC236}">
                <a16:creationId xmlns:a16="http://schemas.microsoft.com/office/drawing/2014/main" id="{4126782E-A0DD-4456-9A3D-7CBD380BF2A0}"/>
              </a:ext>
            </a:extLst>
          </p:cNvPr>
          <p:cNvPicPr>
            <a:picLocks noChangeAspect="1"/>
          </p:cNvPicPr>
          <p:nvPr/>
        </p:nvPicPr>
        <p:blipFill rotWithShape="1">
          <a:blip r:embed="rId8"/>
          <a:srcRect l="12509" r="12509"/>
          <a:stretch/>
        </p:blipFill>
        <p:spPr>
          <a:xfrm>
            <a:off x="4442923" y="7075488"/>
            <a:ext cx="2468880" cy="2468880"/>
          </a:xfrm>
          <a:prstGeom prst="ellipse">
            <a:avLst/>
          </a:prstGeom>
        </p:spPr>
      </p:pic>
      <p:pic>
        <p:nvPicPr>
          <p:cNvPr id="11" name="Picture 10">
            <a:extLst>
              <a:ext uri="{FF2B5EF4-FFF2-40B4-BE49-F238E27FC236}">
                <a16:creationId xmlns:a16="http://schemas.microsoft.com/office/drawing/2014/main" id="{3BC0655A-4536-4BAD-B2A1-9C6B33F9DF35}"/>
              </a:ext>
            </a:extLst>
          </p:cNvPr>
          <p:cNvPicPr>
            <a:picLocks noChangeAspect="1"/>
          </p:cNvPicPr>
          <p:nvPr/>
        </p:nvPicPr>
        <p:blipFill rotWithShape="1">
          <a:blip r:embed="rId9"/>
          <a:srcRect l="16415" r="16415"/>
          <a:stretch/>
        </p:blipFill>
        <p:spPr>
          <a:xfrm>
            <a:off x="2072931" y="7098868"/>
            <a:ext cx="2011680" cy="2011680"/>
          </a:xfrm>
          <a:prstGeom prst="ellipse">
            <a:avLst/>
          </a:prstGeom>
        </p:spPr>
      </p:pic>
      <p:pic>
        <p:nvPicPr>
          <p:cNvPr id="13" name="Picture 12">
            <a:extLst>
              <a:ext uri="{FF2B5EF4-FFF2-40B4-BE49-F238E27FC236}">
                <a16:creationId xmlns:a16="http://schemas.microsoft.com/office/drawing/2014/main" id="{4A5FAB27-2FB5-488E-BD11-436E74F36966}"/>
              </a:ext>
            </a:extLst>
          </p:cNvPr>
          <p:cNvPicPr>
            <a:picLocks noChangeAspect="1"/>
          </p:cNvPicPr>
          <p:nvPr/>
        </p:nvPicPr>
        <p:blipFill rotWithShape="1">
          <a:blip r:embed="rId10"/>
          <a:srcRect l="16667" r="16667"/>
          <a:stretch/>
        </p:blipFill>
        <p:spPr>
          <a:xfrm>
            <a:off x="-114181" y="7098868"/>
            <a:ext cx="1828800" cy="1828800"/>
          </a:xfrm>
          <a:prstGeom prst="ellipse">
            <a:avLst/>
          </a:prstGeom>
        </p:spPr>
      </p:pic>
      <p:pic>
        <p:nvPicPr>
          <p:cNvPr id="15" name="Picture 14">
            <a:extLst>
              <a:ext uri="{FF2B5EF4-FFF2-40B4-BE49-F238E27FC236}">
                <a16:creationId xmlns:a16="http://schemas.microsoft.com/office/drawing/2014/main" id="{847AD379-8168-4002-B5E5-AD5E8062CBD8}"/>
              </a:ext>
            </a:extLst>
          </p:cNvPr>
          <p:cNvPicPr>
            <a:picLocks noChangeAspect="1"/>
          </p:cNvPicPr>
          <p:nvPr/>
        </p:nvPicPr>
        <p:blipFill rotWithShape="1">
          <a:blip r:embed="rId11"/>
          <a:srcRect l="16687" r="16687"/>
          <a:stretch/>
        </p:blipFill>
        <p:spPr>
          <a:xfrm>
            <a:off x="-2118413" y="7075488"/>
            <a:ext cx="1645920" cy="1645920"/>
          </a:xfrm>
          <a:prstGeom prst="ellipse">
            <a:avLst/>
          </a:prstGeom>
        </p:spPr>
      </p:pic>
      <p:pic>
        <p:nvPicPr>
          <p:cNvPr id="17" name="Picture 16">
            <a:extLst>
              <a:ext uri="{FF2B5EF4-FFF2-40B4-BE49-F238E27FC236}">
                <a16:creationId xmlns:a16="http://schemas.microsoft.com/office/drawing/2014/main" id="{977ECD24-F498-4DA1-A833-9E29E2CA6B95}"/>
              </a:ext>
            </a:extLst>
          </p:cNvPr>
          <p:cNvPicPr>
            <a:picLocks noChangeAspect="1"/>
          </p:cNvPicPr>
          <p:nvPr/>
        </p:nvPicPr>
        <p:blipFill rotWithShape="1">
          <a:blip r:embed="rId12"/>
          <a:srcRect l="42507" t="1778" r="1243" b="-1778"/>
          <a:stretch/>
        </p:blipFill>
        <p:spPr>
          <a:xfrm>
            <a:off x="-5669677" y="7075488"/>
            <a:ext cx="1371600" cy="1371600"/>
          </a:xfrm>
          <a:prstGeom prst="ellipse">
            <a:avLst/>
          </a:prstGeom>
        </p:spPr>
      </p:pic>
      <p:pic>
        <p:nvPicPr>
          <p:cNvPr id="24" name="Picture 23">
            <a:extLst>
              <a:ext uri="{FF2B5EF4-FFF2-40B4-BE49-F238E27FC236}">
                <a16:creationId xmlns:a16="http://schemas.microsoft.com/office/drawing/2014/main" id="{6C8A0449-F503-4FBC-A6C2-4A367FC990C8}"/>
              </a:ext>
            </a:extLst>
          </p:cNvPr>
          <p:cNvPicPr>
            <a:picLocks noChangeAspect="1"/>
          </p:cNvPicPr>
          <p:nvPr/>
        </p:nvPicPr>
        <p:blipFill rotWithShape="1">
          <a:blip r:embed="rId13"/>
          <a:srcRect l="16700" r="16700"/>
          <a:stretch/>
        </p:blipFill>
        <p:spPr>
          <a:xfrm>
            <a:off x="-3939765" y="7075488"/>
            <a:ext cx="1463040" cy="1463040"/>
          </a:xfrm>
          <a:prstGeom prst="ellipse">
            <a:avLst/>
          </a:prstGeom>
        </p:spPr>
      </p:pic>
      <p:pic>
        <p:nvPicPr>
          <p:cNvPr id="14" name="Picture 13">
            <a:extLst>
              <a:ext uri="{FF2B5EF4-FFF2-40B4-BE49-F238E27FC236}">
                <a16:creationId xmlns:a16="http://schemas.microsoft.com/office/drawing/2014/main" id="{76054CA2-D2C3-4DFD-88EE-EC578F676016}"/>
              </a:ext>
            </a:extLst>
          </p:cNvPr>
          <p:cNvPicPr>
            <a:picLocks noChangeAspect="1"/>
          </p:cNvPicPr>
          <p:nvPr/>
        </p:nvPicPr>
        <p:blipFill rotWithShape="1">
          <a:blip r:embed="rId11"/>
          <a:srcRect l="16687" r="16687"/>
          <a:stretch/>
        </p:blipFill>
        <p:spPr>
          <a:xfrm>
            <a:off x="11827220" y="7098868"/>
            <a:ext cx="1604433" cy="1604433"/>
          </a:xfrm>
          <a:prstGeom prst="ellipse">
            <a:avLst/>
          </a:prstGeom>
        </p:spPr>
      </p:pic>
      <p:pic>
        <p:nvPicPr>
          <p:cNvPr id="16" name="Picture 15">
            <a:extLst>
              <a:ext uri="{FF2B5EF4-FFF2-40B4-BE49-F238E27FC236}">
                <a16:creationId xmlns:a16="http://schemas.microsoft.com/office/drawing/2014/main" id="{5221857B-D613-4CAF-BF44-3E825AE9C7F9}"/>
              </a:ext>
            </a:extLst>
          </p:cNvPr>
          <p:cNvPicPr>
            <a:picLocks noChangeAspect="1"/>
          </p:cNvPicPr>
          <p:nvPr/>
        </p:nvPicPr>
        <p:blipFill rotWithShape="1">
          <a:blip r:embed="rId12"/>
          <a:srcRect l="42507" t="1778" r="1243" b="-1778"/>
          <a:stretch/>
        </p:blipFill>
        <p:spPr>
          <a:xfrm>
            <a:off x="7297102" y="7144589"/>
            <a:ext cx="1984692" cy="1984692"/>
          </a:xfrm>
          <a:prstGeom prst="ellipse">
            <a:avLst/>
          </a:prstGeom>
        </p:spPr>
      </p:pic>
      <p:pic>
        <p:nvPicPr>
          <p:cNvPr id="18" name="Picture 17">
            <a:extLst>
              <a:ext uri="{FF2B5EF4-FFF2-40B4-BE49-F238E27FC236}">
                <a16:creationId xmlns:a16="http://schemas.microsoft.com/office/drawing/2014/main" id="{C0924FF9-2F54-4523-BDA0-11A0CBDBCA8F}"/>
              </a:ext>
            </a:extLst>
          </p:cNvPr>
          <p:cNvPicPr>
            <a:picLocks noChangeAspect="1"/>
          </p:cNvPicPr>
          <p:nvPr/>
        </p:nvPicPr>
        <p:blipFill rotWithShape="1">
          <a:blip r:embed="rId13"/>
          <a:srcRect l="16700" r="16700"/>
          <a:stretch/>
        </p:blipFill>
        <p:spPr>
          <a:xfrm>
            <a:off x="9640107" y="7117600"/>
            <a:ext cx="1828800" cy="1828800"/>
          </a:xfrm>
          <a:prstGeom prst="ellipse">
            <a:avLst/>
          </a:prstGeom>
        </p:spPr>
      </p:pic>
    </p:spTree>
    <p:extLst>
      <p:ext uri="{BB962C8B-B14F-4D97-AF65-F5344CB8AC3E}">
        <p14:creationId xmlns:p14="http://schemas.microsoft.com/office/powerpoint/2010/main" val="5249434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1F74D4A-9E16-4275-90C5-F97189B724F9}"/>
              </a:ext>
            </a:extLst>
          </p:cNvPr>
          <p:cNvPicPr>
            <a:picLocks noChangeAspect="1"/>
          </p:cNvPicPr>
          <p:nvPr/>
        </p:nvPicPr>
        <p:blipFill>
          <a:blip r:embed="rId4">
            <a:duotone>
              <a:schemeClr val="accent1">
                <a:shade val="45000"/>
                <a:satMod val="135000"/>
              </a:schemeClr>
              <a:prstClr val="white"/>
            </a:duotone>
            <a:extLst>
              <a:ext uri="{BEBA8EAE-BF5A-486C-A8C5-ECC9F3942E4B}">
                <a14:imgProps xmlns:a14="http://schemas.microsoft.com/office/drawing/2010/main">
                  <a14:imgLayer r:embed="rId5">
                    <a14:imgEffect>
                      <a14:saturation sat="400000"/>
                    </a14:imgEffect>
                  </a14:imgLayer>
                </a14:imgProps>
              </a:ext>
            </a:extLst>
          </a:blip>
          <a:stretch>
            <a:fillRect/>
          </a:stretch>
        </p:blipFill>
        <p:spPr>
          <a:xfrm>
            <a:off x="1206419" y="486504"/>
            <a:ext cx="497801" cy="639616"/>
          </a:xfrm>
          <a:prstGeom prst="rect">
            <a:avLst/>
          </a:prstGeom>
        </p:spPr>
      </p:pic>
      <p:graphicFrame>
        <p:nvGraphicFramePr>
          <p:cNvPr id="3" name="Object 2" hidden="1">
            <a:extLst>
              <a:ext uri="{FF2B5EF4-FFF2-40B4-BE49-F238E27FC236}">
                <a16:creationId xmlns:a16="http://schemas.microsoft.com/office/drawing/2014/main" id="{29F5A9FD-BD4B-41CD-9545-C14EE113DFB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9" name="think-cell Slide" r:id="rId6" imgW="360" imgH="360" progId="TCLayout.ActiveDocument.1">
                  <p:embed/>
                </p:oleObj>
              </mc:Choice>
              <mc:Fallback>
                <p:oleObj name="think-cell Slide" r:id="rId6" imgW="360" imgH="360" progId="TCLayout.ActiveDocument.1">
                  <p:embed/>
                  <p:pic>
                    <p:nvPicPr>
                      <p:cNvPr id="3" name="Object 2" hidden="1">
                        <a:extLst>
                          <a:ext uri="{FF2B5EF4-FFF2-40B4-BE49-F238E27FC236}">
                            <a16:creationId xmlns:a16="http://schemas.microsoft.com/office/drawing/2014/main" id="{29F5A9FD-BD4B-41CD-9545-C14EE113DFB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26F784E-485C-46E9-A476-2051D18874E2}"/>
              </a:ext>
            </a:extLst>
          </p:cNvPr>
          <p:cNvSpPr>
            <a:spLocks noGrp="1"/>
          </p:cNvSpPr>
          <p:nvPr>
            <p:ph type="title"/>
          </p:nvPr>
        </p:nvSpPr>
        <p:spPr>
          <a:xfrm>
            <a:off x="282770" y="357691"/>
            <a:ext cx="2180344" cy="688514"/>
          </a:xfrm>
        </p:spPr>
        <p:txBody>
          <a:bodyPr vert="horz" lIns="0" tIns="0" rIns="0" bIns="0" rtlCol="0" anchor="t" anchorCtr="0">
            <a:noAutofit/>
          </a:bodyPr>
          <a:lstStyle/>
          <a:p>
            <a:r>
              <a:rPr lang="en-US" sz="1200" dirty="0">
                <a:ea typeface="+mj-lt"/>
                <a:cs typeface="+mj-lt"/>
              </a:rPr>
              <a:t>Environmental Problems </a:t>
            </a:r>
            <a:br>
              <a:rPr lang="en-US" sz="1200" dirty="0">
                <a:ea typeface="+mj-lt"/>
                <a:cs typeface="+mj-lt"/>
              </a:rPr>
            </a:br>
            <a:br>
              <a:rPr lang="en-US" sz="1200" dirty="0">
                <a:ea typeface="+mj-lt"/>
                <a:cs typeface="+mj-lt"/>
              </a:rPr>
            </a:br>
            <a:endParaRPr lang="en-US" sz="1200" dirty="0"/>
          </a:p>
        </p:txBody>
      </p:sp>
      <p:sp>
        <p:nvSpPr>
          <p:cNvPr id="4" name="TextBox 3">
            <a:extLst>
              <a:ext uri="{FF2B5EF4-FFF2-40B4-BE49-F238E27FC236}">
                <a16:creationId xmlns:a16="http://schemas.microsoft.com/office/drawing/2014/main" id="{32DF85C0-3BEE-4729-9C07-A4274FBB1381}"/>
              </a:ext>
            </a:extLst>
          </p:cNvPr>
          <p:cNvSpPr txBox="1"/>
          <p:nvPr/>
        </p:nvSpPr>
        <p:spPr>
          <a:xfrm>
            <a:off x="282770" y="486504"/>
            <a:ext cx="4879445" cy="430887"/>
          </a:xfrm>
          <a:prstGeom prst="rect">
            <a:avLst/>
          </a:prstGeom>
          <a:noFill/>
        </p:spPr>
        <p:txBody>
          <a:bodyPr wrap="square" lIns="0" tIns="0" rIns="0" bIns="0" rtlCol="0">
            <a:spAutoFit/>
          </a:bodyPr>
          <a:lstStyle/>
          <a:p>
            <a:r>
              <a:rPr lang="en-US" sz="1400" b="1" dirty="0">
                <a:ea typeface="+mj-lt"/>
                <a:cs typeface="+mj-lt"/>
              </a:rPr>
              <a:t>in</a:t>
            </a:r>
            <a:br>
              <a:rPr lang="en-US" sz="1400" b="1" dirty="0">
                <a:ea typeface="+mj-lt"/>
                <a:cs typeface="+mj-lt"/>
              </a:rPr>
            </a:br>
            <a:r>
              <a:rPr lang="en-US" sz="1400" b="1" dirty="0">
                <a:ea typeface="+mj-lt"/>
                <a:cs typeface="+mj-lt"/>
              </a:rPr>
              <a:t>Bangladesh</a:t>
            </a:r>
            <a:endParaRPr lang="en-US" sz="1400" b="1" kern="0" dirty="0"/>
          </a:p>
        </p:txBody>
      </p:sp>
      <p:pic>
        <p:nvPicPr>
          <p:cNvPr id="9" name="Picture 8">
            <a:extLst>
              <a:ext uri="{FF2B5EF4-FFF2-40B4-BE49-F238E27FC236}">
                <a16:creationId xmlns:a16="http://schemas.microsoft.com/office/drawing/2014/main" id="{4126782E-A0DD-4456-9A3D-7CBD380BF2A0}"/>
              </a:ext>
            </a:extLst>
          </p:cNvPr>
          <p:cNvPicPr>
            <a:picLocks noChangeAspect="1"/>
          </p:cNvPicPr>
          <p:nvPr/>
        </p:nvPicPr>
        <p:blipFill rotWithShape="1">
          <a:blip r:embed="rId8"/>
          <a:srcRect l="12509" r="12509"/>
          <a:stretch/>
        </p:blipFill>
        <p:spPr>
          <a:xfrm>
            <a:off x="4442923" y="1421968"/>
            <a:ext cx="3108960" cy="3108960"/>
          </a:xfrm>
          <a:prstGeom prst="ellipse">
            <a:avLst/>
          </a:prstGeom>
        </p:spPr>
      </p:pic>
      <p:pic>
        <p:nvPicPr>
          <p:cNvPr id="11" name="Picture 10">
            <a:extLst>
              <a:ext uri="{FF2B5EF4-FFF2-40B4-BE49-F238E27FC236}">
                <a16:creationId xmlns:a16="http://schemas.microsoft.com/office/drawing/2014/main" id="{3BC0655A-4536-4BAD-B2A1-9C6B33F9DF35}"/>
              </a:ext>
            </a:extLst>
          </p:cNvPr>
          <p:cNvPicPr>
            <a:picLocks noChangeAspect="1"/>
          </p:cNvPicPr>
          <p:nvPr/>
        </p:nvPicPr>
        <p:blipFill rotWithShape="1">
          <a:blip r:embed="rId9"/>
          <a:srcRect l="16415" r="16415"/>
          <a:stretch/>
        </p:blipFill>
        <p:spPr>
          <a:xfrm>
            <a:off x="2072931" y="1421968"/>
            <a:ext cx="2011680" cy="2011680"/>
          </a:xfrm>
          <a:prstGeom prst="ellipse">
            <a:avLst/>
          </a:prstGeom>
        </p:spPr>
      </p:pic>
      <p:pic>
        <p:nvPicPr>
          <p:cNvPr id="13" name="Picture 12">
            <a:extLst>
              <a:ext uri="{FF2B5EF4-FFF2-40B4-BE49-F238E27FC236}">
                <a16:creationId xmlns:a16="http://schemas.microsoft.com/office/drawing/2014/main" id="{4A5FAB27-2FB5-488E-BD11-436E74F36966}"/>
              </a:ext>
            </a:extLst>
          </p:cNvPr>
          <p:cNvPicPr>
            <a:picLocks noChangeAspect="1"/>
          </p:cNvPicPr>
          <p:nvPr/>
        </p:nvPicPr>
        <p:blipFill rotWithShape="1">
          <a:blip r:embed="rId10"/>
          <a:srcRect l="16667" r="16667"/>
          <a:stretch/>
        </p:blipFill>
        <p:spPr>
          <a:xfrm>
            <a:off x="-114181" y="1421968"/>
            <a:ext cx="1828800" cy="1828800"/>
          </a:xfrm>
          <a:prstGeom prst="ellipse">
            <a:avLst/>
          </a:prstGeom>
        </p:spPr>
      </p:pic>
      <p:pic>
        <p:nvPicPr>
          <p:cNvPr id="15" name="Picture 14">
            <a:extLst>
              <a:ext uri="{FF2B5EF4-FFF2-40B4-BE49-F238E27FC236}">
                <a16:creationId xmlns:a16="http://schemas.microsoft.com/office/drawing/2014/main" id="{847AD379-8168-4002-B5E5-AD5E8062CBD8}"/>
              </a:ext>
            </a:extLst>
          </p:cNvPr>
          <p:cNvPicPr>
            <a:picLocks noChangeAspect="1"/>
          </p:cNvPicPr>
          <p:nvPr/>
        </p:nvPicPr>
        <p:blipFill rotWithShape="1">
          <a:blip r:embed="rId11"/>
          <a:srcRect l="16687" r="16687"/>
          <a:stretch/>
        </p:blipFill>
        <p:spPr>
          <a:xfrm>
            <a:off x="-2118413" y="1398588"/>
            <a:ext cx="1645920" cy="1645920"/>
          </a:xfrm>
          <a:prstGeom prst="ellipse">
            <a:avLst/>
          </a:prstGeom>
        </p:spPr>
      </p:pic>
      <p:pic>
        <p:nvPicPr>
          <p:cNvPr id="17" name="Picture 16">
            <a:extLst>
              <a:ext uri="{FF2B5EF4-FFF2-40B4-BE49-F238E27FC236}">
                <a16:creationId xmlns:a16="http://schemas.microsoft.com/office/drawing/2014/main" id="{977ECD24-F498-4DA1-A833-9E29E2CA6B95}"/>
              </a:ext>
            </a:extLst>
          </p:cNvPr>
          <p:cNvPicPr>
            <a:picLocks noChangeAspect="1"/>
          </p:cNvPicPr>
          <p:nvPr/>
        </p:nvPicPr>
        <p:blipFill rotWithShape="1">
          <a:blip r:embed="rId12"/>
          <a:srcRect l="42507" t="1778" r="1243" b="-1778"/>
          <a:stretch/>
        </p:blipFill>
        <p:spPr>
          <a:xfrm>
            <a:off x="-5669677" y="1398588"/>
            <a:ext cx="1371600" cy="1371600"/>
          </a:xfrm>
          <a:prstGeom prst="ellipse">
            <a:avLst/>
          </a:prstGeom>
        </p:spPr>
      </p:pic>
      <p:pic>
        <p:nvPicPr>
          <p:cNvPr id="24" name="Picture 23">
            <a:extLst>
              <a:ext uri="{FF2B5EF4-FFF2-40B4-BE49-F238E27FC236}">
                <a16:creationId xmlns:a16="http://schemas.microsoft.com/office/drawing/2014/main" id="{6C8A0449-F503-4FBC-A6C2-4A367FC990C8}"/>
              </a:ext>
            </a:extLst>
          </p:cNvPr>
          <p:cNvPicPr>
            <a:picLocks noChangeAspect="1"/>
          </p:cNvPicPr>
          <p:nvPr/>
        </p:nvPicPr>
        <p:blipFill rotWithShape="1">
          <a:blip r:embed="rId13"/>
          <a:srcRect l="16700" r="16700"/>
          <a:stretch/>
        </p:blipFill>
        <p:spPr>
          <a:xfrm>
            <a:off x="-3939765" y="1398588"/>
            <a:ext cx="1463040" cy="1463040"/>
          </a:xfrm>
          <a:prstGeom prst="ellipse">
            <a:avLst/>
          </a:prstGeom>
        </p:spPr>
      </p:pic>
      <p:sp>
        <p:nvSpPr>
          <p:cNvPr id="30" name="Rectangle 29">
            <a:extLst>
              <a:ext uri="{FF2B5EF4-FFF2-40B4-BE49-F238E27FC236}">
                <a16:creationId xmlns:a16="http://schemas.microsoft.com/office/drawing/2014/main" id="{0D053631-EE32-4348-A85F-C833A9CAF054}"/>
              </a:ext>
            </a:extLst>
          </p:cNvPr>
          <p:cNvSpPr/>
          <p:nvPr/>
        </p:nvSpPr>
        <p:spPr>
          <a:xfrm>
            <a:off x="5162215" y="4826776"/>
            <a:ext cx="2064989" cy="369332"/>
          </a:xfrm>
          <a:prstGeom prst="rect">
            <a:avLst/>
          </a:prstGeom>
        </p:spPr>
        <p:txBody>
          <a:bodyPr wrap="none">
            <a:spAutoFit/>
          </a:bodyPr>
          <a:lstStyle/>
          <a:p>
            <a:r>
              <a:rPr lang="en-US" dirty="0">
                <a:solidFill>
                  <a:srgbClr val="66CBFF"/>
                </a:solidFill>
              </a:rPr>
              <a:t>Land Degradation</a:t>
            </a:r>
          </a:p>
        </p:txBody>
      </p:sp>
      <p:sp>
        <p:nvSpPr>
          <p:cNvPr id="31" name="Rectangle 30">
            <a:extLst>
              <a:ext uri="{FF2B5EF4-FFF2-40B4-BE49-F238E27FC236}">
                <a16:creationId xmlns:a16="http://schemas.microsoft.com/office/drawing/2014/main" id="{5CDD862F-1001-4C37-A3F9-BBA175DCDC23}"/>
              </a:ext>
            </a:extLst>
          </p:cNvPr>
          <p:cNvSpPr/>
          <p:nvPr/>
        </p:nvSpPr>
        <p:spPr>
          <a:xfrm>
            <a:off x="3146709" y="5401474"/>
            <a:ext cx="6096000" cy="600164"/>
          </a:xfrm>
          <a:prstGeom prst="rect">
            <a:avLst/>
          </a:prstGeom>
        </p:spPr>
        <p:txBody>
          <a:bodyPr>
            <a:spAutoFit/>
          </a:bodyPr>
          <a:lstStyle/>
          <a:p>
            <a:r>
              <a:rPr lang="en-US" sz="1100" dirty="0"/>
              <a:t>Land degradation is any change or disturbance to the land perceived to be undesirable. Land degradation can be caused by both manmade and natural reasons such as floods and forest fires.</a:t>
            </a:r>
          </a:p>
        </p:txBody>
      </p:sp>
      <p:sp>
        <p:nvSpPr>
          <p:cNvPr id="32" name="Rectangle 31">
            <a:extLst>
              <a:ext uri="{FF2B5EF4-FFF2-40B4-BE49-F238E27FC236}">
                <a16:creationId xmlns:a16="http://schemas.microsoft.com/office/drawing/2014/main" id="{4A6EA13E-1087-4ACE-B641-47834A1C6416}"/>
              </a:ext>
            </a:extLst>
          </p:cNvPr>
          <p:cNvSpPr/>
          <p:nvPr/>
        </p:nvSpPr>
        <p:spPr>
          <a:xfrm>
            <a:off x="4572000" y="308490"/>
            <a:ext cx="7261155" cy="1908215"/>
          </a:xfrm>
          <a:prstGeom prst="rect">
            <a:avLst/>
          </a:prstGeom>
        </p:spPr>
        <p:txBody>
          <a:bodyPr wrap="none">
            <a:spAutoFit/>
          </a:bodyPr>
          <a:lstStyle/>
          <a:p>
            <a:r>
              <a:rPr lang="en-US" sz="4400" dirty="0">
                <a:solidFill>
                  <a:srgbClr val="3699DC"/>
                </a:solidFill>
              </a:rPr>
              <a:t>|</a:t>
            </a:r>
            <a:r>
              <a:rPr lang="en-US" sz="3200" dirty="0">
                <a:solidFill>
                  <a:srgbClr val="3699DC"/>
                </a:solidFill>
              </a:rPr>
              <a:t>  Causes of Environment Degradation</a:t>
            </a:r>
          </a:p>
          <a:p>
            <a:pPr algn="r"/>
            <a:r>
              <a:rPr lang="en-US" sz="2400" dirty="0">
                <a:solidFill>
                  <a:schemeClr val="accent1">
                    <a:lumMod val="60000"/>
                    <a:lumOff val="40000"/>
                  </a:schemeClr>
                </a:solidFill>
              </a:rPr>
              <a:t>How Environment is Degrading </a:t>
            </a:r>
          </a:p>
          <a:p>
            <a:endParaRPr lang="en-US" kern="0" dirty="0"/>
          </a:p>
          <a:p>
            <a:pPr algn="just"/>
            <a:endParaRPr lang="en-US" sz="3200" dirty="0">
              <a:solidFill>
                <a:srgbClr val="3699DC"/>
              </a:solidFill>
            </a:endParaRPr>
          </a:p>
        </p:txBody>
      </p:sp>
    </p:spTree>
    <p:extLst>
      <p:ext uri="{BB962C8B-B14F-4D97-AF65-F5344CB8AC3E}">
        <p14:creationId xmlns:p14="http://schemas.microsoft.com/office/powerpoint/2010/main" val="2692664653"/>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1F74D4A-9E16-4275-90C5-F97189B724F9}"/>
              </a:ext>
            </a:extLst>
          </p:cNvPr>
          <p:cNvPicPr>
            <a:picLocks noChangeAspect="1"/>
          </p:cNvPicPr>
          <p:nvPr/>
        </p:nvPicPr>
        <p:blipFill>
          <a:blip r:embed="rId4">
            <a:duotone>
              <a:schemeClr val="accent1">
                <a:shade val="45000"/>
                <a:satMod val="135000"/>
              </a:schemeClr>
              <a:prstClr val="white"/>
            </a:duotone>
            <a:extLst>
              <a:ext uri="{BEBA8EAE-BF5A-486C-A8C5-ECC9F3942E4B}">
                <a14:imgProps xmlns:a14="http://schemas.microsoft.com/office/drawing/2010/main">
                  <a14:imgLayer r:embed="rId5">
                    <a14:imgEffect>
                      <a14:saturation sat="400000"/>
                    </a14:imgEffect>
                  </a14:imgLayer>
                </a14:imgProps>
              </a:ext>
            </a:extLst>
          </a:blip>
          <a:stretch>
            <a:fillRect/>
          </a:stretch>
        </p:blipFill>
        <p:spPr>
          <a:xfrm>
            <a:off x="1206419" y="486504"/>
            <a:ext cx="497801" cy="639616"/>
          </a:xfrm>
          <a:prstGeom prst="rect">
            <a:avLst/>
          </a:prstGeom>
        </p:spPr>
      </p:pic>
      <p:graphicFrame>
        <p:nvGraphicFramePr>
          <p:cNvPr id="3" name="Object 2" hidden="1">
            <a:extLst>
              <a:ext uri="{FF2B5EF4-FFF2-40B4-BE49-F238E27FC236}">
                <a16:creationId xmlns:a16="http://schemas.microsoft.com/office/drawing/2014/main" id="{29F5A9FD-BD4B-41CD-9545-C14EE113DFB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1" name="think-cell Slide" r:id="rId6" imgW="360" imgH="360" progId="TCLayout.ActiveDocument.1">
                  <p:embed/>
                </p:oleObj>
              </mc:Choice>
              <mc:Fallback>
                <p:oleObj name="think-cell Slide" r:id="rId6" imgW="360" imgH="360" progId="TCLayout.ActiveDocument.1">
                  <p:embed/>
                  <p:pic>
                    <p:nvPicPr>
                      <p:cNvPr id="3" name="Object 2" hidden="1">
                        <a:extLst>
                          <a:ext uri="{FF2B5EF4-FFF2-40B4-BE49-F238E27FC236}">
                            <a16:creationId xmlns:a16="http://schemas.microsoft.com/office/drawing/2014/main" id="{29F5A9FD-BD4B-41CD-9545-C14EE113DFB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26F784E-485C-46E9-A476-2051D18874E2}"/>
              </a:ext>
            </a:extLst>
          </p:cNvPr>
          <p:cNvSpPr>
            <a:spLocks noGrp="1"/>
          </p:cNvSpPr>
          <p:nvPr>
            <p:ph type="title"/>
          </p:nvPr>
        </p:nvSpPr>
        <p:spPr>
          <a:xfrm>
            <a:off x="282770" y="357691"/>
            <a:ext cx="2180344" cy="688514"/>
          </a:xfrm>
        </p:spPr>
        <p:txBody>
          <a:bodyPr vert="horz" lIns="0" tIns="0" rIns="0" bIns="0" rtlCol="0" anchor="t" anchorCtr="0">
            <a:noAutofit/>
          </a:bodyPr>
          <a:lstStyle/>
          <a:p>
            <a:r>
              <a:rPr lang="en-US" sz="1200" dirty="0">
                <a:ea typeface="+mj-lt"/>
                <a:cs typeface="+mj-lt"/>
              </a:rPr>
              <a:t>Environmental Problems </a:t>
            </a:r>
            <a:br>
              <a:rPr lang="en-US" sz="1200" dirty="0">
                <a:ea typeface="+mj-lt"/>
                <a:cs typeface="+mj-lt"/>
              </a:rPr>
            </a:br>
            <a:br>
              <a:rPr lang="en-US" sz="1200" dirty="0">
                <a:ea typeface="+mj-lt"/>
                <a:cs typeface="+mj-lt"/>
              </a:rPr>
            </a:br>
            <a:endParaRPr lang="en-US" sz="1200" dirty="0"/>
          </a:p>
        </p:txBody>
      </p:sp>
      <p:sp>
        <p:nvSpPr>
          <p:cNvPr id="4" name="TextBox 3">
            <a:extLst>
              <a:ext uri="{FF2B5EF4-FFF2-40B4-BE49-F238E27FC236}">
                <a16:creationId xmlns:a16="http://schemas.microsoft.com/office/drawing/2014/main" id="{32DF85C0-3BEE-4729-9C07-A4274FBB1381}"/>
              </a:ext>
            </a:extLst>
          </p:cNvPr>
          <p:cNvSpPr txBox="1"/>
          <p:nvPr/>
        </p:nvSpPr>
        <p:spPr>
          <a:xfrm>
            <a:off x="282770" y="486504"/>
            <a:ext cx="4879445" cy="430887"/>
          </a:xfrm>
          <a:prstGeom prst="rect">
            <a:avLst/>
          </a:prstGeom>
          <a:noFill/>
        </p:spPr>
        <p:txBody>
          <a:bodyPr wrap="square" lIns="0" tIns="0" rIns="0" bIns="0" rtlCol="0">
            <a:spAutoFit/>
          </a:bodyPr>
          <a:lstStyle/>
          <a:p>
            <a:r>
              <a:rPr lang="en-US" sz="1400" b="1" dirty="0">
                <a:ea typeface="+mj-lt"/>
                <a:cs typeface="+mj-lt"/>
              </a:rPr>
              <a:t>in</a:t>
            </a:r>
            <a:br>
              <a:rPr lang="en-US" sz="1400" b="1" dirty="0">
                <a:ea typeface="+mj-lt"/>
                <a:cs typeface="+mj-lt"/>
              </a:rPr>
            </a:br>
            <a:r>
              <a:rPr lang="en-US" sz="1400" b="1" dirty="0">
                <a:ea typeface="+mj-lt"/>
                <a:cs typeface="+mj-lt"/>
              </a:rPr>
              <a:t>Bangladesh</a:t>
            </a:r>
            <a:endParaRPr lang="en-US" sz="1400" b="1" kern="0" dirty="0"/>
          </a:p>
        </p:txBody>
      </p:sp>
      <p:pic>
        <p:nvPicPr>
          <p:cNvPr id="11" name="Picture 10">
            <a:extLst>
              <a:ext uri="{FF2B5EF4-FFF2-40B4-BE49-F238E27FC236}">
                <a16:creationId xmlns:a16="http://schemas.microsoft.com/office/drawing/2014/main" id="{3BC0655A-4536-4BAD-B2A1-9C6B33F9DF35}"/>
              </a:ext>
            </a:extLst>
          </p:cNvPr>
          <p:cNvPicPr>
            <a:picLocks noChangeAspect="1"/>
          </p:cNvPicPr>
          <p:nvPr/>
        </p:nvPicPr>
        <p:blipFill rotWithShape="1">
          <a:blip r:embed="rId8"/>
          <a:srcRect l="16415" r="16415"/>
          <a:stretch/>
        </p:blipFill>
        <p:spPr>
          <a:xfrm>
            <a:off x="4638331" y="1421968"/>
            <a:ext cx="3108960" cy="3108960"/>
          </a:xfrm>
          <a:prstGeom prst="ellipse">
            <a:avLst/>
          </a:prstGeom>
        </p:spPr>
      </p:pic>
      <p:pic>
        <p:nvPicPr>
          <p:cNvPr id="13" name="Picture 12">
            <a:extLst>
              <a:ext uri="{FF2B5EF4-FFF2-40B4-BE49-F238E27FC236}">
                <a16:creationId xmlns:a16="http://schemas.microsoft.com/office/drawing/2014/main" id="{4A5FAB27-2FB5-488E-BD11-436E74F36966}"/>
              </a:ext>
            </a:extLst>
          </p:cNvPr>
          <p:cNvPicPr>
            <a:picLocks noChangeAspect="1"/>
          </p:cNvPicPr>
          <p:nvPr/>
        </p:nvPicPr>
        <p:blipFill rotWithShape="1">
          <a:blip r:embed="rId9"/>
          <a:srcRect l="16667" r="16667"/>
          <a:stretch/>
        </p:blipFill>
        <p:spPr>
          <a:xfrm>
            <a:off x="2451219" y="1421968"/>
            <a:ext cx="1828800" cy="1828800"/>
          </a:xfrm>
          <a:prstGeom prst="ellipse">
            <a:avLst/>
          </a:prstGeom>
        </p:spPr>
      </p:pic>
      <p:pic>
        <p:nvPicPr>
          <p:cNvPr id="15" name="Picture 14">
            <a:extLst>
              <a:ext uri="{FF2B5EF4-FFF2-40B4-BE49-F238E27FC236}">
                <a16:creationId xmlns:a16="http://schemas.microsoft.com/office/drawing/2014/main" id="{847AD379-8168-4002-B5E5-AD5E8062CBD8}"/>
              </a:ext>
            </a:extLst>
          </p:cNvPr>
          <p:cNvPicPr>
            <a:picLocks noChangeAspect="1"/>
          </p:cNvPicPr>
          <p:nvPr/>
        </p:nvPicPr>
        <p:blipFill rotWithShape="1">
          <a:blip r:embed="rId10"/>
          <a:srcRect l="16687" r="16687"/>
          <a:stretch/>
        </p:blipFill>
        <p:spPr>
          <a:xfrm>
            <a:off x="446987" y="1398588"/>
            <a:ext cx="1645920" cy="1645920"/>
          </a:xfrm>
          <a:prstGeom prst="ellipse">
            <a:avLst/>
          </a:prstGeom>
        </p:spPr>
      </p:pic>
      <p:pic>
        <p:nvPicPr>
          <p:cNvPr id="17" name="Picture 16">
            <a:extLst>
              <a:ext uri="{FF2B5EF4-FFF2-40B4-BE49-F238E27FC236}">
                <a16:creationId xmlns:a16="http://schemas.microsoft.com/office/drawing/2014/main" id="{977ECD24-F498-4DA1-A833-9E29E2CA6B95}"/>
              </a:ext>
            </a:extLst>
          </p:cNvPr>
          <p:cNvPicPr>
            <a:picLocks noChangeAspect="1"/>
          </p:cNvPicPr>
          <p:nvPr/>
        </p:nvPicPr>
        <p:blipFill rotWithShape="1">
          <a:blip r:embed="rId11"/>
          <a:srcRect l="42507" t="1778" r="1243" b="-1778"/>
          <a:stretch/>
        </p:blipFill>
        <p:spPr>
          <a:xfrm>
            <a:off x="-3104277" y="1398588"/>
            <a:ext cx="1371600" cy="1371600"/>
          </a:xfrm>
          <a:prstGeom prst="ellipse">
            <a:avLst/>
          </a:prstGeom>
        </p:spPr>
      </p:pic>
      <p:pic>
        <p:nvPicPr>
          <p:cNvPr id="24" name="Picture 23">
            <a:extLst>
              <a:ext uri="{FF2B5EF4-FFF2-40B4-BE49-F238E27FC236}">
                <a16:creationId xmlns:a16="http://schemas.microsoft.com/office/drawing/2014/main" id="{6C8A0449-F503-4FBC-A6C2-4A367FC990C8}"/>
              </a:ext>
            </a:extLst>
          </p:cNvPr>
          <p:cNvPicPr>
            <a:picLocks noChangeAspect="1"/>
          </p:cNvPicPr>
          <p:nvPr/>
        </p:nvPicPr>
        <p:blipFill rotWithShape="1">
          <a:blip r:embed="rId12"/>
          <a:srcRect l="16700" r="16700"/>
          <a:stretch/>
        </p:blipFill>
        <p:spPr>
          <a:xfrm>
            <a:off x="-1374365" y="1398588"/>
            <a:ext cx="1463040" cy="1463040"/>
          </a:xfrm>
          <a:prstGeom prst="ellipse">
            <a:avLst/>
          </a:prstGeom>
        </p:spPr>
      </p:pic>
      <p:sp>
        <p:nvSpPr>
          <p:cNvPr id="5" name="Rectangle 4">
            <a:extLst>
              <a:ext uri="{FF2B5EF4-FFF2-40B4-BE49-F238E27FC236}">
                <a16:creationId xmlns:a16="http://schemas.microsoft.com/office/drawing/2014/main" id="{680666B7-8CFF-4710-A955-17F94B68B247}"/>
              </a:ext>
            </a:extLst>
          </p:cNvPr>
          <p:cNvSpPr/>
          <p:nvPr/>
        </p:nvSpPr>
        <p:spPr>
          <a:xfrm>
            <a:off x="2969965" y="5580729"/>
            <a:ext cx="6604857" cy="461665"/>
          </a:xfrm>
          <a:prstGeom prst="rect">
            <a:avLst/>
          </a:prstGeom>
        </p:spPr>
        <p:txBody>
          <a:bodyPr wrap="square">
            <a:spAutoFit/>
          </a:bodyPr>
          <a:lstStyle/>
          <a:p>
            <a:pPr algn="ctr"/>
            <a:r>
              <a:rPr lang="en-US" sz="1200" dirty="0"/>
              <a:t>Air pollution in Bangladesh is a serious issue with the major sources being fuel wood and biomass burning, fuel adulteration, vehicle emission and traffic congestion.</a:t>
            </a:r>
            <a:endParaRPr lang="en-US" sz="1200" dirty="0">
              <a:solidFill>
                <a:srgbClr val="66CBFF"/>
              </a:solidFill>
            </a:endParaRPr>
          </a:p>
        </p:txBody>
      </p:sp>
      <p:sp>
        <p:nvSpPr>
          <p:cNvPr id="8" name="TextBox 7">
            <a:extLst>
              <a:ext uri="{FF2B5EF4-FFF2-40B4-BE49-F238E27FC236}">
                <a16:creationId xmlns:a16="http://schemas.microsoft.com/office/drawing/2014/main" id="{A8A33A47-D4E9-4D0E-BA7B-6A770EEBC90C}"/>
              </a:ext>
            </a:extLst>
          </p:cNvPr>
          <p:cNvSpPr txBox="1"/>
          <p:nvPr/>
        </p:nvSpPr>
        <p:spPr>
          <a:xfrm>
            <a:off x="5544629" y="4901940"/>
            <a:ext cx="1455527" cy="307777"/>
          </a:xfrm>
          <a:prstGeom prst="rect">
            <a:avLst/>
          </a:prstGeom>
          <a:noFill/>
        </p:spPr>
        <p:txBody>
          <a:bodyPr wrap="none" lIns="0" tIns="0" rIns="0" bIns="0" rtlCol="0">
            <a:spAutoFit/>
          </a:bodyPr>
          <a:lstStyle/>
          <a:p>
            <a:pPr algn="l"/>
            <a:r>
              <a:rPr lang="en-US" sz="2000" kern="0" dirty="0">
                <a:solidFill>
                  <a:srgbClr val="66CBFF"/>
                </a:solidFill>
              </a:rPr>
              <a:t>Air Pollution</a:t>
            </a:r>
          </a:p>
        </p:txBody>
      </p:sp>
      <p:sp>
        <p:nvSpPr>
          <p:cNvPr id="18" name="Rectangle 17">
            <a:extLst>
              <a:ext uri="{FF2B5EF4-FFF2-40B4-BE49-F238E27FC236}">
                <a16:creationId xmlns:a16="http://schemas.microsoft.com/office/drawing/2014/main" id="{3FF50B79-BF75-4241-8133-FD678A1A617E}"/>
              </a:ext>
            </a:extLst>
          </p:cNvPr>
          <p:cNvSpPr/>
          <p:nvPr/>
        </p:nvSpPr>
        <p:spPr>
          <a:xfrm>
            <a:off x="4572000" y="308490"/>
            <a:ext cx="7261155" cy="1908215"/>
          </a:xfrm>
          <a:prstGeom prst="rect">
            <a:avLst/>
          </a:prstGeom>
        </p:spPr>
        <p:txBody>
          <a:bodyPr wrap="none">
            <a:spAutoFit/>
          </a:bodyPr>
          <a:lstStyle/>
          <a:p>
            <a:r>
              <a:rPr lang="en-US" sz="4400" dirty="0">
                <a:solidFill>
                  <a:srgbClr val="3699DC"/>
                </a:solidFill>
              </a:rPr>
              <a:t>|</a:t>
            </a:r>
            <a:r>
              <a:rPr lang="en-US" sz="3200" dirty="0">
                <a:solidFill>
                  <a:srgbClr val="3699DC"/>
                </a:solidFill>
              </a:rPr>
              <a:t>  Causes of Environment Degradation</a:t>
            </a:r>
          </a:p>
          <a:p>
            <a:pPr algn="r"/>
            <a:r>
              <a:rPr lang="en-US" sz="2400" dirty="0">
                <a:solidFill>
                  <a:schemeClr val="accent1">
                    <a:lumMod val="60000"/>
                    <a:lumOff val="40000"/>
                  </a:schemeClr>
                </a:solidFill>
              </a:rPr>
              <a:t>How Environment is Degrading </a:t>
            </a:r>
          </a:p>
          <a:p>
            <a:endParaRPr lang="en-US" kern="0" dirty="0"/>
          </a:p>
          <a:p>
            <a:pPr algn="just"/>
            <a:endParaRPr lang="en-US" sz="3200" dirty="0">
              <a:solidFill>
                <a:srgbClr val="3699DC"/>
              </a:solidFill>
            </a:endParaRPr>
          </a:p>
        </p:txBody>
      </p:sp>
    </p:spTree>
    <p:extLst>
      <p:ext uri="{BB962C8B-B14F-4D97-AF65-F5344CB8AC3E}">
        <p14:creationId xmlns:p14="http://schemas.microsoft.com/office/powerpoint/2010/main" val="247022288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1F74D4A-9E16-4275-90C5-F97189B724F9}"/>
              </a:ext>
            </a:extLst>
          </p:cNvPr>
          <p:cNvPicPr>
            <a:picLocks noChangeAspect="1"/>
          </p:cNvPicPr>
          <p:nvPr/>
        </p:nvPicPr>
        <p:blipFill>
          <a:blip r:embed="rId4">
            <a:duotone>
              <a:schemeClr val="accent1">
                <a:shade val="45000"/>
                <a:satMod val="135000"/>
              </a:schemeClr>
              <a:prstClr val="white"/>
            </a:duotone>
            <a:extLst>
              <a:ext uri="{BEBA8EAE-BF5A-486C-A8C5-ECC9F3942E4B}">
                <a14:imgProps xmlns:a14="http://schemas.microsoft.com/office/drawing/2010/main">
                  <a14:imgLayer r:embed="rId5">
                    <a14:imgEffect>
                      <a14:saturation sat="400000"/>
                    </a14:imgEffect>
                  </a14:imgLayer>
                </a14:imgProps>
              </a:ext>
            </a:extLst>
          </a:blip>
          <a:stretch>
            <a:fillRect/>
          </a:stretch>
        </p:blipFill>
        <p:spPr>
          <a:xfrm>
            <a:off x="1206419" y="486504"/>
            <a:ext cx="497801" cy="639616"/>
          </a:xfrm>
          <a:prstGeom prst="rect">
            <a:avLst/>
          </a:prstGeom>
        </p:spPr>
      </p:pic>
      <p:graphicFrame>
        <p:nvGraphicFramePr>
          <p:cNvPr id="3" name="Object 2" hidden="1">
            <a:extLst>
              <a:ext uri="{FF2B5EF4-FFF2-40B4-BE49-F238E27FC236}">
                <a16:creationId xmlns:a16="http://schemas.microsoft.com/office/drawing/2014/main" id="{29F5A9FD-BD4B-41CD-9545-C14EE113DFB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6" name="think-cell Slide" r:id="rId6" imgW="360" imgH="360" progId="TCLayout.ActiveDocument.1">
                  <p:embed/>
                </p:oleObj>
              </mc:Choice>
              <mc:Fallback>
                <p:oleObj name="think-cell Slide" r:id="rId6" imgW="360" imgH="360" progId="TCLayout.ActiveDocument.1">
                  <p:embed/>
                  <p:pic>
                    <p:nvPicPr>
                      <p:cNvPr id="3" name="Object 2" hidden="1">
                        <a:extLst>
                          <a:ext uri="{FF2B5EF4-FFF2-40B4-BE49-F238E27FC236}">
                            <a16:creationId xmlns:a16="http://schemas.microsoft.com/office/drawing/2014/main" id="{29F5A9FD-BD4B-41CD-9545-C14EE113DFB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26F784E-485C-46E9-A476-2051D18874E2}"/>
              </a:ext>
            </a:extLst>
          </p:cNvPr>
          <p:cNvSpPr>
            <a:spLocks noGrp="1"/>
          </p:cNvSpPr>
          <p:nvPr>
            <p:ph type="title"/>
          </p:nvPr>
        </p:nvSpPr>
        <p:spPr>
          <a:xfrm>
            <a:off x="282770" y="357691"/>
            <a:ext cx="2180344" cy="688514"/>
          </a:xfrm>
        </p:spPr>
        <p:txBody>
          <a:bodyPr vert="horz" lIns="0" tIns="0" rIns="0" bIns="0" rtlCol="0" anchor="t" anchorCtr="0">
            <a:noAutofit/>
          </a:bodyPr>
          <a:lstStyle/>
          <a:p>
            <a:r>
              <a:rPr lang="en-US" sz="1200" dirty="0">
                <a:ea typeface="+mj-lt"/>
                <a:cs typeface="+mj-lt"/>
              </a:rPr>
              <a:t>Environmental Problems </a:t>
            </a:r>
            <a:br>
              <a:rPr lang="en-US" sz="1200" dirty="0">
                <a:ea typeface="+mj-lt"/>
                <a:cs typeface="+mj-lt"/>
              </a:rPr>
            </a:br>
            <a:br>
              <a:rPr lang="en-US" sz="1200" dirty="0">
                <a:ea typeface="+mj-lt"/>
                <a:cs typeface="+mj-lt"/>
              </a:rPr>
            </a:br>
            <a:endParaRPr lang="en-US" sz="1200" dirty="0"/>
          </a:p>
        </p:txBody>
      </p:sp>
      <p:sp>
        <p:nvSpPr>
          <p:cNvPr id="4" name="TextBox 3">
            <a:extLst>
              <a:ext uri="{FF2B5EF4-FFF2-40B4-BE49-F238E27FC236}">
                <a16:creationId xmlns:a16="http://schemas.microsoft.com/office/drawing/2014/main" id="{32DF85C0-3BEE-4729-9C07-A4274FBB1381}"/>
              </a:ext>
            </a:extLst>
          </p:cNvPr>
          <p:cNvSpPr txBox="1"/>
          <p:nvPr/>
        </p:nvSpPr>
        <p:spPr>
          <a:xfrm>
            <a:off x="282770" y="486504"/>
            <a:ext cx="4879445" cy="430887"/>
          </a:xfrm>
          <a:prstGeom prst="rect">
            <a:avLst/>
          </a:prstGeom>
          <a:noFill/>
        </p:spPr>
        <p:txBody>
          <a:bodyPr wrap="square" lIns="0" tIns="0" rIns="0" bIns="0" rtlCol="0">
            <a:spAutoFit/>
          </a:bodyPr>
          <a:lstStyle/>
          <a:p>
            <a:r>
              <a:rPr lang="en-US" sz="1400" b="1" dirty="0">
                <a:ea typeface="+mj-lt"/>
                <a:cs typeface="+mj-lt"/>
              </a:rPr>
              <a:t>in</a:t>
            </a:r>
            <a:br>
              <a:rPr lang="en-US" sz="1400" b="1" dirty="0">
                <a:ea typeface="+mj-lt"/>
                <a:cs typeface="+mj-lt"/>
              </a:rPr>
            </a:br>
            <a:r>
              <a:rPr lang="en-US" sz="1400" b="1" dirty="0">
                <a:ea typeface="+mj-lt"/>
                <a:cs typeface="+mj-lt"/>
              </a:rPr>
              <a:t>Bangladesh</a:t>
            </a:r>
            <a:endParaRPr lang="en-US" sz="1400" b="1" kern="0" dirty="0"/>
          </a:p>
        </p:txBody>
      </p:sp>
      <p:pic>
        <p:nvPicPr>
          <p:cNvPr id="13" name="Picture 12">
            <a:extLst>
              <a:ext uri="{FF2B5EF4-FFF2-40B4-BE49-F238E27FC236}">
                <a16:creationId xmlns:a16="http://schemas.microsoft.com/office/drawing/2014/main" id="{4A5FAB27-2FB5-488E-BD11-436E74F36966}"/>
              </a:ext>
            </a:extLst>
          </p:cNvPr>
          <p:cNvPicPr>
            <a:picLocks noChangeAspect="1"/>
          </p:cNvPicPr>
          <p:nvPr/>
        </p:nvPicPr>
        <p:blipFill rotWithShape="1">
          <a:blip r:embed="rId8"/>
          <a:srcRect l="16667" r="16667"/>
          <a:stretch/>
        </p:blipFill>
        <p:spPr>
          <a:xfrm>
            <a:off x="4260043" y="1424076"/>
            <a:ext cx="3108960" cy="3108960"/>
          </a:xfrm>
          <a:prstGeom prst="ellipse">
            <a:avLst/>
          </a:prstGeom>
        </p:spPr>
      </p:pic>
      <p:pic>
        <p:nvPicPr>
          <p:cNvPr id="15" name="Picture 14">
            <a:extLst>
              <a:ext uri="{FF2B5EF4-FFF2-40B4-BE49-F238E27FC236}">
                <a16:creationId xmlns:a16="http://schemas.microsoft.com/office/drawing/2014/main" id="{847AD379-8168-4002-B5E5-AD5E8062CBD8}"/>
              </a:ext>
            </a:extLst>
          </p:cNvPr>
          <p:cNvPicPr>
            <a:picLocks noChangeAspect="1"/>
          </p:cNvPicPr>
          <p:nvPr/>
        </p:nvPicPr>
        <p:blipFill rotWithShape="1">
          <a:blip r:embed="rId9"/>
          <a:srcRect l="16687" r="16687"/>
          <a:stretch/>
        </p:blipFill>
        <p:spPr>
          <a:xfrm>
            <a:off x="1890051" y="1421968"/>
            <a:ext cx="2011680" cy="2011680"/>
          </a:xfrm>
          <a:prstGeom prst="ellipse">
            <a:avLst/>
          </a:prstGeom>
        </p:spPr>
      </p:pic>
      <p:pic>
        <p:nvPicPr>
          <p:cNvPr id="17" name="Picture 16">
            <a:extLst>
              <a:ext uri="{FF2B5EF4-FFF2-40B4-BE49-F238E27FC236}">
                <a16:creationId xmlns:a16="http://schemas.microsoft.com/office/drawing/2014/main" id="{977ECD24-F498-4DA1-A833-9E29E2CA6B95}"/>
              </a:ext>
            </a:extLst>
          </p:cNvPr>
          <p:cNvPicPr>
            <a:picLocks noChangeAspect="1"/>
          </p:cNvPicPr>
          <p:nvPr/>
        </p:nvPicPr>
        <p:blipFill rotWithShape="1">
          <a:blip r:embed="rId10"/>
          <a:srcRect l="42507" t="1778" r="1243" b="-1778"/>
          <a:stretch/>
        </p:blipFill>
        <p:spPr>
          <a:xfrm>
            <a:off x="-2304058" y="1398588"/>
            <a:ext cx="1645920" cy="1645920"/>
          </a:xfrm>
          <a:prstGeom prst="ellipse">
            <a:avLst/>
          </a:prstGeom>
        </p:spPr>
      </p:pic>
      <p:pic>
        <p:nvPicPr>
          <p:cNvPr id="24" name="Picture 23">
            <a:extLst>
              <a:ext uri="{FF2B5EF4-FFF2-40B4-BE49-F238E27FC236}">
                <a16:creationId xmlns:a16="http://schemas.microsoft.com/office/drawing/2014/main" id="{6C8A0449-F503-4FBC-A6C2-4A367FC990C8}"/>
              </a:ext>
            </a:extLst>
          </p:cNvPr>
          <p:cNvPicPr>
            <a:picLocks noChangeAspect="1"/>
          </p:cNvPicPr>
          <p:nvPr/>
        </p:nvPicPr>
        <p:blipFill rotWithShape="1">
          <a:blip r:embed="rId11"/>
          <a:srcRect l="16700" r="16700"/>
          <a:stretch/>
        </p:blipFill>
        <p:spPr>
          <a:xfrm>
            <a:off x="-297061" y="1398676"/>
            <a:ext cx="1828800" cy="1828800"/>
          </a:xfrm>
          <a:prstGeom prst="ellipse">
            <a:avLst/>
          </a:prstGeom>
        </p:spPr>
      </p:pic>
      <p:sp>
        <p:nvSpPr>
          <p:cNvPr id="16" name="Rectangle 15">
            <a:extLst>
              <a:ext uri="{FF2B5EF4-FFF2-40B4-BE49-F238E27FC236}">
                <a16:creationId xmlns:a16="http://schemas.microsoft.com/office/drawing/2014/main" id="{2DEE6FB5-9201-4C5C-9AAB-C0604475F2A9}"/>
              </a:ext>
            </a:extLst>
          </p:cNvPr>
          <p:cNvSpPr/>
          <p:nvPr/>
        </p:nvSpPr>
        <p:spPr>
          <a:xfrm>
            <a:off x="5162215" y="4826776"/>
            <a:ext cx="1811330" cy="369332"/>
          </a:xfrm>
          <a:prstGeom prst="rect">
            <a:avLst/>
          </a:prstGeom>
        </p:spPr>
        <p:txBody>
          <a:bodyPr wrap="none">
            <a:spAutoFit/>
          </a:bodyPr>
          <a:lstStyle/>
          <a:p>
            <a:r>
              <a:rPr lang="en-US" dirty="0">
                <a:solidFill>
                  <a:srgbClr val="66CBFF"/>
                </a:solidFill>
              </a:rPr>
              <a:t>Water Pollution</a:t>
            </a:r>
          </a:p>
        </p:txBody>
      </p:sp>
      <p:sp>
        <p:nvSpPr>
          <p:cNvPr id="18" name="Rectangle 17">
            <a:extLst>
              <a:ext uri="{FF2B5EF4-FFF2-40B4-BE49-F238E27FC236}">
                <a16:creationId xmlns:a16="http://schemas.microsoft.com/office/drawing/2014/main" id="{1B887ADF-8A4D-4DB6-910C-8539603B2F21}"/>
              </a:ext>
            </a:extLst>
          </p:cNvPr>
          <p:cNvSpPr/>
          <p:nvPr/>
        </p:nvSpPr>
        <p:spPr>
          <a:xfrm>
            <a:off x="3146709" y="5401474"/>
            <a:ext cx="6096000" cy="430887"/>
          </a:xfrm>
          <a:prstGeom prst="rect">
            <a:avLst/>
          </a:prstGeom>
        </p:spPr>
        <p:txBody>
          <a:bodyPr>
            <a:spAutoFit/>
          </a:bodyPr>
          <a:lstStyle/>
          <a:p>
            <a:r>
              <a:rPr lang="en-US" sz="1100" dirty="0"/>
              <a:t>Water pollution is the contamination of water bodies, usually as a result of human activities. Water bodies include for example lakes, rivers, oceans, aquifers and groundwater.</a:t>
            </a:r>
          </a:p>
        </p:txBody>
      </p:sp>
      <p:sp>
        <p:nvSpPr>
          <p:cNvPr id="19" name="Rectangle 18">
            <a:extLst>
              <a:ext uri="{FF2B5EF4-FFF2-40B4-BE49-F238E27FC236}">
                <a16:creationId xmlns:a16="http://schemas.microsoft.com/office/drawing/2014/main" id="{C5802B38-AB09-405C-BC6B-A1858F0D2396}"/>
              </a:ext>
            </a:extLst>
          </p:cNvPr>
          <p:cNvSpPr/>
          <p:nvPr/>
        </p:nvSpPr>
        <p:spPr>
          <a:xfrm>
            <a:off x="4572000" y="308490"/>
            <a:ext cx="7261155" cy="1908215"/>
          </a:xfrm>
          <a:prstGeom prst="rect">
            <a:avLst/>
          </a:prstGeom>
        </p:spPr>
        <p:txBody>
          <a:bodyPr wrap="none">
            <a:spAutoFit/>
          </a:bodyPr>
          <a:lstStyle/>
          <a:p>
            <a:r>
              <a:rPr lang="en-US" sz="4400" dirty="0">
                <a:solidFill>
                  <a:srgbClr val="3699DC"/>
                </a:solidFill>
              </a:rPr>
              <a:t>|</a:t>
            </a:r>
            <a:r>
              <a:rPr lang="en-US" sz="3200" dirty="0">
                <a:solidFill>
                  <a:srgbClr val="3699DC"/>
                </a:solidFill>
              </a:rPr>
              <a:t>  Causes of Environment Degradation</a:t>
            </a:r>
          </a:p>
          <a:p>
            <a:pPr algn="r"/>
            <a:r>
              <a:rPr lang="en-US" sz="2400" dirty="0">
                <a:solidFill>
                  <a:schemeClr val="accent1">
                    <a:lumMod val="60000"/>
                    <a:lumOff val="40000"/>
                  </a:schemeClr>
                </a:solidFill>
              </a:rPr>
              <a:t>How Environment is Degrading </a:t>
            </a:r>
          </a:p>
          <a:p>
            <a:endParaRPr lang="en-US" kern="0" dirty="0"/>
          </a:p>
          <a:p>
            <a:pPr algn="just"/>
            <a:endParaRPr lang="en-US" sz="3200" dirty="0">
              <a:solidFill>
                <a:srgbClr val="3699DC"/>
              </a:solidFill>
            </a:endParaRPr>
          </a:p>
        </p:txBody>
      </p:sp>
    </p:spTree>
    <p:extLst>
      <p:ext uri="{BB962C8B-B14F-4D97-AF65-F5344CB8AC3E}">
        <p14:creationId xmlns:p14="http://schemas.microsoft.com/office/powerpoint/2010/main" val="209128418"/>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1F74D4A-9E16-4275-90C5-F97189B724F9}"/>
              </a:ext>
            </a:extLst>
          </p:cNvPr>
          <p:cNvPicPr>
            <a:picLocks noChangeAspect="1"/>
          </p:cNvPicPr>
          <p:nvPr/>
        </p:nvPicPr>
        <p:blipFill>
          <a:blip r:embed="rId4">
            <a:duotone>
              <a:schemeClr val="accent1">
                <a:shade val="45000"/>
                <a:satMod val="135000"/>
              </a:schemeClr>
              <a:prstClr val="white"/>
            </a:duotone>
            <a:extLst>
              <a:ext uri="{BEBA8EAE-BF5A-486C-A8C5-ECC9F3942E4B}">
                <a14:imgProps xmlns:a14="http://schemas.microsoft.com/office/drawing/2010/main">
                  <a14:imgLayer r:embed="rId5">
                    <a14:imgEffect>
                      <a14:saturation sat="400000"/>
                    </a14:imgEffect>
                  </a14:imgLayer>
                </a14:imgProps>
              </a:ext>
            </a:extLst>
          </a:blip>
          <a:stretch>
            <a:fillRect/>
          </a:stretch>
        </p:blipFill>
        <p:spPr>
          <a:xfrm>
            <a:off x="1206419" y="486504"/>
            <a:ext cx="497801" cy="639616"/>
          </a:xfrm>
          <a:prstGeom prst="rect">
            <a:avLst/>
          </a:prstGeom>
        </p:spPr>
      </p:pic>
      <p:graphicFrame>
        <p:nvGraphicFramePr>
          <p:cNvPr id="3" name="Object 2" hidden="1">
            <a:extLst>
              <a:ext uri="{FF2B5EF4-FFF2-40B4-BE49-F238E27FC236}">
                <a16:creationId xmlns:a16="http://schemas.microsoft.com/office/drawing/2014/main" id="{29F5A9FD-BD4B-41CD-9545-C14EE113DFB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1" name="think-cell Slide" r:id="rId6" imgW="360" imgH="360" progId="TCLayout.ActiveDocument.1">
                  <p:embed/>
                </p:oleObj>
              </mc:Choice>
              <mc:Fallback>
                <p:oleObj name="think-cell Slide" r:id="rId6" imgW="360" imgH="360" progId="TCLayout.ActiveDocument.1">
                  <p:embed/>
                  <p:pic>
                    <p:nvPicPr>
                      <p:cNvPr id="3" name="Object 2" hidden="1">
                        <a:extLst>
                          <a:ext uri="{FF2B5EF4-FFF2-40B4-BE49-F238E27FC236}">
                            <a16:creationId xmlns:a16="http://schemas.microsoft.com/office/drawing/2014/main" id="{29F5A9FD-BD4B-41CD-9545-C14EE113DFB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26F784E-485C-46E9-A476-2051D18874E2}"/>
              </a:ext>
            </a:extLst>
          </p:cNvPr>
          <p:cNvSpPr>
            <a:spLocks noGrp="1"/>
          </p:cNvSpPr>
          <p:nvPr>
            <p:ph type="title"/>
          </p:nvPr>
        </p:nvSpPr>
        <p:spPr>
          <a:xfrm>
            <a:off x="282770" y="357691"/>
            <a:ext cx="2180344" cy="688514"/>
          </a:xfrm>
        </p:spPr>
        <p:txBody>
          <a:bodyPr vert="horz" lIns="0" tIns="0" rIns="0" bIns="0" rtlCol="0" anchor="t" anchorCtr="0">
            <a:noAutofit/>
          </a:bodyPr>
          <a:lstStyle/>
          <a:p>
            <a:r>
              <a:rPr lang="en-US" sz="1200" dirty="0">
                <a:ea typeface="+mj-lt"/>
                <a:cs typeface="+mj-lt"/>
              </a:rPr>
              <a:t>Environmental Problems </a:t>
            </a:r>
            <a:br>
              <a:rPr lang="en-US" sz="1200" dirty="0">
                <a:ea typeface="+mj-lt"/>
                <a:cs typeface="+mj-lt"/>
              </a:rPr>
            </a:br>
            <a:br>
              <a:rPr lang="en-US" sz="1200" dirty="0">
                <a:ea typeface="+mj-lt"/>
                <a:cs typeface="+mj-lt"/>
              </a:rPr>
            </a:br>
            <a:endParaRPr lang="en-US" sz="1200" dirty="0"/>
          </a:p>
        </p:txBody>
      </p:sp>
      <p:sp>
        <p:nvSpPr>
          <p:cNvPr id="4" name="TextBox 3">
            <a:extLst>
              <a:ext uri="{FF2B5EF4-FFF2-40B4-BE49-F238E27FC236}">
                <a16:creationId xmlns:a16="http://schemas.microsoft.com/office/drawing/2014/main" id="{32DF85C0-3BEE-4729-9C07-A4274FBB1381}"/>
              </a:ext>
            </a:extLst>
          </p:cNvPr>
          <p:cNvSpPr txBox="1"/>
          <p:nvPr/>
        </p:nvSpPr>
        <p:spPr>
          <a:xfrm>
            <a:off x="282770" y="486504"/>
            <a:ext cx="4879445" cy="430887"/>
          </a:xfrm>
          <a:prstGeom prst="rect">
            <a:avLst/>
          </a:prstGeom>
          <a:noFill/>
        </p:spPr>
        <p:txBody>
          <a:bodyPr wrap="square" lIns="0" tIns="0" rIns="0" bIns="0" rtlCol="0">
            <a:spAutoFit/>
          </a:bodyPr>
          <a:lstStyle/>
          <a:p>
            <a:r>
              <a:rPr lang="en-US" sz="1400" b="1" dirty="0">
                <a:ea typeface="+mj-lt"/>
                <a:cs typeface="+mj-lt"/>
              </a:rPr>
              <a:t>in</a:t>
            </a:r>
            <a:br>
              <a:rPr lang="en-US" sz="1400" b="1" dirty="0">
                <a:ea typeface="+mj-lt"/>
                <a:cs typeface="+mj-lt"/>
              </a:rPr>
            </a:br>
            <a:r>
              <a:rPr lang="en-US" sz="1400" b="1" dirty="0">
                <a:ea typeface="+mj-lt"/>
                <a:cs typeface="+mj-lt"/>
              </a:rPr>
              <a:t>Bangladesh</a:t>
            </a:r>
            <a:endParaRPr lang="en-US" sz="1400" b="1" kern="0" dirty="0"/>
          </a:p>
        </p:txBody>
      </p:sp>
      <p:pic>
        <p:nvPicPr>
          <p:cNvPr id="15" name="Picture 14">
            <a:extLst>
              <a:ext uri="{FF2B5EF4-FFF2-40B4-BE49-F238E27FC236}">
                <a16:creationId xmlns:a16="http://schemas.microsoft.com/office/drawing/2014/main" id="{847AD379-8168-4002-B5E5-AD5E8062CBD8}"/>
              </a:ext>
            </a:extLst>
          </p:cNvPr>
          <p:cNvPicPr>
            <a:picLocks noChangeAspect="1"/>
          </p:cNvPicPr>
          <p:nvPr/>
        </p:nvPicPr>
        <p:blipFill rotWithShape="1">
          <a:blip r:embed="rId8"/>
          <a:srcRect l="16687" r="16687"/>
          <a:stretch/>
        </p:blipFill>
        <p:spPr>
          <a:xfrm>
            <a:off x="4067889" y="1398588"/>
            <a:ext cx="3108960" cy="3108960"/>
          </a:xfrm>
          <a:prstGeom prst="ellipse">
            <a:avLst/>
          </a:prstGeom>
        </p:spPr>
      </p:pic>
      <p:pic>
        <p:nvPicPr>
          <p:cNvPr id="17" name="Picture 16">
            <a:extLst>
              <a:ext uri="{FF2B5EF4-FFF2-40B4-BE49-F238E27FC236}">
                <a16:creationId xmlns:a16="http://schemas.microsoft.com/office/drawing/2014/main" id="{977ECD24-F498-4DA1-A833-9E29E2CA6B95}"/>
              </a:ext>
            </a:extLst>
          </p:cNvPr>
          <p:cNvPicPr>
            <a:picLocks noChangeAspect="1"/>
          </p:cNvPicPr>
          <p:nvPr/>
        </p:nvPicPr>
        <p:blipFill rotWithShape="1">
          <a:blip r:embed="rId9"/>
          <a:srcRect l="42507" t="1778" r="1243" b="-1778"/>
          <a:stretch/>
        </p:blipFill>
        <p:spPr>
          <a:xfrm>
            <a:off x="-494745" y="1398588"/>
            <a:ext cx="1828800" cy="1828800"/>
          </a:xfrm>
          <a:prstGeom prst="ellipse">
            <a:avLst/>
          </a:prstGeom>
        </p:spPr>
      </p:pic>
      <p:pic>
        <p:nvPicPr>
          <p:cNvPr id="24" name="Picture 23">
            <a:extLst>
              <a:ext uri="{FF2B5EF4-FFF2-40B4-BE49-F238E27FC236}">
                <a16:creationId xmlns:a16="http://schemas.microsoft.com/office/drawing/2014/main" id="{6C8A0449-F503-4FBC-A6C2-4A367FC990C8}"/>
              </a:ext>
            </a:extLst>
          </p:cNvPr>
          <p:cNvPicPr>
            <a:picLocks noChangeAspect="1"/>
          </p:cNvPicPr>
          <p:nvPr/>
        </p:nvPicPr>
        <p:blipFill rotWithShape="1">
          <a:blip r:embed="rId10"/>
          <a:srcRect l="16700" r="16700"/>
          <a:stretch/>
        </p:blipFill>
        <p:spPr>
          <a:xfrm>
            <a:off x="1695132" y="1417320"/>
            <a:ext cx="2011680" cy="2011680"/>
          </a:xfrm>
          <a:prstGeom prst="ellipse">
            <a:avLst/>
          </a:prstGeom>
        </p:spPr>
      </p:pic>
      <p:sp>
        <p:nvSpPr>
          <p:cNvPr id="18" name="Rectangle 17">
            <a:extLst>
              <a:ext uri="{FF2B5EF4-FFF2-40B4-BE49-F238E27FC236}">
                <a16:creationId xmlns:a16="http://schemas.microsoft.com/office/drawing/2014/main" id="{4AADC703-0B17-4AA3-B390-0342357FC97A}"/>
              </a:ext>
            </a:extLst>
          </p:cNvPr>
          <p:cNvSpPr/>
          <p:nvPr/>
        </p:nvSpPr>
        <p:spPr>
          <a:xfrm>
            <a:off x="4782653" y="4822811"/>
            <a:ext cx="1871025" cy="369332"/>
          </a:xfrm>
          <a:prstGeom prst="rect">
            <a:avLst/>
          </a:prstGeom>
        </p:spPr>
        <p:txBody>
          <a:bodyPr wrap="none">
            <a:spAutoFit/>
          </a:bodyPr>
          <a:lstStyle/>
          <a:p>
            <a:r>
              <a:rPr lang="en-US" dirty="0">
                <a:solidFill>
                  <a:srgbClr val="66CBFF"/>
                </a:solidFill>
              </a:rPr>
              <a:t>Sound pollution</a:t>
            </a:r>
          </a:p>
        </p:txBody>
      </p:sp>
      <p:sp>
        <p:nvSpPr>
          <p:cNvPr id="19" name="Rectangle 18">
            <a:extLst>
              <a:ext uri="{FF2B5EF4-FFF2-40B4-BE49-F238E27FC236}">
                <a16:creationId xmlns:a16="http://schemas.microsoft.com/office/drawing/2014/main" id="{AA1EE7DE-554A-45A8-974A-F48DFD019D8E}"/>
              </a:ext>
            </a:extLst>
          </p:cNvPr>
          <p:cNvSpPr/>
          <p:nvPr/>
        </p:nvSpPr>
        <p:spPr>
          <a:xfrm>
            <a:off x="2767147" y="5397509"/>
            <a:ext cx="6096000" cy="430887"/>
          </a:xfrm>
          <a:prstGeom prst="rect">
            <a:avLst/>
          </a:prstGeom>
        </p:spPr>
        <p:txBody>
          <a:bodyPr>
            <a:spAutoFit/>
          </a:bodyPr>
          <a:lstStyle/>
          <a:p>
            <a:r>
              <a:rPr lang="en-US" sz="1100" dirty="0"/>
              <a:t>Noise pollution is generally defined as regular exposure to elevated sound levels that may lead to adverse effects in humans or other living organisms.</a:t>
            </a:r>
          </a:p>
        </p:txBody>
      </p:sp>
      <p:sp>
        <p:nvSpPr>
          <p:cNvPr id="20" name="Rectangle 19">
            <a:extLst>
              <a:ext uri="{FF2B5EF4-FFF2-40B4-BE49-F238E27FC236}">
                <a16:creationId xmlns:a16="http://schemas.microsoft.com/office/drawing/2014/main" id="{B827D61B-BCB1-48CF-B91B-A35F12DC084C}"/>
              </a:ext>
            </a:extLst>
          </p:cNvPr>
          <p:cNvSpPr/>
          <p:nvPr/>
        </p:nvSpPr>
        <p:spPr>
          <a:xfrm>
            <a:off x="4572000" y="308490"/>
            <a:ext cx="7261155" cy="1908215"/>
          </a:xfrm>
          <a:prstGeom prst="rect">
            <a:avLst/>
          </a:prstGeom>
        </p:spPr>
        <p:txBody>
          <a:bodyPr wrap="none">
            <a:spAutoFit/>
          </a:bodyPr>
          <a:lstStyle/>
          <a:p>
            <a:r>
              <a:rPr lang="en-US" sz="4400" dirty="0">
                <a:solidFill>
                  <a:srgbClr val="3699DC"/>
                </a:solidFill>
              </a:rPr>
              <a:t>|</a:t>
            </a:r>
            <a:r>
              <a:rPr lang="en-US" sz="3200" dirty="0">
                <a:solidFill>
                  <a:srgbClr val="3699DC"/>
                </a:solidFill>
              </a:rPr>
              <a:t>  Causes of Environment Degradation</a:t>
            </a:r>
          </a:p>
          <a:p>
            <a:pPr algn="r"/>
            <a:r>
              <a:rPr lang="en-US" sz="2400" dirty="0">
                <a:solidFill>
                  <a:schemeClr val="accent1">
                    <a:lumMod val="60000"/>
                    <a:lumOff val="40000"/>
                  </a:schemeClr>
                </a:solidFill>
              </a:rPr>
              <a:t>How Environment is Degrading </a:t>
            </a:r>
          </a:p>
          <a:p>
            <a:endParaRPr lang="en-US" kern="0" dirty="0"/>
          </a:p>
          <a:p>
            <a:pPr algn="just"/>
            <a:endParaRPr lang="en-US" sz="3200" dirty="0">
              <a:solidFill>
                <a:srgbClr val="3699DC"/>
              </a:solidFill>
            </a:endParaRPr>
          </a:p>
        </p:txBody>
      </p:sp>
    </p:spTree>
    <p:extLst>
      <p:ext uri="{BB962C8B-B14F-4D97-AF65-F5344CB8AC3E}">
        <p14:creationId xmlns:p14="http://schemas.microsoft.com/office/powerpoint/2010/main" val="2220090638"/>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1F74D4A-9E16-4275-90C5-F97189B724F9}"/>
              </a:ext>
            </a:extLst>
          </p:cNvPr>
          <p:cNvPicPr>
            <a:picLocks noChangeAspect="1"/>
          </p:cNvPicPr>
          <p:nvPr/>
        </p:nvPicPr>
        <p:blipFill>
          <a:blip r:embed="rId4">
            <a:duotone>
              <a:schemeClr val="accent1">
                <a:shade val="45000"/>
                <a:satMod val="135000"/>
              </a:schemeClr>
              <a:prstClr val="white"/>
            </a:duotone>
            <a:extLst>
              <a:ext uri="{BEBA8EAE-BF5A-486C-A8C5-ECC9F3942E4B}">
                <a14:imgProps xmlns:a14="http://schemas.microsoft.com/office/drawing/2010/main">
                  <a14:imgLayer r:embed="rId5">
                    <a14:imgEffect>
                      <a14:saturation sat="400000"/>
                    </a14:imgEffect>
                  </a14:imgLayer>
                </a14:imgProps>
              </a:ext>
            </a:extLst>
          </a:blip>
          <a:stretch>
            <a:fillRect/>
          </a:stretch>
        </p:blipFill>
        <p:spPr>
          <a:xfrm>
            <a:off x="1206419" y="486504"/>
            <a:ext cx="497801" cy="639616"/>
          </a:xfrm>
          <a:prstGeom prst="rect">
            <a:avLst/>
          </a:prstGeom>
        </p:spPr>
      </p:pic>
      <p:graphicFrame>
        <p:nvGraphicFramePr>
          <p:cNvPr id="3" name="Object 2" hidden="1">
            <a:extLst>
              <a:ext uri="{FF2B5EF4-FFF2-40B4-BE49-F238E27FC236}">
                <a16:creationId xmlns:a16="http://schemas.microsoft.com/office/drawing/2014/main" id="{29F5A9FD-BD4B-41CD-9545-C14EE113DFB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3" name="think-cell Slide" r:id="rId6" imgW="360" imgH="360" progId="TCLayout.ActiveDocument.1">
                  <p:embed/>
                </p:oleObj>
              </mc:Choice>
              <mc:Fallback>
                <p:oleObj name="think-cell Slide" r:id="rId6" imgW="360" imgH="360" progId="TCLayout.ActiveDocument.1">
                  <p:embed/>
                  <p:pic>
                    <p:nvPicPr>
                      <p:cNvPr id="3" name="Object 2" hidden="1">
                        <a:extLst>
                          <a:ext uri="{FF2B5EF4-FFF2-40B4-BE49-F238E27FC236}">
                            <a16:creationId xmlns:a16="http://schemas.microsoft.com/office/drawing/2014/main" id="{29F5A9FD-BD4B-41CD-9545-C14EE113DFB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26F784E-485C-46E9-A476-2051D18874E2}"/>
              </a:ext>
            </a:extLst>
          </p:cNvPr>
          <p:cNvSpPr>
            <a:spLocks noGrp="1"/>
          </p:cNvSpPr>
          <p:nvPr>
            <p:ph type="title"/>
          </p:nvPr>
        </p:nvSpPr>
        <p:spPr>
          <a:xfrm>
            <a:off x="282770" y="357691"/>
            <a:ext cx="2180344" cy="688514"/>
          </a:xfrm>
        </p:spPr>
        <p:txBody>
          <a:bodyPr vert="horz" lIns="0" tIns="0" rIns="0" bIns="0" rtlCol="0" anchor="t" anchorCtr="0">
            <a:noAutofit/>
          </a:bodyPr>
          <a:lstStyle/>
          <a:p>
            <a:r>
              <a:rPr lang="en-US" sz="1200" dirty="0">
                <a:ea typeface="+mj-lt"/>
                <a:cs typeface="+mj-lt"/>
              </a:rPr>
              <a:t>Environmental Problems </a:t>
            </a:r>
            <a:br>
              <a:rPr lang="en-US" sz="1200" dirty="0">
                <a:ea typeface="+mj-lt"/>
                <a:cs typeface="+mj-lt"/>
              </a:rPr>
            </a:br>
            <a:br>
              <a:rPr lang="en-US" sz="1200" dirty="0">
                <a:ea typeface="+mj-lt"/>
                <a:cs typeface="+mj-lt"/>
              </a:rPr>
            </a:br>
            <a:endParaRPr lang="en-US" sz="1200" dirty="0"/>
          </a:p>
        </p:txBody>
      </p:sp>
      <p:sp>
        <p:nvSpPr>
          <p:cNvPr id="4" name="TextBox 3">
            <a:extLst>
              <a:ext uri="{FF2B5EF4-FFF2-40B4-BE49-F238E27FC236}">
                <a16:creationId xmlns:a16="http://schemas.microsoft.com/office/drawing/2014/main" id="{32DF85C0-3BEE-4729-9C07-A4274FBB1381}"/>
              </a:ext>
            </a:extLst>
          </p:cNvPr>
          <p:cNvSpPr txBox="1"/>
          <p:nvPr/>
        </p:nvSpPr>
        <p:spPr>
          <a:xfrm>
            <a:off x="282770" y="486504"/>
            <a:ext cx="4879445" cy="430887"/>
          </a:xfrm>
          <a:prstGeom prst="rect">
            <a:avLst/>
          </a:prstGeom>
          <a:noFill/>
        </p:spPr>
        <p:txBody>
          <a:bodyPr wrap="square" lIns="0" tIns="0" rIns="0" bIns="0" rtlCol="0">
            <a:spAutoFit/>
          </a:bodyPr>
          <a:lstStyle/>
          <a:p>
            <a:r>
              <a:rPr lang="en-US" sz="1400" b="1" dirty="0">
                <a:ea typeface="+mj-lt"/>
                <a:cs typeface="+mj-lt"/>
              </a:rPr>
              <a:t>in</a:t>
            </a:r>
            <a:br>
              <a:rPr lang="en-US" sz="1400" b="1" dirty="0">
                <a:ea typeface="+mj-lt"/>
                <a:cs typeface="+mj-lt"/>
              </a:rPr>
            </a:br>
            <a:r>
              <a:rPr lang="en-US" sz="1400" b="1" dirty="0">
                <a:ea typeface="+mj-lt"/>
                <a:cs typeface="+mj-lt"/>
              </a:rPr>
              <a:t>Bangladesh</a:t>
            </a:r>
            <a:endParaRPr lang="en-US" sz="1400" b="1" kern="0" dirty="0"/>
          </a:p>
        </p:txBody>
      </p:sp>
      <p:pic>
        <p:nvPicPr>
          <p:cNvPr id="17" name="Picture 16">
            <a:extLst>
              <a:ext uri="{FF2B5EF4-FFF2-40B4-BE49-F238E27FC236}">
                <a16:creationId xmlns:a16="http://schemas.microsoft.com/office/drawing/2014/main" id="{977ECD24-F498-4DA1-A833-9E29E2CA6B95}"/>
              </a:ext>
            </a:extLst>
          </p:cNvPr>
          <p:cNvPicPr>
            <a:picLocks noChangeAspect="1"/>
          </p:cNvPicPr>
          <p:nvPr/>
        </p:nvPicPr>
        <p:blipFill rotWithShape="1">
          <a:blip r:embed="rId8"/>
          <a:srcRect l="42507" t="1778" r="1243" b="-1778"/>
          <a:stretch/>
        </p:blipFill>
        <p:spPr>
          <a:xfrm>
            <a:off x="1521103" y="1417320"/>
            <a:ext cx="2011680" cy="2011680"/>
          </a:xfrm>
          <a:prstGeom prst="ellipse">
            <a:avLst/>
          </a:prstGeom>
        </p:spPr>
      </p:pic>
      <p:pic>
        <p:nvPicPr>
          <p:cNvPr id="24" name="Picture 23">
            <a:extLst>
              <a:ext uri="{FF2B5EF4-FFF2-40B4-BE49-F238E27FC236}">
                <a16:creationId xmlns:a16="http://schemas.microsoft.com/office/drawing/2014/main" id="{6C8A0449-F503-4FBC-A6C2-4A367FC990C8}"/>
              </a:ext>
            </a:extLst>
          </p:cNvPr>
          <p:cNvPicPr>
            <a:picLocks noChangeAspect="1"/>
          </p:cNvPicPr>
          <p:nvPr/>
        </p:nvPicPr>
        <p:blipFill rotWithShape="1">
          <a:blip r:embed="rId9"/>
          <a:srcRect l="16700" r="16700"/>
          <a:stretch/>
        </p:blipFill>
        <p:spPr>
          <a:xfrm>
            <a:off x="3887093" y="1417320"/>
            <a:ext cx="3108960" cy="3108960"/>
          </a:xfrm>
          <a:prstGeom prst="ellipse">
            <a:avLst/>
          </a:prstGeom>
        </p:spPr>
      </p:pic>
      <p:sp>
        <p:nvSpPr>
          <p:cNvPr id="18" name="Rectangle 17">
            <a:extLst>
              <a:ext uri="{FF2B5EF4-FFF2-40B4-BE49-F238E27FC236}">
                <a16:creationId xmlns:a16="http://schemas.microsoft.com/office/drawing/2014/main" id="{110A7C1D-52DC-4C6B-BFE1-240C55480D53}"/>
              </a:ext>
            </a:extLst>
          </p:cNvPr>
          <p:cNvSpPr/>
          <p:nvPr/>
        </p:nvSpPr>
        <p:spPr>
          <a:xfrm>
            <a:off x="4327502" y="4926930"/>
            <a:ext cx="2668551" cy="369332"/>
          </a:xfrm>
          <a:prstGeom prst="rect">
            <a:avLst/>
          </a:prstGeom>
        </p:spPr>
        <p:txBody>
          <a:bodyPr wrap="none">
            <a:spAutoFit/>
          </a:bodyPr>
          <a:lstStyle/>
          <a:p>
            <a:r>
              <a:rPr lang="en-US" dirty="0">
                <a:solidFill>
                  <a:srgbClr val="66CBFF"/>
                </a:solidFill>
              </a:rPr>
              <a:t>Depletion of Resources </a:t>
            </a:r>
          </a:p>
        </p:txBody>
      </p:sp>
      <p:sp>
        <p:nvSpPr>
          <p:cNvPr id="19" name="Rectangle 18">
            <a:extLst>
              <a:ext uri="{FF2B5EF4-FFF2-40B4-BE49-F238E27FC236}">
                <a16:creationId xmlns:a16="http://schemas.microsoft.com/office/drawing/2014/main" id="{0A9DE664-D95E-497B-BE96-95B24DB966F2}"/>
              </a:ext>
            </a:extLst>
          </p:cNvPr>
          <p:cNvSpPr/>
          <p:nvPr/>
        </p:nvSpPr>
        <p:spPr>
          <a:xfrm>
            <a:off x="2463114" y="5504991"/>
            <a:ext cx="6096000" cy="600164"/>
          </a:xfrm>
          <a:prstGeom prst="rect">
            <a:avLst/>
          </a:prstGeom>
        </p:spPr>
        <p:txBody>
          <a:bodyPr>
            <a:spAutoFit/>
          </a:bodyPr>
          <a:lstStyle/>
          <a:p>
            <a:r>
              <a:rPr lang="en-US" sz="1100" dirty="0"/>
              <a:t>Resource depletion is the consumption of a resource faster than it can be replenished. Natural resources are commonly divided between renewable resources and nonrenewable resources. </a:t>
            </a:r>
          </a:p>
        </p:txBody>
      </p:sp>
      <p:sp>
        <p:nvSpPr>
          <p:cNvPr id="20" name="Rectangle 19">
            <a:extLst>
              <a:ext uri="{FF2B5EF4-FFF2-40B4-BE49-F238E27FC236}">
                <a16:creationId xmlns:a16="http://schemas.microsoft.com/office/drawing/2014/main" id="{B7BA7816-4ACB-44C4-91C3-E01B00AEEE69}"/>
              </a:ext>
            </a:extLst>
          </p:cNvPr>
          <p:cNvSpPr/>
          <p:nvPr/>
        </p:nvSpPr>
        <p:spPr>
          <a:xfrm>
            <a:off x="4572000" y="308490"/>
            <a:ext cx="7261155" cy="1908215"/>
          </a:xfrm>
          <a:prstGeom prst="rect">
            <a:avLst/>
          </a:prstGeom>
        </p:spPr>
        <p:txBody>
          <a:bodyPr wrap="none">
            <a:spAutoFit/>
          </a:bodyPr>
          <a:lstStyle/>
          <a:p>
            <a:r>
              <a:rPr lang="en-US" sz="4400" dirty="0">
                <a:solidFill>
                  <a:srgbClr val="3699DC"/>
                </a:solidFill>
              </a:rPr>
              <a:t>|</a:t>
            </a:r>
            <a:r>
              <a:rPr lang="en-US" sz="3200" dirty="0">
                <a:solidFill>
                  <a:srgbClr val="3699DC"/>
                </a:solidFill>
              </a:rPr>
              <a:t>  Causes of Environment Degradation</a:t>
            </a:r>
          </a:p>
          <a:p>
            <a:pPr algn="r"/>
            <a:r>
              <a:rPr lang="en-US" sz="2400" dirty="0">
                <a:solidFill>
                  <a:schemeClr val="accent1">
                    <a:lumMod val="60000"/>
                    <a:lumOff val="40000"/>
                  </a:schemeClr>
                </a:solidFill>
              </a:rPr>
              <a:t>How Environment is Degrading </a:t>
            </a:r>
          </a:p>
          <a:p>
            <a:endParaRPr lang="en-US" kern="0" dirty="0"/>
          </a:p>
          <a:p>
            <a:pPr algn="just"/>
            <a:endParaRPr lang="en-US" sz="3200" dirty="0">
              <a:solidFill>
                <a:srgbClr val="3699DC"/>
              </a:solidFill>
            </a:endParaRPr>
          </a:p>
        </p:txBody>
      </p:sp>
    </p:spTree>
    <p:extLst>
      <p:ext uri="{BB962C8B-B14F-4D97-AF65-F5344CB8AC3E}">
        <p14:creationId xmlns:p14="http://schemas.microsoft.com/office/powerpoint/2010/main" val="1851852191"/>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1F74D4A-9E16-4275-90C5-F97189B724F9}"/>
              </a:ext>
            </a:extLst>
          </p:cNvPr>
          <p:cNvPicPr>
            <a:picLocks noChangeAspect="1"/>
          </p:cNvPicPr>
          <p:nvPr/>
        </p:nvPicPr>
        <p:blipFill>
          <a:blip r:embed="rId4">
            <a:duotone>
              <a:schemeClr val="accent1">
                <a:shade val="45000"/>
                <a:satMod val="135000"/>
              </a:schemeClr>
              <a:prstClr val="white"/>
            </a:duotone>
            <a:extLst>
              <a:ext uri="{BEBA8EAE-BF5A-486C-A8C5-ECC9F3942E4B}">
                <a14:imgProps xmlns:a14="http://schemas.microsoft.com/office/drawing/2010/main">
                  <a14:imgLayer r:embed="rId5">
                    <a14:imgEffect>
                      <a14:saturation sat="400000"/>
                    </a14:imgEffect>
                  </a14:imgLayer>
                </a14:imgProps>
              </a:ext>
            </a:extLst>
          </a:blip>
          <a:stretch>
            <a:fillRect/>
          </a:stretch>
        </p:blipFill>
        <p:spPr>
          <a:xfrm>
            <a:off x="1206419" y="486504"/>
            <a:ext cx="497801" cy="639616"/>
          </a:xfrm>
          <a:prstGeom prst="rect">
            <a:avLst/>
          </a:prstGeom>
        </p:spPr>
      </p:pic>
      <p:graphicFrame>
        <p:nvGraphicFramePr>
          <p:cNvPr id="3" name="Object 2" hidden="1">
            <a:extLst>
              <a:ext uri="{FF2B5EF4-FFF2-40B4-BE49-F238E27FC236}">
                <a16:creationId xmlns:a16="http://schemas.microsoft.com/office/drawing/2014/main" id="{29F5A9FD-BD4B-41CD-9545-C14EE113DFB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7" name="think-cell Slide" r:id="rId6" imgW="360" imgH="360" progId="TCLayout.ActiveDocument.1">
                  <p:embed/>
                </p:oleObj>
              </mc:Choice>
              <mc:Fallback>
                <p:oleObj name="think-cell Slide" r:id="rId6" imgW="360" imgH="360" progId="TCLayout.ActiveDocument.1">
                  <p:embed/>
                  <p:pic>
                    <p:nvPicPr>
                      <p:cNvPr id="3" name="Object 2" hidden="1">
                        <a:extLst>
                          <a:ext uri="{FF2B5EF4-FFF2-40B4-BE49-F238E27FC236}">
                            <a16:creationId xmlns:a16="http://schemas.microsoft.com/office/drawing/2014/main" id="{29F5A9FD-BD4B-41CD-9545-C14EE113DFB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26F784E-485C-46E9-A476-2051D18874E2}"/>
              </a:ext>
            </a:extLst>
          </p:cNvPr>
          <p:cNvSpPr>
            <a:spLocks noGrp="1"/>
          </p:cNvSpPr>
          <p:nvPr>
            <p:ph type="title"/>
          </p:nvPr>
        </p:nvSpPr>
        <p:spPr>
          <a:xfrm>
            <a:off x="282770" y="357691"/>
            <a:ext cx="2180344" cy="688514"/>
          </a:xfrm>
        </p:spPr>
        <p:txBody>
          <a:bodyPr vert="horz" lIns="0" tIns="0" rIns="0" bIns="0" rtlCol="0" anchor="t" anchorCtr="0">
            <a:noAutofit/>
          </a:bodyPr>
          <a:lstStyle/>
          <a:p>
            <a:r>
              <a:rPr lang="en-US" sz="1200" dirty="0">
                <a:ea typeface="+mj-lt"/>
                <a:cs typeface="+mj-lt"/>
              </a:rPr>
              <a:t>Environmental Problems </a:t>
            </a:r>
            <a:br>
              <a:rPr lang="en-US" sz="1200" dirty="0">
                <a:ea typeface="+mj-lt"/>
                <a:cs typeface="+mj-lt"/>
              </a:rPr>
            </a:br>
            <a:br>
              <a:rPr lang="en-US" sz="1200" dirty="0">
                <a:ea typeface="+mj-lt"/>
                <a:cs typeface="+mj-lt"/>
              </a:rPr>
            </a:br>
            <a:endParaRPr lang="en-US" sz="1200" dirty="0"/>
          </a:p>
        </p:txBody>
      </p:sp>
      <p:sp>
        <p:nvSpPr>
          <p:cNvPr id="4" name="TextBox 3">
            <a:extLst>
              <a:ext uri="{FF2B5EF4-FFF2-40B4-BE49-F238E27FC236}">
                <a16:creationId xmlns:a16="http://schemas.microsoft.com/office/drawing/2014/main" id="{32DF85C0-3BEE-4729-9C07-A4274FBB1381}"/>
              </a:ext>
            </a:extLst>
          </p:cNvPr>
          <p:cNvSpPr txBox="1"/>
          <p:nvPr/>
        </p:nvSpPr>
        <p:spPr>
          <a:xfrm>
            <a:off x="282770" y="486504"/>
            <a:ext cx="4879445" cy="430887"/>
          </a:xfrm>
          <a:prstGeom prst="rect">
            <a:avLst/>
          </a:prstGeom>
          <a:noFill/>
        </p:spPr>
        <p:txBody>
          <a:bodyPr wrap="square" lIns="0" tIns="0" rIns="0" bIns="0" rtlCol="0">
            <a:spAutoFit/>
          </a:bodyPr>
          <a:lstStyle/>
          <a:p>
            <a:r>
              <a:rPr lang="en-US" sz="1400" b="1" dirty="0">
                <a:ea typeface="+mj-lt"/>
                <a:cs typeface="+mj-lt"/>
              </a:rPr>
              <a:t>in</a:t>
            </a:r>
            <a:br>
              <a:rPr lang="en-US" sz="1400" b="1" dirty="0">
                <a:ea typeface="+mj-lt"/>
                <a:cs typeface="+mj-lt"/>
              </a:rPr>
            </a:br>
            <a:r>
              <a:rPr lang="en-US" sz="1400" b="1" dirty="0">
                <a:ea typeface="+mj-lt"/>
                <a:cs typeface="+mj-lt"/>
              </a:rPr>
              <a:t>Bangladesh</a:t>
            </a:r>
            <a:endParaRPr lang="en-US" sz="1400" b="1" kern="0" dirty="0"/>
          </a:p>
        </p:txBody>
      </p:sp>
      <p:pic>
        <p:nvPicPr>
          <p:cNvPr id="17" name="Picture 16">
            <a:extLst>
              <a:ext uri="{FF2B5EF4-FFF2-40B4-BE49-F238E27FC236}">
                <a16:creationId xmlns:a16="http://schemas.microsoft.com/office/drawing/2014/main" id="{977ECD24-F498-4DA1-A833-9E29E2CA6B95}"/>
              </a:ext>
            </a:extLst>
          </p:cNvPr>
          <p:cNvPicPr>
            <a:picLocks noChangeAspect="1"/>
          </p:cNvPicPr>
          <p:nvPr/>
        </p:nvPicPr>
        <p:blipFill rotWithShape="1">
          <a:blip r:embed="rId8"/>
          <a:srcRect l="42507" t="1778" r="1243" b="-1778"/>
          <a:stretch/>
        </p:blipFill>
        <p:spPr>
          <a:xfrm>
            <a:off x="4067889" y="1444308"/>
            <a:ext cx="3108960" cy="3108960"/>
          </a:xfrm>
          <a:prstGeom prst="ellipse">
            <a:avLst/>
          </a:prstGeom>
        </p:spPr>
      </p:pic>
      <p:sp>
        <p:nvSpPr>
          <p:cNvPr id="18" name="Rectangle 17">
            <a:extLst>
              <a:ext uri="{FF2B5EF4-FFF2-40B4-BE49-F238E27FC236}">
                <a16:creationId xmlns:a16="http://schemas.microsoft.com/office/drawing/2014/main" id="{5A6150F9-3336-4609-8CA5-6834946FC1CD}"/>
              </a:ext>
            </a:extLst>
          </p:cNvPr>
          <p:cNvSpPr/>
          <p:nvPr/>
        </p:nvSpPr>
        <p:spPr>
          <a:xfrm>
            <a:off x="4739521" y="4792271"/>
            <a:ext cx="1729961" cy="369332"/>
          </a:xfrm>
          <a:prstGeom prst="rect">
            <a:avLst/>
          </a:prstGeom>
        </p:spPr>
        <p:txBody>
          <a:bodyPr wrap="none">
            <a:spAutoFit/>
          </a:bodyPr>
          <a:lstStyle/>
          <a:p>
            <a:r>
              <a:rPr lang="en-US" dirty="0">
                <a:solidFill>
                  <a:srgbClr val="66CBFF"/>
                </a:solidFill>
              </a:rPr>
              <a:t>Light pollution</a:t>
            </a:r>
          </a:p>
        </p:txBody>
      </p:sp>
      <p:sp>
        <p:nvSpPr>
          <p:cNvPr id="19" name="Rectangle 18">
            <a:extLst>
              <a:ext uri="{FF2B5EF4-FFF2-40B4-BE49-F238E27FC236}">
                <a16:creationId xmlns:a16="http://schemas.microsoft.com/office/drawing/2014/main" id="{5D176EFA-F7EA-4783-B400-0030EAD74220}"/>
              </a:ext>
            </a:extLst>
          </p:cNvPr>
          <p:cNvSpPr/>
          <p:nvPr/>
        </p:nvSpPr>
        <p:spPr>
          <a:xfrm>
            <a:off x="2724015" y="5366969"/>
            <a:ext cx="6096000" cy="600164"/>
          </a:xfrm>
          <a:prstGeom prst="rect">
            <a:avLst/>
          </a:prstGeom>
        </p:spPr>
        <p:txBody>
          <a:bodyPr>
            <a:spAutoFit/>
          </a:bodyPr>
          <a:lstStyle/>
          <a:p>
            <a:r>
              <a:rPr lang="en-US" sz="1100" dirty="0"/>
              <a:t>Light pollution is the presence of anthropogenic and artificial light in the night environment. It is exacerbated by excessive, misdirected or obtrusive use of light, but even carefully used light fundamentally alters natural conditions. </a:t>
            </a:r>
          </a:p>
        </p:txBody>
      </p:sp>
      <p:sp>
        <p:nvSpPr>
          <p:cNvPr id="22" name="Rectangle 21">
            <a:extLst>
              <a:ext uri="{FF2B5EF4-FFF2-40B4-BE49-F238E27FC236}">
                <a16:creationId xmlns:a16="http://schemas.microsoft.com/office/drawing/2014/main" id="{658F37A6-6C15-410E-81BA-3DB3AE1B9AB3}"/>
              </a:ext>
            </a:extLst>
          </p:cNvPr>
          <p:cNvSpPr/>
          <p:nvPr/>
        </p:nvSpPr>
        <p:spPr>
          <a:xfrm>
            <a:off x="4572000" y="308490"/>
            <a:ext cx="7261155" cy="1908215"/>
          </a:xfrm>
          <a:prstGeom prst="rect">
            <a:avLst/>
          </a:prstGeom>
        </p:spPr>
        <p:txBody>
          <a:bodyPr wrap="none">
            <a:spAutoFit/>
          </a:bodyPr>
          <a:lstStyle/>
          <a:p>
            <a:r>
              <a:rPr lang="en-US" sz="4400" dirty="0">
                <a:solidFill>
                  <a:srgbClr val="3699DC"/>
                </a:solidFill>
              </a:rPr>
              <a:t>|</a:t>
            </a:r>
            <a:r>
              <a:rPr lang="en-US" sz="3200" dirty="0">
                <a:solidFill>
                  <a:srgbClr val="3699DC"/>
                </a:solidFill>
              </a:rPr>
              <a:t>  Causes of Environment Degradation</a:t>
            </a:r>
          </a:p>
          <a:p>
            <a:pPr algn="r"/>
            <a:r>
              <a:rPr lang="en-US" sz="2400" dirty="0">
                <a:solidFill>
                  <a:schemeClr val="accent1">
                    <a:lumMod val="60000"/>
                    <a:lumOff val="40000"/>
                  </a:schemeClr>
                </a:solidFill>
              </a:rPr>
              <a:t>How Environment is Degrading </a:t>
            </a:r>
          </a:p>
          <a:p>
            <a:endParaRPr lang="en-US" kern="0" dirty="0"/>
          </a:p>
          <a:p>
            <a:pPr algn="just"/>
            <a:endParaRPr lang="en-US" sz="3200" dirty="0">
              <a:solidFill>
                <a:srgbClr val="3699DC"/>
              </a:solidFill>
            </a:endParaRPr>
          </a:p>
        </p:txBody>
      </p:sp>
    </p:spTree>
    <p:extLst>
      <p:ext uri="{BB962C8B-B14F-4D97-AF65-F5344CB8AC3E}">
        <p14:creationId xmlns:p14="http://schemas.microsoft.com/office/powerpoint/2010/main" val="2434098028"/>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9F5A9FD-BD4B-41CD-9545-C14EE113DFB6}"/>
              </a:ext>
            </a:extLst>
          </p:cNvPr>
          <p:cNvGraphicFramePr>
            <a:graphicFrameLocks noChangeAspect="1"/>
          </p:cNvGraphicFramePr>
          <p:nvPr>
            <p:custDataLst>
              <p:tags r:id="rId2"/>
            </p:custDataLst>
            <p:extLst>
              <p:ext uri="{D42A27DB-BD31-4B8C-83A1-F6EECF244321}">
                <p14:modId xmlns:p14="http://schemas.microsoft.com/office/powerpoint/2010/main" val="31192455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2"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a16="http://schemas.microsoft.com/office/drawing/2014/main" id="{29F5A9FD-BD4B-41CD-9545-C14EE113DF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262" name="Group 1261">
            <a:extLst>
              <a:ext uri="{FF2B5EF4-FFF2-40B4-BE49-F238E27FC236}">
                <a16:creationId xmlns:a16="http://schemas.microsoft.com/office/drawing/2014/main" id="{0DED1D56-538D-44D4-A6EE-2AD1F41E9699}"/>
              </a:ext>
            </a:extLst>
          </p:cNvPr>
          <p:cNvGrpSpPr/>
          <p:nvPr/>
        </p:nvGrpSpPr>
        <p:grpSpPr>
          <a:xfrm>
            <a:off x="523641" y="1250696"/>
            <a:ext cx="11185550" cy="5530218"/>
            <a:chOff x="1433110" y="1700344"/>
            <a:chExt cx="9366611" cy="4630922"/>
          </a:xfrm>
          <a:solidFill>
            <a:schemeClr val="bg1">
              <a:lumMod val="75000"/>
            </a:schemeClr>
          </a:solidFill>
        </p:grpSpPr>
        <p:sp>
          <p:nvSpPr>
            <p:cNvPr id="831" name="Freeform 5">
              <a:extLst>
                <a:ext uri="{FF2B5EF4-FFF2-40B4-BE49-F238E27FC236}">
                  <a16:creationId xmlns:a16="http://schemas.microsoft.com/office/drawing/2014/main" id="{C5D40F70-E3B5-42E4-A2C8-E63FCAB070E2}"/>
                </a:ext>
              </a:extLst>
            </p:cNvPr>
            <p:cNvSpPr>
              <a:spLocks/>
            </p:cNvSpPr>
            <p:nvPr/>
          </p:nvSpPr>
          <p:spPr bwMode="gray">
            <a:xfrm>
              <a:off x="3913019" y="1700344"/>
              <a:ext cx="1588331" cy="1188437"/>
            </a:xfrm>
            <a:custGeom>
              <a:avLst/>
              <a:gdLst>
                <a:gd name="T0" fmla="*/ 676 w 962"/>
                <a:gd name="T1" fmla="*/ 508 h 716"/>
                <a:gd name="T2" fmla="*/ 628 w 962"/>
                <a:gd name="T3" fmla="*/ 526 h 716"/>
                <a:gd name="T4" fmla="*/ 546 w 962"/>
                <a:gd name="T5" fmla="*/ 572 h 716"/>
                <a:gd name="T6" fmla="*/ 510 w 962"/>
                <a:gd name="T7" fmla="*/ 592 h 716"/>
                <a:gd name="T8" fmla="*/ 502 w 962"/>
                <a:gd name="T9" fmla="*/ 636 h 716"/>
                <a:gd name="T10" fmla="*/ 482 w 962"/>
                <a:gd name="T11" fmla="*/ 664 h 716"/>
                <a:gd name="T12" fmla="*/ 428 w 962"/>
                <a:gd name="T13" fmla="*/ 702 h 716"/>
                <a:gd name="T14" fmla="*/ 390 w 962"/>
                <a:gd name="T15" fmla="*/ 700 h 716"/>
                <a:gd name="T16" fmla="*/ 348 w 962"/>
                <a:gd name="T17" fmla="*/ 634 h 716"/>
                <a:gd name="T18" fmla="*/ 340 w 962"/>
                <a:gd name="T19" fmla="*/ 600 h 716"/>
                <a:gd name="T20" fmla="*/ 312 w 962"/>
                <a:gd name="T21" fmla="*/ 546 h 716"/>
                <a:gd name="T22" fmla="*/ 312 w 962"/>
                <a:gd name="T23" fmla="*/ 516 h 716"/>
                <a:gd name="T24" fmla="*/ 346 w 962"/>
                <a:gd name="T25" fmla="*/ 522 h 716"/>
                <a:gd name="T26" fmla="*/ 356 w 962"/>
                <a:gd name="T27" fmla="*/ 466 h 716"/>
                <a:gd name="T28" fmla="*/ 296 w 962"/>
                <a:gd name="T29" fmla="*/ 436 h 716"/>
                <a:gd name="T30" fmla="*/ 330 w 962"/>
                <a:gd name="T31" fmla="*/ 414 h 716"/>
                <a:gd name="T32" fmla="*/ 274 w 962"/>
                <a:gd name="T33" fmla="*/ 414 h 716"/>
                <a:gd name="T34" fmla="*/ 238 w 962"/>
                <a:gd name="T35" fmla="*/ 306 h 716"/>
                <a:gd name="T36" fmla="*/ 148 w 962"/>
                <a:gd name="T37" fmla="*/ 262 h 716"/>
                <a:gd name="T38" fmla="*/ 100 w 962"/>
                <a:gd name="T39" fmla="*/ 272 h 716"/>
                <a:gd name="T40" fmla="*/ 68 w 962"/>
                <a:gd name="T41" fmla="*/ 256 h 716"/>
                <a:gd name="T42" fmla="*/ 24 w 962"/>
                <a:gd name="T43" fmla="*/ 240 h 716"/>
                <a:gd name="T44" fmla="*/ 102 w 962"/>
                <a:gd name="T45" fmla="*/ 222 h 716"/>
                <a:gd name="T46" fmla="*/ 8 w 962"/>
                <a:gd name="T47" fmla="*/ 206 h 716"/>
                <a:gd name="T48" fmla="*/ 58 w 962"/>
                <a:gd name="T49" fmla="*/ 180 h 716"/>
                <a:gd name="T50" fmla="*/ 124 w 962"/>
                <a:gd name="T51" fmla="*/ 134 h 716"/>
                <a:gd name="T52" fmla="*/ 128 w 962"/>
                <a:gd name="T53" fmla="*/ 102 h 716"/>
                <a:gd name="T54" fmla="*/ 182 w 962"/>
                <a:gd name="T55" fmla="*/ 70 h 716"/>
                <a:gd name="T56" fmla="*/ 230 w 962"/>
                <a:gd name="T57" fmla="*/ 68 h 716"/>
                <a:gd name="T58" fmla="*/ 296 w 962"/>
                <a:gd name="T59" fmla="*/ 50 h 716"/>
                <a:gd name="T60" fmla="*/ 344 w 962"/>
                <a:gd name="T61" fmla="*/ 66 h 716"/>
                <a:gd name="T62" fmla="*/ 374 w 962"/>
                <a:gd name="T63" fmla="*/ 44 h 716"/>
                <a:gd name="T64" fmla="*/ 400 w 962"/>
                <a:gd name="T65" fmla="*/ 40 h 716"/>
                <a:gd name="T66" fmla="*/ 478 w 962"/>
                <a:gd name="T67" fmla="*/ 14 h 716"/>
                <a:gd name="T68" fmla="*/ 618 w 962"/>
                <a:gd name="T69" fmla="*/ 0 h 716"/>
                <a:gd name="T70" fmla="*/ 756 w 962"/>
                <a:gd name="T71" fmla="*/ 18 h 716"/>
                <a:gd name="T72" fmla="*/ 738 w 962"/>
                <a:gd name="T73" fmla="*/ 56 h 716"/>
                <a:gd name="T74" fmla="*/ 754 w 962"/>
                <a:gd name="T75" fmla="*/ 66 h 716"/>
                <a:gd name="T76" fmla="*/ 760 w 962"/>
                <a:gd name="T77" fmla="*/ 76 h 716"/>
                <a:gd name="T78" fmla="*/ 806 w 962"/>
                <a:gd name="T79" fmla="*/ 66 h 716"/>
                <a:gd name="T80" fmla="*/ 792 w 962"/>
                <a:gd name="T81" fmla="*/ 102 h 716"/>
                <a:gd name="T82" fmla="*/ 884 w 962"/>
                <a:gd name="T83" fmla="*/ 68 h 716"/>
                <a:gd name="T84" fmla="*/ 948 w 962"/>
                <a:gd name="T85" fmla="*/ 90 h 716"/>
                <a:gd name="T86" fmla="*/ 872 w 962"/>
                <a:gd name="T87" fmla="*/ 110 h 716"/>
                <a:gd name="T88" fmla="*/ 888 w 962"/>
                <a:gd name="T89" fmla="*/ 130 h 716"/>
                <a:gd name="T90" fmla="*/ 866 w 962"/>
                <a:gd name="T91" fmla="*/ 138 h 716"/>
                <a:gd name="T92" fmla="*/ 842 w 962"/>
                <a:gd name="T93" fmla="*/ 170 h 716"/>
                <a:gd name="T94" fmla="*/ 848 w 962"/>
                <a:gd name="T95" fmla="*/ 212 h 716"/>
                <a:gd name="T96" fmla="*/ 840 w 962"/>
                <a:gd name="T97" fmla="*/ 228 h 716"/>
                <a:gd name="T98" fmla="*/ 860 w 962"/>
                <a:gd name="T99" fmla="*/ 258 h 716"/>
                <a:gd name="T100" fmla="*/ 814 w 962"/>
                <a:gd name="T101" fmla="*/ 248 h 716"/>
                <a:gd name="T102" fmla="*/ 848 w 962"/>
                <a:gd name="T103" fmla="*/ 296 h 716"/>
                <a:gd name="T104" fmla="*/ 850 w 962"/>
                <a:gd name="T105" fmla="*/ 324 h 716"/>
                <a:gd name="T106" fmla="*/ 830 w 962"/>
                <a:gd name="T107" fmla="*/ 350 h 716"/>
                <a:gd name="T108" fmla="*/ 756 w 962"/>
                <a:gd name="T109" fmla="*/ 360 h 716"/>
                <a:gd name="T110" fmla="*/ 800 w 962"/>
                <a:gd name="T111" fmla="*/ 400 h 716"/>
                <a:gd name="T112" fmla="*/ 804 w 962"/>
                <a:gd name="T113" fmla="*/ 410 h 716"/>
                <a:gd name="T114" fmla="*/ 756 w 962"/>
                <a:gd name="T115" fmla="*/ 416 h 716"/>
                <a:gd name="T116" fmla="*/ 778 w 962"/>
                <a:gd name="T117" fmla="*/ 45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62" h="716">
                  <a:moveTo>
                    <a:pt x="790" y="462"/>
                  </a:moveTo>
                  <a:lnTo>
                    <a:pt x="752" y="484"/>
                  </a:lnTo>
                  <a:lnTo>
                    <a:pt x="736" y="496"/>
                  </a:lnTo>
                  <a:lnTo>
                    <a:pt x="676" y="508"/>
                  </a:lnTo>
                  <a:lnTo>
                    <a:pt x="658" y="512"/>
                  </a:lnTo>
                  <a:lnTo>
                    <a:pt x="646" y="506"/>
                  </a:lnTo>
                  <a:lnTo>
                    <a:pt x="642" y="514"/>
                  </a:lnTo>
                  <a:lnTo>
                    <a:pt x="628" y="526"/>
                  </a:lnTo>
                  <a:lnTo>
                    <a:pt x="608" y="552"/>
                  </a:lnTo>
                  <a:lnTo>
                    <a:pt x="582" y="564"/>
                  </a:lnTo>
                  <a:lnTo>
                    <a:pt x="560" y="572"/>
                  </a:lnTo>
                  <a:lnTo>
                    <a:pt x="546" y="572"/>
                  </a:lnTo>
                  <a:lnTo>
                    <a:pt x="524" y="576"/>
                  </a:lnTo>
                  <a:lnTo>
                    <a:pt x="518" y="582"/>
                  </a:lnTo>
                  <a:lnTo>
                    <a:pt x="518" y="588"/>
                  </a:lnTo>
                  <a:lnTo>
                    <a:pt x="510" y="592"/>
                  </a:lnTo>
                  <a:lnTo>
                    <a:pt x="512" y="606"/>
                  </a:lnTo>
                  <a:lnTo>
                    <a:pt x="504" y="612"/>
                  </a:lnTo>
                  <a:lnTo>
                    <a:pt x="508" y="620"/>
                  </a:lnTo>
                  <a:lnTo>
                    <a:pt x="502" y="636"/>
                  </a:lnTo>
                  <a:lnTo>
                    <a:pt x="486" y="648"/>
                  </a:lnTo>
                  <a:lnTo>
                    <a:pt x="474" y="650"/>
                  </a:lnTo>
                  <a:lnTo>
                    <a:pt x="480" y="658"/>
                  </a:lnTo>
                  <a:lnTo>
                    <a:pt x="482" y="664"/>
                  </a:lnTo>
                  <a:lnTo>
                    <a:pt x="476" y="686"/>
                  </a:lnTo>
                  <a:lnTo>
                    <a:pt x="462" y="716"/>
                  </a:lnTo>
                  <a:lnTo>
                    <a:pt x="444" y="714"/>
                  </a:lnTo>
                  <a:lnTo>
                    <a:pt x="428" y="702"/>
                  </a:lnTo>
                  <a:lnTo>
                    <a:pt x="426" y="690"/>
                  </a:lnTo>
                  <a:lnTo>
                    <a:pt x="416" y="694"/>
                  </a:lnTo>
                  <a:lnTo>
                    <a:pt x="406" y="694"/>
                  </a:lnTo>
                  <a:lnTo>
                    <a:pt x="390" y="700"/>
                  </a:lnTo>
                  <a:lnTo>
                    <a:pt x="374" y="672"/>
                  </a:lnTo>
                  <a:lnTo>
                    <a:pt x="356" y="654"/>
                  </a:lnTo>
                  <a:lnTo>
                    <a:pt x="362" y="644"/>
                  </a:lnTo>
                  <a:lnTo>
                    <a:pt x="348" y="634"/>
                  </a:lnTo>
                  <a:lnTo>
                    <a:pt x="348" y="618"/>
                  </a:lnTo>
                  <a:lnTo>
                    <a:pt x="360" y="604"/>
                  </a:lnTo>
                  <a:lnTo>
                    <a:pt x="354" y="594"/>
                  </a:lnTo>
                  <a:lnTo>
                    <a:pt x="340" y="600"/>
                  </a:lnTo>
                  <a:lnTo>
                    <a:pt x="324" y="588"/>
                  </a:lnTo>
                  <a:lnTo>
                    <a:pt x="312" y="572"/>
                  </a:lnTo>
                  <a:lnTo>
                    <a:pt x="304" y="560"/>
                  </a:lnTo>
                  <a:lnTo>
                    <a:pt x="312" y="546"/>
                  </a:lnTo>
                  <a:lnTo>
                    <a:pt x="316" y="540"/>
                  </a:lnTo>
                  <a:lnTo>
                    <a:pt x="304" y="540"/>
                  </a:lnTo>
                  <a:lnTo>
                    <a:pt x="302" y="528"/>
                  </a:lnTo>
                  <a:lnTo>
                    <a:pt x="312" y="516"/>
                  </a:lnTo>
                  <a:lnTo>
                    <a:pt x="318" y="516"/>
                  </a:lnTo>
                  <a:lnTo>
                    <a:pt x="336" y="520"/>
                  </a:lnTo>
                  <a:lnTo>
                    <a:pt x="342" y="522"/>
                  </a:lnTo>
                  <a:lnTo>
                    <a:pt x="346" y="522"/>
                  </a:lnTo>
                  <a:lnTo>
                    <a:pt x="348" y="520"/>
                  </a:lnTo>
                  <a:lnTo>
                    <a:pt x="344" y="500"/>
                  </a:lnTo>
                  <a:lnTo>
                    <a:pt x="344" y="478"/>
                  </a:lnTo>
                  <a:lnTo>
                    <a:pt x="356" y="466"/>
                  </a:lnTo>
                  <a:lnTo>
                    <a:pt x="352" y="456"/>
                  </a:lnTo>
                  <a:lnTo>
                    <a:pt x="330" y="456"/>
                  </a:lnTo>
                  <a:lnTo>
                    <a:pt x="310" y="444"/>
                  </a:lnTo>
                  <a:lnTo>
                    <a:pt x="296" y="436"/>
                  </a:lnTo>
                  <a:lnTo>
                    <a:pt x="318" y="434"/>
                  </a:lnTo>
                  <a:lnTo>
                    <a:pt x="342" y="442"/>
                  </a:lnTo>
                  <a:lnTo>
                    <a:pt x="344" y="430"/>
                  </a:lnTo>
                  <a:lnTo>
                    <a:pt x="330" y="414"/>
                  </a:lnTo>
                  <a:lnTo>
                    <a:pt x="320" y="410"/>
                  </a:lnTo>
                  <a:lnTo>
                    <a:pt x="304" y="400"/>
                  </a:lnTo>
                  <a:lnTo>
                    <a:pt x="296" y="412"/>
                  </a:lnTo>
                  <a:lnTo>
                    <a:pt x="274" y="414"/>
                  </a:lnTo>
                  <a:lnTo>
                    <a:pt x="274" y="398"/>
                  </a:lnTo>
                  <a:lnTo>
                    <a:pt x="288" y="378"/>
                  </a:lnTo>
                  <a:lnTo>
                    <a:pt x="264" y="332"/>
                  </a:lnTo>
                  <a:lnTo>
                    <a:pt x="238" y="306"/>
                  </a:lnTo>
                  <a:lnTo>
                    <a:pt x="228" y="294"/>
                  </a:lnTo>
                  <a:lnTo>
                    <a:pt x="226" y="284"/>
                  </a:lnTo>
                  <a:lnTo>
                    <a:pt x="196" y="274"/>
                  </a:lnTo>
                  <a:lnTo>
                    <a:pt x="148" y="262"/>
                  </a:lnTo>
                  <a:lnTo>
                    <a:pt x="138" y="266"/>
                  </a:lnTo>
                  <a:lnTo>
                    <a:pt x="118" y="274"/>
                  </a:lnTo>
                  <a:lnTo>
                    <a:pt x="106" y="264"/>
                  </a:lnTo>
                  <a:lnTo>
                    <a:pt x="100" y="272"/>
                  </a:lnTo>
                  <a:lnTo>
                    <a:pt x="94" y="276"/>
                  </a:lnTo>
                  <a:lnTo>
                    <a:pt x="76" y="272"/>
                  </a:lnTo>
                  <a:lnTo>
                    <a:pt x="52" y="262"/>
                  </a:lnTo>
                  <a:lnTo>
                    <a:pt x="68" y="256"/>
                  </a:lnTo>
                  <a:lnTo>
                    <a:pt x="76" y="252"/>
                  </a:lnTo>
                  <a:lnTo>
                    <a:pt x="62" y="250"/>
                  </a:lnTo>
                  <a:lnTo>
                    <a:pt x="42" y="250"/>
                  </a:lnTo>
                  <a:lnTo>
                    <a:pt x="24" y="240"/>
                  </a:lnTo>
                  <a:lnTo>
                    <a:pt x="30" y="234"/>
                  </a:lnTo>
                  <a:lnTo>
                    <a:pt x="60" y="234"/>
                  </a:lnTo>
                  <a:lnTo>
                    <a:pt x="100" y="230"/>
                  </a:lnTo>
                  <a:lnTo>
                    <a:pt x="102" y="222"/>
                  </a:lnTo>
                  <a:lnTo>
                    <a:pt x="84" y="222"/>
                  </a:lnTo>
                  <a:lnTo>
                    <a:pt x="62" y="224"/>
                  </a:lnTo>
                  <a:lnTo>
                    <a:pt x="40" y="220"/>
                  </a:lnTo>
                  <a:lnTo>
                    <a:pt x="8" y="206"/>
                  </a:lnTo>
                  <a:lnTo>
                    <a:pt x="0" y="196"/>
                  </a:lnTo>
                  <a:lnTo>
                    <a:pt x="8" y="188"/>
                  </a:lnTo>
                  <a:lnTo>
                    <a:pt x="32" y="184"/>
                  </a:lnTo>
                  <a:lnTo>
                    <a:pt x="58" y="180"/>
                  </a:lnTo>
                  <a:lnTo>
                    <a:pt x="76" y="170"/>
                  </a:lnTo>
                  <a:lnTo>
                    <a:pt x="106" y="170"/>
                  </a:lnTo>
                  <a:lnTo>
                    <a:pt x="122" y="156"/>
                  </a:lnTo>
                  <a:lnTo>
                    <a:pt x="124" y="134"/>
                  </a:lnTo>
                  <a:lnTo>
                    <a:pt x="112" y="140"/>
                  </a:lnTo>
                  <a:lnTo>
                    <a:pt x="82" y="128"/>
                  </a:lnTo>
                  <a:lnTo>
                    <a:pt x="102" y="114"/>
                  </a:lnTo>
                  <a:lnTo>
                    <a:pt x="128" y="102"/>
                  </a:lnTo>
                  <a:lnTo>
                    <a:pt x="160" y="92"/>
                  </a:lnTo>
                  <a:lnTo>
                    <a:pt x="184" y="100"/>
                  </a:lnTo>
                  <a:lnTo>
                    <a:pt x="190" y="80"/>
                  </a:lnTo>
                  <a:lnTo>
                    <a:pt x="182" y="70"/>
                  </a:lnTo>
                  <a:lnTo>
                    <a:pt x="212" y="66"/>
                  </a:lnTo>
                  <a:lnTo>
                    <a:pt x="222" y="76"/>
                  </a:lnTo>
                  <a:lnTo>
                    <a:pt x="238" y="80"/>
                  </a:lnTo>
                  <a:lnTo>
                    <a:pt x="230" y="68"/>
                  </a:lnTo>
                  <a:lnTo>
                    <a:pt x="226" y="62"/>
                  </a:lnTo>
                  <a:lnTo>
                    <a:pt x="224" y="60"/>
                  </a:lnTo>
                  <a:lnTo>
                    <a:pt x="224" y="58"/>
                  </a:lnTo>
                  <a:lnTo>
                    <a:pt x="296" y="50"/>
                  </a:lnTo>
                  <a:lnTo>
                    <a:pt x="304" y="70"/>
                  </a:lnTo>
                  <a:lnTo>
                    <a:pt x="316" y="66"/>
                  </a:lnTo>
                  <a:lnTo>
                    <a:pt x="312" y="48"/>
                  </a:lnTo>
                  <a:lnTo>
                    <a:pt x="344" y="66"/>
                  </a:lnTo>
                  <a:lnTo>
                    <a:pt x="366" y="66"/>
                  </a:lnTo>
                  <a:lnTo>
                    <a:pt x="350" y="56"/>
                  </a:lnTo>
                  <a:lnTo>
                    <a:pt x="358" y="44"/>
                  </a:lnTo>
                  <a:lnTo>
                    <a:pt x="374" y="44"/>
                  </a:lnTo>
                  <a:lnTo>
                    <a:pt x="404" y="56"/>
                  </a:lnTo>
                  <a:lnTo>
                    <a:pt x="442" y="74"/>
                  </a:lnTo>
                  <a:lnTo>
                    <a:pt x="450" y="68"/>
                  </a:lnTo>
                  <a:lnTo>
                    <a:pt x="400" y="40"/>
                  </a:lnTo>
                  <a:lnTo>
                    <a:pt x="422" y="34"/>
                  </a:lnTo>
                  <a:lnTo>
                    <a:pt x="424" y="24"/>
                  </a:lnTo>
                  <a:lnTo>
                    <a:pt x="450" y="16"/>
                  </a:lnTo>
                  <a:lnTo>
                    <a:pt x="478" y="14"/>
                  </a:lnTo>
                  <a:lnTo>
                    <a:pt x="510" y="18"/>
                  </a:lnTo>
                  <a:lnTo>
                    <a:pt x="534" y="16"/>
                  </a:lnTo>
                  <a:lnTo>
                    <a:pt x="562" y="4"/>
                  </a:lnTo>
                  <a:lnTo>
                    <a:pt x="618" y="0"/>
                  </a:lnTo>
                  <a:lnTo>
                    <a:pt x="680" y="0"/>
                  </a:lnTo>
                  <a:lnTo>
                    <a:pt x="716" y="4"/>
                  </a:lnTo>
                  <a:lnTo>
                    <a:pt x="746" y="12"/>
                  </a:lnTo>
                  <a:lnTo>
                    <a:pt x="756" y="18"/>
                  </a:lnTo>
                  <a:lnTo>
                    <a:pt x="760" y="24"/>
                  </a:lnTo>
                  <a:lnTo>
                    <a:pt x="814" y="38"/>
                  </a:lnTo>
                  <a:lnTo>
                    <a:pt x="800" y="48"/>
                  </a:lnTo>
                  <a:lnTo>
                    <a:pt x="738" y="56"/>
                  </a:lnTo>
                  <a:lnTo>
                    <a:pt x="676" y="58"/>
                  </a:lnTo>
                  <a:lnTo>
                    <a:pt x="668" y="70"/>
                  </a:lnTo>
                  <a:lnTo>
                    <a:pt x="694" y="64"/>
                  </a:lnTo>
                  <a:lnTo>
                    <a:pt x="754" y="66"/>
                  </a:lnTo>
                  <a:lnTo>
                    <a:pt x="740" y="76"/>
                  </a:lnTo>
                  <a:lnTo>
                    <a:pt x="726" y="80"/>
                  </a:lnTo>
                  <a:lnTo>
                    <a:pt x="734" y="82"/>
                  </a:lnTo>
                  <a:lnTo>
                    <a:pt x="760" y="76"/>
                  </a:lnTo>
                  <a:lnTo>
                    <a:pt x="774" y="68"/>
                  </a:lnTo>
                  <a:lnTo>
                    <a:pt x="782" y="58"/>
                  </a:lnTo>
                  <a:lnTo>
                    <a:pt x="800" y="58"/>
                  </a:lnTo>
                  <a:lnTo>
                    <a:pt x="806" y="66"/>
                  </a:lnTo>
                  <a:lnTo>
                    <a:pt x="806" y="82"/>
                  </a:lnTo>
                  <a:lnTo>
                    <a:pt x="774" y="104"/>
                  </a:lnTo>
                  <a:lnTo>
                    <a:pt x="770" y="114"/>
                  </a:lnTo>
                  <a:lnTo>
                    <a:pt x="792" y="102"/>
                  </a:lnTo>
                  <a:lnTo>
                    <a:pt x="820" y="86"/>
                  </a:lnTo>
                  <a:lnTo>
                    <a:pt x="836" y="74"/>
                  </a:lnTo>
                  <a:lnTo>
                    <a:pt x="868" y="84"/>
                  </a:lnTo>
                  <a:lnTo>
                    <a:pt x="884" y="68"/>
                  </a:lnTo>
                  <a:lnTo>
                    <a:pt x="914" y="66"/>
                  </a:lnTo>
                  <a:lnTo>
                    <a:pt x="946" y="70"/>
                  </a:lnTo>
                  <a:lnTo>
                    <a:pt x="962" y="80"/>
                  </a:lnTo>
                  <a:lnTo>
                    <a:pt x="948" y="90"/>
                  </a:lnTo>
                  <a:lnTo>
                    <a:pt x="922" y="98"/>
                  </a:lnTo>
                  <a:lnTo>
                    <a:pt x="916" y="106"/>
                  </a:lnTo>
                  <a:lnTo>
                    <a:pt x="906" y="110"/>
                  </a:lnTo>
                  <a:lnTo>
                    <a:pt x="872" y="110"/>
                  </a:lnTo>
                  <a:lnTo>
                    <a:pt x="852" y="116"/>
                  </a:lnTo>
                  <a:lnTo>
                    <a:pt x="870" y="120"/>
                  </a:lnTo>
                  <a:lnTo>
                    <a:pt x="896" y="122"/>
                  </a:lnTo>
                  <a:lnTo>
                    <a:pt x="888" y="130"/>
                  </a:lnTo>
                  <a:lnTo>
                    <a:pt x="850" y="128"/>
                  </a:lnTo>
                  <a:lnTo>
                    <a:pt x="832" y="132"/>
                  </a:lnTo>
                  <a:lnTo>
                    <a:pt x="840" y="140"/>
                  </a:lnTo>
                  <a:lnTo>
                    <a:pt x="866" y="138"/>
                  </a:lnTo>
                  <a:lnTo>
                    <a:pt x="876" y="138"/>
                  </a:lnTo>
                  <a:lnTo>
                    <a:pt x="868" y="146"/>
                  </a:lnTo>
                  <a:lnTo>
                    <a:pt x="844" y="152"/>
                  </a:lnTo>
                  <a:lnTo>
                    <a:pt x="842" y="170"/>
                  </a:lnTo>
                  <a:lnTo>
                    <a:pt x="822" y="180"/>
                  </a:lnTo>
                  <a:lnTo>
                    <a:pt x="812" y="208"/>
                  </a:lnTo>
                  <a:lnTo>
                    <a:pt x="822" y="210"/>
                  </a:lnTo>
                  <a:lnTo>
                    <a:pt x="848" y="212"/>
                  </a:lnTo>
                  <a:lnTo>
                    <a:pt x="836" y="220"/>
                  </a:lnTo>
                  <a:lnTo>
                    <a:pt x="836" y="224"/>
                  </a:lnTo>
                  <a:lnTo>
                    <a:pt x="838" y="226"/>
                  </a:lnTo>
                  <a:lnTo>
                    <a:pt x="840" y="228"/>
                  </a:lnTo>
                  <a:lnTo>
                    <a:pt x="854" y="234"/>
                  </a:lnTo>
                  <a:lnTo>
                    <a:pt x="868" y="238"/>
                  </a:lnTo>
                  <a:lnTo>
                    <a:pt x="864" y="250"/>
                  </a:lnTo>
                  <a:lnTo>
                    <a:pt x="860" y="258"/>
                  </a:lnTo>
                  <a:lnTo>
                    <a:pt x="858" y="260"/>
                  </a:lnTo>
                  <a:lnTo>
                    <a:pt x="846" y="252"/>
                  </a:lnTo>
                  <a:lnTo>
                    <a:pt x="836" y="244"/>
                  </a:lnTo>
                  <a:lnTo>
                    <a:pt x="814" y="248"/>
                  </a:lnTo>
                  <a:lnTo>
                    <a:pt x="814" y="262"/>
                  </a:lnTo>
                  <a:lnTo>
                    <a:pt x="834" y="268"/>
                  </a:lnTo>
                  <a:lnTo>
                    <a:pt x="850" y="280"/>
                  </a:lnTo>
                  <a:lnTo>
                    <a:pt x="848" y="296"/>
                  </a:lnTo>
                  <a:lnTo>
                    <a:pt x="828" y="298"/>
                  </a:lnTo>
                  <a:lnTo>
                    <a:pt x="840" y="312"/>
                  </a:lnTo>
                  <a:lnTo>
                    <a:pt x="846" y="320"/>
                  </a:lnTo>
                  <a:lnTo>
                    <a:pt x="850" y="324"/>
                  </a:lnTo>
                  <a:lnTo>
                    <a:pt x="850" y="328"/>
                  </a:lnTo>
                  <a:lnTo>
                    <a:pt x="838" y="334"/>
                  </a:lnTo>
                  <a:lnTo>
                    <a:pt x="826" y="336"/>
                  </a:lnTo>
                  <a:lnTo>
                    <a:pt x="830" y="350"/>
                  </a:lnTo>
                  <a:lnTo>
                    <a:pt x="812" y="356"/>
                  </a:lnTo>
                  <a:lnTo>
                    <a:pt x="790" y="356"/>
                  </a:lnTo>
                  <a:lnTo>
                    <a:pt x="768" y="354"/>
                  </a:lnTo>
                  <a:lnTo>
                    <a:pt x="756" y="360"/>
                  </a:lnTo>
                  <a:lnTo>
                    <a:pt x="768" y="372"/>
                  </a:lnTo>
                  <a:lnTo>
                    <a:pt x="800" y="372"/>
                  </a:lnTo>
                  <a:lnTo>
                    <a:pt x="804" y="382"/>
                  </a:lnTo>
                  <a:lnTo>
                    <a:pt x="800" y="400"/>
                  </a:lnTo>
                  <a:lnTo>
                    <a:pt x="782" y="386"/>
                  </a:lnTo>
                  <a:lnTo>
                    <a:pt x="774" y="386"/>
                  </a:lnTo>
                  <a:lnTo>
                    <a:pt x="776" y="392"/>
                  </a:lnTo>
                  <a:lnTo>
                    <a:pt x="804" y="410"/>
                  </a:lnTo>
                  <a:lnTo>
                    <a:pt x="810" y="446"/>
                  </a:lnTo>
                  <a:lnTo>
                    <a:pt x="790" y="444"/>
                  </a:lnTo>
                  <a:lnTo>
                    <a:pt x="770" y="430"/>
                  </a:lnTo>
                  <a:lnTo>
                    <a:pt x="756" y="416"/>
                  </a:lnTo>
                  <a:lnTo>
                    <a:pt x="750" y="414"/>
                  </a:lnTo>
                  <a:lnTo>
                    <a:pt x="750" y="432"/>
                  </a:lnTo>
                  <a:lnTo>
                    <a:pt x="756" y="446"/>
                  </a:lnTo>
                  <a:lnTo>
                    <a:pt x="778" y="452"/>
                  </a:lnTo>
                  <a:lnTo>
                    <a:pt x="804" y="454"/>
                  </a:lnTo>
                  <a:lnTo>
                    <a:pt x="790" y="46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32" name="Freeform 6">
              <a:extLst>
                <a:ext uri="{FF2B5EF4-FFF2-40B4-BE49-F238E27FC236}">
                  <a16:creationId xmlns:a16="http://schemas.microsoft.com/office/drawing/2014/main" id="{8E5B52BC-7A1C-483C-A91A-8260AEEB8924}"/>
                </a:ext>
              </a:extLst>
            </p:cNvPr>
            <p:cNvSpPr>
              <a:spLocks/>
            </p:cNvSpPr>
            <p:nvPr/>
          </p:nvSpPr>
          <p:spPr bwMode="gray">
            <a:xfrm>
              <a:off x="2747362" y="3801687"/>
              <a:ext cx="795816" cy="507908"/>
            </a:xfrm>
            <a:custGeom>
              <a:avLst/>
              <a:gdLst>
                <a:gd name="T0" fmla="*/ 76 w 482"/>
                <a:gd name="T1" fmla="*/ 18 h 306"/>
                <a:gd name="T2" fmla="*/ 146 w 482"/>
                <a:gd name="T3" fmla="*/ 18 h 306"/>
                <a:gd name="T4" fmla="*/ 196 w 482"/>
                <a:gd name="T5" fmla="*/ 38 h 306"/>
                <a:gd name="T6" fmla="*/ 226 w 482"/>
                <a:gd name="T7" fmla="*/ 62 h 306"/>
                <a:gd name="T8" fmla="*/ 258 w 482"/>
                <a:gd name="T9" fmla="*/ 58 h 306"/>
                <a:gd name="T10" fmla="*/ 282 w 482"/>
                <a:gd name="T11" fmla="*/ 96 h 306"/>
                <a:gd name="T12" fmla="*/ 318 w 482"/>
                <a:gd name="T13" fmla="*/ 116 h 306"/>
                <a:gd name="T14" fmla="*/ 308 w 482"/>
                <a:gd name="T15" fmla="*/ 152 h 306"/>
                <a:gd name="T16" fmla="*/ 312 w 482"/>
                <a:gd name="T17" fmla="*/ 192 h 306"/>
                <a:gd name="T18" fmla="*/ 338 w 482"/>
                <a:gd name="T19" fmla="*/ 234 h 306"/>
                <a:gd name="T20" fmla="*/ 376 w 482"/>
                <a:gd name="T21" fmla="*/ 244 h 306"/>
                <a:gd name="T22" fmla="*/ 424 w 482"/>
                <a:gd name="T23" fmla="*/ 220 h 306"/>
                <a:gd name="T24" fmla="*/ 442 w 482"/>
                <a:gd name="T25" fmla="*/ 192 h 306"/>
                <a:gd name="T26" fmla="*/ 482 w 482"/>
                <a:gd name="T27" fmla="*/ 194 h 306"/>
                <a:gd name="T28" fmla="*/ 470 w 482"/>
                <a:gd name="T29" fmla="*/ 220 h 306"/>
                <a:gd name="T30" fmla="*/ 464 w 482"/>
                <a:gd name="T31" fmla="*/ 246 h 306"/>
                <a:gd name="T32" fmla="*/ 452 w 482"/>
                <a:gd name="T33" fmla="*/ 246 h 306"/>
                <a:gd name="T34" fmla="*/ 416 w 482"/>
                <a:gd name="T35" fmla="*/ 254 h 306"/>
                <a:gd name="T36" fmla="*/ 424 w 482"/>
                <a:gd name="T37" fmla="*/ 272 h 306"/>
                <a:gd name="T38" fmla="*/ 412 w 482"/>
                <a:gd name="T39" fmla="*/ 282 h 306"/>
                <a:gd name="T40" fmla="*/ 402 w 482"/>
                <a:gd name="T41" fmla="*/ 288 h 306"/>
                <a:gd name="T42" fmla="*/ 392 w 482"/>
                <a:gd name="T43" fmla="*/ 300 h 306"/>
                <a:gd name="T44" fmla="*/ 364 w 482"/>
                <a:gd name="T45" fmla="*/ 280 h 306"/>
                <a:gd name="T46" fmla="*/ 338 w 482"/>
                <a:gd name="T47" fmla="*/ 284 h 306"/>
                <a:gd name="T48" fmla="*/ 298 w 482"/>
                <a:gd name="T49" fmla="*/ 276 h 306"/>
                <a:gd name="T50" fmla="*/ 254 w 482"/>
                <a:gd name="T51" fmla="*/ 260 h 306"/>
                <a:gd name="T52" fmla="*/ 218 w 482"/>
                <a:gd name="T53" fmla="*/ 240 h 306"/>
                <a:gd name="T54" fmla="*/ 186 w 482"/>
                <a:gd name="T55" fmla="*/ 212 h 306"/>
                <a:gd name="T56" fmla="*/ 192 w 482"/>
                <a:gd name="T57" fmla="*/ 186 h 306"/>
                <a:gd name="T58" fmla="*/ 156 w 482"/>
                <a:gd name="T59" fmla="*/ 146 h 306"/>
                <a:gd name="T60" fmla="*/ 126 w 482"/>
                <a:gd name="T61" fmla="*/ 120 h 306"/>
                <a:gd name="T62" fmla="*/ 100 w 482"/>
                <a:gd name="T63" fmla="*/ 86 h 306"/>
                <a:gd name="T64" fmla="*/ 72 w 482"/>
                <a:gd name="T65" fmla="*/ 48 h 306"/>
                <a:gd name="T66" fmla="*/ 50 w 482"/>
                <a:gd name="T67" fmla="*/ 20 h 306"/>
                <a:gd name="T68" fmla="*/ 40 w 482"/>
                <a:gd name="T69" fmla="*/ 38 h 306"/>
                <a:gd name="T70" fmla="*/ 64 w 482"/>
                <a:gd name="T71" fmla="*/ 76 h 306"/>
                <a:gd name="T72" fmla="*/ 90 w 482"/>
                <a:gd name="T73" fmla="*/ 108 h 306"/>
                <a:gd name="T74" fmla="*/ 106 w 482"/>
                <a:gd name="T75" fmla="*/ 146 h 306"/>
                <a:gd name="T76" fmla="*/ 120 w 482"/>
                <a:gd name="T77" fmla="*/ 156 h 306"/>
                <a:gd name="T78" fmla="*/ 108 w 482"/>
                <a:gd name="T79" fmla="*/ 158 h 306"/>
                <a:gd name="T80" fmla="*/ 84 w 482"/>
                <a:gd name="T81" fmla="*/ 134 h 306"/>
                <a:gd name="T82" fmla="*/ 72 w 482"/>
                <a:gd name="T83" fmla="*/ 108 h 306"/>
                <a:gd name="T84" fmla="*/ 48 w 482"/>
                <a:gd name="T85" fmla="*/ 98 h 306"/>
                <a:gd name="T86" fmla="*/ 42 w 482"/>
                <a:gd name="T87" fmla="*/ 84 h 306"/>
                <a:gd name="T88" fmla="*/ 46 w 482"/>
                <a:gd name="T89" fmla="*/ 74 h 306"/>
                <a:gd name="T90" fmla="*/ 30 w 482"/>
                <a:gd name="T91" fmla="*/ 56 h 306"/>
                <a:gd name="T92" fmla="*/ 12 w 482"/>
                <a:gd name="T93" fmla="*/ 2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2" h="306">
                  <a:moveTo>
                    <a:pt x="0" y="2"/>
                  </a:moveTo>
                  <a:lnTo>
                    <a:pt x="32" y="0"/>
                  </a:lnTo>
                  <a:lnTo>
                    <a:pt x="76" y="18"/>
                  </a:lnTo>
                  <a:lnTo>
                    <a:pt x="92" y="24"/>
                  </a:lnTo>
                  <a:lnTo>
                    <a:pt x="138" y="24"/>
                  </a:lnTo>
                  <a:lnTo>
                    <a:pt x="146" y="18"/>
                  </a:lnTo>
                  <a:lnTo>
                    <a:pt x="166" y="14"/>
                  </a:lnTo>
                  <a:lnTo>
                    <a:pt x="186" y="30"/>
                  </a:lnTo>
                  <a:lnTo>
                    <a:pt x="196" y="38"/>
                  </a:lnTo>
                  <a:lnTo>
                    <a:pt x="198" y="54"/>
                  </a:lnTo>
                  <a:lnTo>
                    <a:pt x="214" y="64"/>
                  </a:lnTo>
                  <a:lnTo>
                    <a:pt x="226" y="62"/>
                  </a:lnTo>
                  <a:lnTo>
                    <a:pt x="228" y="52"/>
                  </a:lnTo>
                  <a:lnTo>
                    <a:pt x="236" y="48"/>
                  </a:lnTo>
                  <a:lnTo>
                    <a:pt x="258" y="58"/>
                  </a:lnTo>
                  <a:lnTo>
                    <a:pt x="264" y="72"/>
                  </a:lnTo>
                  <a:lnTo>
                    <a:pt x="274" y="84"/>
                  </a:lnTo>
                  <a:lnTo>
                    <a:pt x="282" y="96"/>
                  </a:lnTo>
                  <a:lnTo>
                    <a:pt x="290" y="108"/>
                  </a:lnTo>
                  <a:lnTo>
                    <a:pt x="306" y="114"/>
                  </a:lnTo>
                  <a:lnTo>
                    <a:pt x="318" y="116"/>
                  </a:lnTo>
                  <a:lnTo>
                    <a:pt x="314" y="124"/>
                  </a:lnTo>
                  <a:lnTo>
                    <a:pt x="310" y="136"/>
                  </a:lnTo>
                  <a:lnTo>
                    <a:pt x="308" y="152"/>
                  </a:lnTo>
                  <a:lnTo>
                    <a:pt x="308" y="162"/>
                  </a:lnTo>
                  <a:lnTo>
                    <a:pt x="308" y="174"/>
                  </a:lnTo>
                  <a:lnTo>
                    <a:pt x="312" y="192"/>
                  </a:lnTo>
                  <a:lnTo>
                    <a:pt x="322" y="210"/>
                  </a:lnTo>
                  <a:lnTo>
                    <a:pt x="330" y="222"/>
                  </a:lnTo>
                  <a:lnTo>
                    <a:pt x="338" y="234"/>
                  </a:lnTo>
                  <a:lnTo>
                    <a:pt x="348" y="240"/>
                  </a:lnTo>
                  <a:lnTo>
                    <a:pt x="360" y="244"/>
                  </a:lnTo>
                  <a:lnTo>
                    <a:pt x="376" y="244"/>
                  </a:lnTo>
                  <a:lnTo>
                    <a:pt x="396" y="240"/>
                  </a:lnTo>
                  <a:lnTo>
                    <a:pt x="416" y="236"/>
                  </a:lnTo>
                  <a:lnTo>
                    <a:pt x="424" y="220"/>
                  </a:lnTo>
                  <a:lnTo>
                    <a:pt x="424" y="210"/>
                  </a:lnTo>
                  <a:lnTo>
                    <a:pt x="428" y="200"/>
                  </a:lnTo>
                  <a:lnTo>
                    <a:pt x="442" y="192"/>
                  </a:lnTo>
                  <a:lnTo>
                    <a:pt x="452" y="192"/>
                  </a:lnTo>
                  <a:lnTo>
                    <a:pt x="470" y="192"/>
                  </a:lnTo>
                  <a:lnTo>
                    <a:pt x="482" y="194"/>
                  </a:lnTo>
                  <a:lnTo>
                    <a:pt x="478" y="206"/>
                  </a:lnTo>
                  <a:lnTo>
                    <a:pt x="472" y="214"/>
                  </a:lnTo>
                  <a:lnTo>
                    <a:pt x="470" y="220"/>
                  </a:lnTo>
                  <a:lnTo>
                    <a:pt x="468" y="232"/>
                  </a:lnTo>
                  <a:lnTo>
                    <a:pt x="468" y="244"/>
                  </a:lnTo>
                  <a:lnTo>
                    <a:pt x="464" y="246"/>
                  </a:lnTo>
                  <a:lnTo>
                    <a:pt x="460" y="240"/>
                  </a:lnTo>
                  <a:lnTo>
                    <a:pt x="456" y="242"/>
                  </a:lnTo>
                  <a:lnTo>
                    <a:pt x="452" y="246"/>
                  </a:lnTo>
                  <a:lnTo>
                    <a:pt x="446" y="252"/>
                  </a:lnTo>
                  <a:lnTo>
                    <a:pt x="434" y="252"/>
                  </a:lnTo>
                  <a:lnTo>
                    <a:pt x="416" y="254"/>
                  </a:lnTo>
                  <a:lnTo>
                    <a:pt x="414" y="258"/>
                  </a:lnTo>
                  <a:lnTo>
                    <a:pt x="416" y="266"/>
                  </a:lnTo>
                  <a:lnTo>
                    <a:pt x="424" y="272"/>
                  </a:lnTo>
                  <a:lnTo>
                    <a:pt x="428" y="278"/>
                  </a:lnTo>
                  <a:lnTo>
                    <a:pt x="424" y="280"/>
                  </a:lnTo>
                  <a:lnTo>
                    <a:pt x="412" y="282"/>
                  </a:lnTo>
                  <a:lnTo>
                    <a:pt x="408" y="280"/>
                  </a:lnTo>
                  <a:lnTo>
                    <a:pt x="406" y="284"/>
                  </a:lnTo>
                  <a:lnTo>
                    <a:pt x="402" y="288"/>
                  </a:lnTo>
                  <a:lnTo>
                    <a:pt x="400" y="294"/>
                  </a:lnTo>
                  <a:lnTo>
                    <a:pt x="398" y="306"/>
                  </a:lnTo>
                  <a:lnTo>
                    <a:pt x="392" y="300"/>
                  </a:lnTo>
                  <a:lnTo>
                    <a:pt x="382" y="290"/>
                  </a:lnTo>
                  <a:lnTo>
                    <a:pt x="372" y="284"/>
                  </a:lnTo>
                  <a:lnTo>
                    <a:pt x="364" y="280"/>
                  </a:lnTo>
                  <a:lnTo>
                    <a:pt x="356" y="278"/>
                  </a:lnTo>
                  <a:lnTo>
                    <a:pt x="346" y="280"/>
                  </a:lnTo>
                  <a:lnTo>
                    <a:pt x="338" y="284"/>
                  </a:lnTo>
                  <a:lnTo>
                    <a:pt x="328" y="286"/>
                  </a:lnTo>
                  <a:lnTo>
                    <a:pt x="312" y="282"/>
                  </a:lnTo>
                  <a:lnTo>
                    <a:pt x="298" y="276"/>
                  </a:lnTo>
                  <a:lnTo>
                    <a:pt x="282" y="270"/>
                  </a:lnTo>
                  <a:lnTo>
                    <a:pt x="264" y="264"/>
                  </a:lnTo>
                  <a:lnTo>
                    <a:pt x="254" y="260"/>
                  </a:lnTo>
                  <a:lnTo>
                    <a:pt x="246" y="248"/>
                  </a:lnTo>
                  <a:lnTo>
                    <a:pt x="232" y="248"/>
                  </a:lnTo>
                  <a:lnTo>
                    <a:pt x="218" y="240"/>
                  </a:lnTo>
                  <a:lnTo>
                    <a:pt x="204" y="232"/>
                  </a:lnTo>
                  <a:lnTo>
                    <a:pt x="192" y="222"/>
                  </a:lnTo>
                  <a:lnTo>
                    <a:pt x="186" y="212"/>
                  </a:lnTo>
                  <a:lnTo>
                    <a:pt x="186" y="202"/>
                  </a:lnTo>
                  <a:lnTo>
                    <a:pt x="192" y="196"/>
                  </a:lnTo>
                  <a:lnTo>
                    <a:pt x="192" y="186"/>
                  </a:lnTo>
                  <a:lnTo>
                    <a:pt x="178" y="168"/>
                  </a:lnTo>
                  <a:lnTo>
                    <a:pt x="168" y="156"/>
                  </a:lnTo>
                  <a:lnTo>
                    <a:pt x="156" y="146"/>
                  </a:lnTo>
                  <a:lnTo>
                    <a:pt x="146" y="134"/>
                  </a:lnTo>
                  <a:lnTo>
                    <a:pt x="134" y="126"/>
                  </a:lnTo>
                  <a:lnTo>
                    <a:pt x="126" y="120"/>
                  </a:lnTo>
                  <a:lnTo>
                    <a:pt x="126" y="106"/>
                  </a:lnTo>
                  <a:lnTo>
                    <a:pt x="110" y="96"/>
                  </a:lnTo>
                  <a:lnTo>
                    <a:pt x="100" y="86"/>
                  </a:lnTo>
                  <a:lnTo>
                    <a:pt x="88" y="70"/>
                  </a:lnTo>
                  <a:lnTo>
                    <a:pt x="78" y="60"/>
                  </a:lnTo>
                  <a:lnTo>
                    <a:pt x="72" y="48"/>
                  </a:lnTo>
                  <a:lnTo>
                    <a:pt x="66" y="34"/>
                  </a:lnTo>
                  <a:lnTo>
                    <a:pt x="64" y="28"/>
                  </a:lnTo>
                  <a:lnTo>
                    <a:pt x="50" y="20"/>
                  </a:lnTo>
                  <a:lnTo>
                    <a:pt x="38" y="20"/>
                  </a:lnTo>
                  <a:lnTo>
                    <a:pt x="36" y="26"/>
                  </a:lnTo>
                  <a:lnTo>
                    <a:pt x="40" y="38"/>
                  </a:lnTo>
                  <a:lnTo>
                    <a:pt x="46" y="52"/>
                  </a:lnTo>
                  <a:lnTo>
                    <a:pt x="56" y="62"/>
                  </a:lnTo>
                  <a:lnTo>
                    <a:pt x="64" y="76"/>
                  </a:lnTo>
                  <a:lnTo>
                    <a:pt x="72" y="86"/>
                  </a:lnTo>
                  <a:lnTo>
                    <a:pt x="80" y="96"/>
                  </a:lnTo>
                  <a:lnTo>
                    <a:pt x="90" y="108"/>
                  </a:lnTo>
                  <a:lnTo>
                    <a:pt x="98" y="124"/>
                  </a:lnTo>
                  <a:lnTo>
                    <a:pt x="104" y="136"/>
                  </a:lnTo>
                  <a:lnTo>
                    <a:pt x="106" y="146"/>
                  </a:lnTo>
                  <a:lnTo>
                    <a:pt x="114" y="146"/>
                  </a:lnTo>
                  <a:lnTo>
                    <a:pt x="118" y="152"/>
                  </a:lnTo>
                  <a:lnTo>
                    <a:pt x="120" y="156"/>
                  </a:lnTo>
                  <a:lnTo>
                    <a:pt x="122" y="166"/>
                  </a:lnTo>
                  <a:lnTo>
                    <a:pt x="114" y="170"/>
                  </a:lnTo>
                  <a:lnTo>
                    <a:pt x="108" y="158"/>
                  </a:lnTo>
                  <a:lnTo>
                    <a:pt x="100" y="152"/>
                  </a:lnTo>
                  <a:lnTo>
                    <a:pt x="92" y="144"/>
                  </a:lnTo>
                  <a:lnTo>
                    <a:pt x="84" y="134"/>
                  </a:lnTo>
                  <a:lnTo>
                    <a:pt x="82" y="126"/>
                  </a:lnTo>
                  <a:lnTo>
                    <a:pt x="80" y="116"/>
                  </a:lnTo>
                  <a:lnTo>
                    <a:pt x="72" y="108"/>
                  </a:lnTo>
                  <a:lnTo>
                    <a:pt x="66" y="104"/>
                  </a:lnTo>
                  <a:lnTo>
                    <a:pt x="56" y="102"/>
                  </a:lnTo>
                  <a:lnTo>
                    <a:pt x="48" y="98"/>
                  </a:lnTo>
                  <a:lnTo>
                    <a:pt x="40" y="90"/>
                  </a:lnTo>
                  <a:lnTo>
                    <a:pt x="38" y="86"/>
                  </a:lnTo>
                  <a:lnTo>
                    <a:pt x="42" y="84"/>
                  </a:lnTo>
                  <a:lnTo>
                    <a:pt x="46" y="84"/>
                  </a:lnTo>
                  <a:lnTo>
                    <a:pt x="48" y="80"/>
                  </a:lnTo>
                  <a:lnTo>
                    <a:pt x="46" y="74"/>
                  </a:lnTo>
                  <a:lnTo>
                    <a:pt x="42" y="64"/>
                  </a:lnTo>
                  <a:lnTo>
                    <a:pt x="38" y="60"/>
                  </a:lnTo>
                  <a:lnTo>
                    <a:pt x="30" y="56"/>
                  </a:lnTo>
                  <a:lnTo>
                    <a:pt x="22" y="46"/>
                  </a:lnTo>
                  <a:lnTo>
                    <a:pt x="16" y="32"/>
                  </a:lnTo>
                  <a:lnTo>
                    <a:pt x="12" y="24"/>
                  </a:lnTo>
                  <a:lnTo>
                    <a:pt x="8" y="14"/>
                  </a:lnTo>
                  <a:lnTo>
                    <a:pt x="0" y="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33" name="Freeform 7">
              <a:extLst>
                <a:ext uri="{FF2B5EF4-FFF2-40B4-BE49-F238E27FC236}">
                  <a16:creationId xmlns:a16="http://schemas.microsoft.com/office/drawing/2014/main" id="{EC534E24-B8F6-4E13-8E18-0EF783E64EF6}"/>
                </a:ext>
              </a:extLst>
            </p:cNvPr>
            <p:cNvSpPr>
              <a:spLocks/>
            </p:cNvSpPr>
            <p:nvPr/>
          </p:nvSpPr>
          <p:spPr bwMode="gray">
            <a:xfrm>
              <a:off x="2522817" y="2234809"/>
              <a:ext cx="274078" cy="172622"/>
            </a:xfrm>
            <a:custGeom>
              <a:avLst/>
              <a:gdLst>
                <a:gd name="T0" fmla="*/ 20 w 166"/>
                <a:gd name="T1" fmla="*/ 6 h 104"/>
                <a:gd name="T2" fmla="*/ 20 w 166"/>
                <a:gd name="T3" fmla="*/ 14 h 104"/>
                <a:gd name="T4" fmla="*/ 28 w 166"/>
                <a:gd name="T5" fmla="*/ 22 h 104"/>
                <a:gd name="T6" fmla="*/ 28 w 166"/>
                <a:gd name="T7" fmla="*/ 28 h 104"/>
                <a:gd name="T8" fmla="*/ 24 w 166"/>
                <a:gd name="T9" fmla="*/ 34 h 104"/>
                <a:gd name="T10" fmla="*/ 20 w 166"/>
                <a:gd name="T11" fmla="*/ 44 h 104"/>
                <a:gd name="T12" fmla="*/ 12 w 166"/>
                <a:gd name="T13" fmla="*/ 54 h 104"/>
                <a:gd name="T14" fmla="*/ 8 w 166"/>
                <a:gd name="T15" fmla="*/ 68 h 104"/>
                <a:gd name="T16" fmla="*/ 0 w 166"/>
                <a:gd name="T17" fmla="*/ 76 h 104"/>
                <a:gd name="T18" fmla="*/ 12 w 166"/>
                <a:gd name="T19" fmla="*/ 80 h 104"/>
                <a:gd name="T20" fmla="*/ 20 w 166"/>
                <a:gd name="T21" fmla="*/ 84 h 104"/>
                <a:gd name="T22" fmla="*/ 32 w 166"/>
                <a:gd name="T23" fmla="*/ 92 h 104"/>
                <a:gd name="T24" fmla="*/ 42 w 166"/>
                <a:gd name="T25" fmla="*/ 104 h 104"/>
                <a:gd name="T26" fmla="*/ 54 w 166"/>
                <a:gd name="T27" fmla="*/ 100 h 104"/>
                <a:gd name="T28" fmla="*/ 68 w 166"/>
                <a:gd name="T29" fmla="*/ 92 h 104"/>
                <a:gd name="T30" fmla="*/ 80 w 166"/>
                <a:gd name="T31" fmla="*/ 92 h 104"/>
                <a:gd name="T32" fmla="*/ 86 w 166"/>
                <a:gd name="T33" fmla="*/ 82 h 104"/>
                <a:gd name="T34" fmla="*/ 90 w 166"/>
                <a:gd name="T35" fmla="*/ 72 h 104"/>
                <a:gd name="T36" fmla="*/ 102 w 166"/>
                <a:gd name="T37" fmla="*/ 66 h 104"/>
                <a:gd name="T38" fmla="*/ 106 w 166"/>
                <a:gd name="T39" fmla="*/ 58 h 104"/>
                <a:gd name="T40" fmla="*/ 120 w 166"/>
                <a:gd name="T41" fmla="*/ 50 h 104"/>
                <a:gd name="T42" fmla="*/ 140 w 166"/>
                <a:gd name="T43" fmla="*/ 40 h 104"/>
                <a:gd name="T44" fmla="*/ 166 w 166"/>
                <a:gd name="T45" fmla="*/ 32 h 104"/>
                <a:gd name="T46" fmla="*/ 158 w 166"/>
                <a:gd name="T47" fmla="*/ 26 h 104"/>
                <a:gd name="T48" fmla="*/ 142 w 166"/>
                <a:gd name="T49" fmla="*/ 16 h 104"/>
                <a:gd name="T50" fmla="*/ 128 w 166"/>
                <a:gd name="T51" fmla="*/ 8 h 104"/>
                <a:gd name="T52" fmla="*/ 114 w 166"/>
                <a:gd name="T53" fmla="*/ 10 h 104"/>
                <a:gd name="T54" fmla="*/ 106 w 166"/>
                <a:gd name="T55" fmla="*/ 16 h 104"/>
                <a:gd name="T56" fmla="*/ 94 w 166"/>
                <a:gd name="T57" fmla="*/ 14 h 104"/>
                <a:gd name="T58" fmla="*/ 74 w 166"/>
                <a:gd name="T59" fmla="*/ 6 h 104"/>
                <a:gd name="T60" fmla="*/ 72 w 166"/>
                <a:gd name="T61" fmla="*/ 0 h 104"/>
                <a:gd name="T62" fmla="*/ 54 w 166"/>
                <a:gd name="T63" fmla="*/ 0 h 104"/>
                <a:gd name="T64" fmla="*/ 52 w 166"/>
                <a:gd name="T65" fmla="*/ 6 h 104"/>
                <a:gd name="T66" fmla="*/ 34 w 166"/>
                <a:gd name="T67" fmla="*/ 4 h 104"/>
                <a:gd name="T68" fmla="*/ 20 w 166"/>
                <a:gd name="T69" fmla="*/ 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6" h="104">
                  <a:moveTo>
                    <a:pt x="20" y="6"/>
                  </a:moveTo>
                  <a:lnTo>
                    <a:pt x="20" y="14"/>
                  </a:lnTo>
                  <a:lnTo>
                    <a:pt x="28" y="22"/>
                  </a:lnTo>
                  <a:lnTo>
                    <a:pt x="28" y="28"/>
                  </a:lnTo>
                  <a:lnTo>
                    <a:pt x="24" y="34"/>
                  </a:lnTo>
                  <a:lnTo>
                    <a:pt x="20" y="44"/>
                  </a:lnTo>
                  <a:lnTo>
                    <a:pt x="12" y="54"/>
                  </a:lnTo>
                  <a:lnTo>
                    <a:pt x="8" y="68"/>
                  </a:lnTo>
                  <a:lnTo>
                    <a:pt x="0" y="76"/>
                  </a:lnTo>
                  <a:lnTo>
                    <a:pt x="12" y="80"/>
                  </a:lnTo>
                  <a:lnTo>
                    <a:pt x="20" y="84"/>
                  </a:lnTo>
                  <a:lnTo>
                    <a:pt x="32" y="92"/>
                  </a:lnTo>
                  <a:lnTo>
                    <a:pt x="42" y="104"/>
                  </a:lnTo>
                  <a:lnTo>
                    <a:pt x="54" y="100"/>
                  </a:lnTo>
                  <a:lnTo>
                    <a:pt x="68" y="92"/>
                  </a:lnTo>
                  <a:lnTo>
                    <a:pt x="80" y="92"/>
                  </a:lnTo>
                  <a:lnTo>
                    <a:pt x="86" y="82"/>
                  </a:lnTo>
                  <a:lnTo>
                    <a:pt x="90" y="72"/>
                  </a:lnTo>
                  <a:lnTo>
                    <a:pt x="102" y="66"/>
                  </a:lnTo>
                  <a:lnTo>
                    <a:pt x="106" y="58"/>
                  </a:lnTo>
                  <a:lnTo>
                    <a:pt x="120" y="50"/>
                  </a:lnTo>
                  <a:lnTo>
                    <a:pt x="140" y="40"/>
                  </a:lnTo>
                  <a:lnTo>
                    <a:pt x="166" y="32"/>
                  </a:lnTo>
                  <a:lnTo>
                    <a:pt x="158" y="26"/>
                  </a:lnTo>
                  <a:lnTo>
                    <a:pt x="142" y="16"/>
                  </a:lnTo>
                  <a:lnTo>
                    <a:pt x="128" y="8"/>
                  </a:lnTo>
                  <a:lnTo>
                    <a:pt x="114" y="10"/>
                  </a:lnTo>
                  <a:lnTo>
                    <a:pt x="106" y="16"/>
                  </a:lnTo>
                  <a:lnTo>
                    <a:pt x="94" y="14"/>
                  </a:lnTo>
                  <a:lnTo>
                    <a:pt x="74" y="6"/>
                  </a:lnTo>
                  <a:lnTo>
                    <a:pt x="72" y="0"/>
                  </a:lnTo>
                  <a:lnTo>
                    <a:pt x="54" y="0"/>
                  </a:lnTo>
                  <a:lnTo>
                    <a:pt x="52" y="6"/>
                  </a:lnTo>
                  <a:lnTo>
                    <a:pt x="34" y="4"/>
                  </a:lnTo>
                  <a:lnTo>
                    <a:pt x="20" y="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34" name="Freeform 8">
              <a:extLst>
                <a:ext uri="{FF2B5EF4-FFF2-40B4-BE49-F238E27FC236}">
                  <a16:creationId xmlns:a16="http://schemas.microsoft.com/office/drawing/2014/main" id="{C6769CAE-FA19-4928-BA59-82540F483109}"/>
                </a:ext>
              </a:extLst>
            </p:cNvPr>
            <p:cNvSpPr>
              <a:spLocks/>
            </p:cNvSpPr>
            <p:nvPr/>
          </p:nvSpPr>
          <p:spPr bwMode="gray">
            <a:xfrm>
              <a:off x="2704436" y="2297882"/>
              <a:ext cx="468905" cy="225737"/>
            </a:xfrm>
            <a:custGeom>
              <a:avLst/>
              <a:gdLst>
                <a:gd name="T0" fmla="*/ 104 w 284"/>
                <a:gd name="T1" fmla="*/ 82 h 136"/>
                <a:gd name="T2" fmla="*/ 52 w 284"/>
                <a:gd name="T3" fmla="*/ 78 h 136"/>
                <a:gd name="T4" fmla="*/ 10 w 284"/>
                <a:gd name="T5" fmla="*/ 74 h 136"/>
                <a:gd name="T6" fmla="*/ 30 w 284"/>
                <a:gd name="T7" fmla="*/ 62 h 136"/>
                <a:gd name="T8" fmla="*/ 56 w 284"/>
                <a:gd name="T9" fmla="*/ 54 h 136"/>
                <a:gd name="T10" fmla="*/ 34 w 284"/>
                <a:gd name="T11" fmla="*/ 56 h 136"/>
                <a:gd name="T12" fmla="*/ 14 w 284"/>
                <a:gd name="T13" fmla="*/ 52 h 136"/>
                <a:gd name="T14" fmla="*/ 0 w 284"/>
                <a:gd name="T15" fmla="*/ 42 h 136"/>
                <a:gd name="T16" fmla="*/ 12 w 284"/>
                <a:gd name="T17" fmla="*/ 30 h 136"/>
                <a:gd name="T18" fmla="*/ 26 w 284"/>
                <a:gd name="T19" fmla="*/ 14 h 136"/>
                <a:gd name="T20" fmla="*/ 74 w 284"/>
                <a:gd name="T21" fmla="*/ 0 h 136"/>
                <a:gd name="T22" fmla="*/ 74 w 284"/>
                <a:gd name="T23" fmla="*/ 12 h 136"/>
                <a:gd name="T24" fmla="*/ 84 w 284"/>
                <a:gd name="T25" fmla="*/ 22 h 136"/>
                <a:gd name="T26" fmla="*/ 106 w 284"/>
                <a:gd name="T27" fmla="*/ 12 h 136"/>
                <a:gd name="T28" fmla="*/ 118 w 284"/>
                <a:gd name="T29" fmla="*/ 24 h 136"/>
                <a:gd name="T30" fmla="*/ 128 w 284"/>
                <a:gd name="T31" fmla="*/ 26 h 136"/>
                <a:gd name="T32" fmla="*/ 144 w 284"/>
                <a:gd name="T33" fmla="*/ 18 h 136"/>
                <a:gd name="T34" fmla="*/ 142 w 284"/>
                <a:gd name="T35" fmla="*/ 10 h 136"/>
                <a:gd name="T36" fmla="*/ 162 w 284"/>
                <a:gd name="T37" fmla="*/ 26 h 136"/>
                <a:gd name="T38" fmla="*/ 172 w 284"/>
                <a:gd name="T39" fmla="*/ 48 h 136"/>
                <a:gd name="T40" fmla="*/ 176 w 284"/>
                <a:gd name="T41" fmla="*/ 34 h 136"/>
                <a:gd name="T42" fmla="*/ 170 w 284"/>
                <a:gd name="T43" fmla="*/ 4 h 136"/>
                <a:gd name="T44" fmla="*/ 192 w 284"/>
                <a:gd name="T45" fmla="*/ 4 h 136"/>
                <a:gd name="T46" fmla="*/ 216 w 284"/>
                <a:gd name="T47" fmla="*/ 24 h 136"/>
                <a:gd name="T48" fmla="*/ 230 w 284"/>
                <a:gd name="T49" fmla="*/ 52 h 136"/>
                <a:gd name="T50" fmla="*/ 228 w 284"/>
                <a:gd name="T51" fmla="*/ 66 h 136"/>
                <a:gd name="T52" fmla="*/ 248 w 284"/>
                <a:gd name="T53" fmla="*/ 82 h 136"/>
                <a:gd name="T54" fmla="*/ 268 w 284"/>
                <a:gd name="T55" fmla="*/ 90 h 136"/>
                <a:gd name="T56" fmla="*/ 280 w 284"/>
                <a:gd name="T57" fmla="*/ 104 h 136"/>
                <a:gd name="T58" fmla="*/ 254 w 284"/>
                <a:gd name="T59" fmla="*/ 106 h 136"/>
                <a:gd name="T60" fmla="*/ 268 w 284"/>
                <a:gd name="T61" fmla="*/ 116 h 136"/>
                <a:gd name="T62" fmla="*/ 262 w 284"/>
                <a:gd name="T63" fmla="*/ 128 h 136"/>
                <a:gd name="T64" fmla="*/ 216 w 284"/>
                <a:gd name="T65" fmla="*/ 128 h 136"/>
                <a:gd name="T66" fmla="*/ 202 w 284"/>
                <a:gd name="T67" fmla="*/ 122 h 136"/>
                <a:gd name="T68" fmla="*/ 184 w 284"/>
                <a:gd name="T69" fmla="*/ 122 h 136"/>
                <a:gd name="T70" fmla="*/ 152 w 284"/>
                <a:gd name="T71" fmla="*/ 134 h 136"/>
                <a:gd name="T72" fmla="*/ 84 w 284"/>
                <a:gd name="T73" fmla="*/ 130 h 136"/>
                <a:gd name="T74" fmla="*/ 40 w 284"/>
                <a:gd name="T75" fmla="*/ 118 h 136"/>
                <a:gd name="T76" fmla="*/ 30 w 284"/>
                <a:gd name="T77" fmla="*/ 92 h 136"/>
                <a:gd name="T78" fmla="*/ 80 w 284"/>
                <a:gd name="T79" fmla="*/ 88 h 136"/>
                <a:gd name="T80" fmla="*/ 110 w 284"/>
                <a:gd name="T81" fmla="*/ 9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84" h="136">
                  <a:moveTo>
                    <a:pt x="110" y="90"/>
                  </a:moveTo>
                  <a:lnTo>
                    <a:pt x="104" y="82"/>
                  </a:lnTo>
                  <a:lnTo>
                    <a:pt x="86" y="76"/>
                  </a:lnTo>
                  <a:lnTo>
                    <a:pt x="52" y="78"/>
                  </a:lnTo>
                  <a:lnTo>
                    <a:pt x="28" y="80"/>
                  </a:lnTo>
                  <a:lnTo>
                    <a:pt x="10" y="74"/>
                  </a:lnTo>
                  <a:lnTo>
                    <a:pt x="14" y="62"/>
                  </a:lnTo>
                  <a:lnTo>
                    <a:pt x="30" y="62"/>
                  </a:lnTo>
                  <a:lnTo>
                    <a:pt x="46" y="58"/>
                  </a:lnTo>
                  <a:lnTo>
                    <a:pt x="56" y="54"/>
                  </a:lnTo>
                  <a:lnTo>
                    <a:pt x="46" y="52"/>
                  </a:lnTo>
                  <a:lnTo>
                    <a:pt x="34" y="56"/>
                  </a:lnTo>
                  <a:lnTo>
                    <a:pt x="20" y="56"/>
                  </a:lnTo>
                  <a:lnTo>
                    <a:pt x="14" y="52"/>
                  </a:lnTo>
                  <a:lnTo>
                    <a:pt x="0" y="50"/>
                  </a:lnTo>
                  <a:lnTo>
                    <a:pt x="0" y="42"/>
                  </a:lnTo>
                  <a:lnTo>
                    <a:pt x="8" y="36"/>
                  </a:lnTo>
                  <a:lnTo>
                    <a:pt x="12" y="30"/>
                  </a:lnTo>
                  <a:lnTo>
                    <a:pt x="10" y="22"/>
                  </a:lnTo>
                  <a:lnTo>
                    <a:pt x="26" y="14"/>
                  </a:lnTo>
                  <a:lnTo>
                    <a:pt x="50" y="4"/>
                  </a:lnTo>
                  <a:lnTo>
                    <a:pt x="74" y="0"/>
                  </a:lnTo>
                  <a:lnTo>
                    <a:pt x="76" y="8"/>
                  </a:lnTo>
                  <a:lnTo>
                    <a:pt x="74" y="12"/>
                  </a:lnTo>
                  <a:lnTo>
                    <a:pt x="70" y="18"/>
                  </a:lnTo>
                  <a:lnTo>
                    <a:pt x="84" y="22"/>
                  </a:lnTo>
                  <a:lnTo>
                    <a:pt x="90" y="8"/>
                  </a:lnTo>
                  <a:lnTo>
                    <a:pt x="106" y="12"/>
                  </a:lnTo>
                  <a:lnTo>
                    <a:pt x="122" y="18"/>
                  </a:lnTo>
                  <a:lnTo>
                    <a:pt x="118" y="24"/>
                  </a:lnTo>
                  <a:lnTo>
                    <a:pt x="120" y="28"/>
                  </a:lnTo>
                  <a:lnTo>
                    <a:pt x="128" y="26"/>
                  </a:lnTo>
                  <a:lnTo>
                    <a:pt x="142" y="26"/>
                  </a:lnTo>
                  <a:lnTo>
                    <a:pt x="144" y="18"/>
                  </a:lnTo>
                  <a:lnTo>
                    <a:pt x="136" y="12"/>
                  </a:lnTo>
                  <a:lnTo>
                    <a:pt x="142" y="10"/>
                  </a:lnTo>
                  <a:lnTo>
                    <a:pt x="154" y="16"/>
                  </a:lnTo>
                  <a:lnTo>
                    <a:pt x="162" y="26"/>
                  </a:lnTo>
                  <a:lnTo>
                    <a:pt x="166" y="38"/>
                  </a:lnTo>
                  <a:lnTo>
                    <a:pt x="172" y="48"/>
                  </a:lnTo>
                  <a:lnTo>
                    <a:pt x="182" y="44"/>
                  </a:lnTo>
                  <a:lnTo>
                    <a:pt x="176" y="34"/>
                  </a:lnTo>
                  <a:lnTo>
                    <a:pt x="172" y="16"/>
                  </a:lnTo>
                  <a:lnTo>
                    <a:pt x="170" y="4"/>
                  </a:lnTo>
                  <a:lnTo>
                    <a:pt x="178" y="0"/>
                  </a:lnTo>
                  <a:lnTo>
                    <a:pt x="192" y="4"/>
                  </a:lnTo>
                  <a:lnTo>
                    <a:pt x="206" y="12"/>
                  </a:lnTo>
                  <a:lnTo>
                    <a:pt x="216" y="24"/>
                  </a:lnTo>
                  <a:lnTo>
                    <a:pt x="222" y="40"/>
                  </a:lnTo>
                  <a:lnTo>
                    <a:pt x="230" y="52"/>
                  </a:lnTo>
                  <a:lnTo>
                    <a:pt x="230" y="60"/>
                  </a:lnTo>
                  <a:lnTo>
                    <a:pt x="228" y="66"/>
                  </a:lnTo>
                  <a:lnTo>
                    <a:pt x="238" y="78"/>
                  </a:lnTo>
                  <a:lnTo>
                    <a:pt x="248" y="82"/>
                  </a:lnTo>
                  <a:lnTo>
                    <a:pt x="260" y="84"/>
                  </a:lnTo>
                  <a:lnTo>
                    <a:pt x="268" y="90"/>
                  </a:lnTo>
                  <a:lnTo>
                    <a:pt x="284" y="100"/>
                  </a:lnTo>
                  <a:lnTo>
                    <a:pt x="280" y="104"/>
                  </a:lnTo>
                  <a:lnTo>
                    <a:pt x="264" y="104"/>
                  </a:lnTo>
                  <a:lnTo>
                    <a:pt x="254" y="106"/>
                  </a:lnTo>
                  <a:lnTo>
                    <a:pt x="256" y="112"/>
                  </a:lnTo>
                  <a:lnTo>
                    <a:pt x="268" y="116"/>
                  </a:lnTo>
                  <a:lnTo>
                    <a:pt x="272" y="126"/>
                  </a:lnTo>
                  <a:lnTo>
                    <a:pt x="262" y="128"/>
                  </a:lnTo>
                  <a:lnTo>
                    <a:pt x="240" y="130"/>
                  </a:lnTo>
                  <a:lnTo>
                    <a:pt x="216" y="128"/>
                  </a:lnTo>
                  <a:lnTo>
                    <a:pt x="212" y="122"/>
                  </a:lnTo>
                  <a:lnTo>
                    <a:pt x="202" y="122"/>
                  </a:lnTo>
                  <a:lnTo>
                    <a:pt x="196" y="108"/>
                  </a:lnTo>
                  <a:lnTo>
                    <a:pt x="184" y="122"/>
                  </a:lnTo>
                  <a:lnTo>
                    <a:pt x="168" y="126"/>
                  </a:lnTo>
                  <a:lnTo>
                    <a:pt x="152" y="134"/>
                  </a:lnTo>
                  <a:lnTo>
                    <a:pt x="90" y="136"/>
                  </a:lnTo>
                  <a:lnTo>
                    <a:pt x="84" y="130"/>
                  </a:lnTo>
                  <a:lnTo>
                    <a:pt x="82" y="118"/>
                  </a:lnTo>
                  <a:lnTo>
                    <a:pt x="40" y="118"/>
                  </a:lnTo>
                  <a:lnTo>
                    <a:pt x="22" y="100"/>
                  </a:lnTo>
                  <a:lnTo>
                    <a:pt x="30" y="92"/>
                  </a:lnTo>
                  <a:lnTo>
                    <a:pt x="48" y="90"/>
                  </a:lnTo>
                  <a:lnTo>
                    <a:pt x="80" y="88"/>
                  </a:lnTo>
                  <a:lnTo>
                    <a:pt x="98" y="90"/>
                  </a:lnTo>
                  <a:lnTo>
                    <a:pt x="110" y="9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35" name="Freeform 9">
              <a:extLst>
                <a:ext uri="{FF2B5EF4-FFF2-40B4-BE49-F238E27FC236}">
                  <a16:creationId xmlns:a16="http://schemas.microsoft.com/office/drawing/2014/main" id="{DDFF69A7-7DD5-4E81-AADD-DC25432E6D5A}"/>
                </a:ext>
              </a:extLst>
            </p:cNvPr>
            <p:cNvSpPr>
              <a:spLocks/>
            </p:cNvSpPr>
            <p:nvPr/>
          </p:nvSpPr>
          <p:spPr bwMode="gray">
            <a:xfrm>
              <a:off x="2740758" y="2108662"/>
              <a:ext cx="313704" cy="136106"/>
            </a:xfrm>
            <a:custGeom>
              <a:avLst/>
              <a:gdLst>
                <a:gd name="T0" fmla="*/ 98 w 190"/>
                <a:gd name="T1" fmla="*/ 56 h 82"/>
                <a:gd name="T2" fmla="*/ 80 w 190"/>
                <a:gd name="T3" fmla="*/ 56 h 82"/>
                <a:gd name="T4" fmla="*/ 58 w 190"/>
                <a:gd name="T5" fmla="*/ 56 h 82"/>
                <a:gd name="T6" fmla="*/ 62 w 190"/>
                <a:gd name="T7" fmla="*/ 48 h 82"/>
                <a:gd name="T8" fmla="*/ 52 w 190"/>
                <a:gd name="T9" fmla="*/ 50 h 82"/>
                <a:gd name="T10" fmla="*/ 48 w 190"/>
                <a:gd name="T11" fmla="*/ 58 h 82"/>
                <a:gd name="T12" fmla="*/ 30 w 190"/>
                <a:gd name="T13" fmla="*/ 62 h 82"/>
                <a:gd name="T14" fmla="*/ 20 w 190"/>
                <a:gd name="T15" fmla="*/ 58 h 82"/>
                <a:gd name="T16" fmla="*/ 2 w 190"/>
                <a:gd name="T17" fmla="*/ 56 h 82"/>
                <a:gd name="T18" fmla="*/ 0 w 190"/>
                <a:gd name="T19" fmla="*/ 48 h 82"/>
                <a:gd name="T20" fmla="*/ 18 w 190"/>
                <a:gd name="T21" fmla="*/ 46 h 82"/>
                <a:gd name="T22" fmla="*/ 4 w 190"/>
                <a:gd name="T23" fmla="*/ 42 h 82"/>
                <a:gd name="T24" fmla="*/ 10 w 190"/>
                <a:gd name="T25" fmla="*/ 36 h 82"/>
                <a:gd name="T26" fmla="*/ 34 w 190"/>
                <a:gd name="T27" fmla="*/ 34 h 82"/>
                <a:gd name="T28" fmla="*/ 16 w 190"/>
                <a:gd name="T29" fmla="*/ 30 h 82"/>
                <a:gd name="T30" fmla="*/ 18 w 190"/>
                <a:gd name="T31" fmla="*/ 24 h 82"/>
                <a:gd name="T32" fmla="*/ 26 w 190"/>
                <a:gd name="T33" fmla="*/ 20 h 82"/>
                <a:gd name="T34" fmla="*/ 34 w 190"/>
                <a:gd name="T35" fmla="*/ 16 h 82"/>
                <a:gd name="T36" fmla="*/ 50 w 190"/>
                <a:gd name="T37" fmla="*/ 14 h 82"/>
                <a:gd name="T38" fmla="*/ 58 w 190"/>
                <a:gd name="T39" fmla="*/ 22 h 82"/>
                <a:gd name="T40" fmla="*/ 66 w 190"/>
                <a:gd name="T41" fmla="*/ 20 h 82"/>
                <a:gd name="T42" fmla="*/ 74 w 190"/>
                <a:gd name="T43" fmla="*/ 20 h 82"/>
                <a:gd name="T44" fmla="*/ 88 w 190"/>
                <a:gd name="T45" fmla="*/ 28 h 82"/>
                <a:gd name="T46" fmla="*/ 98 w 190"/>
                <a:gd name="T47" fmla="*/ 36 h 82"/>
                <a:gd name="T48" fmla="*/ 98 w 190"/>
                <a:gd name="T49" fmla="*/ 40 h 82"/>
                <a:gd name="T50" fmla="*/ 98 w 190"/>
                <a:gd name="T51" fmla="*/ 42 h 82"/>
                <a:gd name="T52" fmla="*/ 100 w 190"/>
                <a:gd name="T53" fmla="*/ 44 h 82"/>
                <a:gd name="T54" fmla="*/ 136 w 190"/>
                <a:gd name="T55" fmla="*/ 44 h 82"/>
                <a:gd name="T56" fmla="*/ 136 w 190"/>
                <a:gd name="T57" fmla="*/ 38 h 82"/>
                <a:gd name="T58" fmla="*/ 118 w 190"/>
                <a:gd name="T59" fmla="*/ 34 h 82"/>
                <a:gd name="T60" fmla="*/ 130 w 190"/>
                <a:gd name="T61" fmla="*/ 28 h 82"/>
                <a:gd name="T62" fmla="*/ 128 w 190"/>
                <a:gd name="T63" fmla="*/ 24 h 82"/>
                <a:gd name="T64" fmla="*/ 116 w 190"/>
                <a:gd name="T65" fmla="*/ 20 h 82"/>
                <a:gd name="T66" fmla="*/ 122 w 190"/>
                <a:gd name="T67" fmla="*/ 10 h 82"/>
                <a:gd name="T68" fmla="*/ 130 w 190"/>
                <a:gd name="T69" fmla="*/ 0 h 82"/>
                <a:gd name="T70" fmla="*/ 140 w 190"/>
                <a:gd name="T71" fmla="*/ 2 h 82"/>
                <a:gd name="T72" fmla="*/ 142 w 190"/>
                <a:gd name="T73" fmla="*/ 8 h 82"/>
                <a:gd name="T74" fmla="*/ 148 w 190"/>
                <a:gd name="T75" fmla="*/ 16 h 82"/>
                <a:gd name="T76" fmla="*/ 146 w 190"/>
                <a:gd name="T77" fmla="*/ 22 h 82"/>
                <a:gd name="T78" fmla="*/ 148 w 190"/>
                <a:gd name="T79" fmla="*/ 30 h 82"/>
                <a:gd name="T80" fmla="*/ 162 w 190"/>
                <a:gd name="T81" fmla="*/ 34 h 82"/>
                <a:gd name="T82" fmla="*/ 168 w 190"/>
                <a:gd name="T83" fmla="*/ 34 h 82"/>
                <a:gd name="T84" fmla="*/ 172 w 190"/>
                <a:gd name="T85" fmla="*/ 28 h 82"/>
                <a:gd name="T86" fmla="*/ 184 w 190"/>
                <a:gd name="T87" fmla="*/ 28 h 82"/>
                <a:gd name="T88" fmla="*/ 190 w 190"/>
                <a:gd name="T89" fmla="*/ 34 h 82"/>
                <a:gd name="T90" fmla="*/ 190 w 190"/>
                <a:gd name="T91" fmla="*/ 48 h 82"/>
                <a:gd name="T92" fmla="*/ 182 w 190"/>
                <a:gd name="T93" fmla="*/ 58 h 82"/>
                <a:gd name="T94" fmla="*/ 168 w 190"/>
                <a:gd name="T95" fmla="*/ 64 h 82"/>
                <a:gd name="T96" fmla="*/ 148 w 190"/>
                <a:gd name="T97" fmla="*/ 58 h 82"/>
                <a:gd name="T98" fmla="*/ 134 w 190"/>
                <a:gd name="T99" fmla="*/ 64 h 82"/>
                <a:gd name="T100" fmla="*/ 114 w 190"/>
                <a:gd name="T101" fmla="*/ 66 h 82"/>
                <a:gd name="T102" fmla="*/ 96 w 190"/>
                <a:gd name="T103" fmla="*/ 76 h 82"/>
                <a:gd name="T104" fmla="*/ 74 w 190"/>
                <a:gd name="T105" fmla="*/ 82 h 82"/>
                <a:gd name="T106" fmla="*/ 58 w 190"/>
                <a:gd name="T107" fmla="*/ 78 h 82"/>
                <a:gd name="T108" fmla="*/ 50 w 190"/>
                <a:gd name="T109" fmla="*/ 70 h 82"/>
                <a:gd name="T110" fmla="*/ 62 w 190"/>
                <a:gd name="T111" fmla="*/ 64 h 82"/>
                <a:gd name="T112" fmla="*/ 80 w 190"/>
                <a:gd name="T113" fmla="*/ 64 h 82"/>
                <a:gd name="T114" fmla="*/ 96 w 190"/>
                <a:gd name="T115" fmla="*/ 62 h 82"/>
                <a:gd name="T116" fmla="*/ 98 w 190"/>
                <a:gd name="T117" fmla="*/ 5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0" h="82">
                  <a:moveTo>
                    <a:pt x="98" y="56"/>
                  </a:moveTo>
                  <a:lnTo>
                    <a:pt x="80" y="56"/>
                  </a:lnTo>
                  <a:lnTo>
                    <a:pt x="58" y="56"/>
                  </a:lnTo>
                  <a:lnTo>
                    <a:pt x="62" y="48"/>
                  </a:lnTo>
                  <a:lnTo>
                    <a:pt x="52" y="50"/>
                  </a:lnTo>
                  <a:lnTo>
                    <a:pt x="48" y="58"/>
                  </a:lnTo>
                  <a:lnTo>
                    <a:pt x="30" y="62"/>
                  </a:lnTo>
                  <a:lnTo>
                    <a:pt x="20" y="58"/>
                  </a:lnTo>
                  <a:lnTo>
                    <a:pt x="2" y="56"/>
                  </a:lnTo>
                  <a:lnTo>
                    <a:pt x="0" y="48"/>
                  </a:lnTo>
                  <a:lnTo>
                    <a:pt x="18" y="46"/>
                  </a:lnTo>
                  <a:lnTo>
                    <a:pt x="4" y="42"/>
                  </a:lnTo>
                  <a:lnTo>
                    <a:pt x="10" y="36"/>
                  </a:lnTo>
                  <a:lnTo>
                    <a:pt x="34" y="34"/>
                  </a:lnTo>
                  <a:lnTo>
                    <a:pt x="16" y="30"/>
                  </a:lnTo>
                  <a:lnTo>
                    <a:pt x="18" y="24"/>
                  </a:lnTo>
                  <a:lnTo>
                    <a:pt x="26" y="20"/>
                  </a:lnTo>
                  <a:lnTo>
                    <a:pt x="34" y="16"/>
                  </a:lnTo>
                  <a:lnTo>
                    <a:pt x="50" y="14"/>
                  </a:lnTo>
                  <a:lnTo>
                    <a:pt x="58" y="22"/>
                  </a:lnTo>
                  <a:lnTo>
                    <a:pt x="66" y="20"/>
                  </a:lnTo>
                  <a:lnTo>
                    <a:pt x="74" y="20"/>
                  </a:lnTo>
                  <a:lnTo>
                    <a:pt x="88" y="28"/>
                  </a:lnTo>
                  <a:lnTo>
                    <a:pt x="98" y="36"/>
                  </a:lnTo>
                  <a:lnTo>
                    <a:pt x="98" y="40"/>
                  </a:lnTo>
                  <a:lnTo>
                    <a:pt x="98" y="42"/>
                  </a:lnTo>
                  <a:lnTo>
                    <a:pt x="100" y="44"/>
                  </a:lnTo>
                  <a:lnTo>
                    <a:pt x="136" y="44"/>
                  </a:lnTo>
                  <a:lnTo>
                    <a:pt x="136" y="38"/>
                  </a:lnTo>
                  <a:lnTo>
                    <a:pt x="118" y="34"/>
                  </a:lnTo>
                  <a:lnTo>
                    <a:pt x="130" y="28"/>
                  </a:lnTo>
                  <a:lnTo>
                    <a:pt x="128" y="24"/>
                  </a:lnTo>
                  <a:lnTo>
                    <a:pt x="116" y="20"/>
                  </a:lnTo>
                  <a:lnTo>
                    <a:pt x="122" y="10"/>
                  </a:lnTo>
                  <a:lnTo>
                    <a:pt x="130" y="0"/>
                  </a:lnTo>
                  <a:lnTo>
                    <a:pt x="140" y="2"/>
                  </a:lnTo>
                  <a:lnTo>
                    <a:pt x="142" y="8"/>
                  </a:lnTo>
                  <a:lnTo>
                    <a:pt x="148" y="16"/>
                  </a:lnTo>
                  <a:lnTo>
                    <a:pt x="146" y="22"/>
                  </a:lnTo>
                  <a:lnTo>
                    <a:pt x="148" y="30"/>
                  </a:lnTo>
                  <a:lnTo>
                    <a:pt x="162" y="34"/>
                  </a:lnTo>
                  <a:lnTo>
                    <a:pt x="168" y="34"/>
                  </a:lnTo>
                  <a:lnTo>
                    <a:pt x="172" y="28"/>
                  </a:lnTo>
                  <a:lnTo>
                    <a:pt x="184" y="28"/>
                  </a:lnTo>
                  <a:lnTo>
                    <a:pt x="190" y="34"/>
                  </a:lnTo>
                  <a:lnTo>
                    <a:pt x="190" y="48"/>
                  </a:lnTo>
                  <a:lnTo>
                    <a:pt x="182" y="58"/>
                  </a:lnTo>
                  <a:lnTo>
                    <a:pt x="168" y="64"/>
                  </a:lnTo>
                  <a:lnTo>
                    <a:pt x="148" y="58"/>
                  </a:lnTo>
                  <a:lnTo>
                    <a:pt x="134" y="64"/>
                  </a:lnTo>
                  <a:lnTo>
                    <a:pt x="114" y="66"/>
                  </a:lnTo>
                  <a:lnTo>
                    <a:pt x="96" y="76"/>
                  </a:lnTo>
                  <a:lnTo>
                    <a:pt x="74" y="82"/>
                  </a:lnTo>
                  <a:lnTo>
                    <a:pt x="58" y="78"/>
                  </a:lnTo>
                  <a:lnTo>
                    <a:pt x="50" y="70"/>
                  </a:lnTo>
                  <a:lnTo>
                    <a:pt x="62" y="64"/>
                  </a:lnTo>
                  <a:lnTo>
                    <a:pt x="80" y="64"/>
                  </a:lnTo>
                  <a:lnTo>
                    <a:pt x="96" y="62"/>
                  </a:lnTo>
                  <a:lnTo>
                    <a:pt x="98" y="5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36" name="Freeform 10">
              <a:extLst>
                <a:ext uri="{FF2B5EF4-FFF2-40B4-BE49-F238E27FC236}">
                  <a16:creationId xmlns:a16="http://schemas.microsoft.com/office/drawing/2014/main" id="{8CAD7C37-F847-4097-80A5-0C3B9B897D00}"/>
                </a:ext>
              </a:extLst>
            </p:cNvPr>
            <p:cNvSpPr>
              <a:spLocks/>
            </p:cNvSpPr>
            <p:nvPr/>
          </p:nvSpPr>
          <p:spPr bwMode="gray">
            <a:xfrm>
              <a:off x="3054462" y="1965917"/>
              <a:ext cx="175013" cy="92950"/>
            </a:xfrm>
            <a:custGeom>
              <a:avLst/>
              <a:gdLst>
                <a:gd name="T0" fmla="*/ 0 w 106"/>
                <a:gd name="T1" fmla="*/ 12 h 56"/>
                <a:gd name="T2" fmla="*/ 16 w 106"/>
                <a:gd name="T3" fmla="*/ 16 h 56"/>
                <a:gd name="T4" fmla="*/ 26 w 106"/>
                <a:gd name="T5" fmla="*/ 20 h 56"/>
                <a:gd name="T6" fmla="*/ 34 w 106"/>
                <a:gd name="T7" fmla="*/ 28 h 56"/>
                <a:gd name="T8" fmla="*/ 32 w 106"/>
                <a:gd name="T9" fmla="*/ 30 h 56"/>
                <a:gd name="T10" fmla="*/ 18 w 106"/>
                <a:gd name="T11" fmla="*/ 28 h 56"/>
                <a:gd name="T12" fmla="*/ 10 w 106"/>
                <a:gd name="T13" fmla="*/ 30 h 56"/>
                <a:gd name="T14" fmla="*/ 8 w 106"/>
                <a:gd name="T15" fmla="*/ 40 h 56"/>
                <a:gd name="T16" fmla="*/ 20 w 106"/>
                <a:gd name="T17" fmla="*/ 42 h 56"/>
                <a:gd name="T18" fmla="*/ 34 w 106"/>
                <a:gd name="T19" fmla="*/ 40 h 56"/>
                <a:gd name="T20" fmla="*/ 50 w 106"/>
                <a:gd name="T21" fmla="*/ 38 h 56"/>
                <a:gd name="T22" fmla="*/ 66 w 106"/>
                <a:gd name="T23" fmla="*/ 40 h 56"/>
                <a:gd name="T24" fmla="*/ 74 w 106"/>
                <a:gd name="T25" fmla="*/ 46 h 56"/>
                <a:gd name="T26" fmla="*/ 82 w 106"/>
                <a:gd name="T27" fmla="*/ 56 h 56"/>
                <a:gd name="T28" fmla="*/ 98 w 106"/>
                <a:gd name="T29" fmla="*/ 56 h 56"/>
                <a:gd name="T30" fmla="*/ 106 w 106"/>
                <a:gd name="T31" fmla="*/ 48 h 56"/>
                <a:gd name="T32" fmla="*/ 94 w 106"/>
                <a:gd name="T33" fmla="*/ 38 h 56"/>
                <a:gd name="T34" fmla="*/ 90 w 106"/>
                <a:gd name="T35" fmla="*/ 28 h 56"/>
                <a:gd name="T36" fmla="*/ 80 w 106"/>
                <a:gd name="T37" fmla="*/ 20 h 56"/>
                <a:gd name="T38" fmla="*/ 70 w 106"/>
                <a:gd name="T39" fmla="*/ 18 h 56"/>
                <a:gd name="T40" fmla="*/ 64 w 106"/>
                <a:gd name="T41" fmla="*/ 12 h 56"/>
                <a:gd name="T42" fmla="*/ 50 w 106"/>
                <a:gd name="T43" fmla="*/ 10 h 56"/>
                <a:gd name="T44" fmla="*/ 44 w 106"/>
                <a:gd name="T45" fmla="*/ 20 h 56"/>
                <a:gd name="T46" fmla="*/ 42 w 106"/>
                <a:gd name="T47" fmla="*/ 10 h 56"/>
                <a:gd name="T48" fmla="*/ 40 w 106"/>
                <a:gd name="T49" fmla="*/ 2 h 56"/>
                <a:gd name="T50" fmla="*/ 18 w 106"/>
                <a:gd name="T51" fmla="*/ 0 h 56"/>
                <a:gd name="T52" fmla="*/ 0 w 106"/>
                <a:gd name="T53" fmla="*/ 2 h 56"/>
                <a:gd name="T54" fmla="*/ 0 w 106"/>
                <a:gd name="T55" fmla="*/ 1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6" h="56">
                  <a:moveTo>
                    <a:pt x="0" y="12"/>
                  </a:moveTo>
                  <a:lnTo>
                    <a:pt x="16" y="16"/>
                  </a:lnTo>
                  <a:lnTo>
                    <a:pt x="26" y="20"/>
                  </a:lnTo>
                  <a:lnTo>
                    <a:pt x="34" y="28"/>
                  </a:lnTo>
                  <a:lnTo>
                    <a:pt x="32" y="30"/>
                  </a:lnTo>
                  <a:lnTo>
                    <a:pt x="18" y="28"/>
                  </a:lnTo>
                  <a:lnTo>
                    <a:pt x="10" y="30"/>
                  </a:lnTo>
                  <a:lnTo>
                    <a:pt x="8" y="40"/>
                  </a:lnTo>
                  <a:lnTo>
                    <a:pt x="20" y="42"/>
                  </a:lnTo>
                  <a:lnTo>
                    <a:pt x="34" y="40"/>
                  </a:lnTo>
                  <a:lnTo>
                    <a:pt x="50" y="38"/>
                  </a:lnTo>
                  <a:lnTo>
                    <a:pt x="66" y="40"/>
                  </a:lnTo>
                  <a:lnTo>
                    <a:pt x="74" y="46"/>
                  </a:lnTo>
                  <a:lnTo>
                    <a:pt x="82" y="56"/>
                  </a:lnTo>
                  <a:lnTo>
                    <a:pt x="98" y="56"/>
                  </a:lnTo>
                  <a:lnTo>
                    <a:pt x="106" y="48"/>
                  </a:lnTo>
                  <a:lnTo>
                    <a:pt x="94" y="38"/>
                  </a:lnTo>
                  <a:lnTo>
                    <a:pt x="90" y="28"/>
                  </a:lnTo>
                  <a:lnTo>
                    <a:pt x="80" y="20"/>
                  </a:lnTo>
                  <a:lnTo>
                    <a:pt x="70" y="18"/>
                  </a:lnTo>
                  <a:lnTo>
                    <a:pt x="64" y="12"/>
                  </a:lnTo>
                  <a:lnTo>
                    <a:pt x="50" y="10"/>
                  </a:lnTo>
                  <a:lnTo>
                    <a:pt x="44" y="20"/>
                  </a:lnTo>
                  <a:lnTo>
                    <a:pt x="42" y="10"/>
                  </a:lnTo>
                  <a:lnTo>
                    <a:pt x="40" y="2"/>
                  </a:lnTo>
                  <a:lnTo>
                    <a:pt x="18" y="0"/>
                  </a:lnTo>
                  <a:lnTo>
                    <a:pt x="0" y="2"/>
                  </a:lnTo>
                  <a:lnTo>
                    <a:pt x="0" y="1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37" name="Freeform 11">
              <a:extLst>
                <a:ext uri="{FF2B5EF4-FFF2-40B4-BE49-F238E27FC236}">
                  <a16:creationId xmlns:a16="http://schemas.microsoft.com/office/drawing/2014/main" id="{563BD35E-B9F3-4DD8-A94C-5ECAE81589E7}"/>
                </a:ext>
              </a:extLst>
            </p:cNvPr>
            <p:cNvSpPr>
              <a:spLocks/>
            </p:cNvSpPr>
            <p:nvPr/>
          </p:nvSpPr>
          <p:spPr bwMode="gray">
            <a:xfrm>
              <a:off x="3080879" y="2118621"/>
              <a:ext cx="184920" cy="92950"/>
            </a:xfrm>
            <a:custGeom>
              <a:avLst/>
              <a:gdLst>
                <a:gd name="T0" fmla="*/ 104 w 112"/>
                <a:gd name="T1" fmla="*/ 52 h 56"/>
                <a:gd name="T2" fmla="*/ 92 w 112"/>
                <a:gd name="T3" fmla="*/ 54 h 56"/>
                <a:gd name="T4" fmla="*/ 70 w 112"/>
                <a:gd name="T5" fmla="*/ 56 h 56"/>
                <a:gd name="T6" fmla="*/ 66 w 112"/>
                <a:gd name="T7" fmla="*/ 44 h 56"/>
                <a:gd name="T8" fmla="*/ 74 w 112"/>
                <a:gd name="T9" fmla="*/ 36 h 56"/>
                <a:gd name="T10" fmla="*/ 68 w 112"/>
                <a:gd name="T11" fmla="*/ 36 h 56"/>
                <a:gd name="T12" fmla="*/ 58 w 112"/>
                <a:gd name="T13" fmla="*/ 34 h 56"/>
                <a:gd name="T14" fmla="*/ 48 w 112"/>
                <a:gd name="T15" fmla="*/ 34 h 56"/>
                <a:gd name="T16" fmla="*/ 36 w 112"/>
                <a:gd name="T17" fmla="*/ 38 h 56"/>
                <a:gd name="T18" fmla="*/ 26 w 112"/>
                <a:gd name="T19" fmla="*/ 34 h 56"/>
                <a:gd name="T20" fmla="*/ 8 w 112"/>
                <a:gd name="T21" fmla="*/ 20 h 56"/>
                <a:gd name="T22" fmla="*/ 0 w 112"/>
                <a:gd name="T23" fmla="*/ 4 h 56"/>
                <a:gd name="T24" fmla="*/ 8 w 112"/>
                <a:gd name="T25" fmla="*/ 0 h 56"/>
                <a:gd name="T26" fmla="*/ 18 w 112"/>
                <a:gd name="T27" fmla="*/ 6 h 56"/>
                <a:gd name="T28" fmla="*/ 26 w 112"/>
                <a:gd name="T29" fmla="*/ 14 h 56"/>
                <a:gd name="T30" fmla="*/ 40 w 112"/>
                <a:gd name="T31" fmla="*/ 26 h 56"/>
                <a:gd name="T32" fmla="*/ 48 w 112"/>
                <a:gd name="T33" fmla="*/ 24 h 56"/>
                <a:gd name="T34" fmla="*/ 40 w 112"/>
                <a:gd name="T35" fmla="*/ 16 h 56"/>
                <a:gd name="T36" fmla="*/ 40 w 112"/>
                <a:gd name="T37" fmla="*/ 10 h 56"/>
                <a:gd name="T38" fmla="*/ 48 w 112"/>
                <a:gd name="T39" fmla="*/ 8 h 56"/>
                <a:gd name="T40" fmla="*/ 58 w 112"/>
                <a:gd name="T41" fmla="*/ 16 h 56"/>
                <a:gd name="T42" fmla="*/ 70 w 112"/>
                <a:gd name="T43" fmla="*/ 26 h 56"/>
                <a:gd name="T44" fmla="*/ 74 w 112"/>
                <a:gd name="T45" fmla="*/ 20 h 56"/>
                <a:gd name="T46" fmla="*/ 68 w 112"/>
                <a:gd name="T47" fmla="*/ 12 h 56"/>
                <a:gd name="T48" fmla="*/ 62 w 112"/>
                <a:gd name="T49" fmla="*/ 4 h 56"/>
                <a:gd name="T50" fmla="*/ 64 w 112"/>
                <a:gd name="T51" fmla="*/ 0 h 56"/>
                <a:gd name="T52" fmla="*/ 78 w 112"/>
                <a:gd name="T53" fmla="*/ 2 h 56"/>
                <a:gd name="T54" fmla="*/ 84 w 112"/>
                <a:gd name="T55" fmla="*/ 8 h 56"/>
                <a:gd name="T56" fmla="*/ 92 w 112"/>
                <a:gd name="T57" fmla="*/ 4 h 56"/>
                <a:gd name="T58" fmla="*/ 104 w 112"/>
                <a:gd name="T59" fmla="*/ 4 h 56"/>
                <a:gd name="T60" fmla="*/ 108 w 112"/>
                <a:gd name="T61" fmla="*/ 10 h 56"/>
                <a:gd name="T62" fmla="*/ 110 w 112"/>
                <a:gd name="T63" fmla="*/ 28 h 56"/>
                <a:gd name="T64" fmla="*/ 112 w 112"/>
                <a:gd name="T65" fmla="*/ 36 h 56"/>
                <a:gd name="T66" fmla="*/ 104 w 112"/>
                <a:gd name="T67" fmla="*/ 40 h 56"/>
                <a:gd name="T68" fmla="*/ 104 w 112"/>
                <a:gd name="T69" fmla="*/ 5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2" h="56">
                  <a:moveTo>
                    <a:pt x="104" y="52"/>
                  </a:moveTo>
                  <a:lnTo>
                    <a:pt x="92" y="54"/>
                  </a:lnTo>
                  <a:lnTo>
                    <a:pt x="70" y="56"/>
                  </a:lnTo>
                  <a:lnTo>
                    <a:pt x="66" y="44"/>
                  </a:lnTo>
                  <a:lnTo>
                    <a:pt x="74" y="36"/>
                  </a:lnTo>
                  <a:lnTo>
                    <a:pt x="68" y="36"/>
                  </a:lnTo>
                  <a:lnTo>
                    <a:pt x="58" y="34"/>
                  </a:lnTo>
                  <a:lnTo>
                    <a:pt x="48" y="34"/>
                  </a:lnTo>
                  <a:lnTo>
                    <a:pt x="36" y="38"/>
                  </a:lnTo>
                  <a:lnTo>
                    <a:pt x="26" y="34"/>
                  </a:lnTo>
                  <a:lnTo>
                    <a:pt x="8" y="20"/>
                  </a:lnTo>
                  <a:lnTo>
                    <a:pt x="0" y="4"/>
                  </a:lnTo>
                  <a:lnTo>
                    <a:pt x="8" y="0"/>
                  </a:lnTo>
                  <a:lnTo>
                    <a:pt x="18" y="6"/>
                  </a:lnTo>
                  <a:lnTo>
                    <a:pt x="26" y="14"/>
                  </a:lnTo>
                  <a:lnTo>
                    <a:pt x="40" y="26"/>
                  </a:lnTo>
                  <a:lnTo>
                    <a:pt x="48" y="24"/>
                  </a:lnTo>
                  <a:lnTo>
                    <a:pt x="40" y="16"/>
                  </a:lnTo>
                  <a:lnTo>
                    <a:pt x="40" y="10"/>
                  </a:lnTo>
                  <a:lnTo>
                    <a:pt x="48" y="8"/>
                  </a:lnTo>
                  <a:lnTo>
                    <a:pt x="58" y="16"/>
                  </a:lnTo>
                  <a:lnTo>
                    <a:pt x="70" y="26"/>
                  </a:lnTo>
                  <a:lnTo>
                    <a:pt x="74" y="20"/>
                  </a:lnTo>
                  <a:lnTo>
                    <a:pt x="68" y="12"/>
                  </a:lnTo>
                  <a:lnTo>
                    <a:pt x="62" y="4"/>
                  </a:lnTo>
                  <a:lnTo>
                    <a:pt x="64" y="0"/>
                  </a:lnTo>
                  <a:lnTo>
                    <a:pt x="78" y="2"/>
                  </a:lnTo>
                  <a:lnTo>
                    <a:pt x="84" y="8"/>
                  </a:lnTo>
                  <a:lnTo>
                    <a:pt x="92" y="4"/>
                  </a:lnTo>
                  <a:lnTo>
                    <a:pt x="104" y="4"/>
                  </a:lnTo>
                  <a:lnTo>
                    <a:pt x="108" y="10"/>
                  </a:lnTo>
                  <a:lnTo>
                    <a:pt x="110" y="28"/>
                  </a:lnTo>
                  <a:lnTo>
                    <a:pt x="112" y="36"/>
                  </a:lnTo>
                  <a:lnTo>
                    <a:pt x="104" y="40"/>
                  </a:lnTo>
                  <a:lnTo>
                    <a:pt x="104" y="5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38" name="Freeform 12">
              <a:extLst>
                <a:ext uri="{FF2B5EF4-FFF2-40B4-BE49-F238E27FC236}">
                  <a16:creationId xmlns:a16="http://schemas.microsoft.com/office/drawing/2014/main" id="{BE52E3FE-4ADC-41C2-8BE7-38362B513F4C}"/>
                </a:ext>
              </a:extLst>
            </p:cNvPr>
            <p:cNvSpPr>
              <a:spLocks/>
            </p:cNvSpPr>
            <p:nvPr/>
          </p:nvSpPr>
          <p:spPr bwMode="gray">
            <a:xfrm>
              <a:off x="3288915" y="2095383"/>
              <a:ext cx="445789" cy="139426"/>
            </a:xfrm>
            <a:custGeom>
              <a:avLst/>
              <a:gdLst>
                <a:gd name="T0" fmla="*/ 48 w 270"/>
                <a:gd name="T1" fmla="*/ 26 h 84"/>
                <a:gd name="T2" fmla="*/ 34 w 270"/>
                <a:gd name="T3" fmla="*/ 28 h 84"/>
                <a:gd name="T4" fmla="*/ 20 w 270"/>
                <a:gd name="T5" fmla="*/ 26 h 84"/>
                <a:gd name="T6" fmla="*/ 6 w 270"/>
                <a:gd name="T7" fmla="*/ 20 h 84"/>
                <a:gd name="T8" fmla="*/ 0 w 270"/>
                <a:gd name="T9" fmla="*/ 14 h 84"/>
                <a:gd name="T10" fmla="*/ 2 w 270"/>
                <a:gd name="T11" fmla="*/ 4 h 84"/>
                <a:gd name="T12" fmla="*/ 14 w 270"/>
                <a:gd name="T13" fmla="*/ 0 h 84"/>
                <a:gd name="T14" fmla="*/ 32 w 270"/>
                <a:gd name="T15" fmla="*/ 6 h 84"/>
                <a:gd name="T16" fmla="*/ 48 w 270"/>
                <a:gd name="T17" fmla="*/ 10 h 84"/>
                <a:gd name="T18" fmla="*/ 54 w 270"/>
                <a:gd name="T19" fmla="*/ 18 h 84"/>
                <a:gd name="T20" fmla="*/ 70 w 270"/>
                <a:gd name="T21" fmla="*/ 18 h 84"/>
                <a:gd name="T22" fmla="*/ 88 w 270"/>
                <a:gd name="T23" fmla="*/ 14 h 84"/>
                <a:gd name="T24" fmla="*/ 96 w 270"/>
                <a:gd name="T25" fmla="*/ 24 h 84"/>
                <a:gd name="T26" fmla="*/ 96 w 270"/>
                <a:gd name="T27" fmla="*/ 34 h 84"/>
                <a:gd name="T28" fmla="*/ 100 w 270"/>
                <a:gd name="T29" fmla="*/ 40 h 84"/>
                <a:gd name="T30" fmla="*/ 120 w 270"/>
                <a:gd name="T31" fmla="*/ 52 h 84"/>
                <a:gd name="T32" fmla="*/ 150 w 270"/>
                <a:gd name="T33" fmla="*/ 52 h 84"/>
                <a:gd name="T34" fmla="*/ 172 w 270"/>
                <a:gd name="T35" fmla="*/ 54 h 84"/>
                <a:gd name="T36" fmla="*/ 198 w 270"/>
                <a:gd name="T37" fmla="*/ 44 h 84"/>
                <a:gd name="T38" fmla="*/ 236 w 270"/>
                <a:gd name="T39" fmla="*/ 46 h 84"/>
                <a:gd name="T40" fmla="*/ 256 w 270"/>
                <a:gd name="T41" fmla="*/ 50 h 84"/>
                <a:gd name="T42" fmla="*/ 270 w 270"/>
                <a:gd name="T43" fmla="*/ 56 h 84"/>
                <a:gd name="T44" fmla="*/ 268 w 270"/>
                <a:gd name="T45" fmla="*/ 66 h 84"/>
                <a:gd name="T46" fmla="*/ 262 w 270"/>
                <a:gd name="T47" fmla="*/ 70 h 84"/>
                <a:gd name="T48" fmla="*/ 260 w 270"/>
                <a:gd name="T49" fmla="*/ 82 h 84"/>
                <a:gd name="T50" fmla="*/ 222 w 270"/>
                <a:gd name="T51" fmla="*/ 84 h 84"/>
                <a:gd name="T52" fmla="*/ 212 w 270"/>
                <a:gd name="T53" fmla="*/ 76 h 84"/>
                <a:gd name="T54" fmla="*/ 206 w 270"/>
                <a:gd name="T55" fmla="*/ 84 h 84"/>
                <a:gd name="T56" fmla="*/ 132 w 270"/>
                <a:gd name="T57" fmla="*/ 84 h 84"/>
                <a:gd name="T58" fmla="*/ 130 w 270"/>
                <a:gd name="T59" fmla="*/ 74 h 84"/>
                <a:gd name="T60" fmla="*/ 126 w 270"/>
                <a:gd name="T61" fmla="*/ 72 h 84"/>
                <a:gd name="T62" fmla="*/ 120 w 270"/>
                <a:gd name="T63" fmla="*/ 78 h 84"/>
                <a:gd name="T64" fmla="*/ 116 w 270"/>
                <a:gd name="T65" fmla="*/ 84 h 84"/>
                <a:gd name="T66" fmla="*/ 92 w 270"/>
                <a:gd name="T67" fmla="*/ 80 h 84"/>
                <a:gd name="T68" fmla="*/ 88 w 270"/>
                <a:gd name="T69" fmla="*/ 74 h 84"/>
                <a:gd name="T70" fmla="*/ 84 w 270"/>
                <a:gd name="T71" fmla="*/ 78 h 84"/>
                <a:gd name="T72" fmla="*/ 78 w 270"/>
                <a:gd name="T73" fmla="*/ 78 h 84"/>
                <a:gd name="T74" fmla="*/ 72 w 270"/>
                <a:gd name="T75" fmla="*/ 70 h 84"/>
                <a:gd name="T76" fmla="*/ 68 w 270"/>
                <a:gd name="T77" fmla="*/ 58 h 84"/>
                <a:gd name="T78" fmla="*/ 68 w 270"/>
                <a:gd name="T79" fmla="*/ 54 h 84"/>
                <a:gd name="T80" fmla="*/ 72 w 270"/>
                <a:gd name="T81" fmla="*/ 48 h 84"/>
                <a:gd name="T82" fmla="*/ 64 w 270"/>
                <a:gd name="T83" fmla="*/ 38 h 84"/>
                <a:gd name="T84" fmla="*/ 58 w 270"/>
                <a:gd name="T85" fmla="*/ 28 h 84"/>
                <a:gd name="T86" fmla="*/ 48 w 270"/>
                <a:gd name="T87" fmla="*/ 2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0" h="84">
                  <a:moveTo>
                    <a:pt x="48" y="26"/>
                  </a:moveTo>
                  <a:lnTo>
                    <a:pt x="34" y="28"/>
                  </a:lnTo>
                  <a:lnTo>
                    <a:pt x="20" y="26"/>
                  </a:lnTo>
                  <a:lnTo>
                    <a:pt x="6" y="20"/>
                  </a:lnTo>
                  <a:lnTo>
                    <a:pt x="0" y="14"/>
                  </a:lnTo>
                  <a:lnTo>
                    <a:pt x="2" y="4"/>
                  </a:lnTo>
                  <a:lnTo>
                    <a:pt x="14" y="0"/>
                  </a:lnTo>
                  <a:lnTo>
                    <a:pt x="32" y="6"/>
                  </a:lnTo>
                  <a:lnTo>
                    <a:pt x="48" y="10"/>
                  </a:lnTo>
                  <a:lnTo>
                    <a:pt x="54" y="18"/>
                  </a:lnTo>
                  <a:lnTo>
                    <a:pt x="70" y="18"/>
                  </a:lnTo>
                  <a:lnTo>
                    <a:pt x="88" y="14"/>
                  </a:lnTo>
                  <a:lnTo>
                    <a:pt x="96" y="24"/>
                  </a:lnTo>
                  <a:lnTo>
                    <a:pt x="96" y="34"/>
                  </a:lnTo>
                  <a:lnTo>
                    <a:pt x="100" y="40"/>
                  </a:lnTo>
                  <a:lnTo>
                    <a:pt x="120" y="52"/>
                  </a:lnTo>
                  <a:lnTo>
                    <a:pt x="150" y="52"/>
                  </a:lnTo>
                  <a:lnTo>
                    <a:pt x="172" y="54"/>
                  </a:lnTo>
                  <a:lnTo>
                    <a:pt x="198" y="44"/>
                  </a:lnTo>
                  <a:lnTo>
                    <a:pt x="236" y="46"/>
                  </a:lnTo>
                  <a:lnTo>
                    <a:pt x="256" y="50"/>
                  </a:lnTo>
                  <a:lnTo>
                    <a:pt x="270" y="56"/>
                  </a:lnTo>
                  <a:lnTo>
                    <a:pt x="268" y="66"/>
                  </a:lnTo>
                  <a:lnTo>
                    <a:pt x="262" y="70"/>
                  </a:lnTo>
                  <a:lnTo>
                    <a:pt x="260" y="82"/>
                  </a:lnTo>
                  <a:lnTo>
                    <a:pt x="222" y="84"/>
                  </a:lnTo>
                  <a:lnTo>
                    <a:pt x="212" y="76"/>
                  </a:lnTo>
                  <a:lnTo>
                    <a:pt x="206" y="84"/>
                  </a:lnTo>
                  <a:lnTo>
                    <a:pt x="132" y="84"/>
                  </a:lnTo>
                  <a:lnTo>
                    <a:pt x="130" y="74"/>
                  </a:lnTo>
                  <a:lnTo>
                    <a:pt x="126" y="72"/>
                  </a:lnTo>
                  <a:lnTo>
                    <a:pt x="120" y="78"/>
                  </a:lnTo>
                  <a:lnTo>
                    <a:pt x="116" y="84"/>
                  </a:lnTo>
                  <a:lnTo>
                    <a:pt x="92" y="80"/>
                  </a:lnTo>
                  <a:lnTo>
                    <a:pt x="88" y="74"/>
                  </a:lnTo>
                  <a:lnTo>
                    <a:pt x="84" y="78"/>
                  </a:lnTo>
                  <a:lnTo>
                    <a:pt x="78" y="78"/>
                  </a:lnTo>
                  <a:lnTo>
                    <a:pt x="72" y="70"/>
                  </a:lnTo>
                  <a:lnTo>
                    <a:pt x="68" y="58"/>
                  </a:lnTo>
                  <a:lnTo>
                    <a:pt x="68" y="54"/>
                  </a:lnTo>
                  <a:lnTo>
                    <a:pt x="72" y="48"/>
                  </a:lnTo>
                  <a:lnTo>
                    <a:pt x="64" y="38"/>
                  </a:lnTo>
                  <a:lnTo>
                    <a:pt x="58" y="28"/>
                  </a:lnTo>
                  <a:lnTo>
                    <a:pt x="48" y="2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39" name="Freeform 13">
              <a:extLst>
                <a:ext uri="{FF2B5EF4-FFF2-40B4-BE49-F238E27FC236}">
                  <a16:creationId xmlns:a16="http://schemas.microsoft.com/office/drawing/2014/main" id="{B0F2475A-63E7-41FA-B682-9E7649504009}"/>
                </a:ext>
              </a:extLst>
            </p:cNvPr>
            <p:cNvSpPr>
              <a:spLocks/>
            </p:cNvSpPr>
            <p:nvPr/>
          </p:nvSpPr>
          <p:spPr bwMode="gray">
            <a:xfrm>
              <a:off x="3312029" y="2258046"/>
              <a:ext cx="148597" cy="106229"/>
            </a:xfrm>
            <a:custGeom>
              <a:avLst/>
              <a:gdLst>
                <a:gd name="T0" fmla="*/ 8 w 90"/>
                <a:gd name="T1" fmla="*/ 2 h 64"/>
                <a:gd name="T2" fmla="*/ 0 w 90"/>
                <a:gd name="T3" fmla="*/ 14 h 64"/>
                <a:gd name="T4" fmla="*/ 4 w 90"/>
                <a:gd name="T5" fmla="*/ 36 h 64"/>
                <a:gd name="T6" fmla="*/ 8 w 90"/>
                <a:gd name="T7" fmla="*/ 50 h 64"/>
                <a:gd name="T8" fmla="*/ 12 w 90"/>
                <a:gd name="T9" fmla="*/ 62 h 64"/>
                <a:gd name="T10" fmla="*/ 24 w 90"/>
                <a:gd name="T11" fmla="*/ 64 h 64"/>
                <a:gd name="T12" fmla="*/ 34 w 90"/>
                <a:gd name="T13" fmla="*/ 52 h 64"/>
                <a:gd name="T14" fmla="*/ 30 w 90"/>
                <a:gd name="T15" fmla="*/ 42 h 64"/>
                <a:gd name="T16" fmla="*/ 42 w 90"/>
                <a:gd name="T17" fmla="*/ 40 h 64"/>
                <a:gd name="T18" fmla="*/ 60 w 90"/>
                <a:gd name="T19" fmla="*/ 40 h 64"/>
                <a:gd name="T20" fmla="*/ 78 w 90"/>
                <a:gd name="T21" fmla="*/ 18 h 64"/>
                <a:gd name="T22" fmla="*/ 90 w 90"/>
                <a:gd name="T23" fmla="*/ 2 h 64"/>
                <a:gd name="T24" fmla="*/ 60 w 90"/>
                <a:gd name="T25" fmla="*/ 2 h 64"/>
                <a:gd name="T26" fmla="*/ 42 w 90"/>
                <a:gd name="T27" fmla="*/ 0 h 64"/>
                <a:gd name="T28" fmla="*/ 20 w 90"/>
                <a:gd name="T29" fmla="*/ 0 h 64"/>
                <a:gd name="T30" fmla="*/ 8 w 90"/>
                <a:gd name="T31" fmla="*/ 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0" h="64">
                  <a:moveTo>
                    <a:pt x="8" y="2"/>
                  </a:moveTo>
                  <a:lnTo>
                    <a:pt x="0" y="14"/>
                  </a:lnTo>
                  <a:lnTo>
                    <a:pt x="4" y="36"/>
                  </a:lnTo>
                  <a:lnTo>
                    <a:pt x="8" y="50"/>
                  </a:lnTo>
                  <a:lnTo>
                    <a:pt x="12" y="62"/>
                  </a:lnTo>
                  <a:lnTo>
                    <a:pt x="24" y="64"/>
                  </a:lnTo>
                  <a:lnTo>
                    <a:pt x="34" y="52"/>
                  </a:lnTo>
                  <a:lnTo>
                    <a:pt x="30" y="42"/>
                  </a:lnTo>
                  <a:lnTo>
                    <a:pt x="42" y="40"/>
                  </a:lnTo>
                  <a:lnTo>
                    <a:pt x="60" y="40"/>
                  </a:lnTo>
                  <a:lnTo>
                    <a:pt x="78" y="18"/>
                  </a:lnTo>
                  <a:lnTo>
                    <a:pt x="90" y="2"/>
                  </a:lnTo>
                  <a:lnTo>
                    <a:pt x="60" y="2"/>
                  </a:lnTo>
                  <a:lnTo>
                    <a:pt x="42" y="0"/>
                  </a:lnTo>
                  <a:lnTo>
                    <a:pt x="20" y="0"/>
                  </a:lnTo>
                  <a:lnTo>
                    <a:pt x="8" y="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40" name="Freeform 14">
              <a:extLst>
                <a:ext uri="{FF2B5EF4-FFF2-40B4-BE49-F238E27FC236}">
                  <a16:creationId xmlns:a16="http://schemas.microsoft.com/office/drawing/2014/main" id="{B54EF728-3FB3-4502-A7D9-D55EE97DCB79}"/>
                </a:ext>
              </a:extLst>
            </p:cNvPr>
            <p:cNvSpPr>
              <a:spLocks/>
            </p:cNvSpPr>
            <p:nvPr/>
          </p:nvSpPr>
          <p:spPr bwMode="gray">
            <a:xfrm>
              <a:off x="3411094" y="1730220"/>
              <a:ext cx="809025" cy="418277"/>
            </a:xfrm>
            <a:custGeom>
              <a:avLst/>
              <a:gdLst>
                <a:gd name="T0" fmla="*/ 370 w 490"/>
                <a:gd name="T1" fmla="*/ 94 h 252"/>
                <a:gd name="T2" fmla="*/ 324 w 490"/>
                <a:gd name="T3" fmla="*/ 130 h 252"/>
                <a:gd name="T4" fmla="*/ 280 w 490"/>
                <a:gd name="T5" fmla="*/ 126 h 252"/>
                <a:gd name="T6" fmla="*/ 296 w 490"/>
                <a:gd name="T7" fmla="*/ 138 h 252"/>
                <a:gd name="T8" fmla="*/ 264 w 490"/>
                <a:gd name="T9" fmla="*/ 140 h 252"/>
                <a:gd name="T10" fmla="*/ 254 w 490"/>
                <a:gd name="T11" fmla="*/ 148 h 252"/>
                <a:gd name="T12" fmla="*/ 254 w 490"/>
                <a:gd name="T13" fmla="*/ 154 h 252"/>
                <a:gd name="T14" fmla="*/ 268 w 490"/>
                <a:gd name="T15" fmla="*/ 170 h 252"/>
                <a:gd name="T16" fmla="*/ 260 w 490"/>
                <a:gd name="T17" fmla="*/ 184 h 252"/>
                <a:gd name="T18" fmla="*/ 220 w 490"/>
                <a:gd name="T19" fmla="*/ 206 h 252"/>
                <a:gd name="T20" fmla="*/ 164 w 490"/>
                <a:gd name="T21" fmla="*/ 216 h 252"/>
                <a:gd name="T22" fmla="*/ 206 w 490"/>
                <a:gd name="T23" fmla="*/ 232 h 252"/>
                <a:gd name="T24" fmla="*/ 224 w 490"/>
                <a:gd name="T25" fmla="*/ 236 h 252"/>
                <a:gd name="T26" fmla="*/ 172 w 490"/>
                <a:gd name="T27" fmla="*/ 252 h 252"/>
                <a:gd name="T28" fmla="*/ 138 w 490"/>
                <a:gd name="T29" fmla="*/ 238 h 252"/>
                <a:gd name="T30" fmla="*/ 88 w 490"/>
                <a:gd name="T31" fmla="*/ 244 h 252"/>
                <a:gd name="T32" fmla="*/ 62 w 490"/>
                <a:gd name="T33" fmla="*/ 244 h 252"/>
                <a:gd name="T34" fmla="*/ 42 w 490"/>
                <a:gd name="T35" fmla="*/ 224 h 252"/>
                <a:gd name="T36" fmla="*/ 80 w 490"/>
                <a:gd name="T37" fmla="*/ 212 h 252"/>
                <a:gd name="T38" fmla="*/ 88 w 490"/>
                <a:gd name="T39" fmla="*/ 196 h 252"/>
                <a:gd name="T40" fmla="*/ 132 w 490"/>
                <a:gd name="T41" fmla="*/ 212 h 252"/>
                <a:gd name="T42" fmla="*/ 140 w 490"/>
                <a:gd name="T43" fmla="*/ 194 h 252"/>
                <a:gd name="T44" fmla="*/ 108 w 490"/>
                <a:gd name="T45" fmla="*/ 194 h 252"/>
                <a:gd name="T46" fmla="*/ 106 w 490"/>
                <a:gd name="T47" fmla="*/ 180 h 252"/>
                <a:gd name="T48" fmla="*/ 68 w 490"/>
                <a:gd name="T49" fmla="*/ 176 h 252"/>
                <a:gd name="T50" fmla="*/ 114 w 490"/>
                <a:gd name="T51" fmla="*/ 160 h 252"/>
                <a:gd name="T52" fmla="*/ 160 w 490"/>
                <a:gd name="T53" fmla="*/ 158 h 252"/>
                <a:gd name="T54" fmla="*/ 114 w 490"/>
                <a:gd name="T55" fmla="*/ 138 h 252"/>
                <a:gd name="T56" fmla="*/ 86 w 490"/>
                <a:gd name="T57" fmla="*/ 114 h 252"/>
                <a:gd name="T58" fmla="*/ 144 w 490"/>
                <a:gd name="T59" fmla="*/ 120 h 252"/>
                <a:gd name="T60" fmla="*/ 166 w 490"/>
                <a:gd name="T61" fmla="*/ 126 h 252"/>
                <a:gd name="T62" fmla="*/ 168 w 490"/>
                <a:gd name="T63" fmla="*/ 104 h 252"/>
                <a:gd name="T64" fmla="*/ 208 w 490"/>
                <a:gd name="T65" fmla="*/ 86 h 252"/>
                <a:gd name="T66" fmla="*/ 226 w 490"/>
                <a:gd name="T67" fmla="*/ 68 h 252"/>
                <a:gd name="T68" fmla="*/ 162 w 490"/>
                <a:gd name="T69" fmla="*/ 96 h 252"/>
                <a:gd name="T70" fmla="*/ 128 w 490"/>
                <a:gd name="T71" fmla="*/ 100 h 252"/>
                <a:gd name="T72" fmla="*/ 98 w 490"/>
                <a:gd name="T73" fmla="*/ 82 h 252"/>
                <a:gd name="T74" fmla="*/ 62 w 490"/>
                <a:gd name="T75" fmla="*/ 78 h 252"/>
                <a:gd name="T76" fmla="*/ 48 w 490"/>
                <a:gd name="T77" fmla="*/ 66 h 252"/>
                <a:gd name="T78" fmla="*/ 32 w 490"/>
                <a:gd name="T79" fmla="*/ 66 h 252"/>
                <a:gd name="T80" fmla="*/ 20 w 490"/>
                <a:gd name="T81" fmla="*/ 56 h 252"/>
                <a:gd name="T82" fmla="*/ 36 w 490"/>
                <a:gd name="T83" fmla="*/ 50 h 252"/>
                <a:gd name="T84" fmla="*/ 80 w 490"/>
                <a:gd name="T85" fmla="*/ 46 h 252"/>
                <a:gd name="T86" fmla="*/ 102 w 490"/>
                <a:gd name="T87" fmla="*/ 28 h 252"/>
                <a:gd name="T88" fmla="*/ 168 w 490"/>
                <a:gd name="T89" fmla="*/ 40 h 252"/>
                <a:gd name="T90" fmla="*/ 164 w 490"/>
                <a:gd name="T91" fmla="*/ 18 h 252"/>
                <a:gd name="T92" fmla="*/ 216 w 490"/>
                <a:gd name="T93" fmla="*/ 10 h 252"/>
                <a:gd name="T94" fmla="*/ 254 w 490"/>
                <a:gd name="T95" fmla="*/ 22 h 252"/>
                <a:gd name="T96" fmla="*/ 278 w 490"/>
                <a:gd name="T97" fmla="*/ 4 h 252"/>
                <a:gd name="T98" fmla="*/ 298 w 490"/>
                <a:gd name="T99" fmla="*/ 2 h 252"/>
                <a:gd name="T100" fmla="*/ 350 w 490"/>
                <a:gd name="T101" fmla="*/ 2 h 252"/>
                <a:gd name="T102" fmla="*/ 388 w 490"/>
                <a:gd name="T103" fmla="*/ 16 h 252"/>
                <a:gd name="T104" fmla="*/ 452 w 490"/>
                <a:gd name="T105" fmla="*/ 14 h 252"/>
                <a:gd name="T106" fmla="*/ 482 w 490"/>
                <a:gd name="T107" fmla="*/ 40 h 252"/>
                <a:gd name="T108" fmla="*/ 376 w 490"/>
                <a:gd name="T109" fmla="*/ 62 h 252"/>
                <a:gd name="T110" fmla="*/ 398 w 490"/>
                <a:gd name="T111" fmla="*/ 7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0" h="252">
                  <a:moveTo>
                    <a:pt x="434" y="68"/>
                  </a:moveTo>
                  <a:lnTo>
                    <a:pt x="412" y="76"/>
                  </a:lnTo>
                  <a:lnTo>
                    <a:pt x="396" y="86"/>
                  </a:lnTo>
                  <a:lnTo>
                    <a:pt x="370" y="94"/>
                  </a:lnTo>
                  <a:lnTo>
                    <a:pt x="352" y="108"/>
                  </a:lnTo>
                  <a:lnTo>
                    <a:pt x="340" y="108"/>
                  </a:lnTo>
                  <a:lnTo>
                    <a:pt x="336" y="120"/>
                  </a:lnTo>
                  <a:lnTo>
                    <a:pt x="324" y="130"/>
                  </a:lnTo>
                  <a:lnTo>
                    <a:pt x="308" y="134"/>
                  </a:lnTo>
                  <a:lnTo>
                    <a:pt x="300" y="128"/>
                  </a:lnTo>
                  <a:lnTo>
                    <a:pt x="286" y="124"/>
                  </a:lnTo>
                  <a:lnTo>
                    <a:pt x="280" y="126"/>
                  </a:lnTo>
                  <a:lnTo>
                    <a:pt x="288" y="130"/>
                  </a:lnTo>
                  <a:lnTo>
                    <a:pt x="296" y="132"/>
                  </a:lnTo>
                  <a:lnTo>
                    <a:pt x="296" y="136"/>
                  </a:lnTo>
                  <a:lnTo>
                    <a:pt x="296" y="138"/>
                  </a:lnTo>
                  <a:lnTo>
                    <a:pt x="294" y="138"/>
                  </a:lnTo>
                  <a:lnTo>
                    <a:pt x="286" y="138"/>
                  </a:lnTo>
                  <a:lnTo>
                    <a:pt x="276" y="142"/>
                  </a:lnTo>
                  <a:lnTo>
                    <a:pt x="264" y="140"/>
                  </a:lnTo>
                  <a:lnTo>
                    <a:pt x="246" y="138"/>
                  </a:lnTo>
                  <a:lnTo>
                    <a:pt x="234" y="142"/>
                  </a:lnTo>
                  <a:lnTo>
                    <a:pt x="240" y="148"/>
                  </a:lnTo>
                  <a:lnTo>
                    <a:pt x="254" y="148"/>
                  </a:lnTo>
                  <a:lnTo>
                    <a:pt x="272" y="148"/>
                  </a:lnTo>
                  <a:lnTo>
                    <a:pt x="276" y="154"/>
                  </a:lnTo>
                  <a:lnTo>
                    <a:pt x="268" y="154"/>
                  </a:lnTo>
                  <a:lnTo>
                    <a:pt x="254" y="154"/>
                  </a:lnTo>
                  <a:lnTo>
                    <a:pt x="256" y="160"/>
                  </a:lnTo>
                  <a:lnTo>
                    <a:pt x="272" y="162"/>
                  </a:lnTo>
                  <a:lnTo>
                    <a:pt x="272" y="168"/>
                  </a:lnTo>
                  <a:lnTo>
                    <a:pt x="268" y="170"/>
                  </a:lnTo>
                  <a:lnTo>
                    <a:pt x="250" y="168"/>
                  </a:lnTo>
                  <a:lnTo>
                    <a:pt x="254" y="174"/>
                  </a:lnTo>
                  <a:lnTo>
                    <a:pt x="266" y="180"/>
                  </a:lnTo>
                  <a:lnTo>
                    <a:pt x="260" y="184"/>
                  </a:lnTo>
                  <a:lnTo>
                    <a:pt x="258" y="188"/>
                  </a:lnTo>
                  <a:lnTo>
                    <a:pt x="254" y="192"/>
                  </a:lnTo>
                  <a:lnTo>
                    <a:pt x="224" y="194"/>
                  </a:lnTo>
                  <a:lnTo>
                    <a:pt x="220" y="206"/>
                  </a:lnTo>
                  <a:lnTo>
                    <a:pt x="210" y="212"/>
                  </a:lnTo>
                  <a:lnTo>
                    <a:pt x="186" y="212"/>
                  </a:lnTo>
                  <a:lnTo>
                    <a:pt x="166" y="208"/>
                  </a:lnTo>
                  <a:lnTo>
                    <a:pt x="164" y="216"/>
                  </a:lnTo>
                  <a:lnTo>
                    <a:pt x="180" y="220"/>
                  </a:lnTo>
                  <a:lnTo>
                    <a:pt x="202" y="220"/>
                  </a:lnTo>
                  <a:lnTo>
                    <a:pt x="204" y="226"/>
                  </a:lnTo>
                  <a:lnTo>
                    <a:pt x="206" y="232"/>
                  </a:lnTo>
                  <a:lnTo>
                    <a:pt x="214" y="226"/>
                  </a:lnTo>
                  <a:lnTo>
                    <a:pt x="218" y="222"/>
                  </a:lnTo>
                  <a:lnTo>
                    <a:pt x="222" y="226"/>
                  </a:lnTo>
                  <a:lnTo>
                    <a:pt x="224" y="236"/>
                  </a:lnTo>
                  <a:lnTo>
                    <a:pt x="218" y="240"/>
                  </a:lnTo>
                  <a:lnTo>
                    <a:pt x="204" y="244"/>
                  </a:lnTo>
                  <a:lnTo>
                    <a:pt x="188" y="250"/>
                  </a:lnTo>
                  <a:lnTo>
                    <a:pt x="172" y="252"/>
                  </a:lnTo>
                  <a:lnTo>
                    <a:pt x="172" y="244"/>
                  </a:lnTo>
                  <a:lnTo>
                    <a:pt x="162" y="240"/>
                  </a:lnTo>
                  <a:lnTo>
                    <a:pt x="150" y="242"/>
                  </a:lnTo>
                  <a:lnTo>
                    <a:pt x="138" y="238"/>
                  </a:lnTo>
                  <a:lnTo>
                    <a:pt x="132" y="244"/>
                  </a:lnTo>
                  <a:lnTo>
                    <a:pt x="124" y="238"/>
                  </a:lnTo>
                  <a:lnTo>
                    <a:pt x="120" y="244"/>
                  </a:lnTo>
                  <a:lnTo>
                    <a:pt x="88" y="244"/>
                  </a:lnTo>
                  <a:lnTo>
                    <a:pt x="82" y="238"/>
                  </a:lnTo>
                  <a:lnTo>
                    <a:pt x="72" y="244"/>
                  </a:lnTo>
                  <a:lnTo>
                    <a:pt x="68" y="240"/>
                  </a:lnTo>
                  <a:lnTo>
                    <a:pt x="62" y="244"/>
                  </a:lnTo>
                  <a:lnTo>
                    <a:pt x="56" y="236"/>
                  </a:lnTo>
                  <a:lnTo>
                    <a:pt x="46" y="244"/>
                  </a:lnTo>
                  <a:lnTo>
                    <a:pt x="38" y="236"/>
                  </a:lnTo>
                  <a:lnTo>
                    <a:pt x="42" y="224"/>
                  </a:lnTo>
                  <a:lnTo>
                    <a:pt x="56" y="220"/>
                  </a:lnTo>
                  <a:lnTo>
                    <a:pt x="72" y="220"/>
                  </a:lnTo>
                  <a:lnTo>
                    <a:pt x="84" y="220"/>
                  </a:lnTo>
                  <a:lnTo>
                    <a:pt x="80" y="212"/>
                  </a:lnTo>
                  <a:lnTo>
                    <a:pt x="70" y="212"/>
                  </a:lnTo>
                  <a:lnTo>
                    <a:pt x="62" y="204"/>
                  </a:lnTo>
                  <a:lnTo>
                    <a:pt x="62" y="196"/>
                  </a:lnTo>
                  <a:lnTo>
                    <a:pt x="88" y="196"/>
                  </a:lnTo>
                  <a:lnTo>
                    <a:pt x="94" y="204"/>
                  </a:lnTo>
                  <a:lnTo>
                    <a:pt x="102" y="210"/>
                  </a:lnTo>
                  <a:lnTo>
                    <a:pt x="120" y="212"/>
                  </a:lnTo>
                  <a:lnTo>
                    <a:pt x="132" y="212"/>
                  </a:lnTo>
                  <a:lnTo>
                    <a:pt x="146" y="202"/>
                  </a:lnTo>
                  <a:lnTo>
                    <a:pt x="152" y="190"/>
                  </a:lnTo>
                  <a:lnTo>
                    <a:pt x="148" y="188"/>
                  </a:lnTo>
                  <a:lnTo>
                    <a:pt x="140" y="194"/>
                  </a:lnTo>
                  <a:lnTo>
                    <a:pt x="132" y="202"/>
                  </a:lnTo>
                  <a:lnTo>
                    <a:pt x="122" y="206"/>
                  </a:lnTo>
                  <a:lnTo>
                    <a:pt x="104" y="200"/>
                  </a:lnTo>
                  <a:lnTo>
                    <a:pt x="108" y="194"/>
                  </a:lnTo>
                  <a:lnTo>
                    <a:pt x="118" y="186"/>
                  </a:lnTo>
                  <a:lnTo>
                    <a:pt x="116" y="182"/>
                  </a:lnTo>
                  <a:lnTo>
                    <a:pt x="114" y="174"/>
                  </a:lnTo>
                  <a:lnTo>
                    <a:pt x="106" y="180"/>
                  </a:lnTo>
                  <a:lnTo>
                    <a:pt x="100" y="186"/>
                  </a:lnTo>
                  <a:lnTo>
                    <a:pt x="88" y="182"/>
                  </a:lnTo>
                  <a:lnTo>
                    <a:pt x="76" y="184"/>
                  </a:lnTo>
                  <a:lnTo>
                    <a:pt x="68" y="176"/>
                  </a:lnTo>
                  <a:lnTo>
                    <a:pt x="78" y="166"/>
                  </a:lnTo>
                  <a:lnTo>
                    <a:pt x="86" y="162"/>
                  </a:lnTo>
                  <a:lnTo>
                    <a:pt x="104" y="162"/>
                  </a:lnTo>
                  <a:lnTo>
                    <a:pt x="114" y="160"/>
                  </a:lnTo>
                  <a:lnTo>
                    <a:pt x="126" y="162"/>
                  </a:lnTo>
                  <a:lnTo>
                    <a:pt x="138" y="166"/>
                  </a:lnTo>
                  <a:lnTo>
                    <a:pt x="150" y="166"/>
                  </a:lnTo>
                  <a:lnTo>
                    <a:pt x="160" y="158"/>
                  </a:lnTo>
                  <a:lnTo>
                    <a:pt x="154" y="156"/>
                  </a:lnTo>
                  <a:lnTo>
                    <a:pt x="142" y="158"/>
                  </a:lnTo>
                  <a:lnTo>
                    <a:pt x="126" y="154"/>
                  </a:lnTo>
                  <a:lnTo>
                    <a:pt x="114" y="138"/>
                  </a:lnTo>
                  <a:lnTo>
                    <a:pt x="106" y="130"/>
                  </a:lnTo>
                  <a:lnTo>
                    <a:pt x="94" y="130"/>
                  </a:lnTo>
                  <a:lnTo>
                    <a:pt x="86" y="128"/>
                  </a:lnTo>
                  <a:lnTo>
                    <a:pt x="86" y="114"/>
                  </a:lnTo>
                  <a:lnTo>
                    <a:pt x="90" y="106"/>
                  </a:lnTo>
                  <a:lnTo>
                    <a:pt x="108" y="112"/>
                  </a:lnTo>
                  <a:lnTo>
                    <a:pt x="130" y="110"/>
                  </a:lnTo>
                  <a:lnTo>
                    <a:pt x="144" y="120"/>
                  </a:lnTo>
                  <a:lnTo>
                    <a:pt x="156" y="128"/>
                  </a:lnTo>
                  <a:lnTo>
                    <a:pt x="166" y="134"/>
                  </a:lnTo>
                  <a:lnTo>
                    <a:pt x="180" y="130"/>
                  </a:lnTo>
                  <a:lnTo>
                    <a:pt x="166" y="126"/>
                  </a:lnTo>
                  <a:lnTo>
                    <a:pt x="156" y="118"/>
                  </a:lnTo>
                  <a:lnTo>
                    <a:pt x="140" y="110"/>
                  </a:lnTo>
                  <a:lnTo>
                    <a:pt x="146" y="104"/>
                  </a:lnTo>
                  <a:lnTo>
                    <a:pt x="168" y="104"/>
                  </a:lnTo>
                  <a:lnTo>
                    <a:pt x="194" y="102"/>
                  </a:lnTo>
                  <a:lnTo>
                    <a:pt x="206" y="94"/>
                  </a:lnTo>
                  <a:lnTo>
                    <a:pt x="216" y="88"/>
                  </a:lnTo>
                  <a:lnTo>
                    <a:pt x="208" y="86"/>
                  </a:lnTo>
                  <a:lnTo>
                    <a:pt x="216" y="80"/>
                  </a:lnTo>
                  <a:lnTo>
                    <a:pt x="224" y="74"/>
                  </a:lnTo>
                  <a:lnTo>
                    <a:pt x="232" y="70"/>
                  </a:lnTo>
                  <a:lnTo>
                    <a:pt x="226" y="68"/>
                  </a:lnTo>
                  <a:lnTo>
                    <a:pt x="206" y="76"/>
                  </a:lnTo>
                  <a:lnTo>
                    <a:pt x="196" y="86"/>
                  </a:lnTo>
                  <a:lnTo>
                    <a:pt x="182" y="96"/>
                  </a:lnTo>
                  <a:lnTo>
                    <a:pt x="162" y="96"/>
                  </a:lnTo>
                  <a:lnTo>
                    <a:pt x="144" y="98"/>
                  </a:lnTo>
                  <a:lnTo>
                    <a:pt x="138" y="92"/>
                  </a:lnTo>
                  <a:lnTo>
                    <a:pt x="132" y="92"/>
                  </a:lnTo>
                  <a:lnTo>
                    <a:pt x="128" y="100"/>
                  </a:lnTo>
                  <a:lnTo>
                    <a:pt x="110" y="102"/>
                  </a:lnTo>
                  <a:lnTo>
                    <a:pt x="84" y="98"/>
                  </a:lnTo>
                  <a:lnTo>
                    <a:pt x="90" y="88"/>
                  </a:lnTo>
                  <a:lnTo>
                    <a:pt x="98" y="82"/>
                  </a:lnTo>
                  <a:lnTo>
                    <a:pt x="104" y="76"/>
                  </a:lnTo>
                  <a:lnTo>
                    <a:pt x="96" y="72"/>
                  </a:lnTo>
                  <a:lnTo>
                    <a:pt x="80" y="78"/>
                  </a:lnTo>
                  <a:lnTo>
                    <a:pt x="62" y="78"/>
                  </a:lnTo>
                  <a:lnTo>
                    <a:pt x="38" y="80"/>
                  </a:lnTo>
                  <a:lnTo>
                    <a:pt x="26" y="76"/>
                  </a:lnTo>
                  <a:lnTo>
                    <a:pt x="34" y="72"/>
                  </a:lnTo>
                  <a:lnTo>
                    <a:pt x="48" y="66"/>
                  </a:lnTo>
                  <a:lnTo>
                    <a:pt x="60" y="64"/>
                  </a:lnTo>
                  <a:lnTo>
                    <a:pt x="52" y="62"/>
                  </a:lnTo>
                  <a:lnTo>
                    <a:pt x="40" y="62"/>
                  </a:lnTo>
                  <a:lnTo>
                    <a:pt x="32" y="66"/>
                  </a:lnTo>
                  <a:lnTo>
                    <a:pt x="20" y="70"/>
                  </a:lnTo>
                  <a:lnTo>
                    <a:pt x="22" y="64"/>
                  </a:lnTo>
                  <a:lnTo>
                    <a:pt x="28" y="60"/>
                  </a:lnTo>
                  <a:lnTo>
                    <a:pt x="20" y="56"/>
                  </a:lnTo>
                  <a:lnTo>
                    <a:pt x="14" y="60"/>
                  </a:lnTo>
                  <a:lnTo>
                    <a:pt x="0" y="60"/>
                  </a:lnTo>
                  <a:lnTo>
                    <a:pt x="12" y="50"/>
                  </a:lnTo>
                  <a:lnTo>
                    <a:pt x="36" y="50"/>
                  </a:lnTo>
                  <a:lnTo>
                    <a:pt x="46" y="46"/>
                  </a:lnTo>
                  <a:lnTo>
                    <a:pt x="54" y="42"/>
                  </a:lnTo>
                  <a:lnTo>
                    <a:pt x="72" y="42"/>
                  </a:lnTo>
                  <a:lnTo>
                    <a:pt x="80" y="46"/>
                  </a:lnTo>
                  <a:lnTo>
                    <a:pt x="94" y="46"/>
                  </a:lnTo>
                  <a:lnTo>
                    <a:pt x="106" y="46"/>
                  </a:lnTo>
                  <a:lnTo>
                    <a:pt x="98" y="36"/>
                  </a:lnTo>
                  <a:lnTo>
                    <a:pt x="102" y="28"/>
                  </a:lnTo>
                  <a:lnTo>
                    <a:pt x="118" y="28"/>
                  </a:lnTo>
                  <a:lnTo>
                    <a:pt x="130" y="34"/>
                  </a:lnTo>
                  <a:lnTo>
                    <a:pt x="148" y="38"/>
                  </a:lnTo>
                  <a:lnTo>
                    <a:pt x="168" y="40"/>
                  </a:lnTo>
                  <a:lnTo>
                    <a:pt x="156" y="32"/>
                  </a:lnTo>
                  <a:lnTo>
                    <a:pt x="146" y="26"/>
                  </a:lnTo>
                  <a:lnTo>
                    <a:pt x="150" y="20"/>
                  </a:lnTo>
                  <a:lnTo>
                    <a:pt x="164" y="18"/>
                  </a:lnTo>
                  <a:lnTo>
                    <a:pt x="170" y="14"/>
                  </a:lnTo>
                  <a:lnTo>
                    <a:pt x="184" y="14"/>
                  </a:lnTo>
                  <a:lnTo>
                    <a:pt x="198" y="8"/>
                  </a:lnTo>
                  <a:lnTo>
                    <a:pt x="216" y="10"/>
                  </a:lnTo>
                  <a:lnTo>
                    <a:pt x="228" y="14"/>
                  </a:lnTo>
                  <a:lnTo>
                    <a:pt x="236" y="18"/>
                  </a:lnTo>
                  <a:lnTo>
                    <a:pt x="246" y="26"/>
                  </a:lnTo>
                  <a:lnTo>
                    <a:pt x="254" y="22"/>
                  </a:lnTo>
                  <a:lnTo>
                    <a:pt x="246" y="14"/>
                  </a:lnTo>
                  <a:lnTo>
                    <a:pt x="238" y="6"/>
                  </a:lnTo>
                  <a:lnTo>
                    <a:pt x="236" y="0"/>
                  </a:lnTo>
                  <a:lnTo>
                    <a:pt x="278" y="4"/>
                  </a:lnTo>
                  <a:lnTo>
                    <a:pt x="284" y="12"/>
                  </a:lnTo>
                  <a:lnTo>
                    <a:pt x="304" y="18"/>
                  </a:lnTo>
                  <a:lnTo>
                    <a:pt x="296" y="10"/>
                  </a:lnTo>
                  <a:lnTo>
                    <a:pt x="298" y="2"/>
                  </a:lnTo>
                  <a:lnTo>
                    <a:pt x="318" y="4"/>
                  </a:lnTo>
                  <a:lnTo>
                    <a:pt x="326" y="10"/>
                  </a:lnTo>
                  <a:lnTo>
                    <a:pt x="330" y="4"/>
                  </a:lnTo>
                  <a:lnTo>
                    <a:pt x="350" y="2"/>
                  </a:lnTo>
                  <a:lnTo>
                    <a:pt x="366" y="6"/>
                  </a:lnTo>
                  <a:lnTo>
                    <a:pt x="406" y="8"/>
                  </a:lnTo>
                  <a:lnTo>
                    <a:pt x="404" y="12"/>
                  </a:lnTo>
                  <a:lnTo>
                    <a:pt x="388" y="16"/>
                  </a:lnTo>
                  <a:lnTo>
                    <a:pt x="388" y="20"/>
                  </a:lnTo>
                  <a:lnTo>
                    <a:pt x="410" y="14"/>
                  </a:lnTo>
                  <a:lnTo>
                    <a:pt x="434" y="14"/>
                  </a:lnTo>
                  <a:lnTo>
                    <a:pt x="452" y="14"/>
                  </a:lnTo>
                  <a:lnTo>
                    <a:pt x="460" y="26"/>
                  </a:lnTo>
                  <a:lnTo>
                    <a:pt x="484" y="26"/>
                  </a:lnTo>
                  <a:lnTo>
                    <a:pt x="490" y="36"/>
                  </a:lnTo>
                  <a:lnTo>
                    <a:pt x="482" y="40"/>
                  </a:lnTo>
                  <a:lnTo>
                    <a:pt x="458" y="48"/>
                  </a:lnTo>
                  <a:lnTo>
                    <a:pt x="442" y="56"/>
                  </a:lnTo>
                  <a:lnTo>
                    <a:pt x="382" y="58"/>
                  </a:lnTo>
                  <a:lnTo>
                    <a:pt x="376" y="62"/>
                  </a:lnTo>
                  <a:lnTo>
                    <a:pt x="398" y="64"/>
                  </a:lnTo>
                  <a:lnTo>
                    <a:pt x="388" y="66"/>
                  </a:lnTo>
                  <a:lnTo>
                    <a:pt x="368" y="74"/>
                  </a:lnTo>
                  <a:lnTo>
                    <a:pt x="398" y="70"/>
                  </a:lnTo>
                  <a:lnTo>
                    <a:pt x="418" y="64"/>
                  </a:lnTo>
                  <a:lnTo>
                    <a:pt x="432" y="64"/>
                  </a:lnTo>
                  <a:lnTo>
                    <a:pt x="434" y="6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41" name="Freeform 15">
              <a:extLst>
                <a:ext uri="{FF2B5EF4-FFF2-40B4-BE49-F238E27FC236}">
                  <a16:creationId xmlns:a16="http://schemas.microsoft.com/office/drawing/2014/main" id="{616D1BD9-FD7C-42C3-BA09-93EA217250E6}"/>
                </a:ext>
              </a:extLst>
            </p:cNvPr>
            <p:cNvSpPr>
              <a:spLocks/>
            </p:cNvSpPr>
            <p:nvPr/>
          </p:nvSpPr>
          <p:spPr bwMode="gray">
            <a:xfrm>
              <a:off x="4256442" y="3204149"/>
              <a:ext cx="181618" cy="165983"/>
            </a:xfrm>
            <a:custGeom>
              <a:avLst/>
              <a:gdLst>
                <a:gd name="T0" fmla="*/ 30 w 110"/>
                <a:gd name="T1" fmla="*/ 36 h 100"/>
                <a:gd name="T2" fmla="*/ 40 w 110"/>
                <a:gd name="T3" fmla="*/ 20 h 100"/>
                <a:gd name="T4" fmla="*/ 54 w 110"/>
                <a:gd name="T5" fmla="*/ 6 h 100"/>
                <a:gd name="T6" fmla="*/ 66 w 110"/>
                <a:gd name="T7" fmla="*/ 0 h 100"/>
                <a:gd name="T8" fmla="*/ 62 w 110"/>
                <a:gd name="T9" fmla="*/ 8 h 100"/>
                <a:gd name="T10" fmla="*/ 58 w 110"/>
                <a:gd name="T11" fmla="*/ 20 h 100"/>
                <a:gd name="T12" fmla="*/ 62 w 110"/>
                <a:gd name="T13" fmla="*/ 34 h 100"/>
                <a:gd name="T14" fmla="*/ 72 w 110"/>
                <a:gd name="T15" fmla="*/ 44 h 100"/>
                <a:gd name="T16" fmla="*/ 82 w 110"/>
                <a:gd name="T17" fmla="*/ 38 h 100"/>
                <a:gd name="T18" fmla="*/ 86 w 110"/>
                <a:gd name="T19" fmla="*/ 44 h 100"/>
                <a:gd name="T20" fmla="*/ 94 w 110"/>
                <a:gd name="T21" fmla="*/ 46 h 100"/>
                <a:gd name="T22" fmla="*/ 90 w 110"/>
                <a:gd name="T23" fmla="*/ 54 h 100"/>
                <a:gd name="T24" fmla="*/ 100 w 110"/>
                <a:gd name="T25" fmla="*/ 64 h 100"/>
                <a:gd name="T26" fmla="*/ 106 w 110"/>
                <a:gd name="T27" fmla="*/ 66 h 100"/>
                <a:gd name="T28" fmla="*/ 108 w 110"/>
                <a:gd name="T29" fmla="*/ 74 h 100"/>
                <a:gd name="T30" fmla="*/ 110 w 110"/>
                <a:gd name="T31" fmla="*/ 86 h 100"/>
                <a:gd name="T32" fmla="*/ 106 w 110"/>
                <a:gd name="T33" fmla="*/ 96 h 100"/>
                <a:gd name="T34" fmla="*/ 92 w 110"/>
                <a:gd name="T35" fmla="*/ 100 h 100"/>
                <a:gd name="T36" fmla="*/ 86 w 110"/>
                <a:gd name="T37" fmla="*/ 90 h 100"/>
                <a:gd name="T38" fmla="*/ 78 w 110"/>
                <a:gd name="T39" fmla="*/ 82 h 100"/>
                <a:gd name="T40" fmla="*/ 72 w 110"/>
                <a:gd name="T41" fmla="*/ 88 h 100"/>
                <a:gd name="T42" fmla="*/ 70 w 110"/>
                <a:gd name="T43" fmla="*/ 94 h 100"/>
                <a:gd name="T44" fmla="*/ 60 w 110"/>
                <a:gd name="T45" fmla="*/ 90 h 100"/>
                <a:gd name="T46" fmla="*/ 58 w 110"/>
                <a:gd name="T47" fmla="*/ 78 h 100"/>
                <a:gd name="T48" fmla="*/ 30 w 110"/>
                <a:gd name="T49" fmla="*/ 82 h 100"/>
                <a:gd name="T50" fmla="*/ 0 w 110"/>
                <a:gd name="T51" fmla="*/ 80 h 100"/>
                <a:gd name="T52" fmla="*/ 2 w 110"/>
                <a:gd name="T53" fmla="*/ 66 h 100"/>
                <a:gd name="T54" fmla="*/ 16 w 110"/>
                <a:gd name="T55" fmla="*/ 52 h 100"/>
                <a:gd name="T56" fmla="*/ 22 w 110"/>
                <a:gd name="T57" fmla="*/ 44 h 100"/>
                <a:gd name="T58" fmla="*/ 30 w 110"/>
                <a:gd name="T59" fmla="*/ 3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0" h="100">
                  <a:moveTo>
                    <a:pt x="30" y="36"/>
                  </a:moveTo>
                  <a:lnTo>
                    <a:pt x="40" y="20"/>
                  </a:lnTo>
                  <a:lnTo>
                    <a:pt x="54" y="6"/>
                  </a:lnTo>
                  <a:lnTo>
                    <a:pt x="66" y="0"/>
                  </a:lnTo>
                  <a:lnTo>
                    <a:pt x="62" y="8"/>
                  </a:lnTo>
                  <a:lnTo>
                    <a:pt x="58" y="20"/>
                  </a:lnTo>
                  <a:lnTo>
                    <a:pt x="62" y="34"/>
                  </a:lnTo>
                  <a:lnTo>
                    <a:pt x="72" y="44"/>
                  </a:lnTo>
                  <a:lnTo>
                    <a:pt x="82" y="38"/>
                  </a:lnTo>
                  <a:lnTo>
                    <a:pt x="86" y="44"/>
                  </a:lnTo>
                  <a:lnTo>
                    <a:pt x="94" y="46"/>
                  </a:lnTo>
                  <a:lnTo>
                    <a:pt x="90" y="54"/>
                  </a:lnTo>
                  <a:lnTo>
                    <a:pt x="100" y="64"/>
                  </a:lnTo>
                  <a:lnTo>
                    <a:pt x="106" y="66"/>
                  </a:lnTo>
                  <a:lnTo>
                    <a:pt x="108" y="74"/>
                  </a:lnTo>
                  <a:lnTo>
                    <a:pt x="110" y="86"/>
                  </a:lnTo>
                  <a:lnTo>
                    <a:pt x="106" y="96"/>
                  </a:lnTo>
                  <a:lnTo>
                    <a:pt x="92" y="100"/>
                  </a:lnTo>
                  <a:lnTo>
                    <a:pt x="86" y="90"/>
                  </a:lnTo>
                  <a:lnTo>
                    <a:pt x="78" y="82"/>
                  </a:lnTo>
                  <a:lnTo>
                    <a:pt x="72" y="88"/>
                  </a:lnTo>
                  <a:lnTo>
                    <a:pt x="70" y="94"/>
                  </a:lnTo>
                  <a:lnTo>
                    <a:pt x="60" y="90"/>
                  </a:lnTo>
                  <a:lnTo>
                    <a:pt x="58" y="78"/>
                  </a:lnTo>
                  <a:lnTo>
                    <a:pt x="30" y="82"/>
                  </a:lnTo>
                  <a:lnTo>
                    <a:pt x="0" y="80"/>
                  </a:lnTo>
                  <a:lnTo>
                    <a:pt x="2" y="66"/>
                  </a:lnTo>
                  <a:lnTo>
                    <a:pt x="16" y="52"/>
                  </a:lnTo>
                  <a:lnTo>
                    <a:pt x="22" y="44"/>
                  </a:lnTo>
                  <a:lnTo>
                    <a:pt x="30" y="3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42" name="Freeform 16">
              <a:extLst>
                <a:ext uri="{FF2B5EF4-FFF2-40B4-BE49-F238E27FC236}">
                  <a16:creationId xmlns:a16="http://schemas.microsoft.com/office/drawing/2014/main" id="{0FF26516-AA39-447F-83A3-3896D80ADD43}"/>
                </a:ext>
              </a:extLst>
            </p:cNvPr>
            <p:cNvSpPr>
              <a:spLocks/>
            </p:cNvSpPr>
            <p:nvPr/>
          </p:nvSpPr>
          <p:spPr bwMode="gray">
            <a:xfrm>
              <a:off x="2126560" y="2374235"/>
              <a:ext cx="2228946" cy="1145282"/>
            </a:xfrm>
            <a:custGeom>
              <a:avLst/>
              <a:gdLst>
                <a:gd name="T0" fmla="*/ 1210 w 1350"/>
                <a:gd name="T1" fmla="*/ 602 h 690"/>
                <a:gd name="T2" fmla="*/ 1278 w 1350"/>
                <a:gd name="T3" fmla="*/ 596 h 690"/>
                <a:gd name="T4" fmla="*/ 1258 w 1350"/>
                <a:gd name="T5" fmla="*/ 630 h 690"/>
                <a:gd name="T6" fmla="*/ 1188 w 1350"/>
                <a:gd name="T7" fmla="*/ 656 h 690"/>
                <a:gd name="T8" fmla="*/ 1214 w 1350"/>
                <a:gd name="T9" fmla="*/ 620 h 690"/>
                <a:gd name="T10" fmla="*/ 1160 w 1350"/>
                <a:gd name="T11" fmla="*/ 612 h 690"/>
                <a:gd name="T12" fmla="*/ 1118 w 1350"/>
                <a:gd name="T13" fmla="*/ 612 h 690"/>
                <a:gd name="T14" fmla="*/ 1014 w 1350"/>
                <a:gd name="T15" fmla="*/ 652 h 690"/>
                <a:gd name="T16" fmla="*/ 980 w 1350"/>
                <a:gd name="T17" fmla="*/ 668 h 690"/>
                <a:gd name="T18" fmla="*/ 920 w 1350"/>
                <a:gd name="T19" fmla="*/ 688 h 690"/>
                <a:gd name="T20" fmla="*/ 940 w 1350"/>
                <a:gd name="T21" fmla="*/ 648 h 690"/>
                <a:gd name="T22" fmla="*/ 962 w 1350"/>
                <a:gd name="T23" fmla="*/ 622 h 690"/>
                <a:gd name="T24" fmla="*/ 892 w 1350"/>
                <a:gd name="T25" fmla="*/ 590 h 690"/>
                <a:gd name="T26" fmla="*/ 844 w 1350"/>
                <a:gd name="T27" fmla="*/ 554 h 690"/>
                <a:gd name="T28" fmla="*/ 786 w 1350"/>
                <a:gd name="T29" fmla="*/ 568 h 690"/>
                <a:gd name="T30" fmla="*/ 722 w 1350"/>
                <a:gd name="T31" fmla="*/ 544 h 690"/>
                <a:gd name="T32" fmla="*/ 250 w 1350"/>
                <a:gd name="T33" fmla="*/ 516 h 690"/>
                <a:gd name="T34" fmla="*/ 208 w 1350"/>
                <a:gd name="T35" fmla="*/ 486 h 690"/>
                <a:gd name="T36" fmla="*/ 194 w 1350"/>
                <a:gd name="T37" fmla="*/ 448 h 690"/>
                <a:gd name="T38" fmla="*/ 180 w 1350"/>
                <a:gd name="T39" fmla="*/ 420 h 690"/>
                <a:gd name="T40" fmla="*/ 136 w 1350"/>
                <a:gd name="T41" fmla="*/ 372 h 690"/>
                <a:gd name="T42" fmla="*/ 58 w 1350"/>
                <a:gd name="T43" fmla="*/ 330 h 690"/>
                <a:gd name="T44" fmla="*/ 18 w 1350"/>
                <a:gd name="T45" fmla="*/ 64 h 690"/>
                <a:gd name="T46" fmla="*/ 138 w 1350"/>
                <a:gd name="T47" fmla="*/ 60 h 690"/>
                <a:gd name="T48" fmla="*/ 230 w 1350"/>
                <a:gd name="T49" fmla="*/ 64 h 690"/>
                <a:gd name="T50" fmla="*/ 328 w 1350"/>
                <a:gd name="T51" fmla="*/ 66 h 690"/>
                <a:gd name="T52" fmla="*/ 410 w 1350"/>
                <a:gd name="T53" fmla="*/ 110 h 690"/>
                <a:gd name="T54" fmla="*/ 528 w 1350"/>
                <a:gd name="T55" fmla="*/ 142 h 690"/>
                <a:gd name="T56" fmla="*/ 600 w 1350"/>
                <a:gd name="T57" fmla="*/ 112 h 690"/>
                <a:gd name="T58" fmla="*/ 676 w 1350"/>
                <a:gd name="T59" fmla="*/ 106 h 690"/>
                <a:gd name="T60" fmla="*/ 716 w 1350"/>
                <a:gd name="T61" fmla="*/ 134 h 690"/>
                <a:gd name="T62" fmla="*/ 740 w 1350"/>
                <a:gd name="T63" fmla="*/ 64 h 690"/>
                <a:gd name="T64" fmla="*/ 718 w 1350"/>
                <a:gd name="T65" fmla="*/ 12 h 690"/>
                <a:gd name="T66" fmla="*/ 776 w 1350"/>
                <a:gd name="T67" fmla="*/ 48 h 690"/>
                <a:gd name="T68" fmla="*/ 812 w 1350"/>
                <a:gd name="T69" fmla="*/ 98 h 690"/>
                <a:gd name="T70" fmla="*/ 834 w 1350"/>
                <a:gd name="T71" fmla="*/ 112 h 690"/>
                <a:gd name="T72" fmla="*/ 886 w 1350"/>
                <a:gd name="T73" fmla="*/ 74 h 690"/>
                <a:gd name="T74" fmla="*/ 940 w 1350"/>
                <a:gd name="T75" fmla="*/ 94 h 690"/>
                <a:gd name="T76" fmla="*/ 916 w 1350"/>
                <a:gd name="T77" fmla="*/ 152 h 690"/>
                <a:gd name="T78" fmla="*/ 870 w 1350"/>
                <a:gd name="T79" fmla="*/ 156 h 690"/>
                <a:gd name="T80" fmla="*/ 816 w 1350"/>
                <a:gd name="T81" fmla="*/ 172 h 690"/>
                <a:gd name="T82" fmla="*/ 830 w 1350"/>
                <a:gd name="T83" fmla="*/ 210 h 690"/>
                <a:gd name="T84" fmla="*/ 778 w 1350"/>
                <a:gd name="T85" fmla="*/ 222 h 690"/>
                <a:gd name="T86" fmla="*/ 736 w 1350"/>
                <a:gd name="T87" fmla="*/ 336 h 690"/>
                <a:gd name="T88" fmla="*/ 800 w 1350"/>
                <a:gd name="T89" fmla="*/ 374 h 690"/>
                <a:gd name="T90" fmla="*/ 904 w 1350"/>
                <a:gd name="T91" fmla="*/ 418 h 690"/>
                <a:gd name="T92" fmla="*/ 944 w 1350"/>
                <a:gd name="T93" fmla="*/ 484 h 690"/>
                <a:gd name="T94" fmla="*/ 984 w 1350"/>
                <a:gd name="T95" fmla="*/ 462 h 690"/>
                <a:gd name="T96" fmla="*/ 1020 w 1350"/>
                <a:gd name="T97" fmla="*/ 372 h 690"/>
                <a:gd name="T98" fmla="*/ 1004 w 1350"/>
                <a:gd name="T99" fmla="*/ 304 h 690"/>
                <a:gd name="T100" fmla="*/ 1044 w 1350"/>
                <a:gd name="T101" fmla="*/ 258 h 690"/>
                <a:gd name="T102" fmla="*/ 1134 w 1350"/>
                <a:gd name="T103" fmla="*/ 290 h 690"/>
                <a:gd name="T104" fmla="*/ 1168 w 1350"/>
                <a:gd name="T105" fmla="*/ 352 h 690"/>
                <a:gd name="T106" fmla="*/ 1228 w 1350"/>
                <a:gd name="T107" fmla="*/ 328 h 690"/>
                <a:gd name="T108" fmla="*/ 1256 w 1350"/>
                <a:gd name="T109" fmla="*/ 398 h 690"/>
                <a:gd name="T110" fmla="*/ 1318 w 1350"/>
                <a:gd name="T111" fmla="*/ 430 h 690"/>
                <a:gd name="T112" fmla="*/ 1284 w 1350"/>
                <a:gd name="T113" fmla="*/ 458 h 690"/>
                <a:gd name="T114" fmla="*/ 1348 w 1350"/>
                <a:gd name="T115" fmla="*/ 458 h 690"/>
                <a:gd name="T116" fmla="*/ 1286 w 1350"/>
                <a:gd name="T117" fmla="*/ 524 h 690"/>
                <a:gd name="T118" fmla="*/ 1152 w 1350"/>
                <a:gd name="T119" fmla="*/ 548 h 690"/>
                <a:gd name="T120" fmla="*/ 1116 w 1350"/>
                <a:gd name="T121" fmla="*/ 590 h 690"/>
                <a:gd name="T122" fmla="*/ 1202 w 1350"/>
                <a:gd name="T123" fmla="*/ 548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50" h="690">
                  <a:moveTo>
                    <a:pt x="1218" y="562"/>
                  </a:moveTo>
                  <a:lnTo>
                    <a:pt x="1214" y="568"/>
                  </a:lnTo>
                  <a:lnTo>
                    <a:pt x="1204" y="570"/>
                  </a:lnTo>
                  <a:lnTo>
                    <a:pt x="1208" y="580"/>
                  </a:lnTo>
                  <a:lnTo>
                    <a:pt x="1204" y="588"/>
                  </a:lnTo>
                  <a:lnTo>
                    <a:pt x="1206" y="594"/>
                  </a:lnTo>
                  <a:lnTo>
                    <a:pt x="1210" y="602"/>
                  </a:lnTo>
                  <a:lnTo>
                    <a:pt x="1222" y="610"/>
                  </a:lnTo>
                  <a:lnTo>
                    <a:pt x="1236" y="614"/>
                  </a:lnTo>
                  <a:lnTo>
                    <a:pt x="1254" y="614"/>
                  </a:lnTo>
                  <a:lnTo>
                    <a:pt x="1262" y="612"/>
                  </a:lnTo>
                  <a:lnTo>
                    <a:pt x="1266" y="604"/>
                  </a:lnTo>
                  <a:lnTo>
                    <a:pt x="1270" y="596"/>
                  </a:lnTo>
                  <a:lnTo>
                    <a:pt x="1278" y="596"/>
                  </a:lnTo>
                  <a:lnTo>
                    <a:pt x="1278" y="604"/>
                  </a:lnTo>
                  <a:lnTo>
                    <a:pt x="1284" y="608"/>
                  </a:lnTo>
                  <a:lnTo>
                    <a:pt x="1284" y="616"/>
                  </a:lnTo>
                  <a:lnTo>
                    <a:pt x="1274" y="616"/>
                  </a:lnTo>
                  <a:lnTo>
                    <a:pt x="1268" y="616"/>
                  </a:lnTo>
                  <a:lnTo>
                    <a:pt x="1262" y="626"/>
                  </a:lnTo>
                  <a:lnTo>
                    <a:pt x="1258" y="630"/>
                  </a:lnTo>
                  <a:lnTo>
                    <a:pt x="1246" y="634"/>
                  </a:lnTo>
                  <a:lnTo>
                    <a:pt x="1230" y="640"/>
                  </a:lnTo>
                  <a:lnTo>
                    <a:pt x="1220" y="640"/>
                  </a:lnTo>
                  <a:lnTo>
                    <a:pt x="1212" y="648"/>
                  </a:lnTo>
                  <a:lnTo>
                    <a:pt x="1204" y="656"/>
                  </a:lnTo>
                  <a:lnTo>
                    <a:pt x="1198" y="662"/>
                  </a:lnTo>
                  <a:lnTo>
                    <a:pt x="1188" y="656"/>
                  </a:lnTo>
                  <a:lnTo>
                    <a:pt x="1186" y="648"/>
                  </a:lnTo>
                  <a:lnTo>
                    <a:pt x="1190" y="640"/>
                  </a:lnTo>
                  <a:lnTo>
                    <a:pt x="1202" y="632"/>
                  </a:lnTo>
                  <a:lnTo>
                    <a:pt x="1214" y="628"/>
                  </a:lnTo>
                  <a:lnTo>
                    <a:pt x="1216" y="626"/>
                  </a:lnTo>
                  <a:lnTo>
                    <a:pt x="1216" y="624"/>
                  </a:lnTo>
                  <a:lnTo>
                    <a:pt x="1214" y="620"/>
                  </a:lnTo>
                  <a:lnTo>
                    <a:pt x="1210" y="618"/>
                  </a:lnTo>
                  <a:lnTo>
                    <a:pt x="1198" y="624"/>
                  </a:lnTo>
                  <a:lnTo>
                    <a:pt x="1188" y="628"/>
                  </a:lnTo>
                  <a:lnTo>
                    <a:pt x="1172" y="632"/>
                  </a:lnTo>
                  <a:lnTo>
                    <a:pt x="1168" y="626"/>
                  </a:lnTo>
                  <a:lnTo>
                    <a:pt x="1162" y="620"/>
                  </a:lnTo>
                  <a:lnTo>
                    <a:pt x="1160" y="612"/>
                  </a:lnTo>
                  <a:lnTo>
                    <a:pt x="1162" y="596"/>
                  </a:lnTo>
                  <a:lnTo>
                    <a:pt x="1160" y="588"/>
                  </a:lnTo>
                  <a:lnTo>
                    <a:pt x="1146" y="584"/>
                  </a:lnTo>
                  <a:lnTo>
                    <a:pt x="1138" y="580"/>
                  </a:lnTo>
                  <a:lnTo>
                    <a:pt x="1130" y="588"/>
                  </a:lnTo>
                  <a:lnTo>
                    <a:pt x="1122" y="602"/>
                  </a:lnTo>
                  <a:lnTo>
                    <a:pt x="1118" y="612"/>
                  </a:lnTo>
                  <a:lnTo>
                    <a:pt x="1118" y="618"/>
                  </a:lnTo>
                  <a:lnTo>
                    <a:pt x="1112" y="626"/>
                  </a:lnTo>
                  <a:lnTo>
                    <a:pt x="1100" y="632"/>
                  </a:lnTo>
                  <a:lnTo>
                    <a:pt x="1042" y="632"/>
                  </a:lnTo>
                  <a:lnTo>
                    <a:pt x="1026" y="644"/>
                  </a:lnTo>
                  <a:lnTo>
                    <a:pt x="1020" y="648"/>
                  </a:lnTo>
                  <a:lnTo>
                    <a:pt x="1014" y="652"/>
                  </a:lnTo>
                  <a:lnTo>
                    <a:pt x="1002" y="652"/>
                  </a:lnTo>
                  <a:lnTo>
                    <a:pt x="986" y="652"/>
                  </a:lnTo>
                  <a:lnTo>
                    <a:pt x="980" y="656"/>
                  </a:lnTo>
                  <a:lnTo>
                    <a:pt x="972" y="660"/>
                  </a:lnTo>
                  <a:lnTo>
                    <a:pt x="974" y="664"/>
                  </a:lnTo>
                  <a:lnTo>
                    <a:pt x="982" y="664"/>
                  </a:lnTo>
                  <a:lnTo>
                    <a:pt x="980" y="668"/>
                  </a:lnTo>
                  <a:lnTo>
                    <a:pt x="982" y="672"/>
                  </a:lnTo>
                  <a:lnTo>
                    <a:pt x="964" y="674"/>
                  </a:lnTo>
                  <a:lnTo>
                    <a:pt x="948" y="678"/>
                  </a:lnTo>
                  <a:lnTo>
                    <a:pt x="940" y="680"/>
                  </a:lnTo>
                  <a:lnTo>
                    <a:pt x="932" y="686"/>
                  </a:lnTo>
                  <a:lnTo>
                    <a:pt x="924" y="690"/>
                  </a:lnTo>
                  <a:lnTo>
                    <a:pt x="920" y="688"/>
                  </a:lnTo>
                  <a:lnTo>
                    <a:pt x="920" y="680"/>
                  </a:lnTo>
                  <a:lnTo>
                    <a:pt x="922" y="678"/>
                  </a:lnTo>
                  <a:lnTo>
                    <a:pt x="922" y="670"/>
                  </a:lnTo>
                  <a:lnTo>
                    <a:pt x="928" y="668"/>
                  </a:lnTo>
                  <a:lnTo>
                    <a:pt x="936" y="666"/>
                  </a:lnTo>
                  <a:lnTo>
                    <a:pt x="938" y="656"/>
                  </a:lnTo>
                  <a:lnTo>
                    <a:pt x="940" y="648"/>
                  </a:lnTo>
                  <a:lnTo>
                    <a:pt x="946" y="642"/>
                  </a:lnTo>
                  <a:lnTo>
                    <a:pt x="948" y="636"/>
                  </a:lnTo>
                  <a:lnTo>
                    <a:pt x="952" y="636"/>
                  </a:lnTo>
                  <a:lnTo>
                    <a:pt x="958" y="642"/>
                  </a:lnTo>
                  <a:lnTo>
                    <a:pt x="966" y="640"/>
                  </a:lnTo>
                  <a:lnTo>
                    <a:pt x="968" y="632"/>
                  </a:lnTo>
                  <a:lnTo>
                    <a:pt x="962" y="622"/>
                  </a:lnTo>
                  <a:lnTo>
                    <a:pt x="954" y="614"/>
                  </a:lnTo>
                  <a:lnTo>
                    <a:pt x="942" y="610"/>
                  </a:lnTo>
                  <a:lnTo>
                    <a:pt x="930" y="608"/>
                  </a:lnTo>
                  <a:lnTo>
                    <a:pt x="914" y="608"/>
                  </a:lnTo>
                  <a:lnTo>
                    <a:pt x="902" y="606"/>
                  </a:lnTo>
                  <a:lnTo>
                    <a:pt x="896" y="600"/>
                  </a:lnTo>
                  <a:lnTo>
                    <a:pt x="892" y="590"/>
                  </a:lnTo>
                  <a:lnTo>
                    <a:pt x="888" y="578"/>
                  </a:lnTo>
                  <a:lnTo>
                    <a:pt x="886" y="574"/>
                  </a:lnTo>
                  <a:lnTo>
                    <a:pt x="874" y="574"/>
                  </a:lnTo>
                  <a:lnTo>
                    <a:pt x="870" y="566"/>
                  </a:lnTo>
                  <a:lnTo>
                    <a:pt x="864" y="558"/>
                  </a:lnTo>
                  <a:lnTo>
                    <a:pt x="854" y="558"/>
                  </a:lnTo>
                  <a:lnTo>
                    <a:pt x="844" y="554"/>
                  </a:lnTo>
                  <a:lnTo>
                    <a:pt x="836" y="554"/>
                  </a:lnTo>
                  <a:lnTo>
                    <a:pt x="828" y="560"/>
                  </a:lnTo>
                  <a:lnTo>
                    <a:pt x="818" y="566"/>
                  </a:lnTo>
                  <a:lnTo>
                    <a:pt x="810" y="572"/>
                  </a:lnTo>
                  <a:lnTo>
                    <a:pt x="804" y="570"/>
                  </a:lnTo>
                  <a:lnTo>
                    <a:pt x="794" y="570"/>
                  </a:lnTo>
                  <a:lnTo>
                    <a:pt x="786" y="568"/>
                  </a:lnTo>
                  <a:lnTo>
                    <a:pt x="782" y="568"/>
                  </a:lnTo>
                  <a:lnTo>
                    <a:pt x="772" y="564"/>
                  </a:lnTo>
                  <a:lnTo>
                    <a:pt x="748" y="560"/>
                  </a:lnTo>
                  <a:lnTo>
                    <a:pt x="736" y="556"/>
                  </a:lnTo>
                  <a:lnTo>
                    <a:pt x="732" y="552"/>
                  </a:lnTo>
                  <a:lnTo>
                    <a:pt x="730" y="544"/>
                  </a:lnTo>
                  <a:lnTo>
                    <a:pt x="722" y="544"/>
                  </a:lnTo>
                  <a:lnTo>
                    <a:pt x="720" y="552"/>
                  </a:lnTo>
                  <a:lnTo>
                    <a:pt x="290" y="552"/>
                  </a:lnTo>
                  <a:lnTo>
                    <a:pt x="282" y="542"/>
                  </a:lnTo>
                  <a:lnTo>
                    <a:pt x="272" y="532"/>
                  </a:lnTo>
                  <a:lnTo>
                    <a:pt x="266" y="536"/>
                  </a:lnTo>
                  <a:lnTo>
                    <a:pt x="256" y="526"/>
                  </a:lnTo>
                  <a:lnTo>
                    <a:pt x="250" y="516"/>
                  </a:lnTo>
                  <a:lnTo>
                    <a:pt x="244" y="520"/>
                  </a:lnTo>
                  <a:lnTo>
                    <a:pt x="232" y="512"/>
                  </a:lnTo>
                  <a:lnTo>
                    <a:pt x="214" y="510"/>
                  </a:lnTo>
                  <a:lnTo>
                    <a:pt x="218" y="500"/>
                  </a:lnTo>
                  <a:lnTo>
                    <a:pt x="216" y="494"/>
                  </a:lnTo>
                  <a:lnTo>
                    <a:pt x="208" y="494"/>
                  </a:lnTo>
                  <a:lnTo>
                    <a:pt x="208" y="486"/>
                  </a:lnTo>
                  <a:lnTo>
                    <a:pt x="206" y="478"/>
                  </a:lnTo>
                  <a:lnTo>
                    <a:pt x="202" y="472"/>
                  </a:lnTo>
                  <a:lnTo>
                    <a:pt x="196" y="470"/>
                  </a:lnTo>
                  <a:lnTo>
                    <a:pt x="188" y="474"/>
                  </a:lnTo>
                  <a:lnTo>
                    <a:pt x="190" y="466"/>
                  </a:lnTo>
                  <a:lnTo>
                    <a:pt x="196" y="456"/>
                  </a:lnTo>
                  <a:lnTo>
                    <a:pt x="194" y="448"/>
                  </a:lnTo>
                  <a:lnTo>
                    <a:pt x="188" y="452"/>
                  </a:lnTo>
                  <a:lnTo>
                    <a:pt x="180" y="458"/>
                  </a:lnTo>
                  <a:lnTo>
                    <a:pt x="172" y="458"/>
                  </a:lnTo>
                  <a:lnTo>
                    <a:pt x="172" y="446"/>
                  </a:lnTo>
                  <a:lnTo>
                    <a:pt x="174" y="438"/>
                  </a:lnTo>
                  <a:lnTo>
                    <a:pt x="174" y="432"/>
                  </a:lnTo>
                  <a:lnTo>
                    <a:pt x="180" y="420"/>
                  </a:lnTo>
                  <a:lnTo>
                    <a:pt x="178" y="410"/>
                  </a:lnTo>
                  <a:lnTo>
                    <a:pt x="174" y="408"/>
                  </a:lnTo>
                  <a:lnTo>
                    <a:pt x="172" y="400"/>
                  </a:lnTo>
                  <a:lnTo>
                    <a:pt x="158" y="392"/>
                  </a:lnTo>
                  <a:lnTo>
                    <a:pt x="150" y="386"/>
                  </a:lnTo>
                  <a:lnTo>
                    <a:pt x="146" y="384"/>
                  </a:lnTo>
                  <a:lnTo>
                    <a:pt x="136" y="372"/>
                  </a:lnTo>
                  <a:lnTo>
                    <a:pt x="126" y="354"/>
                  </a:lnTo>
                  <a:lnTo>
                    <a:pt x="118" y="346"/>
                  </a:lnTo>
                  <a:lnTo>
                    <a:pt x="100" y="326"/>
                  </a:lnTo>
                  <a:lnTo>
                    <a:pt x="88" y="314"/>
                  </a:lnTo>
                  <a:lnTo>
                    <a:pt x="70" y="322"/>
                  </a:lnTo>
                  <a:lnTo>
                    <a:pt x="68" y="328"/>
                  </a:lnTo>
                  <a:lnTo>
                    <a:pt x="58" y="330"/>
                  </a:lnTo>
                  <a:lnTo>
                    <a:pt x="46" y="320"/>
                  </a:lnTo>
                  <a:lnTo>
                    <a:pt x="34" y="310"/>
                  </a:lnTo>
                  <a:lnTo>
                    <a:pt x="26" y="300"/>
                  </a:lnTo>
                  <a:lnTo>
                    <a:pt x="10" y="306"/>
                  </a:lnTo>
                  <a:lnTo>
                    <a:pt x="0" y="302"/>
                  </a:lnTo>
                  <a:lnTo>
                    <a:pt x="0" y="62"/>
                  </a:lnTo>
                  <a:lnTo>
                    <a:pt x="18" y="64"/>
                  </a:lnTo>
                  <a:lnTo>
                    <a:pt x="48" y="76"/>
                  </a:lnTo>
                  <a:lnTo>
                    <a:pt x="84" y="86"/>
                  </a:lnTo>
                  <a:lnTo>
                    <a:pt x="82" y="72"/>
                  </a:lnTo>
                  <a:lnTo>
                    <a:pt x="100" y="62"/>
                  </a:lnTo>
                  <a:lnTo>
                    <a:pt x="110" y="68"/>
                  </a:lnTo>
                  <a:lnTo>
                    <a:pt x="116" y="72"/>
                  </a:lnTo>
                  <a:lnTo>
                    <a:pt x="138" y="60"/>
                  </a:lnTo>
                  <a:lnTo>
                    <a:pt x="162" y="48"/>
                  </a:lnTo>
                  <a:lnTo>
                    <a:pt x="178" y="48"/>
                  </a:lnTo>
                  <a:lnTo>
                    <a:pt x="180" y="56"/>
                  </a:lnTo>
                  <a:lnTo>
                    <a:pt x="192" y="58"/>
                  </a:lnTo>
                  <a:lnTo>
                    <a:pt x="208" y="38"/>
                  </a:lnTo>
                  <a:lnTo>
                    <a:pt x="218" y="46"/>
                  </a:lnTo>
                  <a:lnTo>
                    <a:pt x="230" y="64"/>
                  </a:lnTo>
                  <a:lnTo>
                    <a:pt x="244" y="66"/>
                  </a:lnTo>
                  <a:lnTo>
                    <a:pt x="256" y="50"/>
                  </a:lnTo>
                  <a:lnTo>
                    <a:pt x="262" y="52"/>
                  </a:lnTo>
                  <a:lnTo>
                    <a:pt x="270" y="70"/>
                  </a:lnTo>
                  <a:lnTo>
                    <a:pt x="282" y="62"/>
                  </a:lnTo>
                  <a:lnTo>
                    <a:pt x="302" y="56"/>
                  </a:lnTo>
                  <a:lnTo>
                    <a:pt x="328" y="66"/>
                  </a:lnTo>
                  <a:lnTo>
                    <a:pt x="352" y="72"/>
                  </a:lnTo>
                  <a:lnTo>
                    <a:pt x="382" y="82"/>
                  </a:lnTo>
                  <a:lnTo>
                    <a:pt x="404" y="84"/>
                  </a:lnTo>
                  <a:lnTo>
                    <a:pt x="422" y="92"/>
                  </a:lnTo>
                  <a:lnTo>
                    <a:pt x="424" y="100"/>
                  </a:lnTo>
                  <a:lnTo>
                    <a:pt x="412" y="102"/>
                  </a:lnTo>
                  <a:lnTo>
                    <a:pt x="410" y="110"/>
                  </a:lnTo>
                  <a:lnTo>
                    <a:pt x="426" y="118"/>
                  </a:lnTo>
                  <a:lnTo>
                    <a:pt x="456" y="116"/>
                  </a:lnTo>
                  <a:lnTo>
                    <a:pt x="478" y="114"/>
                  </a:lnTo>
                  <a:lnTo>
                    <a:pt x="486" y="110"/>
                  </a:lnTo>
                  <a:lnTo>
                    <a:pt x="504" y="120"/>
                  </a:lnTo>
                  <a:lnTo>
                    <a:pt x="520" y="130"/>
                  </a:lnTo>
                  <a:lnTo>
                    <a:pt x="528" y="142"/>
                  </a:lnTo>
                  <a:lnTo>
                    <a:pt x="534" y="138"/>
                  </a:lnTo>
                  <a:lnTo>
                    <a:pt x="530" y="120"/>
                  </a:lnTo>
                  <a:lnTo>
                    <a:pt x="526" y="110"/>
                  </a:lnTo>
                  <a:lnTo>
                    <a:pt x="536" y="104"/>
                  </a:lnTo>
                  <a:lnTo>
                    <a:pt x="560" y="94"/>
                  </a:lnTo>
                  <a:lnTo>
                    <a:pt x="578" y="104"/>
                  </a:lnTo>
                  <a:lnTo>
                    <a:pt x="600" y="112"/>
                  </a:lnTo>
                  <a:lnTo>
                    <a:pt x="622" y="116"/>
                  </a:lnTo>
                  <a:lnTo>
                    <a:pt x="646" y="116"/>
                  </a:lnTo>
                  <a:lnTo>
                    <a:pt x="668" y="116"/>
                  </a:lnTo>
                  <a:lnTo>
                    <a:pt x="688" y="118"/>
                  </a:lnTo>
                  <a:lnTo>
                    <a:pt x="694" y="112"/>
                  </a:lnTo>
                  <a:lnTo>
                    <a:pt x="688" y="108"/>
                  </a:lnTo>
                  <a:lnTo>
                    <a:pt x="676" y="106"/>
                  </a:lnTo>
                  <a:lnTo>
                    <a:pt x="678" y="98"/>
                  </a:lnTo>
                  <a:lnTo>
                    <a:pt x="684" y="96"/>
                  </a:lnTo>
                  <a:lnTo>
                    <a:pt x="696" y="100"/>
                  </a:lnTo>
                  <a:lnTo>
                    <a:pt x="708" y="112"/>
                  </a:lnTo>
                  <a:lnTo>
                    <a:pt x="704" y="116"/>
                  </a:lnTo>
                  <a:lnTo>
                    <a:pt x="710" y="126"/>
                  </a:lnTo>
                  <a:lnTo>
                    <a:pt x="716" y="134"/>
                  </a:lnTo>
                  <a:lnTo>
                    <a:pt x="724" y="134"/>
                  </a:lnTo>
                  <a:lnTo>
                    <a:pt x="724" y="120"/>
                  </a:lnTo>
                  <a:lnTo>
                    <a:pt x="722" y="108"/>
                  </a:lnTo>
                  <a:lnTo>
                    <a:pt x="742" y="102"/>
                  </a:lnTo>
                  <a:lnTo>
                    <a:pt x="752" y="90"/>
                  </a:lnTo>
                  <a:lnTo>
                    <a:pt x="750" y="78"/>
                  </a:lnTo>
                  <a:lnTo>
                    <a:pt x="740" y="64"/>
                  </a:lnTo>
                  <a:lnTo>
                    <a:pt x="722" y="60"/>
                  </a:lnTo>
                  <a:lnTo>
                    <a:pt x="708" y="52"/>
                  </a:lnTo>
                  <a:lnTo>
                    <a:pt x="704" y="44"/>
                  </a:lnTo>
                  <a:lnTo>
                    <a:pt x="712" y="32"/>
                  </a:lnTo>
                  <a:lnTo>
                    <a:pt x="704" y="26"/>
                  </a:lnTo>
                  <a:lnTo>
                    <a:pt x="708" y="12"/>
                  </a:lnTo>
                  <a:lnTo>
                    <a:pt x="718" y="12"/>
                  </a:lnTo>
                  <a:lnTo>
                    <a:pt x="722" y="4"/>
                  </a:lnTo>
                  <a:lnTo>
                    <a:pt x="732" y="0"/>
                  </a:lnTo>
                  <a:lnTo>
                    <a:pt x="750" y="4"/>
                  </a:lnTo>
                  <a:lnTo>
                    <a:pt x="762" y="20"/>
                  </a:lnTo>
                  <a:lnTo>
                    <a:pt x="764" y="26"/>
                  </a:lnTo>
                  <a:lnTo>
                    <a:pt x="774" y="40"/>
                  </a:lnTo>
                  <a:lnTo>
                    <a:pt x="776" y="48"/>
                  </a:lnTo>
                  <a:lnTo>
                    <a:pt x="770" y="54"/>
                  </a:lnTo>
                  <a:lnTo>
                    <a:pt x="774" y="64"/>
                  </a:lnTo>
                  <a:lnTo>
                    <a:pt x="786" y="62"/>
                  </a:lnTo>
                  <a:lnTo>
                    <a:pt x="794" y="64"/>
                  </a:lnTo>
                  <a:lnTo>
                    <a:pt x="796" y="80"/>
                  </a:lnTo>
                  <a:lnTo>
                    <a:pt x="802" y="94"/>
                  </a:lnTo>
                  <a:lnTo>
                    <a:pt x="812" y="98"/>
                  </a:lnTo>
                  <a:lnTo>
                    <a:pt x="820" y="92"/>
                  </a:lnTo>
                  <a:lnTo>
                    <a:pt x="814" y="82"/>
                  </a:lnTo>
                  <a:lnTo>
                    <a:pt x="820" y="74"/>
                  </a:lnTo>
                  <a:lnTo>
                    <a:pt x="832" y="78"/>
                  </a:lnTo>
                  <a:lnTo>
                    <a:pt x="842" y="90"/>
                  </a:lnTo>
                  <a:lnTo>
                    <a:pt x="836" y="100"/>
                  </a:lnTo>
                  <a:lnTo>
                    <a:pt x="834" y="112"/>
                  </a:lnTo>
                  <a:lnTo>
                    <a:pt x="844" y="120"/>
                  </a:lnTo>
                  <a:lnTo>
                    <a:pt x="858" y="126"/>
                  </a:lnTo>
                  <a:lnTo>
                    <a:pt x="866" y="120"/>
                  </a:lnTo>
                  <a:lnTo>
                    <a:pt x="874" y="106"/>
                  </a:lnTo>
                  <a:lnTo>
                    <a:pt x="876" y="90"/>
                  </a:lnTo>
                  <a:lnTo>
                    <a:pt x="888" y="82"/>
                  </a:lnTo>
                  <a:lnTo>
                    <a:pt x="886" y="74"/>
                  </a:lnTo>
                  <a:lnTo>
                    <a:pt x="880" y="62"/>
                  </a:lnTo>
                  <a:lnTo>
                    <a:pt x="882" y="56"/>
                  </a:lnTo>
                  <a:lnTo>
                    <a:pt x="900" y="58"/>
                  </a:lnTo>
                  <a:lnTo>
                    <a:pt x="922" y="66"/>
                  </a:lnTo>
                  <a:lnTo>
                    <a:pt x="936" y="76"/>
                  </a:lnTo>
                  <a:lnTo>
                    <a:pt x="946" y="90"/>
                  </a:lnTo>
                  <a:lnTo>
                    <a:pt x="940" y="94"/>
                  </a:lnTo>
                  <a:lnTo>
                    <a:pt x="932" y="96"/>
                  </a:lnTo>
                  <a:lnTo>
                    <a:pt x="934" y="106"/>
                  </a:lnTo>
                  <a:lnTo>
                    <a:pt x="940" y="114"/>
                  </a:lnTo>
                  <a:lnTo>
                    <a:pt x="946" y="126"/>
                  </a:lnTo>
                  <a:lnTo>
                    <a:pt x="938" y="136"/>
                  </a:lnTo>
                  <a:lnTo>
                    <a:pt x="926" y="146"/>
                  </a:lnTo>
                  <a:lnTo>
                    <a:pt x="916" y="152"/>
                  </a:lnTo>
                  <a:lnTo>
                    <a:pt x="902" y="144"/>
                  </a:lnTo>
                  <a:lnTo>
                    <a:pt x="898" y="152"/>
                  </a:lnTo>
                  <a:lnTo>
                    <a:pt x="890" y="156"/>
                  </a:lnTo>
                  <a:lnTo>
                    <a:pt x="878" y="144"/>
                  </a:lnTo>
                  <a:lnTo>
                    <a:pt x="868" y="144"/>
                  </a:lnTo>
                  <a:lnTo>
                    <a:pt x="864" y="150"/>
                  </a:lnTo>
                  <a:lnTo>
                    <a:pt x="870" y="156"/>
                  </a:lnTo>
                  <a:lnTo>
                    <a:pt x="864" y="166"/>
                  </a:lnTo>
                  <a:lnTo>
                    <a:pt x="856" y="174"/>
                  </a:lnTo>
                  <a:lnTo>
                    <a:pt x="846" y="176"/>
                  </a:lnTo>
                  <a:lnTo>
                    <a:pt x="834" y="174"/>
                  </a:lnTo>
                  <a:lnTo>
                    <a:pt x="822" y="166"/>
                  </a:lnTo>
                  <a:lnTo>
                    <a:pt x="812" y="164"/>
                  </a:lnTo>
                  <a:lnTo>
                    <a:pt x="816" y="172"/>
                  </a:lnTo>
                  <a:lnTo>
                    <a:pt x="822" y="178"/>
                  </a:lnTo>
                  <a:lnTo>
                    <a:pt x="834" y="180"/>
                  </a:lnTo>
                  <a:lnTo>
                    <a:pt x="842" y="182"/>
                  </a:lnTo>
                  <a:lnTo>
                    <a:pt x="854" y="182"/>
                  </a:lnTo>
                  <a:lnTo>
                    <a:pt x="848" y="192"/>
                  </a:lnTo>
                  <a:lnTo>
                    <a:pt x="840" y="204"/>
                  </a:lnTo>
                  <a:lnTo>
                    <a:pt x="830" y="210"/>
                  </a:lnTo>
                  <a:lnTo>
                    <a:pt x="820" y="212"/>
                  </a:lnTo>
                  <a:lnTo>
                    <a:pt x="812" y="212"/>
                  </a:lnTo>
                  <a:lnTo>
                    <a:pt x="804" y="208"/>
                  </a:lnTo>
                  <a:lnTo>
                    <a:pt x="804" y="218"/>
                  </a:lnTo>
                  <a:lnTo>
                    <a:pt x="784" y="220"/>
                  </a:lnTo>
                  <a:lnTo>
                    <a:pt x="772" y="216"/>
                  </a:lnTo>
                  <a:lnTo>
                    <a:pt x="778" y="222"/>
                  </a:lnTo>
                  <a:lnTo>
                    <a:pt x="794" y="228"/>
                  </a:lnTo>
                  <a:lnTo>
                    <a:pt x="796" y="238"/>
                  </a:lnTo>
                  <a:lnTo>
                    <a:pt x="778" y="242"/>
                  </a:lnTo>
                  <a:lnTo>
                    <a:pt x="758" y="260"/>
                  </a:lnTo>
                  <a:lnTo>
                    <a:pt x="740" y="290"/>
                  </a:lnTo>
                  <a:lnTo>
                    <a:pt x="734" y="332"/>
                  </a:lnTo>
                  <a:lnTo>
                    <a:pt x="736" y="336"/>
                  </a:lnTo>
                  <a:lnTo>
                    <a:pt x="738" y="342"/>
                  </a:lnTo>
                  <a:lnTo>
                    <a:pt x="748" y="342"/>
                  </a:lnTo>
                  <a:lnTo>
                    <a:pt x="756" y="344"/>
                  </a:lnTo>
                  <a:lnTo>
                    <a:pt x="760" y="352"/>
                  </a:lnTo>
                  <a:lnTo>
                    <a:pt x="768" y="378"/>
                  </a:lnTo>
                  <a:lnTo>
                    <a:pt x="782" y="374"/>
                  </a:lnTo>
                  <a:lnTo>
                    <a:pt x="800" y="374"/>
                  </a:lnTo>
                  <a:lnTo>
                    <a:pt x="814" y="380"/>
                  </a:lnTo>
                  <a:lnTo>
                    <a:pt x="830" y="382"/>
                  </a:lnTo>
                  <a:lnTo>
                    <a:pt x="846" y="398"/>
                  </a:lnTo>
                  <a:lnTo>
                    <a:pt x="864" y="408"/>
                  </a:lnTo>
                  <a:lnTo>
                    <a:pt x="886" y="416"/>
                  </a:lnTo>
                  <a:lnTo>
                    <a:pt x="896" y="416"/>
                  </a:lnTo>
                  <a:lnTo>
                    <a:pt x="904" y="418"/>
                  </a:lnTo>
                  <a:lnTo>
                    <a:pt x="916" y="420"/>
                  </a:lnTo>
                  <a:lnTo>
                    <a:pt x="928" y="420"/>
                  </a:lnTo>
                  <a:lnTo>
                    <a:pt x="932" y="442"/>
                  </a:lnTo>
                  <a:lnTo>
                    <a:pt x="932" y="456"/>
                  </a:lnTo>
                  <a:lnTo>
                    <a:pt x="932" y="462"/>
                  </a:lnTo>
                  <a:lnTo>
                    <a:pt x="932" y="470"/>
                  </a:lnTo>
                  <a:lnTo>
                    <a:pt x="944" y="484"/>
                  </a:lnTo>
                  <a:lnTo>
                    <a:pt x="956" y="498"/>
                  </a:lnTo>
                  <a:lnTo>
                    <a:pt x="962" y="502"/>
                  </a:lnTo>
                  <a:lnTo>
                    <a:pt x="970" y="506"/>
                  </a:lnTo>
                  <a:lnTo>
                    <a:pt x="984" y="498"/>
                  </a:lnTo>
                  <a:lnTo>
                    <a:pt x="988" y="490"/>
                  </a:lnTo>
                  <a:lnTo>
                    <a:pt x="990" y="482"/>
                  </a:lnTo>
                  <a:lnTo>
                    <a:pt x="984" y="462"/>
                  </a:lnTo>
                  <a:lnTo>
                    <a:pt x="980" y="448"/>
                  </a:lnTo>
                  <a:lnTo>
                    <a:pt x="972" y="428"/>
                  </a:lnTo>
                  <a:lnTo>
                    <a:pt x="980" y="424"/>
                  </a:lnTo>
                  <a:lnTo>
                    <a:pt x="1002" y="418"/>
                  </a:lnTo>
                  <a:lnTo>
                    <a:pt x="1012" y="406"/>
                  </a:lnTo>
                  <a:lnTo>
                    <a:pt x="1022" y="394"/>
                  </a:lnTo>
                  <a:lnTo>
                    <a:pt x="1020" y="372"/>
                  </a:lnTo>
                  <a:lnTo>
                    <a:pt x="1010" y="354"/>
                  </a:lnTo>
                  <a:lnTo>
                    <a:pt x="998" y="346"/>
                  </a:lnTo>
                  <a:lnTo>
                    <a:pt x="988" y="340"/>
                  </a:lnTo>
                  <a:lnTo>
                    <a:pt x="990" y="334"/>
                  </a:lnTo>
                  <a:lnTo>
                    <a:pt x="996" y="328"/>
                  </a:lnTo>
                  <a:lnTo>
                    <a:pt x="1006" y="316"/>
                  </a:lnTo>
                  <a:lnTo>
                    <a:pt x="1004" y="304"/>
                  </a:lnTo>
                  <a:lnTo>
                    <a:pt x="1002" y="292"/>
                  </a:lnTo>
                  <a:lnTo>
                    <a:pt x="1006" y="274"/>
                  </a:lnTo>
                  <a:lnTo>
                    <a:pt x="996" y="264"/>
                  </a:lnTo>
                  <a:lnTo>
                    <a:pt x="1000" y="250"/>
                  </a:lnTo>
                  <a:lnTo>
                    <a:pt x="1018" y="250"/>
                  </a:lnTo>
                  <a:lnTo>
                    <a:pt x="1034" y="256"/>
                  </a:lnTo>
                  <a:lnTo>
                    <a:pt x="1044" y="258"/>
                  </a:lnTo>
                  <a:lnTo>
                    <a:pt x="1058" y="256"/>
                  </a:lnTo>
                  <a:lnTo>
                    <a:pt x="1064" y="248"/>
                  </a:lnTo>
                  <a:lnTo>
                    <a:pt x="1076" y="256"/>
                  </a:lnTo>
                  <a:lnTo>
                    <a:pt x="1090" y="266"/>
                  </a:lnTo>
                  <a:lnTo>
                    <a:pt x="1098" y="278"/>
                  </a:lnTo>
                  <a:lnTo>
                    <a:pt x="1112" y="286"/>
                  </a:lnTo>
                  <a:lnTo>
                    <a:pt x="1134" y="290"/>
                  </a:lnTo>
                  <a:lnTo>
                    <a:pt x="1130" y="300"/>
                  </a:lnTo>
                  <a:lnTo>
                    <a:pt x="1130" y="314"/>
                  </a:lnTo>
                  <a:lnTo>
                    <a:pt x="1136" y="328"/>
                  </a:lnTo>
                  <a:lnTo>
                    <a:pt x="1136" y="336"/>
                  </a:lnTo>
                  <a:lnTo>
                    <a:pt x="1148" y="338"/>
                  </a:lnTo>
                  <a:lnTo>
                    <a:pt x="1156" y="346"/>
                  </a:lnTo>
                  <a:lnTo>
                    <a:pt x="1168" y="352"/>
                  </a:lnTo>
                  <a:lnTo>
                    <a:pt x="1182" y="340"/>
                  </a:lnTo>
                  <a:lnTo>
                    <a:pt x="1196" y="328"/>
                  </a:lnTo>
                  <a:lnTo>
                    <a:pt x="1196" y="316"/>
                  </a:lnTo>
                  <a:lnTo>
                    <a:pt x="1204" y="306"/>
                  </a:lnTo>
                  <a:lnTo>
                    <a:pt x="1210" y="300"/>
                  </a:lnTo>
                  <a:lnTo>
                    <a:pt x="1218" y="312"/>
                  </a:lnTo>
                  <a:lnTo>
                    <a:pt x="1228" y="328"/>
                  </a:lnTo>
                  <a:lnTo>
                    <a:pt x="1242" y="346"/>
                  </a:lnTo>
                  <a:lnTo>
                    <a:pt x="1244" y="354"/>
                  </a:lnTo>
                  <a:lnTo>
                    <a:pt x="1254" y="360"/>
                  </a:lnTo>
                  <a:lnTo>
                    <a:pt x="1256" y="372"/>
                  </a:lnTo>
                  <a:lnTo>
                    <a:pt x="1260" y="384"/>
                  </a:lnTo>
                  <a:lnTo>
                    <a:pt x="1254" y="390"/>
                  </a:lnTo>
                  <a:lnTo>
                    <a:pt x="1256" y="398"/>
                  </a:lnTo>
                  <a:lnTo>
                    <a:pt x="1272" y="408"/>
                  </a:lnTo>
                  <a:lnTo>
                    <a:pt x="1274" y="412"/>
                  </a:lnTo>
                  <a:lnTo>
                    <a:pt x="1274" y="418"/>
                  </a:lnTo>
                  <a:lnTo>
                    <a:pt x="1284" y="422"/>
                  </a:lnTo>
                  <a:lnTo>
                    <a:pt x="1298" y="426"/>
                  </a:lnTo>
                  <a:lnTo>
                    <a:pt x="1310" y="430"/>
                  </a:lnTo>
                  <a:lnTo>
                    <a:pt x="1318" y="430"/>
                  </a:lnTo>
                  <a:lnTo>
                    <a:pt x="1314" y="438"/>
                  </a:lnTo>
                  <a:lnTo>
                    <a:pt x="1300" y="444"/>
                  </a:lnTo>
                  <a:lnTo>
                    <a:pt x="1292" y="448"/>
                  </a:lnTo>
                  <a:lnTo>
                    <a:pt x="1280" y="454"/>
                  </a:lnTo>
                  <a:lnTo>
                    <a:pt x="1282" y="456"/>
                  </a:lnTo>
                  <a:lnTo>
                    <a:pt x="1282" y="458"/>
                  </a:lnTo>
                  <a:lnTo>
                    <a:pt x="1284" y="458"/>
                  </a:lnTo>
                  <a:lnTo>
                    <a:pt x="1300" y="450"/>
                  </a:lnTo>
                  <a:lnTo>
                    <a:pt x="1314" y="444"/>
                  </a:lnTo>
                  <a:lnTo>
                    <a:pt x="1324" y="442"/>
                  </a:lnTo>
                  <a:lnTo>
                    <a:pt x="1328" y="452"/>
                  </a:lnTo>
                  <a:lnTo>
                    <a:pt x="1330" y="452"/>
                  </a:lnTo>
                  <a:lnTo>
                    <a:pt x="1336" y="452"/>
                  </a:lnTo>
                  <a:lnTo>
                    <a:pt x="1348" y="458"/>
                  </a:lnTo>
                  <a:lnTo>
                    <a:pt x="1350" y="474"/>
                  </a:lnTo>
                  <a:lnTo>
                    <a:pt x="1348" y="488"/>
                  </a:lnTo>
                  <a:lnTo>
                    <a:pt x="1340" y="496"/>
                  </a:lnTo>
                  <a:lnTo>
                    <a:pt x="1330" y="502"/>
                  </a:lnTo>
                  <a:lnTo>
                    <a:pt x="1310" y="502"/>
                  </a:lnTo>
                  <a:lnTo>
                    <a:pt x="1302" y="512"/>
                  </a:lnTo>
                  <a:lnTo>
                    <a:pt x="1286" y="524"/>
                  </a:lnTo>
                  <a:lnTo>
                    <a:pt x="1264" y="528"/>
                  </a:lnTo>
                  <a:lnTo>
                    <a:pt x="1238" y="524"/>
                  </a:lnTo>
                  <a:lnTo>
                    <a:pt x="1218" y="524"/>
                  </a:lnTo>
                  <a:lnTo>
                    <a:pt x="1190" y="526"/>
                  </a:lnTo>
                  <a:lnTo>
                    <a:pt x="1174" y="532"/>
                  </a:lnTo>
                  <a:lnTo>
                    <a:pt x="1166" y="544"/>
                  </a:lnTo>
                  <a:lnTo>
                    <a:pt x="1152" y="548"/>
                  </a:lnTo>
                  <a:lnTo>
                    <a:pt x="1138" y="560"/>
                  </a:lnTo>
                  <a:lnTo>
                    <a:pt x="1128" y="570"/>
                  </a:lnTo>
                  <a:lnTo>
                    <a:pt x="1114" y="586"/>
                  </a:lnTo>
                  <a:lnTo>
                    <a:pt x="1112" y="590"/>
                  </a:lnTo>
                  <a:lnTo>
                    <a:pt x="1110" y="592"/>
                  </a:lnTo>
                  <a:lnTo>
                    <a:pt x="1110" y="594"/>
                  </a:lnTo>
                  <a:lnTo>
                    <a:pt x="1116" y="590"/>
                  </a:lnTo>
                  <a:lnTo>
                    <a:pt x="1120" y="588"/>
                  </a:lnTo>
                  <a:lnTo>
                    <a:pt x="1134" y="572"/>
                  </a:lnTo>
                  <a:lnTo>
                    <a:pt x="1150" y="562"/>
                  </a:lnTo>
                  <a:lnTo>
                    <a:pt x="1168" y="554"/>
                  </a:lnTo>
                  <a:lnTo>
                    <a:pt x="1174" y="550"/>
                  </a:lnTo>
                  <a:lnTo>
                    <a:pt x="1184" y="546"/>
                  </a:lnTo>
                  <a:lnTo>
                    <a:pt x="1202" y="548"/>
                  </a:lnTo>
                  <a:lnTo>
                    <a:pt x="1214" y="552"/>
                  </a:lnTo>
                  <a:lnTo>
                    <a:pt x="1218" y="56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43" name="Freeform 17">
              <a:extLst>
                <a:ext uri="{FF2B5EF4-FFF2-40B4-BE49-F238E27FC236}">
                  <a16:creationId xmlns:a16="http://schemas.microsoft.com/office/drawing/2014/main" id="{10AA9B25-7833-4FCE-82A5-DE6D7B767CEF}"/>
                </a:ext>
              </a:extLst>
            </p:cNvPr>
            <p:cNvSpPr>
              <a:spLocks/>
            </p:cNvSpPr>
            <p:nvPr/>
          </p:nvSpPr>
          <p:spPr bwMode="gray">
            <a:xfrm>
              <a:off x="3018138" y="2274645"/>
              <a:ext cx="62740" cy="46475"/>
            </a:xfrm>
            <a:custGeom>
              <a:avLst/>
              <a:gdLst>
                <a:gd name="T0" fmla="*/ 6 w 38"/>
                <a:gd name="T1" fmla="*/ 0 h 28"/>
                <a:gd name="T2" fmla="*/ 22 w 38"/>
                <a:gd name="T3" fmla="*/ 0 h 28"/>
                <a:gd name="T4" fmla="*/ 36 w 38"/>
                <a:gd name="T5" fmla="*/ 0 h 28"/>
                <a:gd name="T6" fmla="*/ 38 w 38"/>
                <a:gd name="T7" fmla="*/ 8 h 28"/>
                <a:gd name="T8" fmla="*/ 34 w 38"/>
                <a:gd name="T9" fmla="*/ 20 h 28"/>
                <a:gd name="T10" fmla="*/ 28 w 38"/>
                <a:gd name="T11" fmla="*/ 28 h 28"/>
                <a:gd name="T12" fmla="*/ 22 w 38"/>
                <a:gd name="T13" fmla="*/ 24 h 28"/>
                <a:gd name="T14" fmla="*/ 14 w 38"/>
                <a:gd name="T15" fmla="*/ 14 h 28"/>
                <a:gd name="T16" fmla="*/ 6 w 38"/>
                <a:gd name="T17" fmla="*/ 10 h 28"/>
                <a:gd name="T18" fmla="*/ 0 w 38"/>
                <a:gd name="T19" fmla="*/ 4 h 28"/>
                <a:gd name="T20" fmla="*/ 6 w 38"/>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 h="28">
                  <a:moveTo>
                    <a:pt x="6" y="0"/>
                  </a:moveTo>
                  <a:lnTo>
                    <a:pt x="22" y="0"/>
                  </a:lnTo>
                  <a:lnTo>
                    <a:pt x="36" y="0"/>
                  </a:lnTo>
                  <a:lnTo>
                    <a:pt x="38" y="8"/>
                  </a:lnTo>
                  <a:lnTo>
                    <a:pt x="34" y="20"/>
                  </a:lnTo>
                  <a:lnTo>
                    <a:pt x="28" y="28"/>
                  </a:lnTo>
                  <a:lnTo>
                    <a:pt x="22" y="24"/>
                  </a:lnTo>
                  <a:lnTo>
                    <a:pt x="14" y="14"/>
                  </a:lnTo>
                  <a:lnTo>
                    <a:pt x="6" y="10"/>
                  </a:lnTo>
                  <a:lnTo>
                    <a:pt x="0" y="4"/>
                  </a:lnTo>
                  <a:lnTo>
                    <a:pt x="6"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44" name="Freeform 18">
              <a:extLst>
                <a:ext uri="{FF2B5EF4-FFF2-40B4-BE49-F238E27FC236}">
                  <a16:creationId xmlns:a16="http://schemas.microsoft.com/office/drawing/2014/main" id="{8D69FD19-08F2-4EF9-B23E-C45E0AAE3920}"/>
                </a:ext>
              </a:extLst>
            </p:cNvPr>
            <p:cNvSpPr>
              <a:spLocks/>
            </p:cNvSpPr>
            <p:nvPr/>
          </p:nvSpPr>
          <p:spPr bwMode="gray">
            <a:xfrm>
              <a:off x="2605370" y="2068826"/>
              <a:ext cx="184920" cy="96271"/>
            </a:xfrm>
            <a:custGeom>
              <a:avLst/>
              <a:gdLst>
                <a:gd name="T0" fmla="*/ 0 w 112"/>
                <a:gd name="T1" fmla="*/ 50 h 58"/>
                <a:gd name="T2" fmla="*/ 4 w 112"/>
                <a:gd name="T3" fmla="*/ 40 h 58"/>
                <a:gd name="T4" fmla="*/ 16 w 112"/>
                <a:gd name="T5" fmla="*/ 38 h 58"/>
                <a:gd name="T6" fmla="*/ 26 w 112"/>
                <a:gd name="T7" fmla="*/ 32 h 58"/>
                <a:gd name="T8" fmla="*/ 36 w 112"/>
                <a:gd name="T9" fmla="*/ 26 h 58"/>
                <a:gd name="T10" fmla="*/ 50 w 112"/>
                <a:gd name="T11" fmla="*/ 18 h 58"/>
                <a:gd name="T12" fmla="*/ 58 w 112"/>
                <a:gd name="T13" fmla="*/ 10 h 58"/>
                <a:gd name="T14" fmla="*/ 76 w 112"/>
                <a:gd name="T15" fmla="*/ 8 h 58"/>
                <a:gd name="T16" fmla="*/ 86 w 112"/>
                <a:gd name="T17" fmla="*/ 8 h 58"/>
                <a:gd name="T18" fmla="*/ 92 w 112"/>
                <a:gd name="T19" fmla="*/ 12 h 58"/>
                <a:gd name="T20" fmla="*/ 96 w 112"/>
                <a:gd name="T21" fmla="*/ 0 h 58"/>
                <a:gd name="T22" fmla="*/ 106 w 112"/>
                <a:gd name="T23" fmla="*/ 4 h 58"/>
                <a:gd name="T24" fmla="*/ 112 w 112"/>
                <a:gd name="T25" fmla="*/ 8 h 58"/>
                <a:gd name="T26" fmla="*/ 108 w 112"/>
                <a:gd name="T27" fmla="*/ 14 h 58"/>
                <a:gd name="T28" fmla="*/ 100 w 112"/>
                <a:gd name="T29" fmla="*/ 16 h 58"/>
                <a:gd name="T30" fmla="*/ 106 w 112"/>
                <a:gd name="T31" fmla="*/ 24 h 58"/>
                <a:gd name="T32" fmla="*/ 104 w 112"/>
                <a:gd name="T33" fmla="*/ 30 h 58"/>
                <a:gd name="T34" fmla="*/ 96 w 112"/>
                <a:gd name="T35" fmla="*/ 32 h 58"/>
                <a:gd name="T36" fmla="*/ 90 w 112"/>
                <a:gd name="T37" fmla="*/ 38 h 58"/>
                <a:gd name="T38" fmla="*/ 84 w 112"/>
                <a:gd name="T39" fmla="*/ 44 h 58"/>
                <a:gd name="T40" fmla="*/ 74 w 112"/>
                <a:gd name="T41" fmla="*/ 42 h 58"/>
                <a:gd name="T42" fmla="*/ 76 w 112"/>
                <a:gd name="T43" fmla="*/ 32 h 58"/>
                <a:gd name="T44" fmla="*/ 72 w 112"/>
                <a:gd name="T45" fmla="*/ 28 h 58"/>
                <a:gd name="T46" fmla="*/ 66 w 112"/>
                <a:gd name="T47" fmla="*/ 30 h 58"/>
                <a:gd name="T48" fmla="*/ 64 w 112"/>
                <a:gd name="T49" fmla="*/ 34 h 58"/>
                <a:gd name="T50" fmla="*/ 64 w 112"/>
                <a:gd name="T51" fmla="*/ 40 h 58"/>
                <a:gd name="T52" fmla="*/ 60 w 112"/>
                <a:gd name="T53" fmla="*/ 48 h 58"/>
                <a:gd name="T54" fmla="*/ 54 w 112"/>
                <a:gd name="T55" fmla="*/ 50 h 58"/>
                <a:gd name="T56" fmla="*/ 48 w 112"/>
                <a:gd name="T57" fmla="*/ 48 h 58"/>
                <a:gd name="T58" fmla="*/ 48 w 112"/>
                <a:gd name="T59" fmla="*/ 58 h 58"/>
                <a:gd name="T60" fmla="*/ 34 w 112"/>
                <a:gd name="T61" fmla="*/ 58 h 58"/>
                <a:gd name="T62" fmla="*/ 32 w 112"/>
                <a:gd name="T63" fmla="*/ 50 h 58"/>
                <a:gd name="T64" fmla="*/ 24 w 112"/>
                <a:gd name="T65" fmla="*/ 50 h 58"/>
                <a:gd name="T66" fmla="*/ 24 w 112"/>
                <a:gd name="T67" fmla="*/ 54 h 58"/>
                <a:gd name="T68" fmla="*/ 8 w 112"/>
                <a:gd name="T69" fmla="*/ 54 h 58"/>
                <a:gd name="T70" fmla="*/ 0 w 112"/>
                <a:gd name="T71"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2" h="58">
                  <a:moveTo>
                    <a:pt x="0" y="50"/>
                  </a:moveTo>
                  <a:lnTo>
                    <a:pt x="4" y="40"/>
                  </a:lnTo>
                  <a:lnTo>
                    <a:pt x="16" y="38"/>
                  </a:lnTo>
                  <a:lnTo>
                    <a:pt x="26" y="32"/>
                  </a:lnTo>
                  <a:lnTo>
                    <a:pt x="36" y="26"/>
                  </a:lnTo>
                  <a:lnTo>
                    <a:pt x="50" y="18"/>
                  </a:lnTo>
                  <a:lnTo>
                    <a:pt x="58" y="10"/>
                  </a:lnTo>
                  <a:lnTo>
                    <a:pt x="76" y="8"/>
                  </a:lnTo>
                  <a:lnTo>
                    <a:pt x="86" y="8"/>
                  </a:lnTo>
                  <a:lnTo>
                    <a:pt x="92" y="12"/>
                  </a:lnTo>
                  <a:lnTo>
                    <a:pt x="96" y="0"/>
                  </a:lnTo>
                  <a:lnTo>
                    <a:pt x="106" y="4"/>
                  </a:lnTo>
                  <a:lnTo>
                    <a:pt x="112" y="8"/>
                  </a:lnTo>
                  <a:lnTo>
                    <a:pt x="108" y="14"/>
                  </a:lnTo>
                  <a:lnTo>
                    <a:pt x="100" y="16"/>
                  </a:lnTo>
                  <a:lnTo>
                    <a:pt x="106" y="24"/>
                  </a:lnTo>
                  <a:lnTo>
                    <a:pt x="104" y="30"/>
                  </a:lnTo>
                  <a:lnTo>
                    <a:pt x="96" y="32"/>
                  </a:lnTo>
                  <a:lnTo>
                    <a:pt x="90" y="38"/>
                  </a:lnTo>
                  <a:lnTo>
                    <a:pt x="84" y="44"/>
                  </a:lnTo>
                  <a:lnTo>
                    <a:pt x="74" y="42"/>
                  </a:lnTo>
                  <a:lnTo>
                    <a:pt x="76" y="32"/>
                  </a:lnTo>
                  <a:lnTo>
                    <a:pt x="72" y="28"/>
                  </a:lnTo>
                  <a:lnTo>
                    <a:pt x="66" y="30"/>
                  </a:lnTo>
                  <a:lnTo>
                    <a:pt x="64" y="34"/>
                  </a:lnTo>
                  <a:lnTo>
                    <a:pt x="64" y="40"/>
                  </a:lnTo>
                  <a:lnTo>
                    <a:pt x="60" y="48"/>
                  </a:lnTo>
                  <a:lnTo>
                    <a:pt x="54" y="50"/>
                  </a:lnTo>
                  <a:lnTo>
                    <a:pt x="48" y="48"/>
                  </a:lnTo>
                  <a:lnTo>
                    <a:pt x="48" y="58"/>
                  </a:lnTo>
                  <a:lnTo>
                    <a:pt x="34" y="58"/>
                  </a:lnTo>
                  <a:lnTo>
                    <a:pt x="32" y="50"/>
                  </a:lnTo>
                  <a:lnTo>
                    <a:pt x="24" y="50"/>
                  </a:lnTo>
                  <a:lnTo>
                    <a:pt x="24" y="54"/>
                  </a:lnTo>
                  <a:lnTo>
                    <a:pt x="8" y="54"/>
                  </a:lnTo>
                  <a:lnTo>
                    <a:pt x="0" y="5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45" name="Freeform 19">
              <a:extLst>
                <a:ext uri="{FF2B5EF4-FFF2-40B4-BE49-F238E27FC236}">
                  <a16:creationId xmlns:a16="http://schemas.microsoft.com/office/drawing/2014/main" id="{141D3012-A27F-4011-825C-745B884E3396}"/>
                </a:ext>
              </a:extLst>
            </p:cNvPr>
            <p:cNvSpPr>
              <a:spLocks/>
            </p:cNvSpPr>
            <p:nvPr/>
          </p:nvSpPr>
          <p:spPr bwMode="gray">
            <a:xfrm>
              <a:off x="2694528" y="2151817"/>
              <a:ext cx="46230" cy="33197"/>
            </a:xfrm>
            <a:custGeom>
              <a:avLst/>
              <a:gdLst>
                <a:gd name="T0" fmla="*/ 18 w 28"/>
                <a:gd name="T1" fmla="*/ 0 h 20"/>
                <a:gd name="T2" fmla="*/ 28 w 28"/>
                <a:gd name="T3" fmla="*/ 2 h 20"/>
                <a:gd name="T4" fmla="*/ 26 w 28"/>
                <a:gd name="T5" fmla="*/ 8 h 20"/>
                <a:gd name="T6" fmla="*/ 20 w 28"/>
                <a:gd name="T7" fmla="*/ 18 h 20"/>
                <a:gd name="T8" fmla="*/ 12 w 28"/>
                <a:gd name="T9" fmla="*/ 20 h 20"/>
                <a:gd name="T10" fmla="*/ 0 w 28"/>
                <a:gd name="T11" fmla="*/ 16 h 20"/>
                <a:gd name="T12" fmla="*/ 4 w 28"/>
                <a:gd name="T13" fmla="*/ 8 h 20"/>
                <a:gd name="T14" fmla="*/ 14 w 28"/>
                <a:gd name="T15" fmla="*/ 2 h 20"/>
                <a:gd name="T16" fmla="*/ 18 w 28"/>
                <a:gd name="T1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20">
                  <a:moveTo>
                    <a:pt x="18" y="0"/>
                  </a:moveTo>
                  <a:lnTo>
                    <a:pt x="28" y="2"/>
                  </a:lnTo>
                  <a:lnTo>
                    <a:pt x="26" y="8"/>
                  </a:lnTo>
                  <a:lnTo>
                    <a:pt x="20" y="18"/>
                  </a:lnTo>
                  <a:lnTo>
                    <a:pt x="12" y="20"/>
                  </a:lnTo>
                  <a:lnTo>
                    <a:pt x="0" y="16"/>
                  </a:lnTo>
                  <a:lnTo>
                    <a:pt x="4" y="8"/>
                  </a:lnTo>
                  <a:lnTo>
                    <a:pt x="14" y="2"/>
                  </a:lnTo>
                  <a:lnTo>
                    <a:pt x="18"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46" name="Freeform 20">
              <a:extLst>
                <a:ext uri="{FF2B5EF4-FFF2-40B4-BE49-F238E27FC236}">
                  <a16:creationId xmlns:a16="http://schemas.microsoft.com/office/drawing/2014/main" id="{911F81F2-0564-41BF-ADF7-EA8AF49AF241}"/>
                </a:ext>
              </a:extLst>
            </p:cNvPr>
            <p:cNvSpPr>
              <a:spLocks/>
            </p:cNvSpPr>
            <p:nvPr/>
          </p:nvSpPr>
          <p:spPr bwMode="gray">
            <a:xfrm>
              <a:off x="2853031" y="2042269"/>
              <a:ext cx="92460" cy="43155"/>
            </a:xfrm>
            <a:custGeom>
              <a:avLst/>
              <a:gdLst>
                <a:gd name="T0" fmla="*/ 0 w 56"/>
                <a:gd name="T1" fmla="*/ 6 h 26"/>
                <a:gd name="T2" fmla="*/ 14 w 56"/>
                <a:gd name="T3" fmla="*/ 0 h 26"/>
                <a:gd name="T4" fmla="*/ 32 w 56"/>
                <a:gd name="T5" fmla="*/ 0 h 26"/>
                <a:gd name="T6" fmla="*/ 54 w 56"/>
                <a:gd name="T7" fmla="*/ 0 h 26"/>
                <a:gd name="T8" fmla="*/ 56 w 56"/>
                <a:gd name="T9" fmla="*/ 6 h 26"/>
                <a:gd name="T10" fmla="*/ 44 w 56"/>
                <a:gd name="T11" fmla="*/ 8 h 26"/>
                <a:gd name="T12" fmla="*/ 40 w 56"/>
                <a:gd name="T13" fmla="*/ 12 h 26"/>
                <a:gd name="T14" fmla="*/ 50 w 56"/>
                <a:gd name="T15" fmla="*/ 12 h 26"/>
                <a:gd name="T16" fmla="*/ 50 w 56"/>
                <a:gd name="T17" fmla="*/ 18 h 26"/>
                <a:gd name="T18" fmla="*/ 44 w 56"/>
                <a:gd name="T19" fmla="*/ 24 h 26"/>
                <a:gd name="T20" fmla="*/ 32 w 56"/>
                <a:gd name="T21" fmla="*/ 24 h 26"/>
                <a:gd name="T22" fmla="*/ 22 w 56"/>
                <a:gd name="T23" fmla="*/ 24 h 26"/>
                <a:gd name="T24" fmla="*/ 16 w 56"/>
                <a:gd name="T25" fmla="*/ 26 h 26"/>
                <a:gd name="T26" fmla="*/ 4 w 56"/>
                <a:gd name="T27" fmla="*/ 20 h 26"/>
                <a:gd name="T28" fmla="*/ 0 w 56"/>
                <a:gd name="T29" fmla="*/ 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6" h="26">
                  <a:moveTo>
                    <a:pt x="0" y="6"/>
                  </a:moveTo>
                  <a:lnTo>
                    <a:pt x="14" y="0"/>
                  </a:lnTo>
                  <a:lnTo>
                    <a:pt x="32" y="0"/>
                  </a:lnTo>
                  <a:lnTo>
                    <a:pt x="54" y="0"/>
                  </a:lnTo>
                  <a:lnTo>
                    <a:pt x="56" y="6"/>
                  </a:lnTo>
                  <a:lnTo>
                    <a:pt x="44" y="8"/>
                  </a:lnTo>
                  <a:lnTo>
                    <a:pt x="40" y="12"/>
                  </a:lnTo>
                  <a:lnTo>
                    <a:pt x="50" y="12"/>
                  </a:lnTo>
                  <a:lnTo>
                    <a:pt x="50" y="18"/>
                  </a:lnTo>
                  <a:lnTo>
                    <a:pt x="44" y="24"/>
                  </a:lnTo>
                  <a:lnTo>
                    <a:pt x="32" y="24"/>
                  </a:lnTo>
                  <a:lnTo>
                    <a:pt x="22" y="24"/>
                  </a:lnTo>
                  <a:lnTo>
                    <a:pt x="16" y="26"/>
                  </a:lnTo>
                  <a:lnTo>
                    <a:pt x="4" y="20"/>
                  </a:lnTo>
                  <a:lnTo>
                    <a:pt x="0" y="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47" name="Freeform 21">
              <a:extLst>
                <a:ext uri="{FF2B5EF4-FFF2-40B4-BE49-F238E27FC236}">
                  <a16:creationId xmlns:a16="http://schemas.microsoft.com/office/drawing/2014/main" id="{026C713C-FB6D-419E-B84D-99241582B4BB}"/>
                </a:ext>
              </a:extLst>
            </p:cNvPr>
            <p:cNvSpPr>
              <a:spLocks/>
            </p:cNvSpPr>
            <p:nvPr/>
          </p:nvSpPr>
          <p:spPr bwMode="gray">
            <a:xfrm>
              <a:off x="2853031" y="2002433"/>
              <a:ext cx="105669" cy="29876"/>
            </a:xfrm>
            <a:custGeom>
              <a:avLst/>
              <a:gdLst>
                <a:gd name="T0" fmla="*/ 8 w 64"/>
                <a:gd name="T1" fmla="*/ 12 h 18"/>
                <a:gd name="T2" fmla="*/ 24 w 64"/>
                <a:gd name="T3" fmla="*/ 6 h 18"/>
                <a:gd name="T4" fmla="*/ 42 w 64"/>
                <a:gd name="T5" fmla="*/ 0 h 18"/>
                <a:gd name="T6" fmla="*/ 56 w 64"/>
                <a:gd name="T7" fmla="*/ 2 h 18"/>
                <a:gd name="T8" fmla="*/ 64 w 64"/>
                <a:gd name="T9" fmla="*/ 8 h 18"/>
                <a:gd name="T10" fmla="*/ 62 w 64"/>
                <a:gd name="T11" fmla="*/ 14 h 18"/>
                <a:gd name="T12" fmla="*/ 52 w 64"/>
                <a:gd name="T13" fmla="*/ 16 h 18"/>
                <a:gd name="T14" fmla="*/ 34 w 64"/>
                <a:gd name="T15" fmla="*/ 16 h 18"/>
                <a:gd name="T16" fmla="*/ 14 w 64"/>
                <a:gd name="T17" fmla="*/ 18 h 18"/>
                <a:gd name="T18" fmla="*/ 0 w 64"/>
                <a:gd name="T19" fmla="*/ 18 h 18"/>
                <a:gd name="T20" fmla="*/ 8 w 64"/>
                <a:gd name="T21" fmla="*/ 1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18">
                  <a:moveTo>
                    <a:pt x="8" y="12"/>
                  </a:moveTo>
                  <a:lnTo>
                    <a:pt x="24" y="6"/>
                  </a:lnTo>
                  <a:lnTo>
                    <a:pt x="42" y="0"/>
                  </a:lnTo>
                  <a:lnTo>
                    <a:pt x="56" y="2"/>
                  </a:lnTo>
                  <a:lnTo>
                    <a:pt x="64" y="8"/>
                  </a:lnTo>
                  <a:lnTo>
                    <a:pt x="62" y="14"/>
                  </a:lnTo>
                  <a:lnTo>
                    <a:pt x="52" y="16"/>
                  </a:lnTo>
                  <a:lnTo>
                    <a:pt x="34" y="16"/>
                  </a:lnTo>
                  <a:lnTo>
                    <a:pt x="14" y="18"/>
                  </a:lnTo>
                  <a:lnTo>
                    <a:pt x="0" y="18"/>
                  </a:lnTo>
                  <a:lnTo>
                    <a:pt x="8" y="1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48" name="Freeform 22">
              <a:extLst>
                <a:ext uri="{FF2B5EF4-FFF2-40B4-BE49-F238E27FC236}">
                  <a16:creationId xmlns:a16="http://schemas.microsoft.com/office/drawing/2014/main" id="{9DA920A7-555B-47CA-99C7-A32C855C2563}"/>
                </a:ext>
              </a:extLst>
            </p:cNvPr>
            <p:cNvSpPr>
              <a:spLocks/>
            </p:cNvSpPr>
            <p:nvPr/>
          </p:nvSpPr>
          <p:spPr bwMode="gray">
            <a:xfrm>
              <a:off x="3133714" y="2271325"/>
              <a:ext cx="158503" cy="129466"/>
            </a:xfrm>
            <a:custGeom>
              <a:avLst/>
              <a:gdLst>
                <a:gd name="T0" fmla="*/ 62 w 96"/>
                <a:gd name="T1" fmla="*/ 78 h 78"/>
                <a:gd name="T2" fmla="*/ 50 w 96"/>
                <a:gd name="T3" fmla="*/ 66 h 78"/>
                <a:gd name="T4" fmla="*/ 34 w 96"/>
                <a:gd name="T5" fmla="*/ 56 h 78"/>
                <a:gd name="T6" fmla="*/ 26 w 96"/>
                <a:gd name="T7" fmla="*/ 48 h 78"/>
                <a:gd name="T8" fmla="*/ 10 w 96"/>
                <a:gd name="T9" fmla="*/ 46 h 78"/>
                <a:gd name="T10" fmla="*/ 2 w 96"/>
                <a:gd name="T11" fmla="*/ 40 h 78"/>
                <a:gd name="T12" fmla="*/ 0 w 96"/>
                <a:gd name="T13" fmla="*/ 32 h 78"/>
                <a:gd name="T14" fmla="*/ 4 w 96"/>
                <a:gd name="T15" fmla="*/ 22 h 78"/>
                <a:gd name="T16" fmla="*/ 12 w 96"/>
                <a:gd name="T17" fmla="*/ 24 h 78"/>
                <a:gd name="T18" fmla="*/ 18 w 96"/>
                <a:gd name="T19" fmla="*/ 32 h 78"/>
                <a:gd name="T20" fmla="*/ 28 w 96"/>
                <a:gd name="T21" fmla="*/ 30 h 78"/>
                <a:gd name="T22" fmla="*/ 38 w 96"/>
                <a:gd name="T23" fmla="*/ 24 h 78"/>
                <a:gd name="T24" fmla="*/ 34 w 96"/>
                <a:gd name="T25" fmla="*/ 18 h 78"/>
                <a:gd name="T26" fmla="*/ 20 w 96"/>
                <a:gd name="T27" fmla="*/ 12 h 78"/>
                <a:gd name="T28" fmla="*/ 32 w 96"/>
                <a:gd name="T29" fmla="*/ 2 h 78"/>
                <a:gd name="T30" fmla="*/ 46 w 96"/>
                <a:gd name="T31" fmla="*/ 0 h 78"/>
                <a:gd name="T32" fmla="*/ 50 w 96"/>
                <a:gd name="T33" fmla="*/ 4 h 78"/>
                <a:gd name="T34" fmla="*/ 58 w 96"/>
                <a:gd name="T35" fmla="*/ 4 h 78"/>
                <a:gd name="T36" fmla="*/ 66 w 96"/>
                <a:gd name="T37" fmla="*/ 0 h 78"/>
                <a:gd name="T38" fmla="*/ 92 w 96"/>
                <a:gd name="T39" fmla="*/ 2 h 78"/>
                <a:gd name="T40" fmla="*/ 86 w 96"/>
                <a:gd name="T41" fmla="*/ 6 h 78"/>
                <a:gd name="T42" fmla="*/ 78 w 96"/>
                <a:gd name="T43" fmla="*/ 14 h 78"/>
                <a:gd name="T44" fmla="*/ 68 w 96"/>
                <a:gd name="T45" fmla="*/ 20 h 78"/>
                <a:gd name="T46" fmla="*/ 64 w 96"/>
                <a:gd name="T47" fmla="*/ 26 h 78"/>
                <a:gd name="T48" fmla="*/ 74 w 96"/>
                <a:gd name="T49" fmla="*/ 26 h 78"/>
                <a:gd name="T50" fmla="*/ 80 w 96"/>
                <a:gd name="T51" fmla="*/ 26 h 78"/>
                <a:gd name="T52" fmla="*/ 86 w 96"/>
                <a:gd name="T53" fmla="*/ 34 h 78"/>
                <a:gd name="T54" fmla="*/ 94 w 96"/>
                <a:gd name="T55" fmla="*/ 28 h 78"/>
                <a:gd name="T56" fmla="*/ 96 w 96"/>
                <a:gd name="T57" fmla="*/ 38 h 78"/>
                <a:gd name="T58" fmla="*/ 92 w 96"/>
                <a:gd name="T59" fmla="*/ 54 h 78"/>
                <a:gd name="T60" fmla="*/ 84 w 96"/>
                <a:gd name="T61" fmla="*/ 66 h 78"/>
                <a:gd name="T62" fmla="*/ 78 w 96"/>
                <a:gd name="T63" fmla="*/ 68 h 78"/>
                <a:gd name="T64" fmla="*/ 70 w 96"/>
                <a:gd name="T65" fmla="*/ 64 h 78"/>
                <a:gd name="T66" fmla="*/ 68 w 96"/>
                <a:gd name="T67" fmla="*/ 68 h 78"/>
                <a:gd name="T68" fmla="*/ 62 w 96"/>
                <a:gd name="T69"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6" h="78">
                  <a:moveTo>
                    <a:pt x="62" y="78"/>
                  </a:moveTo>
                  <a:lnTo>
                    <a:pt x="50" y="66"/>
                  </a:lnTo>
                  <a:lnTo>
                    <a:pt x="34" y="56"/>
                  </a:lnTo>
                  <a:lnTo>
                    <a:pt x="26" y="48"/>
                  </a:lnTo>
                  <a:lnTo>
                    <a:pt x="10" y="46"/>
                  </a:lnTo>
                  <a:lnTo>
                    <a:pt x="2" y="40"/>
                  </a:lnTo>
                  <a:lnTo>
                    <a:pt x="0" y="32"/>
                  </a:lnTo>
                  <a:lnTo>
                    <a:pt x="4" y="22"/>
                  </a:lnTo>
                  <a:lnTo>
                    <a:pt x="12" y="24"/>
                  </a:lnTo>
                  <a:lnTo>
                    <a:pt x="18" y="32"/>
                  </a:lnTo>
                  <a:lnTo>
                    <a:pt x="28" y="30"/>
                  </a:lnTo>
                  <a:lnTo>
                    <a:pt x="38" y="24"/>
                  </a:lnTo>
                  <a:lnTo>
                    <a:pt x="34" y="18"/>
                  </a:lnTo>
                  <a:lnTo>
                    <a:pt x="20" y="12"/>
                  </a:lnTo>
                  <a:lnTo>
                    <a:pt x="32" y="2"/>
                  </a:lnTo>
                  <a:lnTo>
                    <a:pt x="46" y="0"/>
                  </a:lnTo>
                  <a:lnTo>
                    <a:pt x="50" y="4"/>
                  </a:lnTo>
                  <a:lnTo>
                    <a:pt x="58" y="4"/>
                  </a:lnTo>
                  <a:lnTo>
                    <a:pt x="66" y="0"/>
                  </a:lnTo>
                  <a:lnTo>
                    <a:pt x="92" y="2"/>
                  </a:lnTo>
                  <a:lnTo>
                    <a:pt x="86" y="6"/>
                  </a:lnTo>
                  <a:lnTo>
                    <a:pt x="78" y="14"/>
                  </a:lnTo>
                  <a:lnTo>
                    <a:pt x="68" y="20"/>
                  </a:lnTo>
                  <a:lnTo>
                    <a:pt x="64" y="26"/>
                  </a:lnTo>
                  <a:lnTo>
                    <a:pt x="74" y="26"/>
                  </a:lnTo>
                  <a:lnTo>
                    <a:pt x="80" y="26"/>
                  </a:lnTo>
                  <a:lnTo>
                    <a:pt x="86" y="34"/>
                  </a:lnTo>
                  <a:lnTo>
                    <a:pt x="94" y="28"/>
                  </a:lnTo>
                  <a:lnTo>
                    <a:pt x="96" y="38"/>
                  </a:lnTo>
                  <a:lnTo>
                    <a:pt x="92" y="54"/>
                  </a:lnTo>
                  <a:lnTo>
                    <a:pt x="84" y="66"/>
                  </a:lnTo>
                  <a:lnTo>
                    <a:pt x="78" y="68"/>
                  </a:lnTo>
                  <a:lnTo>
                    <a:pt x="70" y="64"/>
                  </a:lnTo>
                  <a:lnTo>
                    <a:pt x="68" y="68"/>
                  </a:lnTo>
                  <a:lnTo>
                    <a:pt x="62" y="7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49" name="Freeform 23">
              <a:extLst>
                <a:ext uri="{FF2B5EF4-FFF2-40B4-BE49-F238E27FC236}">
                  <a16:creationId xmlns:a16="http://schemas.microsoft.com/office/drawing/2014/main" id="{584248A4-3395-4542-B211-2A4CA7B260E3}"/>
                </a:ext>
              </a:extLst>
            </p:cNvPr>
            <p:cNvSpPr>
              <a:spLocks/>
            </p:cNvSpPr>
            <p:nvPr/>
          </p:nvSpPr>
          <p:spPr bwMode="gray">
            <a:xfrm>
              <a:off x="3292216" y="2168416"/>
              <a:ext cx="75949" cy="56435"/>
            </a:xfrm>
            <a:custGeom>
              <a:avLst/>
              <a:gdLst>
                <a:gd name="T0" fmla="*/ 46 w 46"/>
                <a:gd name="T1" fmla="*/ 34 h 34"/>
                <a:gd name="T2" fmla="*/ 28 w 46"/>
                <a:gd name="T3" fmla="*/ 32 h 34"/>
                <a:gd name="T4" fmla="*/ 12 w 46"/>
                <a:gd name="T5" fmla="*/ 30 h 34"/>
                <a:gd name="T6" fmla="*/ 0 w 46"/>
                <a:gd name="T7" fmla="*/ 22 h 34"/>
                <a:gd name="T8" fmla="*/ 8 w 46"/>
                <a:gd name="T9" fmla="*/ 12 h 34"/>
                <a:gd name="T10" fmla="*/ 18 w 46"/>
                <a:gd name="T11" fmla="*/ 6 h 34"/>
                <a:gd name="T12" fmla="*/ 26 w 46"/>
                <a:gd name="T13" fmla="*/ 0 h 34"/>
                <a:gd name="T14" fmla="*/ 34 w 46"/>
                <a:gd name="T15" fmla="*/ 6 h 34"/>
                <a:gd name="T16" fmla="*/ 44 w 46"/>
                <a:gd name="T17" fmla="*/ 14 h 34"/>
                <a:gd name="T18" fmla="*/ 46 w 46"/>
                <a:gd name="T19" fmla="*/ 22 h 34"/>
                <a:gd name="T20" fmla="*/ 46 w 46"/>
                <a:gd name="T21"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34">
                  <a:moveTo>
                    <a:pt x="46" y="34"/>
                  </a:moveTo>
                  <a:lnTo>
                    <a:pt x="28" y="32"/>
                  </a:lnTo>
                  <a:lnTo>
                    <a:pt x="12" y="30"/>
                  </a:lnTo>
                  <a:lnTo>
                    <a:pt x="0" y="22"/>
                  </a:lnTo>
                  <a:lnTo>
                    <a:pt x="8" y="12"/>
                  </a:lnTo>
                  <a:lnTo>
                    <a:pt x="18" y="6"/>
                  </a:lnTo>
                  <a:lnTo>
                    <a:pt x="26" y="0"/>
                  </a:lnTo>
                  <a:lnTo>
                    <a:pt x="34" y="6"/>
                  </a:lnTo>
                  <a:lnTo>
                    <a:pt x="44" y="14"/>
                  </a:lnTo>
                  <a:lnTo>
                    <a:pt x="46" y="22"/>
                  </a:lnTo>
                  <a:lnTo>
                    <a:pt x="46" y="3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50" name="Freeform 24">
              <a:extLst>
                <a:ext uri="{FF2B5EF4-FFF2-40B4-BE49-F238E27FC236}">
                  <a16:creationId xmlns:a16="http://schemas.microsoft.com/office/drawing/2014/main" id="{2A6C47E8-1134-4129-AFCE-07C4E14F6B53}"/>
                </a:ext>
              </a:extLst>
            </p:cNvPr>
            <p:cNvSpPr>
              <a:spLocks/>
            </p:cNvSpPr>
            <p:nvPr/>
          </p:nvSpPr>
          <p:spPr bwMode="gray">
            <a:xfrm>
              <a:off x="3245986" y="1999114"/>
              <a:ext cx="89158" cy="53115"/>
            </a:xfrm>
            <a:custGeom>
              <a:avLst/>
              <a:gdLst>
                <a:gd name="T0" fmla="*/ 4 w 54"/>
                <a:gd name="T1" fmla="*/ 0 h 32"/>
                <a:gd name="T2" fmla="*/ 22 w 54"/>
                <a:gd name="T3" fmla="*/ 4 h 32"/>
                <a:gd name="T4" fmla="*/ 36 w 54"/>
                <a:gd name="T5" fmla="*/ 10 h 32"/>
                <a:gd name="T6" fmla="*/ 48 w 54"/>
                <a:gd name="T7" fmla="*/ 14 h 32"/>
                <a:gd name="T8" fmla="*/ 54 w 54"/>
                <a:gd name="T9" fmla="*/ 20 h 32"/>
                <a:gd name="T10" fmla="*/ 48 w 54"/>
                <a:gd name="T11" fmla="*/ 30 h 32"/>
                <a:gd name="T12" fmla="*/ 36 w 54"/>
                <a:gd name="T13" fmla="*/ 32 h 32"/>
                <a:gd name="T14" fmla="*/ 20 w 54"/>
                <a:gd name="T15" fmla="*/ 32 h 32"/>
                <a:gd name="T16" fmla="*/ 16 w 54"/>
                <a:gd name="T17" fmla="*/ 22 h 32"/>
                <a:gd name="T18" fmla="*/ 6 w 54"/>
                <a:gd name="T19" fmla="*/ 18 h 32"/>
                <a:gd name="T20" fmla="*/ 0 w 54"/>
                <a:gd name="T21" fmla="*/ 12 h 32"/>
                <a:gd name="T22" fmla="*/ 0 w 54"/>
                <a:gd name="T23" fmla="*/ 4 h 32"/>
                <a:gd name="T24" fmla="*/ 4 w 54"/>
                <a:gd name="T25"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32">
                  <a:moveTo>
                    <a:pt x="4" y="0"/>
                  </a:moveTo>
                  <a:lnTo>
                    <a:pt x="22" y="4"/>
                  </a:lnTo>
                  <a:lnTo>
                    <a:pt x="36" y="10"/>
                  </a:lnTo>
                  <a:lnTo>
                    <a:pt x="48" y="14"/>
                  </a:lnTo>
                  <a:lnTo>
                    <a:pt x="54" y="20"/>
                  </a:lnTo>
                  <a:lnTo>
                    <a:pt x="48" y="30"/>
                  </a:lnTo>
                  <a:lnTo>
                    <a:pt x="36" y="32"/>
                  </a:lnTo>
                  <a:lnTo>
                    <a:pt x="20" y="32"/>
                  </a:lnTo>
                  <a:lnTo>
                    <a:pt x="16" y="22"/>
                  </a:lnTo>
                  <a:lnTo>
                    <a:pt x="6" y="18"/>
                  </a:lnTo>
                  <a:lnTo>
                    <a:pt x="0" y="12"/>
                  </a:lnTo>
                  <a:lnTo>
                    <a:pt x="0" y="4"/>
                  </a:lnTo>
                  <a:lnTo>
                    <a:pt x="4"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51" name="Freeform 25">
              <a:extLst>
                <a:ext uri="{FF2B5EF4-FFF2-40B4-BE49-F238E27FC236}">
                  <a16:creationId xmlns:a16="http://schemas.microsoft.com/office/drawing/2014/main" id="{AD431580-CB88-47D7-9F5E-289E8E7151C7}"/>
                </a:ext>
              </a:extLst>
            </p:cNvPr>
            <p:cNvSpPr>
              <a:spLocks/>
            </p:cNvSpPr>
            <p:nvPr/>
          </p:nvSpPr>
          <p:spPr bwMode="gray">
            <a:xfrm>
              <a:off x="3285612" y="1846409"/>
              <a:ext cx="300496" cy="192540"/>
            </a:xfrm>
            <a:custGeom>
              <a:avLst/>
              <a:gdLst>
                <a:gd name="T0" fmla="*/ 116 w 182"/>
                <a:gd name="T1" fmla="*/ 110 h 116"/>
                <a:gd name="T2" fmla="*/ 102 w 182"/>
                <a:gd name="T3" fmla="*/ 104 h 116"/>
                <a:gd name="T4" fmla="*/ 96 w 182"/>
                <a:gd name="T5" fmla="*/ 112 h 116"/>
                <a:gd name="T6" fmla="*/ 66 w 182"/>
                <a:gd name="T7" fmla="*/ 110 h 116"/>
                <a:gd name="T8" fmla="*/ 78 w 182"/>
                <a:gd name="T9" fmla="*/ 102 h 116"/>
                <a:gd name="T10" fmla="*/ 62 w 182"/>
                <a:gd name="T11" fmla="*/ 96 h 116"/>
                <a:gd name="T12" fmla="*/ 40 w 182"/>
                <a:gd name="T13" fmla="*/ 86 h 116"/>
                <a:gd name="T14" fmla="*/ 70 w 182"/>
                <a:gd name="T15" fmla="*/ 82 h 116"/>
                <a:gd name="T16" fmla="*/ 96 w 182"/>
                <a:gd name="T17" fmla="*/ 80 h 116"/>
                <a:gd name="T18" fmla="*/ 78 w 182"/>
                <a:gd name="T19" fmla="*/ 72 h 116"/>
                <a:gd name="T20" fmla="*/ 50 w 182"/>
                <a:gd name="T21" fmla="*/ 74 h 116"/>
                <a:gd name="T22" fmla="*/ 24 w 182"/>
                <a:gd name="T23" fmla="*/ 74 h 116"/>
                <a:gd name="T24" fmla="*/ 0 w 182"/>
                <a:gd name="T25" fmla="*/ 44 h 116"/>
                <a:gd name="T26" fmla="*/ 14 w 182"/>
                <a:gd name="T27" fmla="*/ 48 h 116"/>
                <a:gd name="T28" fmla="*/ 36 w 182"/>
                <a:gd name="T29" fmla="*/ 42 h 116"/>
                <a:gd name="T30" fmla="*/ 16 w 182"/>
                <a:gd name="T31" fmla="*/ 38 h 116"/>
                <a:gd name="T32" fmla="*/ 24 w 182"/>
                <a:gd name="T33" fmla="*/ 28 h 116"/>
                <a:gd name="T34" fmla="*/ 42 w 182"/>
                <a:gd name="T35" fmla="*/ 26 h 116"/>
                <a:gd name="T36" fmla="*/ 24 w 182"/>
                <a:gd name="T37" fmla="*/ 18 h 116"/>
                <a:gd name="T38" fmla="*/ 34 w 182"/>
                <a:gd name="T39" fmla="*/ 10 h 116"/>
                <a:gd name="T40" fmla="*/ 58 w 182"/>
                <a:gd name="T41" fmla="*/ 10 h 116"/>
                <a:gd name="T42" fmla="*/ 42 w 182"/>
                <a:gd name="T43" fmla="*/ 4 h 116"/>
                <a:gd name="T44" fmla="*/ 70 w 182"/>
                <a:gd name="T45" fmla="*/ 2 h 116"/>
                <a:gd name="T46" fmla="*/ 118 w 182"/>
                <a:gd name="T47" fmla="*/ 34 h 116"/>
                <a:gd name="T48" fmla="*/ 126 w 182"/>
                <a:gd name="T49" fmla="*/ 48 h 116"/>
                <a:gd name="T50" fmla="*/ 138 w 182"/>
                <a:gd name="T51" fmla="*/ 34 h 116"/>
                <a:gd name="T52" fmla="*/ 142 w 182"/>
                <a:gd name="T53" fmla="*/ 46 h 116"/>
                <a:gd name="T54" fmla="*/ 152 w 182"/>
                <a:gd name="T55" fmla="*/ 58 h 116"/>
                <a:gd name="T56" fmla="*/ 164 w 182"/>
                <a:gd name="T57" fmla="*/ 66 h 116"/>
                <a:gd name="T58" fmla="*/ 176 w 182"/>
                <a:gd name="T59" fmla="*/ 68 h 116"/>
                <a:gd name="T60" fmla="*/ 178 w 182"/>
                <a:gd name="T61" fmla="*/ 80 h 116"/>
                <a:gd name="T62" fmla="*/ 162 w 182"/>
                <a:gd name="T63" fmla="*/ 82 h 116"/>
                <a:gd name="T64" fmla="*/ 140 w 182"/>
                <a:gd name="T65" fmla="*/ 98 h 116"/>
                <a:gd name="T66" fmla="*/ 144 w 182"/>
                <a:gd name="T67" fmla="*/ 82 h 116"/>
                <a:gd name="T68" fmla="*/ 134 w 182"/>
                <a:gd name="T69" fmla="*/ 92 h 116"/>
                <a:gd name="T70" fmla="*/ 136 w 182"/>
                <a:gd name="T71" fmla="*/ 102 h 116"/>
                <a:gd name="T72" fmla="*/ 136 w 182"/>
                <a:gd name="T73" fmla="*/ 108 h 116"/>
                <a:gd name="T74" fmla="*/ 128 w 182"/>
                <a:gd name="T75" fmla="*/ 106 h 116"/>
                <a:gd name="T76" fmla="*/ 124 w 182"/>
                <a:gd name="T77"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82" h="116">
                  <a:moveTo>
                    <a:pt x="124" y="116"/>
                  </a:moveTo>
                  <a:lnTo>
                    <a:pt x="116" y="110"/>
                  </a:lnTo>
                  <a:lnTo>
                    <a:pt x="108" y="100"/>
                  </a:lnTo>
                  <a:lnTo>
                    <a:pt x="102" y="104"/>
                  </a:lnTo>
                  <a:lnTo>
                    <a:pt x="104" y="110"/>
                  </a:lnTo>
                  <a:lnTo>
                    <a:pt x="96" y="112"/>
                  </a:lnTo>
                  <a:lnTo>
                    <a:pt x="84" y="116"/>
                  </a:lnTo>
                  <a:lnTo>
                    <a:pt x="66" y="110"/>
                  </a:lnTo>
                  <a:lnTo>
                    <a:pt x="64" y="100"/>
                  </a:lnTo>
                  <a:lnTo>
                    <a:pt x="78" y="102"/>
                  </a:lnTo>
                  <a:lnTo>
                    <a:pt x="76" y="98"/>
                  </a:lnTo>
                  <a:lnTo>
                    <a:pt x="62" y="96"/>
                  </a:lnTo>
                  <a:lnTo>
                    <a:pt x="56" y="98"/>
                  </a:lnTo>
                  <a:lnTo>
                    <a:pt x="40" y="86"/>
                  </a:lnTo>
                  <a:lnTo>
                    <a:pt x="52" y="82"/>
                  </a:lnTo>
                  <a:lnTo>
                    <a:pt x="70" y="82"/>
                  </a:lnTo>
                  <a:lnTo>
                    <a:pt x="84" y="82"/>
                  </a:lnTo>
                  <a:lnTo>
                    <a:pt x="96" y="80"/>
                  </a:lnTo>
                  <a:lnTo>
                    <a:pt x="90" y="74"/>
                  </a:lnTo>
                  <a:lnTo>
                    <a:pt x="78" y="72"/>
                  </a:lnTo>
                  <a:lnTo>
                    <a:pt x="62" y="72"/>
                  </a:lnTo>
                  <a:lnTo>
                    <a:pt x="50" y="74"/>
                  </a:lnTo>
                  <a:lnTo>
                    <a:pt x="34" y="72"/>
                  </a:lnTo>
                  <a:lnTo>
                    <a:pt x="24" y="74"/>
                  </a:lnTo>
                  <a:lnTo>
                    <a:pt x="6" y="54"/>
                  </a:lnTo>
                  <a:lnTo>
                    <a:pt x="0" y="44"/>
                  </a:lnTo>
                  <a:lnTo>
                    <a:pt x="8" y="44"/>
                  </a:lnTo>
                  <a:lnTo>
                    <a:pt x="14" y="48"/>
                  </a:lnTo>
                  <a:lnTo>
                    <a:pt x="30" y="50"/>
                  </a:lnTo>
                  <a:lnTo>
                    <a:pt x="36" y="42"/>
                  </a:lnTo>
                  <a:lnTo>
                    <a:pt x="24" y="40"/>
                  </a:lnTo>
                  <a:lnTo>
                    <a:pt x="16" y="38"/>
                  </a:lnTo>
                  <a:lnTo>
                    <a:pt x="14" y="28"/>
                  </a:lnTo>
                  <a:lnTo>
                    <a:pt x="24" y="28"/>
                  </a:lnTo>
                  <a:lnTo>
                    <a:pt x="36" y="30"/>
                  </a:lnTo>
                  <a:lnTo>
                    <a:pt x="42" y="26"/>
                  </a:lnTo>
                  <a:lnTo>
                    <a:pt x="34" y="22"/>
                  </a:lnTo>
                  <a:lnTo>
                    <a:pt x="24" y="18"/>
                  </a:lnTo>
                  <a:lnTo>
                    <a:pt x="26" y="10"/>
                  </a:lnTo>
                  <a:lnTo>
                    <a:pt x="34" y="10"/>
                  </a:lnTo>
                  <a:lnTo>
                    <a:pt x="42" y="12"/>
                  </a:lnTo>
                  <a:lnTo>
                    <a:pt x="58" y="10"/>
                  </a:lnTo>
                  <a:lnTo>
                    <a:pt x="56" y="6"/>
                  </a:lnTo>
                  <a:lnTo>
                    <a:pt x="42" y="4"/>
                  </a:lnTo>
                  <a:lnTo>
                    <a:pt x="46" y="0"/>
                  </a:lnTo>
                  <a:lnTo>
                    <a:pt x="70" y="2"/>
                  </a:lnTo>
                  <a:lnTo>
                    <a:pt x="98" y="30"/>
                  </a:lnTo>
                  <a:lnTo>
                    <a:pt x="118" y="34"/>
                  </a:lnTo>
                  <a:lnTo>
                    <a:pt x="118" y="42"/>
                  </a:lnTo>
                  <a:lnTo>
                    <a:pt x="126" y="48"/>
                  </a:lnTo>
                  <a:lnTo>
                    <a:pt x="130" y="38"/>
                  </a:lnTo>
                  <a:lnTo>
                    <a:pt x="138" y="34"/>
                  </a:lnTo>
                  <a:lnTo>
                    <a:pt x="144" y="36"/>
                  </a:lnTo>
                  <a:lnTo>
                    <a:pt x="142" y="46"/>
                  </a:lnTo>
                  <a:lnTo>
                    <a:pt x="150" y="52"/>
                  </a:lnTo>
                  <a:lnTo>
                    <a:pt x="152" y="58"/>
                  </a:lnTo>
                  <a:lnTo>
                    <a:pt x="150" y="68"/>
                  </a:lnTo>
                  <a:lnTo>
                    <a:pt x="164" y="66"/>
                  </a:lnTo>
                  <a:lnTo>
                    <a:pt x="172" y="68"/>
                  </a:lnTo>
                  <a:lnTo>
                    <a:pt x="176" y="68"/>
                  </a:lnTo>
                  <a:lnTo>
                    <a:pt x="182" y="74"/>
                  </a:lnTo>
                  <a:lnTo>
                    <a:pt x="178" y="80"/>
                  </a:lnTo>
                  <a:lnTo>
                    <a:pt x="172" y="84"/>
                  </a:lnTo>
                  <a:lnTo>
                    <a:pt x="162" y="82"/>
                  </a:lnTo>
                  <a:lnTo>
                    <a:pt x="156" y="84"/>
                  </a:lnTo>
                  <a:lnTo>
                    <a:pt x="140" y="98"/>
                  </a:lnTo>
                  <a:lnTo>
                    <a:pt x="140" y="92"/>
                  </a:lnTo>
                  <a:lnTo>
                    <a:pt x="144" y="82"/>
                  </a:lnTo>
                  <a:lnTo>
                    <a:pt x="138" y="82"/>
                  </a:lnTo>
                  <a:lnTo>
                    <a:pt x="134" y="92"/>
                  </a:lnTo>
                  <a:lnTo>
                    <a:pt x="134" y="96"/>
                  </a:lnTo>
                  <a:lnTo>
                    <a:pt x="136" y="102"/>
                  </a:lnTo>
                  <a:lnTo>
                    <a:pt x="136" y="106"/>
                  </a:lnTo>
                  <a:lnTo>
                    <a:pt x="136" y="108"/>
                  </a:lnTo>
                  <a:lnTo>
                    <a:pt x="134" y="110"/>
                  </a:lnTo>
                  <a:lnTo>
                    <a:pt x="128" y="106"/>
                  </a:lnTo>
                  <a:lnTo>
                    <a:pt x="126" y="104"/>
                  </a:lnTo>
                  <a:lnTo>
                    <a:pt x="124" y="11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52" name="Freeform 26">
              <a:extLst>
                <a:ext uri="{FF2B5EF4-FFF2-40B4-BE49-F238E27FC236}">
                  <a16:creationId xmlns:a16="http://schemas.microsoft.com/office/drawing/2014/main" id="{EEB6626B-C38E-4090-9FF9-9B5FA172CFA3}"/>
                </a:ext>
              </a:extLst>
            </p:cNvPr>
            <p:cNvSpPr>
              <a:spLocks/>
            </p:cNvSpPr>
            <p:nvPr/>
          </p:nvSpPr>
          <p:spPr bwMode="gray">
            <a:xfrm>
              <a:off x="3189850" y="1919441"/>
              <a:ext cx="42928" cy="26557"/>
            </a:xfrm>
            <a:custGeom>
              <a:avLst/>
              <a:gdLst>
                <a:gd name="T0" fmla="*/ 8 w 26"/>
                <a:gd name="T1" fmla="*/ 0 h 16"/>
                <a:gd name="T2" fmla="*/ 18 w 26"/>
                <a:gd name="T3" fmla="*/ 0 h 16"/>
                <a:gd name="T4" fmla="*/ 26 w 26"/>
                <a:gd name="T5" fmla="*/ 6 h 16"/>
                <a:gd name="T6" fmla="*/ 26 w 26"/>
                <a:gd name="T7" fmla="*/ 16 h 16"/>
                <a:gd name="T8" fmla="*/ 18 w 26"/>
                <a:gd name="T9" fmla="*/ 16 h 16"/>
                <a:gd name="T10" fmla="*/ 14 w 26"/>
                <a:gd name="T11" fmla="*/ 12 h 16"/>
                <a:gd name="T12" fmla="*/ 4 w 26"/>
                <a:gd name="T13" fmla="*/ 12 h 16"/>
                <a:gd name="T14" fmla="*/ 0 w 26"/>
                <a:gd name="T15" fmla="*/ 4 h 16"/>
                <a:gd name="T16" fmla="*/ 8 w 26"/>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16">
                  <a:moveTo>
                    <a:pt x="8" y="0"/>
                  </a:moveTo>
                  <a:lnTo>
                    <a:pt x="18" y="0"/>
                  </a:lnTo>
                  <a:lnTo>
                    <a:pt x="26" y="6"/>
                  </a:lnTo>
                  <a:lnTo>
                    <a:pt x="26" y="16"/>
                  </a:lnTo>
                  <a:lnTo>
                    <a:pt x="18" y="16"/>
                  </a:lnTo>
                  <a:lnTo>
                    <a:pt x="14" y="12"/>
                  </a:lnTo>
                  <a:lnTo>
                    <a:pt x="4" y="12"/>
                  </a:lnTo>
                  <a:lnTo>
                    <a:pt x="0" y="4"/>
                  </a:lnTo>
                  <a:lnTo>
                    <a:pt x="8"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53" name="Freeform 27">
              <a:extLst>
                <a:ext uri="{FF2B5EF4-FFF2-40B4-BE49-F238E27FC236}">
                  <a16:creationId xmlns:a16="http://schemas.microsoft.com/office/drawing/2014/main" id="{0AFC2C89-21EA-4762-A1A3-D4D5FF23B5EC}"/>
                </a:ext>
              </a:extLst>
            </p:cNvPr>
            <p:cNvSpPr>
              <a:spLocks/>
            </p:cNvSpPr>
            <p:nvPr/>
          </p:nvSpPr>
          <p:spPr bwMode="gray">
            <a:xfrm>
              <a:off x="3704984" y="2277964"/>
              <a:ext cx="115574" cy="46475"/>
            </a:xfrm>
            <a:custGeom>
              <a:avLst/>
              <a:gdLst>
                <a:gd name="T0" fmla="*/ 4 w 70"/>
                <a:gd name="T1" fmla="*/ 0 h 28"/>
                <a:gd name="T2" fmla="*/ 22 w 70"/>
                <a:gd name="T3" fmla="*/ 0 h 28"/>
                <a:gd name="T4" fmla="*/ 42 w 70"/>
                <a:gd name="T5" fmla="*/ 2 h 28"/>
                <a:gd name="T6" fmla="*/ 62 w 70"/>
                <a:gd name="T7" fmla="*/ 12 h 28"/>
                <a:gd name="T8" fmla="*/ 70 w 70"/>
                <a:gd name="T9" fmla="*/ 22 h 28"/>
                <a:gd name="T10" fmla="*/ 60 w 70"/>
                <a:gd name="T11" fmla="*/ 24 h 28"/>
                <a:gd name="T12" fmla="*/ 46 w 70"/>
                <a:gd name="T13" fmla="*/ 24 h 28"/>
                <a:gd name="T14" fmla="*/ 32 w 70"/>
                <a:gd name="T15" fmla="*/ 24 h 28"/>
                <a:gd name="T16" fmla="*/ 26 w 70"/>
                <a:gd name="T17" fmla="*/ 28 h 28"/>
                <a:gd name="T18" fmla="*/ 14 w 70"/>
                <a:gd name="T19" fmla="*/ 26 h 28"/>
                <a:gd name="T20" fmla="*/ 10 w 70"/>
                <a:gd name="T21" fmla="*/ 16 h 28"/>
                <a:gd name="T22" fmla="*/ 0 w 70"/>
                <a:gd name="T23" fmla="*/ 10 h 28"/>
                <a:gd name="T24" fmla="*/ 0 w 70"/>
                <a:gd name="T25" fmla="*/ 0 h 28"/>
                <a:gd name="T26" fmla="*/ 4 w 70"/>
                <a:gd name="T2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28">
                  <a:moveTo>
                    <a:pt x="4" y="0"/>
                  </a:moveTo>
                  <a:lnTo>
                    <a:pt x="22" y="0"/>
                  </a:lnTo>
                  <a:lnTo>
                    <a:pt x="42" y="2"/>
                  </a:lnTo>
                  <a:lnTo>
                    <a:pt x="62" y="12"/>
                  </a:lnTo>
                  <a:lnTo>
                    <a:pt x="70" y="22"/>
                  </a:lnTo>
                  <a:lnTo>
                    <a:pt x="60" y="24"/>
                  </a:lnTo>
                  <a:lnTo>
                    <a:pt x="46" y="24"/>
                  </a:lnTo>
                  <a:lnTo>
                    <a:pt x="32" y="24"/>
                  </a:lnTo>
                  <a:lnTo>
                    <a:pt x="26" y="28"/>
                  </a:lnTo>
                  <a:lnTo>
                    <a:pt x="14" y="26"/>
                  </a:lnTo>
                  <a:lnTo>
                    <a:pt x="10" y="16"/>
                  </a:lnTo>
                  <a:lnTo>
                    <a:pt x="0" y="10"/>
                  </a:lnTo>
                  <a:lnTo>
                    <a:pt x="0" y="0"/>
                  </a:lnTo>
                  <a:lnTo>
                    <a:pt x="4"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54" name="Freeform 28">
              <a:extLst>
                <a:ext uri="{FF2B5EF4-FFF2-40B4-BE49-F238E27FC236}">
                  <a16:creationId xmlns:a16="http://schemas.microsoft.com/office/drawing/2014/main" id="{D3255A66-4C85-4956-9D1E-4402BCE4304E}"/>
                </a:ext>
              </a:extLst>
            </p:cNvPr>
            <p:cNvSpPr>
              <a:spLocks/>
            </p:cNvSpPr>
            <p:nvPr/>
          </p:nvSpPr>
          <p:spPr bwMode="gray">
            <a:xfrm>
              <a:off x="3794143" y="2536898"/>
              <a:ext cx="59439" cy="49794"/>
            </a:xfrm>
            <a:custGeom>
              <a:avLst/>
              <a:gdLst>
                <a:gd name="T0" fmla="*/ 36 w 36"/>
                <a:gd name="T1" fmla="*/ 4 h 30"/>
                <a:gd name="T2" fmla="*/ 36 w 36"/>
                <a:gd name="T3" fmla="*/ 10 h 30"/>
                <a:gd name="T4" fmla="*/ 34 w 36"/>
                <a:gd name="T5" fmla="*/ 20 h 30"/>
                <a:gd name="T6" fmla="*/ 26 w 36"/>
                <a:gd name="T7" fmla="*/ 26 h 30"/>
                <a:gd name="T8" fmla="*/ 14 w 36"/>
                <a:gd name="T9" fmla="*/ 30 h 30"/>
                <a:gd name="T10" fmla="*/ 0 w 36"/>
                <a:gd name="T11" fmla="*/ 26 h 30"/>
                <a:gd name="T12" fmla="*/ 2 w 36"/>
                <a:gd name="T13" fmla="*/ 12 h 30"/>
                <a:gd name="T14" fmla="*/ 6 w 36"/>
                <a:gd name="T15" fmla="*/ 4 h 30"/>
                <a:gd name="T16" fmla="*/ 12 w 36"/>
                <a:gd name="T17" fmla="*/ 2 h 30"/>
                <a:gd name="T18" fmla="*/ 24 w 36"/>
                <a:gd name="T19" fmla="*/ 0 h 30"/>
                <a:gd name="T20" fmla="*/ 36 w 36"/>
                <a:gd name="T21" fmla="*/ 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30">
                  <a:moveTo>
                    <a:pt x="36" y="4"/>
                  </a:moveTo>
                  <a:lnTo>
                    <a:pt x="36" y="10"/>
                  </a:lnTo>
                  <a:lnTo>
                    <a:pt x="34" y="20"/>
                  </a:lnTo>
                  <a:lnTo>
                    <a:pt x="26" y="26"/>
                  </a:lnTo>
                  <a:lnTo>
                    <a:pt x="14" y="30"/>
                  </a:lnTo>
                  <a:lnTo>
                    <a:pt x="0" y="26"/>
                  </a:lnTo>
                  <a:lnTo>
                    <a:pt x="2" y="12"/>
                  </a:lnTo>
                  <a:lnTo>
                    <a:pt x="6" y="4"/>
                  </a:lnTo>
                  <a:lnTo>
                    <a:pt x="12" y="2"/>
                  </a:lnTo>
                  <a:lnTo>
                    <a:pt x="24" y="0"/>
                  </a:lnTo>
                  <a:lnTo>
                    <a:pt x="36" y="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55" name="Freeform 29">
              <a:extLst>
                <a:ext uri="{FF2B5EF4-FFF2-40B4-BE49-F238E27FC236}">
                  <a16:creationId xmlns:a16="http://schemas.microsoft.com/office/drawing/2014/main" id="{BAED95BD-8909-4D1D-8A96-3A839F2178AD}"/>
                </a:ext>
              </a:extLst>
            </p:cNvPr>
            <p:cNvSpPr>
              <a:spLocks/>
            </p:cNvSpPr>
            <p:nvPr/>
          </p:nvSpPr>
          <p:spPr bwMode="gray">
            <a:xfrm>
              <a:off x="3533273" y="2646447"/>
              <a:ext cx="181618" cy="116189"/>
            </a:xfrm>
            <a:custGeom>
              <a:avLst/>
              <a:gdLst>
                <a:gd name="T0" fmla="*/ 18 w 110"/>
                <a:gd name="T1" fmla="*/ 16 h 70"/>
                <a:gd name="T2" fmla="*/ 18 w 110"/>
                <a:gd name="T3" fmla="*/ 6 h 70"/>
                <a:gd name="T4" fmla="*/ 28 w 110"/>
                <a:gd name="T5" fmla="*/ 0 h 70"/>
                <a:gd name="T6" fmla="*/ 40 w 110"/>
                <a:gd name="T7" fmla="*/ 0 h 70"/>
                <a:gd name="T8" fmla="*/ 40 w 110"/>
                <a:gd name="T9" fmla="*/ 8 h 70"/>
                <a:gd name="T10" fmla="*/ 42 w 110"/>
                <a:gd name="T11" fmla="*/ 12 h 70"/>
                <a:gd name="T12" fmla="*/ 52 w 110"/>
                <a:gd name="T13" fmla="*/ 14 h 70"/>
                <a:gd name="T14" fmla="*/ 54 w 110"/>
                <a:gd name="T15" fmla="*/ 16 h 70"/>
                <a:gd name="T16" fmla="*/ 56 w 110"/>
                <a:gd name="T17" fmla="*/ 20 h 70"/>
                <a:gd name="T18" fmla="*/ 62 w 110"/>
                <a:gd name="T19" fmla="*/ 22 h 70"/>
                <a:gd name="T20" fmla="*/ 70 w 110"/>
                <a:gd name="T21" fmla="*/ 30 h 70"/>
                <a:gd name="T22" fmla="*/ 84 w 110"/>
                <a:gd name="T23" fmla="*/ 32 h 70"/>
                <a:gd name="T24" fmla="*/ 86 w 110"/>
                <a:gd name="T25" fmla="*/ 38 h 70"/>
                <a:gd name="T26" fmla="*/ 88 w 110"/>
                <a:gd name="T27" fmla="*/ 46 h 70"/>
                <a:gd name="T28" fmla="*/ 98 w 110"/>
                <a:gd name="T29" fmla="*/ 46 h 70"/>
                <a:gd name="T30" fmla="*/ 108 w 110"/>
                <a:gd name="T31" fmla="*/ 48 h 70"/>
                <a:gd name="T32" fmla="*/ 110 w 110"/>
                <a:gd name="T33" fmla="*/ 52 h 70"/>
                <a:gd name="T34" fmla="*/ 110 w 110"/>
                <a:gd name="T35" fmla="*/ 56 h 70"/>
                <a:gd name="T36" fmla="*/ 108 w 110"/>
                <a:gd name="T37" fmla="*/ 56 h 70"/>
                <a:gd name="T38" fmla="*/ 106 w 110"/>
                <a:gd name="T39" fmla="*/ 60 h 70"/>
                <a:gd name="T40" fmla="*/ 102 w 110"/>
                <a:gd name="T41" fmla="*/ 60 h 70"/>
                <a:gd name="T42" fmla="*/ 100 w 110"/>
                <a:gd name="T43" fmla="*/ 62 h 70"/>
                <a:gd name="T44" fmla="*/ 90 w 110"/>
                <a:gd name="T45" fmla="*/ 60 h 70"/>
                <a:gd name="T46" fmla="*/ 84 w 110"/>
                <a:gd name="T47" fmla="*/ 58 h 70"/>
                <a:gd name="T48" fmla="*/ 76 w 110"/>
                <a:gd name="T49" fmla="*/ 52 h 70"/>
                <a:gd name="T50" fmla="*/ 68 w 110"/>
                <a:gd name="T51" fmla="*/ 46 h 70"/>
                <a:gd name="T52" fmla="*/ 64 w 110"/>
                <a:gd name="T53" fmla="*/ 42 h 70"/>
                <a:gd name="T54" fmla="*/ 60 w 110"/>
                <a:gd name="T55" fmla="*/ 44 h 70"/>
                <a:gd name="T56" fmla="*/ 58 w 110"/>
                <a:gd name="T57" fmla="*/ 48 h 70"/>
                <a:gd name="T58" fmla="*/ 52 w 110"/>
                <a:gd name="T59" fmla="*/ 56 h 70"/>
                <a:gd name="T60" fmla="*/ 40 w 110"/>
                <a:gd name="T61" fmla="*/ 68 h 70"/>
                <a:gd name="T62" fmla="*/ 24 w 110"/>
                <a:gd name="T63" fmla="*/ 70 h 70"/>
                <a:gd name="T64" fmla="*/ 26 w 110"/>
                <a:gd name="T65" fmla="*/ 56 h 70"/>
                <a:gd name="T66" fmla="*/ 14 w 110"/>
                <a:gd name="T67" fmla="*/ 56 h 70"/>
                <a:gd name="T68" fmla="*/ 10 w 110"/>
                <a:gd name="T69" fmla="*/ 56 h 70"/>
                <a:gd name="T70" fmla="*/ 6 w 110"/>
                <a:gd name="T71" fmla="*/ 62 h 70"/>
                <a:gd name="T72" fmla="*/ 0 w 110"/>
                <a:gd name="T73" fmla="*/ 56 h 70"/>
                <a:gd name="T74" fmla="*/ 6 w 110"/>
                <a:gd name="T75" fmla="*/ 48 h 70"/>
                <a:gd name="T76" fmla="*/ 16 w 110"/>
                <a:gd name="T77" fmla="*/ 38 h 70"/>
                <a:gd name="T78" fmla="*/ 16 w 110"/>
                <a:gd name="T79" fmla="*/ 26 h 70"/>
                <a:gd name="T80" fmla="*/ 18 w 110"/>
                <a:gd name="T81" fmla="*/ 22 h 70"/>
                <a:gd name="T82" fmla="*/ 18 w 110"/>
                <a:gd name="T83" fmla="*/ 1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0" h="70">
                  <a:moveTo>
                    <a:pt x="18" y="16"/>
                  </a:moveTo>
                  <a:lnTo>
                    <a:pt x="18" y="6"/>
                  </a:lnTo>
                  <a:lnTo>
                    <a:pt x="28" y="0"/>
                  </a:lnTo>
                  <a:lnTo>
                    <a:pt x="40" y="0"/>
                  </a:lnTo>
                  <a:lnTo>
                    <a:pt x="40" y="8"/>
                  </a:lnTo>
                  <a:lnTo>
                    <a:pt x="42" y="12"/>
                  </a:lnTo>
                  <a:lnTo>
                    <a:pt x="52" y="14"/>
                  </a:lnTo>
                  <a:lnTo>
                    <a:pt x="54" y="16"/>
                  </a:lnTo>
                  <a:lnTo>
                    <a:pt x="56" y="20"/>
                  </a:lnTo>
                  <a:lnTo>
                    <a:pt x="62" y="22"/>
                  </a:lnTo>
                  <a:lnTo>
                    <a:pt x="70" y="30"/>
                  </a:lnTo>
                  <a:lnTo>
                    <a:pt x="84" y="32"/>
                  </a:lnTo>
                  <a:lnTo>
                    <a:pt x="86" y="38"/>
                  </a:lnTo>
                  <a:lnTo>
                    <a:pt x="88" y="46"/>
                  </a:lnTo>
                  <a:lnTo>
                    <a:pt x="98" y="46"/>
                  </a:lnTo>
                  <a:lnTo>
                    <a:pt x="108" y="48"/>
                  </a:lnTo>
                  <a:lnTo>
                    <a:pt x="110" y="52"/>
                  </a:lnTo>
                  <a:lnTo>
                    <a:pt x="110" y="56"/>
                  </a:lnTo>
                  <a:lnTo>
                    <a:pt x="108" y="56"/>
                  </a:lnTo>
                  <a:lnTo>
                    <a:pt x="106" y="60"/>
                  </a:lnTo>
                  <a:lnTo>
                    <a:pt x="102" y="60"/>
                  </a:lnTo>
                  <a:lnTo>
                    <a:pt x="100" y="62"/>
                  </a:lnTo>
                  <a:lnTo>
                    <a:pt x="90" y="60"/>
                  </a:lnTo>
                  <a:lnTo>
                    <a:pt x="84" y="58"/>
                  </a:lnTo>
                  <a:lnTo>
                    <a:pt x="76" y="52"/>
                  </a:lnTo>
                  <a:lnTo>
                    <a:pt x="68" y="46"/>
                  </a:lnTo>
                  <a:lnTo>
                    <a:pt x="64" y="42"/>
                  </a:lnTo>
                  <a:lnTo>
                    <a:pt x="60" y="44"/>
                  </a:lnTo>
                  <a:lnTo>
                    <a:pt x="58" y="48"/>
                  </a:lnTo>
                  <a:lnTo>
                    <a:pt x="52" y="56"/>
                  </a:lnTo>
                  <a:lnTo>
                    <a:pt x="40" y="68"/>
                  </a:lnTo>
                  <a:lnTo>
                    <a:pt x="24" y="70"/>
                  </a:lnTo>
                  <a:lnTo>
                    <a:pt x="26" y="56"/>
                  </a:lnTo>
                  <a:lnTo>
                    <a:pt x="14" y="56"/>
                  </a:lnTo>
                  <a:lnTo>
                    <a:pt x="10" y="56"/>
                  </a:lnTo>
                  <a:lnTo>
                    <a:pt x="6" y="62"/>
                  </a:lnTo>
                  <a:lnTo>
                    <a:pt x="0" y="56"/>
                  </a:lnTo>
                  <a:lnTo>
                    <a:pt x="6" y="48"/>
                  </a:lnTo>
                  <a:lnTo>
                    <a:pt x="16" y="38"/>
                  </a:lnTo>
                  <a:lnTo>
                    <a:pt x="16" y="26"/>
                  </a:lnTo>
                  <a:lnTo>
                    <a:pt x="18" y="22"/>
                  </a:lnTo>
                  <a:lnTo>
                    <a:pt x="18" y="1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56" name="Freeform 30">
              <a:extLst>
                <a:ext uri="{FF2B5EF4-FFF2-40B4-BE49-F238E27FC236}">
                  <a16:creationId xmlns:a16="http://schemas.microsoft.com/office/drawing/2014/main" id="{B450EB5C-E985-4951-8E97-8ADC7424F98F}"/>
                </a:ext>
              </a:extLst>
            </p:cNvPr>
            <p:cNvSpPr>
              <a:spLocks/>
            </p:cNvSpPr>
            <p:nvPr/>
          </p:nvSpPr>
          <p:spPr bwMode="gray">
            <a:xfrm>
              <a:off x="3216267" y="2467184"/>
              <a:ext cx="112273" cy="59754"/>
            </a:xfrm>
            <a:custGeom>
              <a:avLst/>
              <a:gdLst>
                <a:gd name="T0" fmla="*/ 6 w 68"/>
                <a:gd name="T1" fmla="*/ 26 h 36"/>
                <a:gd name="T2" fmla="*/ 0 w 68"/>
                <a:gd name="T3" fmla="*/ 24 h 36"/>
                <a:gd name="T4" fmla="*/ 10 w 68"/>
                <a:gd name="T5" fmla="*/ 16 h 36"/>
                <a:gd name="T6" fmla="*/ 18 w 68"/>
                <a:gd name="T7" fmla="*/ 10 h 36"/>
                <a:gd name="T8" fmla="*/ 20 w 68"/>
                <a:gd name="T9" fmla="*/ 0 h 36"/>
                <a:gd name="T10" fmla="*/ 28 w 68"/>
                <a:gd name="T11" fmla="*/ 2 h 36"/>
                <a:gd name="T12" fmla="*/ 38 w 68"/>
                <a:gd name="T13" fmla="*/ 6 h 36"/>
                <a:gd name="T14" fmla="*/ 48 w 68"/>
                <a:gd name="T15" fmla="*/ 14 h 36"/>
                <a:gd name="T16" fmla="*/ 60 w 68"/>
                <a:gd name="T17" fmla="*/ 18 h 36"/>
                <a:gd name="T18" fmla="*/ 66 w 68"/>
                <a:gd name="T19" fmla="*/ 24 h 36"/>
                <a:gd name="T20" fmla="*/ 68 w 68"/>
                <a:gd name="T21" fmla="*/ 32 h 36"/>
                <a:gd name="T22" fmla="*/ 64 w 68"/>
                <a:gd name="T23" fmla="*/ 34 h 36"/>
                <a:gd name="T24" fmla="*/ 56 w 68"/>
                <a:gd name="T25" fmla="*/ 36 h 36"/>
                <a:gd name="T26" fmla="*/ 44 w 68"/>
                <a:gd name="T27" fmla="*/ 36 h 36"/>
                <a:gd name="T28" fmla="*/ 28 w 68"/>
                <a:gd name="T29" fmla="*/ 34 h 36"/>
                <a:gd name="T30" fmla="*/ 18 w 68"/>
                <a:gd name="T31" fmla="*/ 30 h 36"/>
                <a:gd name="T32" fmla="*/ 6 w 68"/>
                <a:gd name="T33"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8" h="36">
                  <a:moveTo>
                    <a:pt x="6" y="26"/>
                  </a:moveTo>
                  <a:lnTo>
                    <a:pt x="0" y="24"/>
                  </a:lnTo>
                  <a:lnTo>
                    <a:pt x="10" y="16"/>
                  </a:lnTo>
                  <a:lnTo>
                    <a:pt x="18" y="10"/>
                  </a:lnTo>
                  <a:lnTo>
                    <a:pt x="20" y="0"/>
                  </a:lnTo>
                  <a:lnTo>
                    <a:pt x="28" y="2"/>
                  </a:lnTo>
                  <a:lnTo>
                    <a:pt x="38" y="6"/>
                  </a:lnTo>
                  <a:lnTo>
                    <a:pt x="48" y="14"/>
                  </a:lnTo>
                  <a:lnTo>
                    <a:pt x="60" y="18"/>
                  </a:lnTo>
                  <a:lnTo>
                    <a:pt x="66" y="24"/>
                  </a:lnTo>
                  <a:lnTo>
                    <a:pt x="68" y="32"/>
                  </a:lnTo>
                  <a:lnTo>
                    <a:pt x="64" y="34"/>
                  </a:lnTo>
                  <a:lnTo>
                    <a:pt x="56" y="36"/>
                  </a:lnTo>
                  <a:lnTo>
                    <a:pt x="44" y="36"/>
                  </a:lnTo>
                  <a:lnTo>
                    <a:pt x="28" y="34"/>
                  </a:lnTo>
                  <a:lnTo>
                    <a:pt x="18" y="30"/>
                  </a:lnTo>
                  <a:lnTo>
                    <a:pt x="6" y="2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57" name="Freeform 31">
              <a:extLst>
                <a:ext uri="{FF2B5EF4-FFF2-40B4-BE49-F238E27FC236}">
                  <a16:creationId xmlns:a16="http://schemas.microsoft.com/office/drawing/2014/main" id="{15D174C6-04DA-4682-A35A-CD29E6AED2B6}"/>
                </a:ext>
              </a:extLst>
            </p:cNvPr>
            <p:cNvSpPr>
              <a:spLocks/>
            </p:cNvSpPr>
            <p:nvPr/>
          </p:nvSpPr>
          <p:spPr bwMode="gray">
            <a:xfrm>
              <a:off x="3463928" y="2271325"/>
              <a:ext cx="759493" cy="544424"/>
            </a:xfrm>
            <a:custGeom>
              <a:avLst/>
              <a:gdLst>
                <a:gd name="T0" fmla="*/ 148 w 460"/>
                <a:gd name="T1" fmla="*/ 30 h 328"/>
                <a:gd name="T2" fmla="*/ 154 w 460"/>
                <a:gd name="T3" fmla="*/ 52 h 328"/>
                <a:gd name="T4" fmla="*/ 184 w 460"/>
                <a:gd name="T5" fmla="*/ 36 h 328"/>
                <a:gd name="T6" fmla="*/ 238 w 460"/>
                <a:gd name="T7" fmla="*/ 44 h 328"/>
                <a:gd name="T8" fmla="*/ 250 w 460"/>
                <a:gd name="T9" fmla="*/ 54 h 328"/>
                <a:gd name="T10" fmla="*/ 258 w 460"/>
                <a:gd name="T11" fmla="*/ 58 h 328"/>
                <a:gd name="T12" fmla="*/ 280 w 460"/>
                <a:gd name="T13" fmla="*/ 68 h 328"/>
                <a:gd name="T14" fmla="*/ 284 w 460"/>
                <a:gd name="T15" fmla="*/ 86 h 328"/>
                <a:gd name="T16" fmla="*/ 306 w 460"/>
                <a:gd name="T17" fmla="*/ 90 h 328"/>
                <a:gd name="T18" fmla="*/ 332 w 460"/>
                <a:gd name="T19" fmla="*/ 92 h 328"/>
                <a:gd name="T20" fmla="*/ 324 w 460"/>
                <a:gd name="T21" fmla="*/ 108 h 328"/>
                <a:gd name="T22" fmla="*/ 360 w 460"/>
                <a:gd name="T23" fmla="*/ 116 h 328"/>
                <a:gd name="T24" fmla="*/ 342 w 460"/>
                <a:gd name="T25" fmla="*/ 122 h 328"/>
                <a:gd name="T26" fmla="*/ 368 w 460"/>
                <a:gd name="T27" fmla="*/ 134 h 328"/>
                <a:gd name="T28" fmla="*/ 346 w 460"/>
                <a:gd name="T29" fmla="*/ 136 h 328"/>
                <a:gd name="T30" fmla="*/ 346 w 460"/>
                <a:gd name="T31" fmla="*/ 150 h 328"/>
                <a:gd name="T32" fmla="*/ 382 w 460"/>
                <a:gd name="T33" fmla="*/ 160 h 328"/>
                <a:gd name="T34" fmla="*/ 404 w 460"/>
                <a:gd name="T35" fmla="*/ 174 h 328"/>
                <a:gd name="T36" fmla="*/ 434 w 460"/>
                <a:gd name="T37" fmla="*/ 190 h 328"/>
                <a:gd name="T38" fmla="*/ 460 w 460"/>
                <a:gd name="T39" fmla="*/ 208 h 328"/>
                <a:gd name="T40" fmla="*/ 434 w 460"/>
                <a:gd name="T41" fmla="*/ 216 h 328"/>
                <a:gd name="T42" fmla="*/ 420 w 460"/>
                <a:gd name="T43" fmla="*/ 240 h 328"/>
                <a:gd name="T44" fmla="*/ 386 w 460"/>
                <a:gd name="T45" fmla="*/ 222 h 328"/>
                <a:gd name="T46" fmla="*/ 358 w 460"/>
                <a:gd name="T47" fmla="*/ 230 h 328"/>
                <a:gd name="T48" fmla="*/ 408 w 460"/>
                <a:gd name="T49" fmla="*/ 284 h 328"/>
                <a:gd name="T50" fmla="*/ 394 w 460"/>
                <a:gd name="T51" fmla="*/ 290 h 328"/>
                <a:gd name="T52" fmla="*/ 356 w 460"/>
                <a:gd name="T53" fmla="*/ 290 h 328"/>
                <a:gd name="T54" fmla="*/ 366 w 460"/>
                <a:gd name="T55" fmla="*/ 306 h 328"/>
                <a:gd name="T56" fmla="*/ 354 w 460"/>
                <a:gd name="T57" fmla="*/ 322 h 328"/>
                <a:gd name="T58" fmla="*/ 310 w 460"/>
                <a:gd name="T59" fmla="*/ 314 h 328"/>
                <a:gd name="T60" fmla="*/ 288 w 460"/>
                <a:gd name="T61" fmla="*/ 280 h 328"/>
                <a:gd name="T62" fmla="*/ 256 w 460"/>
                <a:gd name="T63" fmla="*/ 258 h 328"/>
                <a:gd name="T64" fmla="*/ 238 w 460"/>
                <a:gd name="T65" fmla="*/ 260 h 328"/>
                <a:gd name="T66" fmla="*/ 208 w 460"/>
                <a:gd name="T67" fmla="*/ 270 h 328"/>
                <a:gd name="T68" fmla="*/ 202 w 460"/>
                <a:gd name="T69" fmla="*/ 236 h 328"/>
                <a:gd name="T70" fmla="*/ 238 w 460"/>
                <a:gd name="T71" fmla="*/ 240 h 328"/>
                <a:gd name="T72" fmla="*/ 246 w 460"/>
                <a:gd name="T73" fmla="*/ 222 h 328"/>
                <a:gd name="T74" fmla="*/ 272 w 460"/>
                <a:gd name="T75" fmla="*/ 172 h 328"/>
                <a:gd name="T76" fmla="*/ 246 w 460"/>
                <a:gd name="T77" fmla="*/ 156 h 328"/>
                <a:gd name="T78" fmla="*/ 218 w 460"/>
                <a:gd name="T79" fmla="*/ 150 h 328"/>
                <a:gd name="T80" fmla="*/ 212 w 460"/>
                <a:gd name="T81" fmla="*/ 124 h 328"/>
                <a:gd name="T82" fmla="*/ 186 w 460"/>
                <a:gd name="T83" fmla="*/ 106 h 328"/>
                <a:gd name="T84" fmla="*/ 178 w 460"/>
                <a:gd name="T85" fmla="*/ 112 h 328"/>
                <a:gd name="T86" fmla="*/ 130 w 460"/>
                <a:gd name="T87" fmla="*/ 116 h 328"/>
                <a:gd name="T88" fmla="*/ 56 w 460"/>
                <a:gd name="T89" fmla="*/ 110 h 328"/>
                <a:gd name="T90" fmla="*/ 20 w 460"/>
                <a:gd name="T91" fmla="*/ 102 h 328"/>
                <a:gd name="T92" fmla="*/ 32 w 460"/>
                <a:gd name="T93" fmla="*/ 86 h 328"/>
                <a:gd name="T94" fmla="*/ 0 w 460"/>
                <a:gd name="T95" fmla="*/ 72 h 328"/>
                <a:gd name="T96" fmla="*/ 38 w 460"/>
                <a:gd name="T97" fmla="*/ 2 h 328"/>
                <a:gd name="T98" fmla="*/ 64 w 460"/>
                <a:gd name="T99" fmla="*/ 12 h 328"/>
                <a:gd name="T100" fmla="*/ 68 w 460"/>
                <a:gd name="T101" fmla="*/ 76 h 328"/>
                <a:gd name="T102" fmla="*/ 78 w 460"/>
                <a:gd name="T103" fmla="*/ 46 h 328"/>
                <a:gd name="T104" fmla="*/ 108 w 460"/>
                <a:gd name="T105" fmla="*/ 4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60" h="328">
                  <a:moveTo>
                    <a:pt x="134" y="6"/>
                  </a:moveTo>
                  <a:lnTo>
                    <a:pt x="140" y="14"/>
                  </a:lnTo>
                  <a:lnTo>
                    <a:pt x="146" y="22"/>
                  </a:lnTo>
                  <a:lnTo>
                    <a:pt x="148" y="30"/>
                  </a:lnTo>
                  <a:lnTo>
                    <a:pt x="148" y="38"/>
                  </a:lnTo>
                  <a:lnTo>
                    <a:pt x="144" y="42"/>
                  </a:lnTo>
                  <a:lnTo>
                    <a:pt x="144" y="52"/>
                  </a:lnTo>
                  <a:lnTo>
                    <a:pt x="154" y="52"/>
                  </a:lnTo>
                  <a:lnTo>
                    <a:pt x="158" y="42"/>
                  </a:lnTo>
                  <a:lnTo>
                    <a:pt x="168" y="42"/>
                  </a:lnTo>
                  <a:lnTo>
                    <a:pt x="180" y="50"/>
                  </a:lnTo>
                  <a:lnTo>
                    <a:pt x="184" y="36"/>
                  </a:lnTo>
                  <a:lnTo>
                    <a:pt x="198" y="34"/>
                  </a:lnTo>
                  <a:lnTo>
                    <a:pt x="214" y="34"/>
                  </a:lnTo>
                  <a:lnTo>
                    <a:pt x="230" y="40"/>
                  </a:lnTo>
                  <a:lnTo>
                    <a:pt x="238" y="44"/>
                  </a:lnTo>
                  <a:lnTo>
                    <a:pt x="228" y="50"/>
                  </a:lnTo>
                  <a:lnTo>
                    <a:pt x="226" y="58"/>
                  </a:lnTo>
                  <a:lnTo>
                    <a:pt x="240" y="52"/>
                  </a:lnTo>
                  <a:lnTo>
                    <a:pt x="250" y="54"/>
                  </a:lnTo>
                  <a:lnTo>
                    <a:pt x="244" y="60"/>
                  </a:lnTo>
                  <a:lnTo>
                    <a:pt x="238" y="68"/>
                  </a:lnTo>
                  <a:lnTo>
                    <a:pt x="246" y="66"/>
                  </a:lnTo>
                  <a:lnTo>
                    <a:pt x="258" y="58"/>
                  </a:lnTo>
                  <a:lnTo>
                    <a:pt x="260" y="66"/>
                  </a:lnTo>
                  <a:lnTo>
                    <a:pt x="254" y="74"/>
                  </a:lnTo>
                  <a:lnTo>
                    <a:pt x="264" y="74"/>
                  </a:lnTo>
                  <a:lnTo>
                    <a:pt x="280" y="68"/>
                  </a:lnTo>
                  <a:lnTo>
                    <a:pt x="290" y="70"/>
                  </a:lnTo>
                  <a:lnTo>
                    <a:pt x="296" y="76"/>
                  </a:lnTo>
                  <a:lnTo>
                    <a:pt x="292" y="80"/>
                  </a:lnTo>
                  <a:lnTo>
                    <a:pt x="284" y="86"/>
                  </a:lnTo>
                  <a:lnTo>
                    <a:pt x="290" y="90"/>
                  </a:lnTo>
                  <a:lnTo>
                    <a:pt x="300" y="86"/>
                  </a:lnTo>
                  <a:lnTo>
                    <a:pt x="306" y="84"/>
                  </a:lnTo>
                  <a:lnTo>
                    <a:pt x="306" y="90"/>
                  </a:lnTo>
                  <a:lnTo>
                    <a:pt x="298" y="98"/>
                  </a:lnTo>
                  <a:lnTo>
                    <a:pt x="304" y="98"/>
                  </a:lnTo>
                  <a:lnTo>
                    <a:pt x="320" y="92"/>
                  </a:lnTo>
                  <a:lnTo>
                    <a:pt x="332" y="92"/>
                  </a:lnTo>
                  <a:lnTo>
                    <a:pt x="342" y="96"/>
                  </a:lnTo>
                  <a:lnTo>
                    <a:pt x="342" y="100"/>
                  </a:lnTo>
                  <a:lnTo>
                    <a:pt x="334" y="104"/>
                  </a:lnTo>
                  <a:lnTo>
                    <a:pt x="324" y="108"/>
                  </a:lnTo>
                  <a:lnTo>
                    <a:pt x="332" y="112"/>
                  </a:lnTo>
                  <a:lnTo>
                    <a:pt x="350" y="108"/>
                  </a:lnTo>
                  <a:lnTo>
                    <a:pt x="356" y="110"/>
                  </a:lnTo>
                  <a:lnTo>
                    <a:pt x="360" y="116"/>
                  </a:lnTo>
                  <a:lnTo>
                    <a:pt x="362" y="122"/>
                  </a:lnTo>
                  <a:lnTo>
                    <a:pt x="354" y="122"/>
                  </a:lnTo>
                  <a:lnTo>
                    <a:pt x="348" y="122"/>
                  </a:lnTo>
                  <a:lnTo>
                    <a:pt x="342" y="122"/>
                  </a:lnTo>
                  <a:lnTo>
                    <a:pt x="342" y="128"/>
                  </a:lnTo>
                  <a:lnTo>
                    <a:pt x="352" y="128"/>
                  </a:lnTo>
                  <a:lnTo>
                    <a:pt x="362" y="128"/>
                  </a:lnTo>
                  <a:lnTo>
                    <a:pt x="368" y="134"/>
                  </a:lnTo>
                  <a:lnTo>
                    <a:pt x="370" y="138"/>
                  </a:lnTo>
                  <a:lnTo>
                    <a:pt x="368" y="138"/>
                  </a:lnTo>
                  <a:lnTo>
                    <a:pt x="362" y="138"/>
                  </a:lnTo>
                  <a:lnTo>
                    <a:pt x="346" y="136"/>
                  </a:lnTo>
                  <a:lnTo>
                    <a:pt x="344" y="138"/>
                  </a:lnTo>
                  <a:lnTo>
                    <a:pt x="342" y="140"/>
                  </a:lnTo>
                  <a:lnTo>
                    <a:pt x="342" y="144"/>
                  </a:lnTo>
                  <a:lnTo>
                    <a:pt x="346" y="150"/>
                  </a:lnTo>
                  <a:lnTo>
                    <a:pt x="354" y="156"/>
                  </a:lnTo>
                  <a:lnTo>
                    <a:pt x="362" y="156"/>
                  </a:lnTo>
                  <a:lnTo>
                    <a:pt x="370" y="154"/>
                  </a:lnTo>
                  <a:lnTo>
                    <a:pt x="382" y="160"/>
                  </a:lnTo>
                  <a:lnTo>
                    <a:pt x="382" y="166"/>
                  </a:lnTo>
                  <a:lnTo>
                    <a:pt x="388" y="168"/>
                  </a:lnTo>
                  <a:lnTo>
                    <a:pt x="398" y="170"/>
                  </a:lnTo>
                  <a:lnTo>
                    <a:pt x="404" y="174"/>
                  </a:lnTo>
                  <a:lnTo>
                    <a:pt x="406" y="180"/>
                  </a:lnTo>
                  <a:lnTo>
                    <a:pt x="416" y="180"/>
                  </a:lnTo>
                  <a:lnTo>
                    <a:pt x="424" y="182"/>
                  </a:lnTo>
                  <a:lnTo>
                    <a:pt x="434" y="190"/>
                  </a:lnTo>
                  <a:lnTo>
                    <a:pt x="438" y="194"/>
                  </a:lnTo>
                  <a:lnTo>
                    <a:pt x="450" y="196"/>
                  </a:lnTo>
                  <a:lnTo>
                    <a:pt x="460" y="204"/>
                  </a:lnTo>
                  <a:lnTo>
                    <a:pt x="460" y="208"/>
                  </a:lnTo>
                  <a:lnTo>
                    <a:pt x="460" y="212"/>
                  </a:lnTo>
                  <a:lnTo>
                    <a:pt x="458" y="214"/>
                  </a:lnTo>
                  <a:lnTo>
                    <a:pt x="444" y="216"/>
                  </a:lnTo>
                  <a:lnTo>
                    <a:pt x="434" y="216"/>
                  </a:lnTo>
                  <a:lnTo>
                    <a:pt x="436" y="226"/>
                  </a:lnTo>
                  <a:lnTo>
                    <a:pt x="430" y="232"/>
                  </a:lnTo>
                  <a:lnTo>
                    <a:pt x="420" y="232"/>
                  </a:lnTo>
                  <a:lnTo>
                    <a:pt x="420" y="240"/>
                  </a:lnTo>
                  <a:lnTo>
                    <a:pt x="414" y="248"/>
                  </a:lnTo>
                  <a:lnTo>
                    <a:pt x="398" y="240"/>
                  </a:lnTo>
                  <a:lnTo>
                    <a:pt x="390" y="230"/>
                  </a:lnTo>
                  <a:lnTo>
                    <a:pt x="386" y="222"/>
                  </a:lnTo>
                  <a:lnTo>
                    <a:pt x="364" y="208"/>
                  </a:lnTo>
                  <a:lnTo>
                    <a:pt x="356" y="212"/>
                  </a:lnTo>
                  <a:lnTo>
                    <a:pt x="360" y="222"/>
                  </a:lnTo>
                  <a:lnTo>
                    <a:pt x="358" y="230"/>
                  </a:lnTo>
                  <a:lnTo>
                    <a:pt x="364" y="244"/>
                  </a:lnTo>
                  <a:lnTo>
                    <a:pt x="376" y="256"/>
                  </a:lnTo>
                  <a:lnTo>
                    <a:pt x="394" y="270"/>
                  </a:lnTo>
                  <a:lnTo>
                    <a:pt x="408" y="284"/>
                  </a:lnTo>
                  <a:lnTo>
                    <a:pt x="406" y="290"/>
                  </a:lnTo>
                  <a:lnTo>
                    <a:pt x="400" y="288"/>
                  </a:lnTo>
                  <a:lnTo>
                    <a:pt x="396" y="288"/>
                  </a:lnTo>
                  <a:lnTo>
                    <a:pt x="394" y="290"/>
                  </a:lnTo>
                  <a:lnTo>
                    <a:pt x="400" y="304"/>
                  </a:lnTo>
                  <a:lnTo>
                    <a:pt x="394" y="310"/>
                  </a:lnTo>
                  <a:lnTo>
                    <a:pt x="378" y="302"/>
                  </a:lnTo>
                  <a:lnTo>
                    <a:pt x="356" y="290"/>
                  </a:lnTo>
                  <a:lnTo>
                    <a:pt x="344" y="278"/>
                  </a:lnTo>
                  <a:lnTo>
                    <a:pt x="338" y="282"/>
                  </a:lnTo>
                  <a:lnTo>
                    <a:pt x="348" y="292"/>
                  </a:lnTo>
                  <a:lnTo>
                    <a:pt x="366" y="306"/>
                  </a:lnTo>
                  <a:lnTo>
                    <a:pt x="370" y="312"/>
                  </a:lnTo>
                  <a:lnTo>
                    <a:pt x="374" y="320"/>
                  </a:lnTo>
                  <a:lnTo>
                    <a:pt x="378" y="328"/>
                  </a:lnTo>
                  <a:lnTo>
                    <a:pt x="354" y="322"/>
                  </a:lnTo>
                  <a:lnTo>
                    <a:pt x="334" y="314"/>
                  </a:lnTo>
                  <a:lnTo>
                    <a:pt x="320" y="304"/>
                  </a:lnTo>
                  <a:lnTo>
                    <a:pt x="312" y="304"/>
                  </a:lnTo>
                  <a:lnTo>
                    <a:pt x="310" y="314"/>
                  </a:lnTo>
                  <a:lnTo>
                    <a:pt x="296" y="298"/>
                  </a:lnTo>
                  <a:lnTo>
                    <a:pt x="290" y="290"/>
                  </a:lnTo>
                  <a:lnTo>
                    <a:pt x="294" y="286"/>
                  </a:lnTo>
                  <a:lnTo>
                    <a:pt x="288" y="280"/>
                  </a:lnTo>
                  <a:lnTo>
                    <a:pt x="280" y="282"/>
                  </a:lnTo>
                  <a:lnTo>
                    <a:pt x="272" y="274"/>
                  </a:lnTo>
                  <a:lnTo>
                    <a:pt x="262" y="264"/>
                  </a:lnTo>
                  <a:lnTo>
                    <a:pt x="256" y="258"/>
                  </a:lnTo>
                  <a:lnTo>
                    <a:pt x="244" y="254"/>
                  </a:lnTo>
                  <a:lnTo>
                    <a:pt x="238" y="250"/>
                  </a:lnTo>
                  <a:lnTo>
                    <a:pt x="238" y="258"/>
                  </a:lnTo>
                  <a:lnTo>
                    <a:pt x="238" y="260"/>
                  </a:lnTo>
                  <a:lnTo>
                    <a:pt x="236" y="262"/>
                  </a:lnTo>
                  <a:lnTo>
                    <a:pt x="224" y="262"/>
                  </a:lnTo>
                  <a:lnTo>
                    <a:pt x="218" y="266"/>
                  </a:lnTo>
                  <a:lnTo>
                    <a:pt x="208" y="270"/>
                  </a:lnTo>
                  <a:lnTo>
                    <a:pt x="194" y="268"/>
                  </a:lnTo>
                  <a:lnTo>
                    <a:pt x="186" y="258"/>
                  </a:lnTo>
                  <a:lnTo>
                    <a:pt x="188" y="246"/>
                  </a:lnTo>
                  <a:lnTo>
                    <a:pt x="202" y="236"/>
                  </a:lnTo>
                  <a:lnTo>
                    <a:pt x="214" y="238"/>
                  </a:lnTo>
                  <a:lnTo>
                    <a:pt x="226" y="242"/>
                  </a:lnTo>
                  <a:lnTo>
                    <a:pt x="232" y="246"/>
                  </a:lnTo>
                  <a:lnTo>
                    <a:pt x="238" y="240"/>
                  </a:lnTo>
                  <a:lnTo>
                    <a:pt x="246" y="236"/>
                  </a:lnTo>
                  <a:lnTo>
                    <a:pt x="258" y="232"/>
                  </a:lnTo>
                  <a:lnTo>
                    <a:pt x="254" y="228"/>
                  </a:lnTo>
                  <a:lnTo>
                    <a:pt x="246" y="222"/>
                  </a:lnTo>
                  <a:lnTo>
                    <a:pt x="254" y="210"/>
                  </a:lnTo>
                  <a:lnTo>
                    <a:pt x="268" y="202"/>
                  </a:lnTo>
                  <a:lnTo>
                    <a:pt x="280" y="190"/>
                  </a:lnTo>
                  <a:lnTo>
                    <a:pt x="272" y="172"/>
                  </a:lnTo>
                  <a:lnTo>
                    <a:pt x="264" y="160"/>
                  </a:lnTo>
                  <a:lnTo>
                    <a:pt x="256" y="160"/>
                  </a:lnTo>
                  <a:lnTo>
                    <a:pt x="254" y="152"/>
                  </a:lnTo>
                  <a:lnTo>
                    <a:pt x="246" y="156"/>
                  </a:lnTo>
                  <a:lnTo>
                    <a:pt x="240" y="148"/>
                  </a:lnTo>
                  <a:lnTo>
                    <a:pt x="240" y="142"/>
                  </a:lnTo>
                  <a:lnTo>
                    <a:pt x="228" y="142"/>
                  </a:lnTo>
                  <a:lnTo>
                    <a:pt x="218" y="150"/>
                  </a:lnTo>
                  <a:lnTo>
                    <a:pt x="210" y="142"/>
                  </a:lnTo>
                  <a:lnTo>
                    <a:pt x="222" y="134"/>
                  </a:lnTo>
                  <a:lnTo>
                    <a:pt x="218" y="128"/>
                  </a:lnTo>
                  <a:lnTo>
                    <a:pt x="212" y="124"/>
                  </a:lnTo>
                  <a:lnTo>
                    <a:pt x="202" y="114"/>
                  </a:lnTo>
                  <a:lnTo>
                    <a:pt x="196" y="120"/>
                  </a:lnTo>
                  <a:lnTo>
                    <a:pt x="190" y="112"/>
                  </a:lnTo>
                  <a:lnTo>
                    <a:pt x="186" y="106"/>
                  </a:lnTo>
                  <a:lnTo>
                    <a:pt x="178" y="98"/>
                  </a:lnTo>
                  <a:lnTo>
                    <a:pt x="172" y="100"/>
                  </a:lnTo>
                  <a:lnTo>
                    <a:pt x="176" y="106"/>
                  </a:lnTo>
                  <a:lnTo>
                    <a:pt x="178" y="112"/>
                  </a:lnTo>
                  <a:lnTo>
                    <a:pt x="172" y="116"/>
                  </a:lnTo>
                  <a:lnTo>
                    <a:pt x="158" y="116"/>
                  </a:lnTo>
                  <a:lnTo>
                    <a:pt x="136" y="110"/>
                  </a:lnTo>
                  <a:lnTo>
                    <a:pt x="130" y="116"/>
                  </a:lnTo>
                  <a:lnTo>
                    <a:pt x="118" y="118"/>
                  </a:lnTo>
                  <a:lnTo>
                    <a:pt x="90" y="114"/>
                  </a:lnTo>
                  <a:lnTo>
                    <a:pt x="74" y="110"/>
                  </a:lnTo>
                  <a:lnTo>
                    <a:pt x="56" y="110"/>
                  </a:lnTo>
                  <a:lnTo>
                    <a:pt x="48" y="104"/>
                  </a:lnTo>
                  <a:lnTo>
                    <a:pt x="40" y="100"/>
                  </a:lnTo>
                  <a:lnTo>
                    <a:pt x="32" y="106"/>
                  </a:lnTo>
                  <a:lnTo>
                    <a:pt x="20" y="102"/>
                  </a:lnTo>
                  <a:lnTo>
                    <a:pt x="8" y="94"/>
                  </a:lnTo>
                  <a:lnTo>
                    <a:pt x="8" y="84"/>
                  </a:lnTo>
                  <a:lnTo>
                    <a:pt x="16" y="84"/>
                  </a:lnTo>
                  <a:lnTo>
                    <a:pt x="32" y="86"/>
                  </a:lnTo>
                  <a:lnTo>
                    <a:pt x="38" y="82"/>
                  </a:lnTo>
                  <a:lnTo>
                    <a:pt x="32" y="76"/>
                  </a:lnTo>
                  <a:lnTo>
                    <a:pt x="16" y="78"/>
                  </a:lnTo>
                  <a:lnTo>
                    <a:pt x="0" y="72"/>
                  </a:lnTo>
                  <a:lnTo>
                    <a:pt x="0" y="50"/>
                  </a:lnTo>
                  <a:lnTo>
                    <a:pt x="8" y="30"/>
                  </a:lnTo>
                  <a:lnTo>
                    <a:pt x="20" y="14"/>
                  </a:lnTo>
                  <a:lnTo>
                    <a:pt x="38" y="2"/>
                  </a:lnTo>
                  <a:lnTo>
                    <a:pt x="52" y="0"/>
                  </a:lnTo>
                  <a:lnTo>
                    <a:pt x="82" y="2"/>
                  </a:lnTo>
                  <a:lnTo>
                    <a:pt x="76" y="8"/>
                  </a:lnTo>
                  <a:lnTo>
                    <a:pt x="64" y="12"/>
                  </a:lnTo>
                  <a:lnTo>
                    <a:pt x="54" y="28"/>
                  </a:lnTo>
                  <a:lnTo>
                    <a:pt x="54" y="40"/>
                  </a:lnTo>
                  <a:lnTo>
                    <a:pt x="54" y="50"/>
                  </a:lnTo>
                  <a:lnTo>
                    <a:pt x="68" y="76"/>
                  </a:lnTo>
                  <a:lnTo>
                    <a:pt x="82" y="72"/>
                  </a:lnTo>
                  <a:lnTo>
                    <a:pt x="76" y="64"/>
                  </a:lnTo>
                  <a:lnTo>
                    <a:pt x="66" y="50"/>
                  </a:lnTo>
                  <a:lnTo>
                    <a:pt x="78" y="46"/>
                  </a:lnTo>
                  <a:lnTo>
                    <a:pt x="70" y="38"/>
                  </a:lnTo>
                  <a:lnTo>
                    <a:pt x="72" y="26"/>
                  </a:lnTo>
                  <a:lnTo>
                    <a:pt x="84" y="16"/>
                  </a:lnTo>
                  <a:lnTo>
                    <a:pt x="108" y="4"/>
                  </a:lnTo>
                  <a:lnTo>
                    <a:pt x="122" y="2"/>
                  </a:lnTo>
                  <a:lnTo>
                    <a:pt x="134" y="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58" name="Freeform 32">
              <a:extLst>
                <a:ext uri="{FF2B5EF4-FFF2-40B4-BE49-F238E27FC236}">
                  <a16:creationId xmlns:a16="http://schemas.microsoft.com/office/drawing/2014/main" id="{163577DB-5F73-4230-81A7-5773DDBBC931}"/>
                </a:ext>
              </a:extLst>
            </p:cNvPr>
            <p:cNvSpPr>
              <a:spLocks/>
            </p:cNvSpPr>
            <p:nvPr/>
          </p:nvSpPr>
          <p:spPr bwMode="gray">
            <a:xfrm>
              <a:off x="3612525" y="2769274"/>
              <a:ext cx="59439" cy="36517"/>
            </a:xfrm>
            <a:custGeom>
              <a:avLst/>
              <a:gdLst>
                <a:gd name="T0" fmla="*/ 34 w 36"/>
                <a:gd name="T1" fmla="*/ 0 h 22"/>
                <a:gd name="T2" fmla="*/ 22 w 36"/>
                <a:gd name="T3" fmla="*/ 0 h 22"/>
                <a:gd name="T4" fmla="*/ 8 w 36"/>
                <a:gd name="T5" fmla="*/ 6 h 22"/>
                <a:gd name="T6" fmla="*/ 4 w 36"/>
                <a:gd name="T7" fmla="*/ 10 h 22"/>
                <a:gd name="T8" fmla="*/ 2 w 36"/>
                <a:gd name="T9" fmla="*/ 12 h 22"/>
                <a:gd name="T10" fmla="*/ 0 w 36"/>
                <a:gd name="T11" fmla="*/ 14 h 22"/>
                <a:gd name="T12" fmla="*/ 6 w 36"/>
                <a:gd name="T13" fmla="*/ 18 h 22"/>
                <a:gd name="T14" fmla="*/ 10 w 36"/>
                <a:gd name="T15" fmla="*/ 22 h 22"/>
                <a:gd name="T16" fmla="*/ 22 w 36"/>
                <a:gd name="T17" fmla="*/ 18 h 22"/>
                <a:gd name="T18" fmla="*/ 30 w 36"/>
                <a:gd name="T19" fmla="*/ 12 h 22"/>
                <a:gd name="T20" fmla="*/ 36 w 36"/>
                <a:gd name="T21" fmla="*/ 4 h 22"/>
                <a:gd name="T22" fmla="*/ 34 w 36"/>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22">
                  <a:moveTo>
                    <a:pt x="34" y="0"/>
                  </a:moveTo>
                  <a:lnTo>
                    <a:pt x="22" y="0"/>
                  </a:lnTo>
                  <a:lnTo>
                    <a:pt x="8" y="6"/>
                  </a:lnTo>
                  <a:lnTo>
                    <a:pt x="4" y="10"/>
                  </a:lnTo>
                  <a:lnTo>
                    <a:pt x="2" y="12"/>
                  </a:lnTo>
                  <a:lnTo>
                    <a:pt x="0" y="14"/>
                  </a:lnTo>
                  <a:lnTo>
                    <a:pt x="6" y="18"/>
                  </a:lnTo>
                  <a:lnTo>
                    <a:pt x="10" y="22"/>
                  </a:lnTo>
                  <a:lnTo>
                    <a:pt x="22" y="18"/>
                  </a:lnTo>
                  <a:lnTo>
                    <a:pt x="30" y="12"/>
                  </a:lnTo>
                  <a:lnTo>
                    <a:pt x="36" y="4"/>
                  </a:lnTo>
                  <a:lnTo>
                    <a:pt x="34"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59" name="Freeform 33">
              <a:extLst>
                <a:ext uri="{FF2B5EF4-FFF2-40B4-BE49-F238E27FC236}">
                  <a16:creationId xmlns:a16="http://schemas.microsoft.com/office/drawing/2014/main" id="{D1850797-833E-4471-BD3C-F5FA8F31D6CB}"/>
                </a:ext>
              </a:extLst>
            </p:cNvPr>
            <p:cNvSpPr>
              <a:spLocks/>
            </p:cNvSpPr>
            <p:nvPr/>
          </p:nvSpPr>
          <p:spPr bwMode="gray">
            <a:xfrm>
              <a:off x="3714890" y="2792512"/>
              <a:ext cx="29719" cy="36517"/>
            </a:xfrm>
            <a:custGeom>
              <a:avLst/>
              <a:gdLst>
                <a:gd name="T0" fmla="*/ 8 w 18"/>
                <a:gd name="T1" fmla="*/ 0 h 22"/>
                <a:gd name="T2" fmla="*/ 2 w 18"/>
                <a:gd name="T3" fmla="*/ 6 h 22"/>
                <a:gd name="T4" fmla="*/ 0 w 18"/>
                <a:gd name="T5" fmla="*/ 14 h 22"/>
                <a:gd name="T6" fmla="*/ 8 w 18"/>
                <a:gd name="T7" fmla="*/ 22 h 22"/>
                <a:gd name="T8" fmla="*/ 18 w 18"/>
                <a:gd name="T9" fmla="*/ 10 h 22"/>
                <a:gd name="T10" fmla="*/ 16 w 18"/>
                <a:gd name="T11" fmla="*/ 2 h 22"/>
                <a:gd name="T12" fmla="*/ 8 w 18"/>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8" h="22">
                  <a:moveTo>
                    <a:pt x="8" y="0"/>
                  </a:moveTo>
                  <a:lnTo>
                    <a:pt x="2" y="6"/>
                  </a:lnTo>
                  <a:lnTo>
                    <a:pt x="0" y="14"/>
                  </a:lnTo>
                  <a:lnTo>
                    <a:pt x="8" y="22"/>
                  </a:lnTo>
                  <a:lnTo>
                    <a:pt x="18" y="10"/>
                  </a:lnTo>
                  <a:lnTo>
                    <a:pt x="16" y="2"/>
                  </a:lnTo>
                  <a:lnTo>
                    <a:pt x="8"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60" name="Freeform 34">
              <a:extLst>
                <a:ext uri="{FF2B5EF4-FFF2-40B4-BE49-F238E27FC236}">
                  <a16:creationId xmlns:a16="http://schemas.microsoft.com/office/drawing/2014/main" id="{012C184B-68CC-47DF-AE7D-5A7149D1B3BC}"/>
                </a:ext>
              </a:extLst>
            </p:cNvPr>
            <p:cNvSpPr>
              <a:spLocks/>
            </p:cNvSpPr>
            <p:nvPr/>
          </p:nvSpPr>
          <p:spPr bwMode="gray">
            <a:xfrm>
              <a:off x="2806801" y="2042269"/>
              <a:ext cx="36323" cy="23237"/>
            </a:xfrm>
            <a:custGeom>
              <a:avLst/>
              <a:gdLst>
                <a:gd name="T0" fmla="*/ 8 w 22"/>
                <a:gd name="T1" fmla="*/ 0 h 14"/>
                <a:gd name="T2" fmla="*/ 16 w 22"/>
                <a:gd name="T3" fmla="*/ 2 h 14"/>
                <a:gd name="T4" fmla="*/ 22 w 22"/>
                <a:gd name="T5" fmla="*/ 8 h 14"/>
                <a:gd name="T6" fmla="*/ 20 w 22"/>
                <a:gd name="T7" fmla="*/ 12 h 14"/>
                <a:gd name="T8" fmla="*/ 10 w 22"/>
                <a:gd name="T9" fmla="*/ 14 h 14"/>
                <a:gd name="T10" fmla="*/ 2 w 22"/>
                <a:gd name="T11" fmla="*/ 8 h 14"/>
                <a:gd name="T12" fmla="*/ 0 w 22"/>
                <a:gd name="T13" fmla="*/ 2 h 14"/>
                <a:gd name="T14" fmla="*/ 8 w 22"/>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8" y="0"/>
                  </a:moveTo>
                  <a:lnTo>
                    <a:pt x="16" y="2"/>
                  </a:lnTo>
                  <a:lnTo>
                    <a:pt x="22" y="8"/>
                  </a:lnTo>
                  <a:lnTo>
                    <a:pt x="20" y="12"/>
                  </a:lnTo>
                  <a:lnTo>
                    <a:pt x="10" y="14"/>
                  </a:lnTo>
                  <a:lnTo>
                    <a:pt x="2" y="8"/>
                  </a:lnTo>
                  <a:lnTo>
                    <a:pt x="0" y="2"/>
                  </a:lnTo>
                  <a:lnTo>
                    <a:pt x="8"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61" name="Freeform 35">
              <a:extLst>
                <a:ext uri="{FF2B5EF4-FFF2-40B4-BE49-F238E27FC236}">
                  <a16:creationId xmlns:a16="http://schemas.microsoft.com/office/drawing/2014/main" id="{5D21324C-CA9A-4325-8871-36F64136B556}"/>
                </a:ext>
              </a:extLst>
            </p:cNvPr>
            <p:cNvSpPr>
              <a:spLocks/>
            </p:cNvSpPr>
            <p:nvPr/>
          </p:nvSpPr>
          <p:spPr bwMode="gray">
            <a:xfrm>
              <a:off x="3863487" y="2540218"/>
              <a:ext cx="33021" cy="26557"/>
            </a:xfrm>
            <a:custGeom>
              <a:avLst/>
              <a:gdLst>
                <a:gd name="T0" fmla="*/ 8 w 20"/>
                <a:gd name="T1" fmla="*/ 0 h 16"/>
                <a:gd name="T2" fmla="*/ 16 w 20"/>
                <a:gd name="T3" fmla="*/ 6 h 16"/>
                <a:gd name="T4" fmla="*/ 20 w 20"/>
                <a:gd name="T5" fmla="*/ 12 h 16"/>
                <a:gd name="T6" fmla="*/ 16 w 20"/>
                <a:gd name="T7" fmla="*/ 16 h 16"/>
                <a:gd name="T8" fmla="*/ 6 w 20"/>
                <a:gd name="T9" fmla="*/ 14 h 16"/>
                <a:gd name="T10" fmla="*/ 0 w 20"/>
                <a:gd name="T11" fmla="*/ 10 h 16"/>
                <a:gd name="T12" fmla="*/ 0 w 20"/>
                <a:gd name="T13" fmla="*/ 2 h 16"/>
                <a:gd name="T14" fmla="*/ 8 w 20"/>
                <a:gd name="T15" fmla="*/ 0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6">
                  <a:moveTo>
                    <a:pt x="8" y="0"/>
                  </a:moveTo>
                  <a:lnTo>
                    <a:pt x="16" y="6"/>
                  </a:lnTo>
                  <a:lnTo>
                    <a:pt x="20" y="12"/>
                  </a:lnTo>
                  <a:lnTo>
                    <a:pt x="16" y="16"/>
                  </a:lnTo>
                  <a:lnTo>
                    <a:pt x="6" y="14"/>
                  </a:lnTo>
                  <a:lnTo>
                    <a:pt x="0" y="10"/>
                  </a:lnTo>
                  <a:lnTo>
                    <a:pt x="0" y="2"/>
                  </a:lnTo>
                  <a:lnTo>
                    <a:pt x="8"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62" name="Freeform 36">
              <a:extLst>
                <a:ext uri="{FF2B5EF4-FFF2-40B4-BE49-F238E27FC236}">
                  <a16:creationId xmlns:a16="http://schemas.microsoft.com/office/drawing/2014/main" id="{1BC51CA6-35BF-4472-AFA6-FCD5B617FF98}"/>
                </a:ext>
              </a:extLst>
            </p:cNvPr>
            <p:cNvSpPr>
              <a:spLocks/>
            </p:cNvSpPr>
            <p:nvPr/>
          </p:nvSpPr>
          <p:spPr bwMode="gray">
            <a:xfrm>
              <a:off x="4137565" y="3260583"/>
              <a:ext cx="62740" cy="29876"/>
            </a:xfrm>
            <a:custGeom>
              <a:avLst/>
              <a:gdLst>
                <a:gd name="T0" fmla="*/ 0 w 38"/>
                <a:gd name="T1" fmla="*/ 2 h 18"/>
                <a:gd name="T2" fmla="*/ 8 w 38"/>
                <a:gd name="T3" fmla="*/ 8 h 18"/>
                <a:gd name="T4" fmla="*/ 18 w 38"/>
                <a:gd name="T5" fmla="*/ 14 h 18"/>
                <a:gd name="T6" fmla="*/ 34 w 38"/>
                <a:gd name="T7" fmla="*/ 18 h 18"/>
                <a:gd name="T8" fmla="*/ 38 w 38"/>
                <a:gd name="T9" fmla="*/ 12 h 18"/>
                <a:gd name="T10" fmla="*/ 30 w 38"/>
                <a:gd name="T11" fmla="*/ 6 h 18"/>
                <a:gd name="T12" fmla="*/ 22 w 38"/>
                <a:gd name="T13" fmla="*/ 2 h 18"/>
                <a:gd name="T14" fmla="*/ 14 w 38"/>
                <a:gd name="T15" fmla="*/ 0 h 18"/>
                <a:gd name="T16" fmla="*/ 8 w 38"/>
                <a:gd name="T17" fmla="*/ 0 h 18"/>
                <a:gd name="T18" fmla="*/ 0 w 38"/>
                <a:gd name="T19"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18">
                  <a:moveTo>
                    <a:pt x="0" y="2"/>
                  </a:moveTo>
                  <a:lnTo>
                    <a:pt x="8" y="8"/>
                  </a:lnTo>
                  <a:lnTo>
                    <a:pt x="18" y="14"/>
                  </a:lnTo>
                  <a:lnTo>
                    <a:pt x="34" y="18"/>
                  </a:lnTo>
                  <a:lnTo>
                    <a:pt x="38" y="12"/>
                  </a:lnTo>
                  <a:lnTo>
                    <a:pt x="30" y="6"/>
                  </a:lnTo>
                  <a:lnTo>
                    <a:pt x="22" y="2"/>
                  </a:lnTo>
                  <a:lnTo>
                    <a:pt x="14" y="0"/>
                  </a:lnTo>
                  <a:lnTo>
                    <a:pt x="8" y="0"/>
                  </a:lnTo>
                  <a:lnTo>
                    <a:pt x="0" y="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63" name="Freeform 37">
              <a:extLst>
                <a:ext uri="{FF2B5EF4-FFF2-40B4-BE49-F238E27FC236}">
                  <a16:creationId xmlns:a16="http://schemas.microsoft.com/office/drawing/2014/main" id="{26722658-63C2-4C04-AA23-3FEF53D2A5C5}"/>
                </a:ext>
              </a:extLst>
            </p:cNvPr>
            <p:cNvSpPr>
              <a:spLocks/>
            </p:cNvSpPr>
            <p:nvPr/>
          </p:nvSpPr>
          <p:spPr bwMode="gray">
            <a:xfrm>
              <a:off x="2463379" y="3227386"/>
              <a:ext cx="118878" cy="82991"/>
            </a:xfrm>
            <a:custGeom>
              <a:avLst/>
              <a:gdLst>
                <a:gd name="T0" fmla="*/ 0 w 72"/>
                <a:gd name="T1" fmla="*/ 0 h 50"/>
                <a:gd name="T2" fmla="*/ 12 w 72"/>
                <a:gd name="T3" fmla="*/ 2 h 50"/>
                <a:gd name="T4" fmla="*/ 24 w 72"/>
                <a:gd name="T5" fmla="*/ 6 h 50"/>
                <a:gd name="T6" fmla="*/ 32 w 72"/>
                <a:gd name="T7" fmla="*/ 10 h 50"/>
                <a:gd name="T8" fmla="*/ 42 w 72"/>
                <a:gd name="T9" fmla="*/ 16 h 50"/>
                <a:gd name="T10" fmla="*/ 50 w 72"/>
                <a:gd name="T11" fmla="*/ 26 h 50"/>
                <a:gd name="T12" fmla="*/ 56 w 72"/>
                <a:gd name="T13" fmla="*/ 30 h 50"/>
                <a:gd name="T14" fmla="*/ 66 w 72"/>
                <a:gd name="T15" fmla="*/ 36 h 50"/>
                <a:gd name="T16" fmla="*/ 70 w 72"/>
                <a:gd name="T17" fmla="*/ 42 h 50"/>
                <a:gd name="T18" fmla="*/ 72 w 72"/>
                <a:gd name="T19" fmla="*/ 46 h 50"/>
                <a:gd name="T20" fmla="*/ 66 w 72"/>
                <a:gd name="T21" fmla="*/ 48 h 50"/>
                <a:gd name="T22" fmla="*/ 56 w 72"/>
                <a:gd name="T23" fmla="*/ 50 h 50"/>
                <a:gd name="T24" fmla="*/ 46 w 72"/>
                <a:gd name="T25" fmla="*/ 46 h 50"/>
                <a:gd name="T26" fmla="*/ 46 w 72"/>
                <a:gd name="T27" fmla="*/ 38 h 50"/>
                <a:gd name="T28" fmla="*/ 40 w 72"/>
                <a:gd name="T29" fmla="*/ 38 h 50"/>
                <a:gd name="T30" fmla="*/ 34 w 72"/>
                <a:gd name="T31" fmla="*/ 32 h 50"/>
                <a:gd name="T32" fmla="*/ 28 w 72"/>
                <a:gd name="T33" fmla="*/ 24 h 50"/>
                <a:gd name="T34" fmla="*/ 22 w 72"/>
                <a:gd name="T35" fmla="*/ 24 h 50"/>
                <a:gd name="T36" fmla="*/ 20 w 72"/>
                <a:gd name="T37" fmla="*/ 18 h 50"/>
                <a:gd name="T38" fmla="*/ 14 w 72"/>
                <a:gd name="T39" fmla="*/ 18 h 50"/>
                <a:gd name="T40" fmla="*/ 6 w 72"/>
                <a:gd name="T41" fmla="*/ 14 h 50"/>
                <a:gd name="T42" fmla="*/ 0 w 72"/>
                <a:gd name="T43" fmla="*/ 10 h 50"/>
                <a:gd name="T44" fmla="*/ 0 w 72"/>
                <a:gd name="T4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2" h="50">
                  <a:moveTo>
                    <a:pt x="0" y="0"/>
                  </a:moveTo>
                  <a:lnTo>
                    <a:pt x="12" y="2"/>
                  </a:lnTo>
                  <a:lnTo>
                    <a:pt x="24" y="6"/>
                  </a:lnTo>
                  <a:lnTo>
                    <a:pt x="32" y="10"/>
                  </a:lnTo>
                  <a:lnTo>
                    <a:pt x="42" y="16"/>
                  </a:lnTo>
                  <a:lnTo>
                    <a:pt x="50" y="26"/>
                  </a:lnTo>
                  <a:lnTo>
                    <a:pt x="56" y="30"/>
                  </a:lnTo>
                  <a:lnTo>
                    <a:pt x="66" y="36"/>
                  </a:lnTo>
                  <a:lnTo>
                    <a:pt x="70" y="42"/>
                  </a:lnTo>
                  <a:lnTo>
                    <a:pt x="72" y="46"/>
                  </a:lnTo>
                  <a:lnTo>
                    <a:pt x="66" y="48"/>
                  </a:lnTo>
                  <a:lnTo>
                    <a:pt x="56" y="50"/>
                  </a:lnTo>
                  <a:lnTo>
                    <a:pt x="46" y="46"/>
                  </a:lnTo>
                  <a:lnTo>
                    <a:pt x="46" y="38"/>
                  </a:lnTo>
                  <a:lnTo>
                    <a:pt x="40" y="38"/>
                  </a:lnTo>
                  <a:lnTo>
                    <a:pt x="34" y="32"/>
                  </a:lnTo>
                  <a:lnTo>
                    <a:pt x="28" y="24"/>
                  </a:lnTo>
                  <a:lnTo>
                    <a:pt x="22" y="24"/>
                  </a:lnTo>
                  <a:lnTo>
                    <a:pt x="20" y="18"/>
                  </a:lnTo>
                  <a:lnTo>
                    <a:pt x="14" y="18"/>
                  </a:lnTo>
                  <a:lnTo>
                    <a:pt x="6" y="14"/>
                  </a:lnTo>
                  <a:lnTo>
                    <a:pt x="0" y="10"/>
                  </a:lnTo>
                  <a:lnTo>
                    <a:pt x="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grpSp>
          <p:nvGrpSpPr>
            <p:cNvPr id="864" name="Group 38">
              <a:extLst>
                <a:ext uri="{FF2B5EF4-FFF2-40B4-BE49-F238E27FC236}">
                  <a16:creationId xmlns:a16="http://schemas.microsoft.com/office/drawing/2014/main" id="{DEFCE587-5D5F-421D-8C07-4DB216623BAD}"/>
                </a:ext>
              </a:extLst>
            </p:cNvPr>
            <p:cNvGrpSpPr>
              <a:grpSpLocks/>
            </p:cNvGrpSpPr>
            <p:nvPr/>
          </p:nvGrpSpPr>
          <p:grpSpPr bwMode="auto">
            <a:xfrm>
              <a:off x="1433110" y="2397472"/>
              <a:ext cx="980737" cy="770160"/>
              <a:chOff x="44" y="1185"/>
              <a:chExt cx="594" cy="464"/>
            </a:xfrm>
            <a:grpFill/>
          </p:grpSpPr>
          <p:sp>
            <p:nvSpPr>
              <p:cNvPr id="1100" name="Freeform 39">
                <a:extLst>
                  <a:ext uri="{FF2B5EF4-FFF2-40B4-BE49-F238E27FC236}">
                    <a16:creationId xmlns:a16="http://schemas.microsoft.com/office/drawing/2014/main" id="{DA5F9F44-D9CC-40B2-A607-45D71D1980B1}"/>
                  </a:ext>
                </a:extLst>
              </p:cNvPr>
              <p:cNvSpPr>
                <a:spLocks/>
              </p:cNvSpPr>
              <p:nvPr/>
            </p:nvSpPr>
            <p:spPr bwMode="gray">
              <a:xfrm>
                <a:off x="44" y="1185"/>
                <a:ext cx="594" cy="414"/>
              </a:xfrm>
              <a:custGeom>
                <a:avLst/>
                <a:gdLst>
                  <a:gd name="T0" fmla="*/ 540 w 594"/>
                  <a:gd name="T1" fmla="*/ 354 h 414"/>
                  <a:gd name="T2" fmla="*/ 510 w 594"/>
                  <a:gd name="T3" fmla="*/ 318 h 414"/>
                  <a:gd name="T4" fmla="*/ 500 w 594"/>
                  <a:gd name="T5" fmla="*/ 332 h 414"/>
                  <a:gd name="T6" fmla="*/ 464 w 594"/>
                  <a:gd name="T7" fmla="*/ 324 h 414"/>
                  <a:gd name="T8" fmla="*/ 414 w 594"/>
                  <a:gd name="T9" fmla="*/ 298 h 414"/>
                  <a:gd name="T10" fmla="*/ 362 w 594"/>
                  <a:gd name="T11" fmla="*/ 288 h 414"/>
                  <a:gd name="T12" fmla="*/ 318 w 594"/>
                  <a:gd name="T13" fmla="*/ 272 h 414"/>
                  <a:gd name="T14" fmla="*/ 314 w 594"/>
                  <a:gd name="T15" fmla="*/ 294 h 414"/>
                  <a:gd name="T16" fmla="*/ 278 w 594"/>
                  <a:gd name="T17" fmla="*/ 304 h 414"/>
                  <a:gd name="T18" fmla="*/ 252 w 594"/>
                  <a:gd name="T19" fmla="*/ 298 h 414"/>
                  <a:gd name="T20" fmla="*/ 270 w 594"/>
                  <a:gd name="T21" fmla="*/ 274 h 414"/>
                  <a:gd name="T22" fmla="*/ 274 w 594"/>
                  <a:gd name="T23" fmla="*/ 266 h 414"/>
                  <a:gd name="T24" fmla="*/ 236 w 594"/>
                  <a:gd name="T25" fmla="*/ 298 h 414"/>
                  <a:gd name="T26" fmla="*/ 222 w 594"/>
                  <a:gd name="T27" fmla="*/ 322 h 414"/>
                  <a:gd name="T28" fmla="*/ 196 w 594"/>
                  <a:gd name="T29" fmla="*/ 348 h 414"/>
                  <a:gd name="T30" fmla="*/ 146 w 594"/>
                  <a:gd name="T31" fmla="*/ 384 h 414"/>
                  <a:gd name="T32" fmla="*/ 112 w 594"/>
                  <a:gd name="T33" fmla="*/ 398 h 414"/>
                  <a:gd name="T34" fmla="*/ 90 w 594"/>
                  <a:gd name="T35" fmla="*/ 408 h 414"/>
                  <a:gd name="T36" fmla="*/ 84 w 594"/>
                  <a:gd name="T37" fmla="*/ 394 h 414"/>
                  <a:gd name="T38" fmla="*/ 114 w 594"/>
                  <a:gd name="T39" fmla="*/ 382 h 414"/>
                  <a:gd name="T40" fmla="*/ 156 w 594"/>
                  <a:gd name="T41" fmla="*/ 354 h 414"/>
                  <a:gd name="T42" fmla="*/ 170 w 594"/>
                  <a:gd name="T43" fmla="*/ 320 h 414"/>
                  <a:gd name="T44" fmla="*/ 138 w 594"/>
                  <a:gd name="T45" fmla="*/ 328 h 414"/>
                  <a:gd name="T46" fmla="*/ 100 w 594"/>
                  <a:gd name="T47" fmla="*/ 328 h 414"/>
                  <a:gd name="T48" fmla="*/ 86 w 594"/>
                  <a:gd name="T49" fmla="*/ 286 h 414"/>
                  <a:gd name="T50" fmla="*/ 56 w 594"/>
                  <a:gd name="T51" fmla="*/ 300 h 414"/>
                  <a:gd name="T52" fmla="*/ 48 w 594"/>
                  <a:gd name="T53" fmla="*/ 274 h 414"/>
                  <a:gd name="T54" fmla="*/ 24 w 594"/>
                  <a:gd name="T55" fmla="*/ 258 h 414"/>
                  <a:gd name="T56" fmla="*/ 46 w 594"/>
                  <a:gd name="T57" fmla="*/ 226 h 414"/>
                  <a:gd name="T58" fmla="*/ 80 w 594"/>
                  <a:gd name="T59" fmla="*/ 214 h 414"/>
                  <a:gd name="T60" fmla="*/ 102 w 594"/>
                  <a:gd name="T61" fmla="*/ 184 h 414"/>
                  <a:gd name="T62" fmla="*/ 86 w 594"/>
                  <a:gd name="T63" fmla="*/ 180 h 414"/>
                  <a:gd name="T64" fmla="*/ 20 w 594"/>
                  <a:gd name="T65" fmla="*/ 168 h 414"/>
                  <a:gd name="T66" fmla="*/ 10 w 594"/>
                  <a:gd name="T67" fmla="*/ 150 h 414"/>
                  <a:gd name="T68" fmla="*/ 60 w 594"/>
                  <a:gd name="T69" fmla="*/ 132 h 414"/>
                  <a:gd name="T70" fmla="*/ 100 w 594"/>
                  <a:gd name="T71" fmla="*/ 142 h 414"/>
                  <a:gd name="T72" fmla="*/ 102 w 594"/>
                  <a:gd name="T73" fmla="*/ 132 h 414"/>
                  <a:gd name="T74" fmla="*/ 84 w 594"/>
                  <a:gd name="T75" fmla="*/ 116 h 414"/>
                  <a:gd name="T76" fmla="*/ 44 w 594"/>
                  <a:gd name="T77" fmla="*/ 94 h 414"/>
                  <a:gd name="T78" fmla="*/ 22 w 594"/>
                  <a:gd name="T79" fmla="*/ 68 h 414"/>
                  <a:gd name="T80" fmla="*/ 88 w 594"/>
                  <a:gd name="T81" fmla="*/ 28 h 414"/>
                  <a:gd name="T82" fmla="*/ 132 w 594"/>
                  <a:gd name="T83" fmla="*/ 12 h 414"/>
                  <a:gd name="T84" fmla="*/ 186 w 594"/>
                  <a:gd name="T85" fmla="*/ 8 h 414"/>
                  <a:gd name="T86" fmla="*/ 244 w 594"/>
                  <a:gd name="T87" fmla="*/ 16 h 414"/>
                  <a:gd name="T88" fmla="*/ 318 w 594"/>
                  <a:gd name="T89" fmla="*/ 30 h 414"/>
                  <a:gd name="T90" fmla="*/ 400 w 594"/>
                  <a:gd name="T91" fmla="*/ 40 h 414"/>
                  <a:gd name="T92" fmla="*/ 438 w 594"/>
                  <a:gd name="T93" fmla="*/ 288 h 414"/>
                  <a:gd name="T94" fmla="*/ 478 w 594"/>
                  <a:gd name="T95" fmla="*/ 316 h 414"/>
                  <a:gd name="T96" fmla="*/ 508 w 594"/>
                  <a:gd name="T97" fmla="*/ 300 h 414"/>
                  <a:gd name="T98" fmla="*/ 556 w 594"/>
                  <a:gd name="T99" fmla="*/ 358 h 414"/>
                  <a:gd name="T100" fmla="*/ 594 w 594"/>
                  <a:gd name="T101" fmla="*/ 394 h 414"/>
                  <a:gd name="T102" fmla="*/ 582 w 594"/>
                  <a:gd name="T103" fmla="*/ 39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94" h="414">
                    <a:moveTo>
                      <a:pt x="568" y="384"/>
                    </a:moveTo>
                    <a:lnTo>
                      <a:pt x="552" y="370"/>
                    </a:lnTo>
                    <a:lnTo>
                      <a:pt x="542" y="362"/>
                    </a:lnTo>
                    <a:lnTo>
                      <a:pt x="540" y="354"/>
                    </a:lnTo>
                    <a:lnTo>
                      <a:pt x="530" y="342"/>
                    </a:lnTo>
                    <a:lnTo>
                      <a:pt x="522" y="336"/>
                    </a:lnTo>
                    <a:lnTo>
                      <a:pt x="518" y="330"/>
                    </a:lnTo>
                    <a:lnTo>
                      <a:pt x="510" y="318"/>
                    </a:lnTo>
                    <a:lnTo>
                      <a:pt x="506" y="322"/>
                    </a:lnTo>
                    <a:lnTo>
                      <a:pt x="510" y="334"/>
                    </a:lnTo>
                    <a:lnTo>
                      <a:pt x="506" y="338"/>
                    </a:lnTo>
                    <a:lnTo>
                      <a:pt x="500" y="332"/>
                    </a:lnTo>
                    <a:lnTo>
                      <a:pt x="496" y="328"/>
                    </a:lnTo>
                    <a:lnTo>
                      <a:pt x="492" y="336"/>
                    </a:lnTo>
                    <a:lnTo>
                      <a:pt x="480" y="332"/>
                    </a:lnTo>
                    <a:lnTo>
                      <a:pt x="464" y="324"/>
                    </a:lnTo>
                    <a:lnTo>
                      <a:pt x="440" y="310"/>
                    </a:lnTo>
                    <a:lnTo>
                      <a:pt x="438" y="302"/>
                    </a:lnTo>
                    <a:lnTo>
                      <a:pt x="426" y="304"/>
                    </a:lnTo>
                    <a:lnTo>
                      <a:pt x="414" y="298"/>
                    </a:lnTo>
                    <a:lnTo>
                      <a:pt x="400" y="296"/>
                    </a:lnTo>
                    <a:lnTo>
                      <a:pt x="378" y="296"/>
                    </a:lnTo>
                    <a:lnTo>
                      <a:pt x="368" y="296"/>
                    </a:lnTo>
                    <a:lnTo>
                      <a:pt x="362" y="288"/>
                    </a:lnTo>
                    <a:lnTo>
                      <a:pt x="348" y="286"/>
                    </a:lnTo>
                    <a:lnTo>
                      <a:pt x="344" y="280"/>
                    </a:lnTo>
                    <a:lnTo>
                      <a:pt x="332" y="274"/>
                    </a:lnTo>
                    <a:lnTo>
                      <a:pt x="318" y="272"/>
                    </a:lnTo>
                    <a:lnTo>
                      <a:pt x="306" y="272"/>
                    </a:lnTo>
                    <a:lnTo>
                      <a:pt x="306" y="280"/>
                    </a:lnTo>
                    <a:lnTo>
                      <a:pt x="310" y="286"/>
                    </a:lnTo>
                    <a:lnTo>
                      <a:pt x="314" y="294"/>
                    </a:lnTo>
                    <a:lnTo>
                      <a:pt x="310" y="296"/>
                    </a:lnTo>
                    <a:lnTo>
                      <a:pt x="294" y="296"/>
                    </a:lnTo>
                    <a:lnTo>
                      <a:pt x="286" y="298"/>
                    </a:lnTo>
                    <a:lnTo>
                      <a:pt x="278" y="304"/>
                    </a:lnTo>
                    <a:lnTo>
                      <a:pt x="268" y="312"/>
                    </a:lnTo>
                    <a:lnTo>
                      <a:pt x="256" y="316"/>
                    </a:lnTo>
                    <a:lnTo>
                      <a:pt x="250" y="308"/>
                    </a:lnTo>
                    <a:lnTo>
                      <a:pt x="252" y="298"/>
                    </a:lnTo>
                    <a:lnTo>
                      <a:pt x="256" y="290"/>
                    </a:lnTo>
                    <a:lnTo>
                      <a:pt x="258" y="280"/>
                    </a:lnTo>
                    <a:lnTo>
                      <a:pt x="262" y="276"/>
                    </a:lnTo>
                    <a:lnTo>
                      <a:pt x="270" y="274"/>
                    </a:lnTo>
                    <a:lnTo>
                      <a:pt x="280" y="272"/>
                    </a:lnTo>
                    <a:lnTo>
                      <a:pt x="284" y="264"/>
                    </a:lnTo>
                    <a:lnTo>
                      <a:pt x="286" y="260"/>
                    </a:lnTo>
                    <a:lnTo>
                      <a:pt x="274" y="266"/>
                    </a:lnTo>
                    <a:lnTo>
                      <a:pt x="264" y="268"/>
                    </a:lnTo>
                    <a:lnTo>
                      <a:pt x="244" y="282"/>
                    </a:lnTo>
                    <a:lnTo>
                      <a:pt x="236" y="290"/>
                    </a:lnTo>
                    <a:lnTo>
                      <a:pt x="236" y="298"/>
                    </a:lnTo>
                    <a:lnTo>
                      <a:pt x="230" y="304"/>
                    </a:lnTo>
                    <a:lnTo>
                      <a:pt x="220" y="306"/>
                    </a:lnTo>
                    <a:lnTo>
                      <a:pt x="216" y="314"/>
                    </a:lnTo>
                    <a:lnTo>
                      <a:pt x="222" y="322"/>
                    </a:lnTo>
                    <a:lnTo>
                      <a:pt x="224" y="326"/>
                    </a:lnTo>
                    <a:lnTo>
                      <a:pt x="218" y="332"/>
                    </a:lnTo>
                    <a:lnTo>
                      <a:pt x="208" y="340"/>
                    </a:lnTo>
                    <a:lnTo>
                      <a:pt x="196" y="348"/>
                    </a:lnTo>
                    <a:lnTo>
                      <a:pt x="176" y="360"/>
                    </a:lnTo>
                    <a:lnTo>
                      <a:pt x="154" y="372"/>
                    </a:lnTo>
                    <a:lnTo>
                      <a:pt x="148" y="378"/>
                    </a:lnTo>
                    <a:lnTo>
                      <a:pt x="146" y="384"/>
                    </a:lnTo>
                    <a:lnTo>
                      <a:pt x="134" y="390"/>
                    </a:lnTo>
                    <a:lnTo>
                      <a:pt x="130" y="394"/>
                    </a:lnTo>
                    <a:lnTo>
                      <a:pt x="116" y="394"/>
                    </a:lnTo>
                    <a:lnTo>
                      <a:pt x="112" y="398"/>
                    </a:lnTo>
                    <a:lnTo>
                      <a:pt x="104" y="402"/>
                    </a:lnTo>
                    <a:lnTo>
                      <a:pt x="98" y="398"/>
                    </a:lnTo>
                    <a:lnTo>
                      <a:pt x="94" y="400"/>
                    </a:lnTo>
                    <a:lnTo>
                      <a:pt x="90" y="408"/>
                    </a:lnTo>
                    <a:lnTo>
                      <a:pt x="84" y="412"/>
                    </a:lnTo>
                    <a:lnTo>
                      <a:pt x="76" y="410"/>
                    </a:lnTo>
                    <a:lnTo>
                      <a:pt x="78" y="402"/>
                    </a:lnTo>
                    <a:lnTo>
                      <a:pt x="84" y="394"/>
                    </a:lnTo>
                    <a:lnTo>
                      <a:pt x="90" y="390"/>
                    </a:lnTo>
                    <a:lnTo>
                      <a:pt x="100" y="388"/>
                    </a:lnTo>
                    <a:lnTo>
                      <a:pt x="110" y="388"/>
                    </a:lnTo>
                    <a:lnTo>
                      <a:pt x="114" y="382"/>
                    </a:lnTo>
                    <a:lnTo>
                      <a:pt x="124" y="378"/>
                    </a:lnTo>
                    <a:lnTo>
                      <a:pt x="140" y="366"/>
                    </a:lnTo>
                    <a:lnTo>
                      <a:pt x="150" y="356"/>
                    </a:lnTo>
                    <a:lnTo>
                      <a:pt x="156" y="354"/>
                    </a:lnTo>
                    <a:lnTo>
                      <a:pt x="160" y="342"/>
                    </a:lnTo>
                    <a:lnTo>
                      <a:pt x="160" y="332"/>
                    </a:lnTo>
                    <a:lnTo>
                      <a:pt x="168" y="328"/>
                    </a:lnTo>
                    <a:lnTo>
                      <a:pt x="170" y="320"/>
                    </a:lnTo>
                    <a:lnTo>
                      <a:pt x="160" y="322"/>
                    </a:lnTo>
                    <a:lnTo>
                      <a:pt x="148" y="328"/>
                    </a:lnTo>
                    <a:lnTo>
                      <a:pt x="142" y="322"/>
                    </a:lnTo>
                    <a:lnTo>
                      <a:pt x="138" y="328"/>
                    </a:lnTo>
                    <a:lnTo>
                      <a:pt x="134" y="330"/>
                    </a:lnTo>
                    <a:lnTo>
                      <a:pt x="126" y="322"/>
                    </a:lnTo>
                    <a:lnTo>
                      <a:pt x="110" y="320"/>
                    </a:lnTo>
                    <a:lnTo>
                      <a:pt x="100" y="328"/>
                    </a:lnTo>
                    <a:lnTo>
                      <a:pt x="90" y="330"/>
                    </a:lnTo>
                    <a:lnTo>
                      <a:pt x="88" y="304"/>
                    </a:lnTo>
                    <a:lnTo>
                      <a:pt x="86" y="296"/>
                    </a:lnTo>
                    <a:lnTo>
                      <a:pt x="86" y="286"/>
                    </a:lnTo>
                    <a:lnTo>
                      <a:pt x="80" y="286"/>
                    </a:lnTo>
                    <a:lnTo>
                      <a:pt x="78" y="296"/>
                    </a:lnTo>
                    <a:lnTo>
                      <a:pt x="74" y="300"/>
                    </a:lnTo>
                    <a:lnTo>
                      <a:pt x="56" y="300"/>
                    </a:lnTo>
                    <a:lnTo>
                      <a:pt x="48" y="292"/>
                    </a:lnTo>
                    <a:lnTo>
                      <a:pt x="40" y="280"/>
                    </a:lnTo>
                    <a:lnTo>
                      <a:pt x="42" y="274"/>
                    </a:lnTo>
                    <a:lnTo>
                      <a:pt x="48" y="274"/>
                    </a:lnTo>
                    <a:lnTo>
                      <a:pt x="40" y="268"/>
                    </a:lnTo>
                    <a:lnTo>
                      <a:pt x="40" y="260"/>
                    </a:lnTo>
                    <a:lnTo>
                      <a:pt x="36" y="268"/>
                    </a:lnTo>
                    <a:lnTo>
                      <a:pt x="24" y="258"/>
                    </a:lnTo>
                    <a:lnTo>
                      <a:pt x="30" y="246"/>
                    </a:lnTo>
                    <a:lnTo>
                      <a:pt x="34" y="242"/>
                    </a:lnTo>
                    <a:lnTo>
                      <a:pt x="46" y="234"/>
                    </a:lnTo>
                    <a:lnTo>
                      <a:pt x="46" y="226"/>
                    </a:lnTo>
                    <a:lnTo>
                      <a:pt x="50" y="220"/>
                    </a:lnTo>
                    <a:lnTo>
                      <a:pt x="58" y="220"/>
                    </a:lnTo>
                    <a:lnTo>
                      <a:pt x="72" y="222"/>
                    </a:lnTo>
                    <a:lnTo>
                      <a:pt x="80" y="214"/>
                    </a:lnTo>
                    <a:lnTo>
                      <a:pt x="88" y="210"/>
                    </a:lnTo>
                    <a:lnTo>
                      <a:pt x="110" y="208"/>
                    </a:lnTo>
                    <a:lnTo>
                      <a:pt x="108" y="194"/>
                    </a:lnTo>
                    <a:lnTo>
                      <a:pt x="102" y="184"/>
                    </a:lnTo>
                    <a:lnTo>
                      <a:pt x="108" y="178"/>
                    </a:lnTo>
                    <a:lnTo>
                      <a:pt x="104" y="174"/>
                    </a:lnTo>
                    <a:lnTo>
                      <a:pt x="94" y="174"/>
                    </a:lnTo>
                    <a:lnTo>
                      <a:pt x="86" y="180"/>
                    </a:lnTo>
                    <a:lnTo>
                      <a:pt x="76" y="186"/>
                    </a:lnTo>
                    <a:lnTo>
                      <a:pt x="22" y="184"/>
                    </a:lnTo>
                    <a:lnTo>
                      <a:pt x="14" y="176"/>
                    </a:lnTo>
                    <a:lnTo>
                      <a:pt x="20" y="168"/>
                    </a:lnTo>
                    <a:lnTo>
                      <a:pt x="20" y="164"/>
                    </a:lnTo>
                    <a:lnTo>
                      <a:pt x="4" y="164"/>
                    </a:lnTo>
                    <a:lnTo>
                      <a:pt x="0" y="156"/>
                    </a:lnTo>
                    <a:lnTo>
                      <a:pt x="10" y="150"/>
                    </a:lnTo>
                    <a:lnTo>
                      <a:pt x="22" y="140"/>
                    </a:lnTo>
                    <a:lnTo>
                      <a:pt x="36" y="136"/>
                    </a:lnTo>
                    <a:lnTo>
                      <a:pt x="52" y="130"/>
                    </a:lnTo>
                    <a:lnTo>
                      <a:pt x="60" y="132"/>
                    </a:lnTo>
                    <a:lnTo>
                      <a:pt x="62" y="140"/>
                    </a:lnTo>
                    <a:lnTo>
                      <a:pt x="72" y="146"/>
                    </a:lnTo>
                    <a:lnTo>
                      <a:pt x="88" y="144"/>
                    </a:lnTo>
                    <a:lnTo>
                      <a:pt x="100" y="142"/>
                    </a:lnTo>
                    <a:lnTo>
                      <a:pt x="114" y="136"/>
                    </a:lnTo>
                    <a:lnTo>
                      <a:pt x="118" y="130"/>
                    </a:lnTo>
                    <a:lnTo>
                      <a:pt x="108" y="128"/>
                    </a:lnTo>
                    <a:lnTo>
                      <a:pt x="102" y="132"/>
                    </a:lnTo>
                    <a:lnTo>
                      <a:pt x="88" y="130"/>
                    </a:lnTo>
                    <a:lnTo>
                      <a:pt x="88" y="122"/>
                    </a:lnTo>
                    <a:lnTo>
                      <a:pt x="92" y="118"/>
                    </a:lnTo>
                    <a:lnTo>
                      <a:pt x="84" y="116"/>
                    </a:lnTo>
                    <a:lnTo>
                      <a:pt x="66" y="120"/>
                    </a:lnTo>
                    <a:lnTo>
                      <a:pt x="60" y="108"/>
                    </a:lnTo>
                    <a:lnTo>
                      <a:pt x="50" y="100"/>
                    </a:lnTo>
                    <a:lnTo>
                      <a:pt x="44" y="94"/>
                    </a:lnTo>
                    <a:lnTo>
                      <a:pt x="38" y="90"/>
                    </a:lnTo>
                    <a:lnTo>
                      <a:pt x="26" y="90"/>
                    </a:lnTo>
                    <a:lnTo>
                      <a:pt x="20" y="82"/>
                    </a:lnTo>
                    <a:lnTo>
                      <a:pt x="22" y="68"/>
                    </a:lnTo>
                    <a:lnTo>
                      <a:pt x="58" y="64"/>
                    </a:lnTo>
                    <a:lnTo>
                      <a:pt x="70" y="54"/>
                    </a:lnTo>
                    <a:lnTo>
                      <a:pt x="74" y="42"/>
                    </a:lnTo>
                    <a:lnTo>
                      <a:pt x="88" y="28"/>
                    </a:lnTo>
                    <a:lnTo>
                      <a:pt x="104" y="28"/>
                    </a:lnTo>
                    <a:lnTo>
                      <a:pt x="120" y="20"/>
                    </a:lnTo>
                    <a:lnTo>
                      <a:pt x="128" y="20"/>
                    </a:lnTo>
                    <a:lnTo>
                      <a:pt x="132" y="12"/>
                    </a:lnTo>
                    <a:lnTo>
                      <a:pt x="158" y="10"/>
                    </a:lnTo>
                    <a:lnTo>
                      <a:pt x="176" y="0"/>
                    </a:lnTo>
                    <a:lnTo>
                      <a:pt x="190" y="2"/>
                    </a:lnTo>
                    <a:lnTo>
                      <a:pt x="186" y="8"/>
                    </a:lnTo>
                    <a:lnTo>
                      <a:pt x="190" y="14"/>
                    </a:lnTo>
                    <a:lnTo>
                      <a:pt x="204" y="8"/>
                    </a:lnTo>
                    <a:lnTo>
                      <a:pt x="212" y="12"/>
                    </a:lnTo>
                    <a:lnTo>
                      <a:pt x="244" y="16"/>
                    </a:lnTo>
                    <a:lnTo>
                      <a:pt x="244" y="22"/>
                    </a:lnTo>
                    <a:lnTo>
                      <a:pt x="268" y="24"/>
                    </a:lnTo>
                    <a:lnTo>
                      <a:pt x="296" y="24"/>
                    </a:lnTo>
                    <a:lnTo>
                      <a:pt x="318" y="30"/>
                    </a:lnTo>
                    <a:lnTo>
                      <a:pt x="344" y="36"/>
                    </a:lnTo>
                    <a:lnTo>
                      <a:pt x="364" y="40"/>
                    </a:lnTo>
                    <a:lnTo>
                      <a:pt x="394" y="36"/>
                    </a:lnTo>
                    <a:lnTo>
                      <a:pt x="400" y="40"/>
                    </a:lnTo>
                    <a:lnTo>
                      <a:pt x="420" y="48"/>
                    </a:lnTo>
                    <a:lnTo>
                      <a:pt x="420" y="288"/>
                    </a:lnTo>
                    <a:lnTo>
                      <a:pt x="430" y="292"/>
                    </a:lnTo>
                    <a:lnTo>
                      <a:pt x="438" y="288"/>
                    </a:lnTo>
                    <a:lnTo>
                      <a:pt x="446" y="286"/>
                    </a:lnTo>
                    <a:lnTo>
                      <a:pt x="454" y="296"/>
                    </a:lnTo>
                    <a:lnTo>
                      <a:pt x="470" y="308"/>
                    </a:lnTo>
                    <a:lnTo>
                      <a:pt x="478" y="316"/>
                    </a:lnTo>
                    <a:lnTo>
                      <a:pt x="488" y="314"/>
                    </a:lnTo>
                    <a:lnTo>
                      <a:pt x="490" y="308"/>
                    </a:lnTo>
                    <a:lnTo>
                      <a:pt x="498" y="304"/>
                    </a:lnTo>
                    <a:lnTo>
                      <a:pt x="508" y="300"/>
                    </a:lnTo>
                    <a:lnTo>
                      <a:pt x="520" y="312"/>
                    </a:lnTo>
                    <a:lnTo>
                      <a:pt x="530" y="322"/>
                    </a:lnTo>
                    <a:lnTo>
                      <a:pt x="546" y="338"/>
                    </a:lnTo>
                    <a:lnTo>
                      <a:pt x="556" y="358"/>
                    </a:lnTo>
                    <a:lnTo>
                      <a:pt x="566" y="370"/>
                    </a:lnTo>
                    <a:lnTo>
                      <a:pt x="578" y="378"/>
                    </a:lnTo>
                    <a:lnTo>
                      <a:pt x="592" y="386"/>
                    </a:lnTo>
                    <a:lnTo>
                      <a:pt x="594" y="394"/>
                    </a:lnTo>
                    <a:lnTo>
                      <a:pt x="590" y="410"/>
                    </a:lnTo>
                    <a:lnTo>
                      <a:pt x="576" y="414"/>
                    </a:lnTo>
                    <a:lnTo>
                      <a:pt x="580" y="404"/>
                    </a:lnTo>
                    <a:lnTo>
                      <a:pt x="582" y="394"/>
                    </a:lnTo>
                    <a:lnTo>
                      <a:pt x="576" y="392"/>
                    </a:lnTo>
                    <a:lnTo>
                      <a:pt x="570" y="386"/>
                    </a:lnTo>
                    <a:lnTo>
                      <a:pt x="568" y="38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101" name="Freeform 40">
                <a:extLst>
                  <a:ext uri="{FF2B5EF4-FFF2-40B4-BE49-F238E27FC236}">
                    <a16:creationId xmlns:a16="http://schemas.microsoft.com/office/drawing/2014/main" id="{A41997A1-444B-4481-BC60-84246DEF11B3}"/>
                  </a:ext>
                </a:extLst>
              </p:cNvPr>
              <p:cNvSpPr>
                <a:spLocks/>
              </p:cNvSpPr>
              <p:nvPr/>
            </p:nvSpPr>
            <p:spPr bwMode="gray">
              <a:xfrm>
                <a:off x="250" y="1527"/>
                <a:ext cx="38" cy="26"/>
              </a:xfrm>
              <a:custGeom>
                <a:avLst/>
                <a:gdLst>
                  <a:gd name="T0" fmla="*/ 28 w 38"/>
                  <a:gd name="T1" fmla="*/ 2 h 26"/>
                  <a:gd name="T2" fmla="*/ 20 w 38"/>
                  <a:gd name="T3" fmla="*/ 4 h 26"/>
                  <a:gd name="T4" fmla="*/ 14 w 38"/>
                  <a:gd name="T5" fmla="*/ 6 h 26"/>
                  <a:gd name="T6" fmla="*/ 14 w 38"/>
                  <a:gd name="T7" fmla="*/ 14 h 26"/>
                  <a:gd name="T8" fmla="*/ 8 w 38"/>
                  <a:gd name="T9" fmla="*/ 12 h 26"/>
                  <a:gd name="T10" fmla="*/ 4 w 38"/>
                  <a:gd name="T11" fmla="*/ 8 h 26"/>
                  <a:gd name="T12" fmla="*/ 0 w 38"/>
                  <a:gd name="T13" fmla="*/ 12 h 26"/>
                  <a:gd name="T14" fmla="*/ 2 w 38"/>
                  <a:gd name="T15" fmla="*/ 20 h 26"/>
                  <a:gd name="T16" fmla="*/ 8 w 38"/>
                  <a:gd name="T17" fmla="*/ 26 h 26"/>
                  <a:gd name="T18" fmla="*/ 26 w 38"/>
                  <a:gd name="T19" fmla="*/ 24 h 26"/>
                  <a:gd name="T20" fmla="*/ 32 w 38"/>
                  <a:gd name="T21" fmla="*/ 16 h 26"/>
                  <a:gd name="T22" fmla="*/ 38 w 38"/>
                  <a:gd name="T23" fmla="*/ 10 h 26"/>
                  <a:gd name="T24" fmla="*/ 34 w 38"/>
                  <a:gd name="T25" fmla="*/ 0 h 26"/>
                  <a:gd name="T26" fmla="*/ 28 w 38"/>
                  <a:gd name="T27" fmla="*/ 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 h="26">
                    <a:moveTo>
                      <a:pt x="28" y="2"/>
                    </a:moveTo>
                    <a:lnTo>
                      <a:pt x="20" y="4"/>
                    </a:lnTo>
                    <a:lnTo>
                      <a:pt x="14" y="6"/>
                    </a:lnTo>
                    <a:lnTo>
                      <a:pt x="14" y="14"/>
                    </a:lnTo>
                    <a:lnTo>
                      <a:pt x="8" y="12"/>
                    </a:lnTo>
                    <a:lnTo>
                      <a:pt x="4" y="8"/>
                    </a:lnTo>
                    <a:lnTo>
                      <a:pt x="0" y="12"/>
                    </a:lnTo>
                    <a:lnTo>
                      <a:pt x="2" y="20"/>
                    </a:lnTo>
                    <a:lnTo>
                      <a:pt x="8" y="26"/>
                    </a:lnTo>
                    <a:lnTo>
                      <a:pt x="26" y="24"/>
                    </a:lnTo>
                    <a:lnTo>
                      <a:pt x="32" y="16"/>
                    </a:lnTo>
                    <a:lnTo>
                      <a:pt x="38" y="10"/>
                    </a:lnTo>
                    <a:lnTo>
                      <a:pt x="34" y="0"/>
                    </a:lnTo>
                    <a:lnTo>
                      <a:pt x="28" y="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102" name="Freeform 41">
                <a:extLst>
                  <a:ext uri="{FF2B5EF4-FFF2-40B4-BE49-F238E27FC236}">
                    <a16:creationId xmlns:a16="http://schemas.microsoft.com/office/drawing/2014/main" id="{144BF5FE-9F51-4083-9F36-46048D4642B4}"/>
                  </a:ext>
                </a:extLst>
              </p:cNvPr>
              <p:cNvSpPr>
                <a:spLocks/>
              </p:cNvSpPr>
              <p:nvPr/>
            </p:nvSpPr>
            <p:spPr bwMode="gray">
              <a:xfrm>
                <a:off x="50" y="1473"/>
                <a:ext cx="26" cy="16"/>
              </a:xfrm>
              <a:custGeom>
                <a:avLst/>
                <a:gdLst>
                  <a:gd name="T0" fmla="*/ 22 w 26"/>
                  <a:gd name="T1" fmla="*/ 0 h 16"/>
                  <a:gd name="T2" fmla="*/ 26 w 26"/>
                  <a:gd name="T3" fmla="*/ 4 h 16"/>
                  <a:gd name="T4" fmla="*/ 26 w 26"/>
                  <a:gd name="T5" fmla="*/ 8 h 16"/>
                  <a:gd name="T6" fmla="*/ 22 w 26"/>
                  <a:gd name="T7" fmla="*/ 16 h 16"/>
                  <a:gd name="T8" fmla="*/ 14 w 26"/>
                  <a:gd name="T9" fmla="*/ 14 h 16"/>
                  <a:gd name="T10" fmla="*/ 10 w 26"/>
                  <a:gd name="T11" fmla="*/ 16 h 16"/>
                  <a:gd name="T12" fmla="*/ 4 w 26"/>
                  <a:gd name="T13" fmla="*/ 10 h 16"/>
                  <a:gd name="T14" fmla="*/ 0 w 26"/>
                  <a:gd name="T15" fmla="*/ 6 h 16"/>
                  <a:gd name="T16" fmla="*/ 2 w 26"/>
                  <a:gd name="T17" fmla="*/ 0 h 16"/>
                  <a:gd name="T18" fmla="*/ 8 w 26"/>
                  <a:gd name="T19" fmla="*/ 0 h 16"/>
                  <a:gd name="T20" fmla="*/ 22 w 26"/>
                  <a:gd name="T2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16">
                    <a:moveTo>
                      <a:pt x="22" y="0"/>
                    </a:moveTo>
                    <a:lnTo>
                      <a:pt x="26" y="4"/>
                    </a:lnTo>
                    <a:lnTo>
                      <a:pt x="26" y="8"/>
                    </a:lnTo>
                    <a:lnTo>
                      <a:pt x="22" y="16"/>
                    </a:lnTo>
                    <a:lnTo>
                      <a:pt x="14" y="14"/>
                    </a:lnTo>
                    <a:lnTo>
                      <a:pt x="10" y="16"/>
                    </a:lnTo>
                    <a:lnTo>
                      <a:pt x="4" y="10"/>
                    </a:lnTo>
                    <a:lnTo>
                      <a:pt x="0" y="6"/>
                    </a:lnTo>
                    <a:lnTo>
                      <a:pt x="2" y="0"/>
                    </a:lnTo>
                    <a:lnTo>
                      <a:pt x="8" y="0"/>
                    </a:lnTo>
                    <a:lnTo>
                      <a:pt x="22"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103" name="Freeform 42">
                <a:extLst>
                  <a:ext uri="{FF2B5EF4-FFF2-40B4-BE49-F238E27FC236}">
                    <a16:creationId xmlns:a16="http://schemas.microsoft.com/office/drawing/2014/main" id="{74FCFC0F-F244-42F0-BA69-F826E1FE9676}"/>
                  </a:ext>
                </a:extLst>
              </p:cNvPr>
              <p:cNvSpPr>
                <a:spLocks/>
              </p:cNvSpPr>
              <p:nvPr/>
            </p:nvSpPr>
            <p:spPr bwMode="gray">
              <a:xfrm>
                <a:off x="540" y="1525"/>
                <a:ext cx="24" cy="40"/>
              </a:xfrm>
              <a:custGeom>
                <a:avLst/>
                <a:gdLst>
                  <a:gd name="T0" fmla="*/ 0 w 24"/>
                  <a:gd name="T1" fmla="*/ 0 h 40"/>
                  <a:gd name="T2" fmla="*/ 10 w 24"/>
                  <a:gd name="T3" fmla="*/ 2 h 40"/>
                  <a:gd name="T4" fmla="*/ 16 w 24"/>
                  <a:gd name="T5" fmla="*/ 6 h 40"/>
                  <a:gd name="T6" fmla="*/ 18 w 24"/>
                  <a:gd name="T7" fmla="*/ 20 h 40"/>
                  <a:gd name="T8" fmla="*/ 24 w 24"/>
                  <a:gd name="T9" fmla="*/ 30 h 40"/>
                  <a:gd name="T10" fmla="*/ 24 w 24"/>
                  <a:gd name="T11" fmla="*/ 40 h 40"/>
                  <a:gd name="T12" fmla="*/ 16 w 24"/>
                  <a:gd name="T13" fmla="*/ 32 h 40"/>
                  <a:gd name="T14" fmla="*/ 8 w 24"/>
                  <a:gd name="T15" fmla="*/ 22 h 40"/>
                  <a:gd name="T16" fmla="*/ 4 w 24"/>
                  <a:gd name="T17" fmla="*/ 16 h 40"/>
                  <a:gd name="T18" fmla="*/ 0 w 24"/>
                  <a:gd name="T19" fmla="*/ 8 h 40"/>
                  <a:gd name="T20" fmla="*/ 0 w 24"/>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40">
                    <a:moveTo>
                      <a:pt x="0" y="0"/>
                    </a:moveTo>
                    <a:lnTo>
                      <a:pt x="10" y="2"/>
                    </a:lnTo>
                    <a:lnTo>
                      <a:pt x="16" y="6"/>
                    </a:lnTo>
                    <a:lnTo>
                      <a:pt x="18" y="20"/>
                    </a:lnTo>
                    <a:lnTo>
                      <a:pt x="24" y="30"/>
                    </a:lnTo>
                    <a:lnTo>
                      <a:pt x="24" y="40"/>
                    </a:lnTo>
                    <a:lnTo>
                      <a:pt x="16" y="32"/>
                    </a:lnTo>
                    <a:lnTo>
                      <a:pt x="8" y="22"/>
                    </a:lnTo>
                    <a:lnTo>
                      <a:pt x="4" y="16"/>
                    </a:lnTo>
                    <a:lnTo>
                      <a:pt x="0" y="8"/>
                    </a:lnTo>
                    <a:lnTo>
                      <a:pt x="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104" name="Freeform 43">
                <a:extLst>
                  <a:ext uri="{FF2B5EF4-FFF2-40B4-BE49-F238E27FC236}">
                    <a16:creationId xmlns:a16="http://schemas.microsoft.com/office/drawing/2014/main" id="{61EF0D02-5B4B-47CE-AB42-C39BB60FFC9D}"/>
                  </a:ext>
                </a:extLst>
              </p:cNvPr>
              <p:cNvSpPr>
                <a:spLocks/>
              </p:cNvSpPr>
              <p:nvPr/>
            </p:nvSpPr>
            <p:spPr bwMode="gray">
              <a:xfrm>
                <a:off x="584" y="1565"/>
                <a:ext cx="22" cy="38"/>
              </a:xfrm>
              <a:custGeom>
                <a:avLst/>
                <a:gdLst>
                  <a:gd name="T0" fmla="*/ 0 w 22"/>
                  <a:gd name="T1" fmla="*/ 8 h 38"/>
                  <a:gd name="T2" fmla="*/ 0 w 22"/>
                  <a:gd name="T3" fmla="*/ 0 h 38"/>
                  <a:gd name="T4" fmla="*/ 8 w 22"/>
                  <a:gd name="T5" fmla="*/ 2 h 38"/>
                  <a:gd name="T6" fmla="*/ 14 w 22"/>
                  <a:gd name="T7" fmla="*/ 14 h 38"/>
                  <a:gd name="T8" fmla="*/ 22 w 22"/>
                  <a:gd name="T9" fmla="*/ 24 h 38"/>
                  <a:gd name="T10" fmla="*/ 22 w 22"/>
                  <a:gd name="T11" fmla="*/ 32 h 38"/>
                  <a:gd name="T12" fmla="*/ 18 w 22"/>
                  <a:gd name="T13" fmla="*/ 38 h 38"/>
                  <a:gd name="T14" fmla="*/ 12 w 22"/>
                  <a:gd name="T15" fmla="*/ 30 h 38"/>
                  <a:gd name="T16" fmla="*/ 6 w 22"/>
                  <a:gd name="T17" fmla="*/ 24 h 38"/>
                  <a:gd name="T18" fmla="*/ 4 w 22"/>
                  <a:gd name="T19" fmla="*/ 16 h 38"/>
                  <a:gd name="T20" fmla="*/ 0 w 22"/>
                  <a:gd name="T21" fmla="*/ 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 h="38">
                    <a:moveTo>
                      <a:pt x="0" y="8"/>
                    </a:moveTo>
                    <a:lnTo>
                      <a:pt x="0" y="0"/>
                    </a:lnTo>
                    <a:lnTo>
                      <a:pt x="8" y="2"/>
                    </a:lnTo>
                    <a:lnTo>
                      <a:pt x="14" y="14"/>
                    </a:lnTo>
                    <a:lnTo>
                      <a:pt x="22" y="24"/>
                    </a:lnTo>
                    <a:lnTo>
                      <a:pt x="22" y="32"/>
                    </a:lnTo>
                    <a:lnTo>
                      <a:pt x="18" y="38"/>
                    </a:lnTo>
                    <a:lnTo>
                      <a:pt x="12" y="30"/>
                    </a:lnTo>
                    <a:lnTo>
                      <a:pt x="6" y="24"/>
                    </a:lnTo>
                    <a:lnTo>
                      <a:pt x="4" y="16"/>
                    </a:lnTo>
                    <a:lnTo>
                      <a:pt x="0" y="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105" name="Freeform 44">
                <a:extLst>
                  <a:ext uri="{FF2B5EF4-FFF2-40B4-BE49-F238E27FC236}">
                    <a16:creationId xmlns:a16="http://schemas.microsoft.com/office/drawing/2014/main" id="{45A556D7-1794-41E1-A2C6-3E498F1E9CE8}"/>
                  </a:ext>
                </a:extLst>
              </p:cNvPr>
              <p:cNvSpPr>
                <a:spLocks/>
              </p:cNvSpPr>
              <p:nvPr/>
            </p:nvSpPr>
            <p:spPr bwMode="gray">
              <a:xfrm>
                <a:off x="588" y="1615"/>
                <a:ext cx="26" cy="34"/>
              </a:xfrm>
              <a:custGeom>
                <a:avLst/>
                <a:gdLst>
                  <a:gd name="T0" fmla="*/ 0 w 26"/>
                  <a:gd name="T1" fmla="*/ 0 h 34"/>
                  <a:gd name="T2" fmla="*/ 10 w 26"/>
                  <a:gd name="T3" fmla="*/ 4 h 34"/>
                  <a:gd name="T4" fmla="*/ 18 w 26"/>
                  <a:gd name="T5" fmla="*/ 4 h 34"/>
                  <a:gd name="T6" fmla="*/ 20 w 26"/>
                  <a:gd name="T7" fmla="*/ 8 h 34"/>
                  <a:gd name="T8" fmla="*/ 18 w 26"/>
                  <a:gd name="T9" fmla="*/ 16 h 34"/>
                  <a:gd name="T10" fmla="*/ 22 w 26"/>
                  <a:gd name="T11" fmla="*/ 22 h 34"/>
                  <a:gd name="T12" fmla="*/ 26 w 26"/>
                  <a:gd name="T13" fmla="*/ 34 h 34"/>
                  <a:gd name="T14" fmla="*/ 18 w 26"/>
                  <a:gd name="T15" fmla="*/ 32 h 34"/>
                  <a:gd name="T16" fmla="*/ 8 w 26"/>
                  <a:gd name="T17" fmla="*/ 20 h 34"/>
                  <a:gd name="T18" fmla="*/ 2 w 26"/>
                  <a:gd name="T19" fmla="*/ 12 h 34"/>
                  <a:gd name="T20" fmla="*/ 0 w 26"/>
                  <a:gd name="T21"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34">
                    <a:moveTo>
                      <a:pt x="0" y="0"/>
                    </a:moveTo>
                    <a:lnTo>
                      <a:pt x="10" y="4"/>
                    </a:lnTo>
                    <a:lnTo>
                      <a:pt x="18" y="4"/>
                    </a:lnTo>
                    <a:lnTo>
                      <a:pt x="20" y="8"/>
                    </a:lnTo>
                    <a:lnTo>
                      <a:pt x="18" y="16"/>
                    </a:lnTo>
                    <a:lnTo>
                      <a:pt x="22" y="22"/>
                    </a:lnTo>
                    <a:lnTo>
                      <a:pt x="26" y="34"/>
                    </a:lnTo>
                    <a:lnTo>
                      <a:pt x="18" y="32"/>
                    </a:lnTo>
                    <a:lnTo>
                      <a:pt x="8" y="20"/>
                    </a:lnTo>
                    <a:lnTo>
                      <a:pt x="2" y="12"/>
                    </a:lnTo>
                    <a:lnTo>
                      <a:pt x="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106" name="Freeform 45">
                <a:extLst>
                  <a:ext uri="{FF2B5EF4-FFF2-40B4-BE49-F238E27FC236}">
                    <a16:creationId xmlns:a16="http://schemas.microsoft.com/office/drawing/2014/main" id="{90587E6D-A3A5-4BCE-93EC-76DD104EC81E}"/>
                  </a:ext>
                </a:extLst>
              </p:cNvPr>
              <p:cNvSpPr>
                <a:spLocks/>
              </p:cNvSpPr>
              <p:nvPr/>
            </p:nvSpPr>
            <p:spPr bwMode="gray">
              <a:xfrm>
                <a:off x="84" y="1591"/>
                <a:ext cx="32" cy="20"/>
              </a:xfrm>
              <a:custGeom>
                <a:avLst/>
                <a:gdLst>
                  <a:gd name="T0" fmla="*/ 32 w 32"/>
                  <a:gd name="T1" fmla="*/ 4 h 20"/>
                  <a:gd name="T2" fmla="*/ 28 w 32"/>
                  <a:gd name="T3" fmla="*/ 10 h 20"/>
                  <a:gd name="T4" fmla="*/ 22 w 32"/>
                  <a:gd name="T5" fmla="*/ 12 h 20"/>
                  <a:gd name="T6" fmla="*/ 12 w 32"/>
                  <a:gd name="T7" fmla="*/ 14 h 20"/>
                  <a:gd name="T8" fmla="*/ 6 w 32"/>
                  <a:gd name="T9" fmla="*/ 20 h 20"/>
                  <a:gd name="T10" fmla="*/ 0 w 32"/>
                  <a:gd name="T11" fmla="*/ 18 h 20"/>
                  <a:gd name="T12" fmla="*/ 6 w 32"/>
                  <a:gd name="T13" fmla="*/ 8 h 20"/>
                  <a:gd name="T14" fmla="*/ 14 w 32"/>
                  <a:gd name="T15" fmla="*/ 4 h 20"/>
                  <a:gd name="T16" fmla="*/ 26 w 32"/>
                  <a:gd name="T17" fmla="*/ 0 h 20"/>
                  <a:gd name="T18" fmla="*/ 32 w 32"/>
                  <a:gd name="T19"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20">
                    <a:moveTo>
                      <a:pt x="32" y="4"/>
                    </a:moveTo>
                    <a:lnTo>
                      <a:pt x="28" y="10"/>
                    </a:lnTo>
                    <a:lnTo>
                      <a:pt x="22" y="12"/>
                    </a:lnTo>
                    <a:lnTo>
                      <a:pt x="12" y="14"/>
                    </a:lnTo>
                    <a:lnTo>
                      <a:pt x="6" y="20"/>
                    </a:lnTo>
                    <a:lnTo>
                      <a:pt x="0" y="18"/>
                    </a:lnTo>
                    <a:lnTo>
                      <a:pt x="6" y="8"/>
                    </a:lnTo>
                    <a:lnTo>
                      <a:pt x="14" y="4"/>
                    </a:lnTo>
                    <a:lnTo>
                      <a:pt x="26" y="0"/>
                    </a:lnTo>
                    <a:lnTo>
                      <a:pt x="32" y="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107" name="Freeform 46">
                <a:extLst>
                  <a:ext uri="{FF2B5EF4-FFF2-40B4-BE49-F238E27FC236}">
                    <a16:creationId xmlns:a16="http://schemas.microsoft.com/office/drawing/2014/main" id="{0FE83B12-05FF-4514-A93B-BD0648915FDB}"/>
                  </a:ext>
                </a:extLst>
              </p:cNvPr>
              <p:cNvSpPr>
                <a:spLocks/>
              </p:cNvSpPr>
              <p:nvPr/>
            </p:nvSpPr>
            <p:spPr bwMode="gray">
              <a:xfrm>
                <a:off x="560" y="1523"/>
                <a:ext cx="16" cy="30"/>
              </a:xfrm>
              <a:custGeom>
                <a:avLst/>
                <a:gdLst>
                  <a:gd name="T0" fmla="*/ 0 w 16"/>
                  <a:gd name="T1" fmla="*/ 0 h 30"/>
                  <a:gd name="T2" fmla="*/ 10 w 16"/>
                  <a:gd name="T3" fmla="*/ 4 h 30"/>
                  <a:gd name="T4" fmla="*/ 16 w 16"/>
                  <a:gd name="T5" fmla="*/ 16 h 30"/>
                  <a:gd name="T6" fmla="*/ 14 w 16"/>
                  <a:gd name="T7" fmla="*/ 24 h 30"/>
                  <a:gd name="T8" fmla="*/ 10 w 16"/>
                  <a:gd name="T9" fmla="*/ 30 h 30"/>
                  <a:gd name="T10" fmla="*/ 4 w 16"/>
                  <a:gd name="T11" fmla="*/ 22 h 30"/>
                  <a:gd name="T12" fmla="*/ 4 w 16"/>
                  <a:gd name="T13" fmla="*/ 16 h 30"/>
                  <a:gd name="T14" fmla="*/ 0 w 16"/>
                  <a:gd name="T15" fmla="*/ 8 h 30"/>
                  <a:gd name="T16" fmla="*/ 0 w 16"/>
                  <a:gd name="T1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30">
                    <a:moveTo>
                      <a:pt x="0" y="0"/>
                    </a:moveTo>
                    <a:lnTo>
                      <a:pt x="10" y="4"/>
                    </a:lnTo>
                    <a:lnTo>
                      <a:pt x="16" y="16"/>
                    </a:lnTo>
                    <a:lnTo>
                      <a:pt x="14" y="24"/>
                    </a:lnTo>
                    <a:lnTo>
                      <a:pt x="10" y="30"/>
                    </a:lnTo>
                    <a:lnTo>
                      <a:pt x="4" y="22"/>
                    </a:lnTo>
                    <a:lnTo>
                      <a:pt x="4" y="16"/>
                    </a:lnTo>
                    <a:lnTo>
                      <a:pt x="0" y="8"/>
                    </a:lnTo>
                    <a:lnTo>
                      <a:pt x="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108" name="Freeform 47">
                <a:extLst>
                  <a:ext uri="{FF2B5EF4-FFF2-40B4-BE49-F238E27FC236}">
                    <a16:creationId xmlns:a16="http://schemas.microsoft.com/office/drawing/2014/main" id="{874A106F-4922-45BC-A087-5F43428F6F60}"/>
                  </a:ext>
                </a:extLst>
              </p:cNvPr>
              <p:cNvSpPr>
                <a:spLocks/>
              </p:cNvSpPr>
              <p:nvPr/>
            </p:nvSpPr>
            <p:spPr bwMode="gray">
              <a:xfrm>
                <a:off x="608" y="1575"/>
                <a:ext cx="14" cy="20"/>
              </a:xfrm>
              <a:custGeom>
                <a:avLst/>
                <a:gdLst>
                  <a:gd name="T0" fmla="*/ 0 w 14"/>
                  <a:gd name="T1" fmla="*/ 0 h 20"/>
                  <a:gd name="T2" fmla="*/ 6 w 14"/>
                  <a:gd name="T3" fmla="*/ 4 h 20"/>
                  <a:gd name="T4" fmla="*/ 14 w 14"/>
                  <a:gd name="T5" fmla="*/ 6 h 20"/>
                  <a:gd name="T6" fmla="*/ 12 w 14"/>
                  <a:gd name="T7" fmla="*/ 16 h 20"/>
                  <a:gd name="T8" fmla="*/ 6 w 14"/>
                  <a:gd name="T9" fmla="*/ 20 h 20"/>
                  <a:gd name="T10" fmla="*/ 0 w 14"/>
                  <a:gd name="T11" fmla="*/ 12 h 20"/>
                  <a:gd name="T12" fmla="*/ 0 w 14"/>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4" h="20">
                    <a:moveTo>
                      <a:pt x="0" y="0"/>
                    </a:moveTo>
                    <a:lnTo>
                      <a:pt x="6" y="4"/>
                    </a:lnTo>
                    <a:lnTo>
                      <a:pt x="14" y="6"/>
                    </a:lnTo>
                    <a:lnTo>
                      <a:pt x="12" y="16"/>
                    </a:lnTo>
                    <a:lnTo>
                      <a:pt x="6" y="20"/>
                    </a:lnTo>
                    <a:lnTo>
                      <a:pt x="0" y="12"/>
                    </a:lnTo>
                    <a:lnTo>
                      <a:pt x="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109" name="Freeform 48">
                <a:extLst>
                  <a:ext uri="{FF2B5EF4-FFF2-40B4-BE49-F238E27FC236}">
                    <a16:creationId xmlns:a16="http://schemas.microsoft.com/office/drawing/2014/main" id="{BAD4BE42-8167-4E7C-8F07-2F66CEBAF54F}"/>
                  </a:ext>
                </a:extLst>
              </p:cNvPr>
              <p:cNvSpPr>
                <a:spLocks/>
              </p:cNvSpPr>
              <p:nvPr/>
            </p:nvSpPr>
            <p:spPr bwMode="gray">
              <a:xfrm>
                <a:off x="560" y="1523"/>
                <a:ext cx="16" cy="30"/>
              </a:xfrm>
              <a:custGeom>
                <a:avLst/>
                <a:gdLst>
                  <a:gd name="T0" fmla="*/ 0 w 16"/>
                  <a:gd name="T1" fmla="*/ 0 h 30"/>
                  <a:gd name="T2" fmla="*/ 10 w 16"/>
                  <a:gd name="T3" fmla="*/ 4 h 30"/>
                  <a:gd name="T4" fmla="*/ 16 w 16"/>
                  <a:gd name="T5" fmla="*/ 16 h 30"/>
                  <a:gd name="T6" fmla="*/ 14 w 16"/>
                  <a:gd name="T7" fmla="*/ 24 h 30"/>
                  <a:gd name="T8" fmla="*/ 10 w 16"/>
                  <a:gd name="T9" fmla="*/ 30 h 30"/>
                  <a:gd name="T10" fmla="*/ 4 w 16"/>
                  <a:gd name="T11" fmla="*/ 22 h 30"/>
                  <a:gd name="T12" fmla="*/ 4 w 16"/>
                  <a:gd name="T13" fmla="*/ 16 h 30"/>
                  <a:gd name="T14" fmla="*/ 0 w 16"/>
                  <a:gd name="T15" fmla="*/ 8 h 30"/>
                  <a:gd name="T16" fmla="*/ 0 w 16"/>
                  <a:gd name="T1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30">
                    <a:moveTo>
                      <a:pt x="0" y="0"/>
                    </a:moveTo>
                    <a:lnTo>
                      <a:pt x="10" y="4"/>
                    </a:lnTo>
                    <a:lnTo>
                      <a:pt x="16" y="16"/>
                    </a:lnTo>
                    <a:lnTo>
                      <a:pt x="14" y="24"/>
                    </a:lnTo>
                    <a:lnTo>
                      <a:pt x="10" y="30"/>
                    </a:lnTo>
                    <a:lnTo>
                      <a:pt x="4" y="22"/>
                    </a:lnTo>
                    <a:lnTo>
                      <a:pt x="4" y="16"/>
                    </a:lnTo>
                    <a:lnTo>
                      <a:pt x="0" y="8"/>
                    </a:lnTo>
                    <a:lnTo>
                      <a:pt x="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110" name="Freeform 49">
                <a:extLst>
                  <a:ext uri="{FF2B5EF4-FFF2-40B4-BE49-F238E27FC236}">
                    <a16:creationId xmlns:a16="http://schemas.microsoft.com/office/drawing/2014/main" id="{FCCF66C6-D67B-49F5-AA42-2A2097F36BD2}"/>
                  </a:ext>
                </a:extLst>
              </p:cNvPr>
              <p:cNvSpPr>
                <a:spLocks/>
              </p:cNvSpPr>
              <p:nvPr/>
            </p:nvSpPr>
            <p:spPr bwMode="gray">
              <a:xfrm>
                <a:off x="608" y="1575"/>
                <a:ext cx="14" cy="20"/>
              </a:xfrm>
              <a:custGeom>
                <a:avLst/>
                <a:gdLst>
                  <a:gd name="T0" fmla="*/ 0 w 14"/>
                  <a:gd name="T1" fmla="*/ 0 h 20"/>
                  <a:gd name="T2" fmla="*/ 6 w 14"/>
                  <a:gd name="T3" fmla="*/ 4 h 20"/>
                  <a:gd name="T4" fmla="*/ 14 w 14"/>
                  <a:gd name="T5" fmla="*/ 6 h 20"/>
                  <a:gd name="T6" fmla="*/ 12 w 14"/>
                  <a:gd name="T7" fmla="*/ 16 h 20"/>
                  <a:gd name="T8" fmla="*/ 6 w 14"/>
                  <a:gd name="T9" fmla="*/ 20 h 20"/>
                  <a:gd name="T10" fmla="*/ 0 w 14"/>
                  <a:gd name="T11" fmla="*/ 12 h 20"/>
                  <a:gd name="T12" fmla="*/ 0 w 14"/>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4" h="20">
                    <a:moveTo>
                      <a:pt x="0" y="0"/>
                    </a:moveTo>
                    <a:lnTo>
                      <a:pt x="6" y="4"/>
                    </a:lnTo>
                    <a:lnTo>
                      <a:pt x="14" y="6"/>
                    </a:lnTo>
                    <a:lnTo>
                      <a:pt x="12" y="16"/>
                    </a:lnTo>
                    <a:lnTo>
                      <a:pt x="6" y="20"/>
                    </a:lnTo>
                    <a:lnTo>
                      <a:pt x="0" y="12"/>
                    </a:lnTo>
                    <a:lnTo>
                      <a:pt x="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111" name="Freeform 50">
                <a:extLst>
                  <a:ext uri="{FF2B5EF4-FFF2-40B4-BE49-F238E27FC236}">
                    <a16:creationId xmlns:a16="http://schemas.microsoft.com/office/drawing/2014/main" id="{5D7D5F30-3568-4C05-ADAB-1497B931BCA0}"/>
                  </a:ext>
                </a:extLst>
              </p:cNvPr>
              <p:cNvSpPr>
                <a:spLocks/>
              </p:cNvSpPr>
              <p:nvPr/>
            </p:nvSpPr>
            <p:spPr bwMode="gray">
              <a:xfrm>
                <a:off x="576" y="1551"/>
                <a:ext cx="14" cy="14"/>
              </a:xfrm>
              <a:custGeom>
                <a:avLst/>
                <a:gdLst>
                  <a:gd name="T0" fmla="*/ 4 w 14"/>
                  <a:gd name="T1" fmla="*/ 0 h 14"/>
                  <a:gd name="T2" fmla="*/ 8 w 14"/>
                  <a:gd name="T3" fmla="*/ 0 h 14"/>
                  <a:gd name="T4" fmla="*/ 14 w 14"/>
                  <a:gd name="T5" fmla="*/ 6 h 14"/>
                  <a:gd name="T6" fmla="*/ 8 w 14"/>
                  <a:gd name="T7" fmla="*/ 10 h 14"/>
                  <a:gd name="T8" fmla="*/ 2 w 14"/>
                  <a:gd name="T9" fmla="*/ 14 h 14"/>
                  <a:gd name="T10" fmla="*/ 0 w 14"/>
                  <a:gd name="T11" fmla="*/ 6 h 14"/>
                  <a:gd name="T12" fmla="*/ 4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4" y="0"/>
                    </a:moveTo>
                    <a:lnTo>
                      <a:pt x="8" y="0"/>
                    </a:lnTo>
                    <a:lnTo>
                      <a:pt x="14" y="6"/>
                    </a:lnTo>
                    <a:lnTo>
                      <a:pt x="8" y="10"/>
                    </a:lnTo>
                    <a:lnTo>
                      <a:pt x="2" y="14"/>
                    </a:lnTo>
                    <a:lnTo>
                      <a:pt x="0" y="6"/>
                    </a:lnTo>
                    <a:lnTo>
                      <a:pt x="4"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grpSp>
        <p:sp>
          <p:nvSpPr>
            <p:cNvPr id="865" name="Freeform 51">
              <a:extLst>
                <a:ext uri="{FF2B5EF4-FFF2-40B4-BE49-F238E27FC236}">
                  <a16:creationId xmlns:a16="http://schemas.microsoft.com/office/drawing/2014/main" id="{1936F901-62CB-4F37-9BC2-4222FD341D83}"/>
                </a:ext>
              </a:extLst>
            </p:cNvPr>
            <p:cNvSpPr>
              <a:spLocks/>
            </p:cNvSpPr>
            <p:nvPr/>
          </p:nvSpPr>
          <p:spPr bwMode="gray">
            <a:xfrm>
              <a:off x="2555839" y="3277182"/>
              <a:ext cx="1505778" cy="743603"/>
            </a:xfrm>
            <a:custGeom>
              <a:avLst/>
              <a:gdLst>
                <a:gd name="T0" fmla="*/ 24 w 912"/>
                <a:gd name="T1" fmla="*/ 30 h 448"/>
                <a:gd name="T2" fmla="*/ 30 w 912"/>
                <a:gd name="T3" fmla="*/ 20 h 448"/>
                <a:gd name="T4" fmla="*/ 472 w 912"/>
                <a:gd name="T5" fmla="*/ 8 h 448"/>
                <a:gd name="T6" fmla="*/ 550 w 912"/>
                <a:gd name="T7" fmla="*/ 28 h 448"/>
                <a:gd name="T8" fmla="*/ 516 w 912"/>
                <a:gd name="T9" fmla="*/ 52 h 448"/>
                <a:gd name="T10" fmla="*/ 562 w 912"/>
                <a:gd name="T11" fmla="*/ 48 h 448"/>
                <a:gd name="T12" fmla="*/ 604 w 912"/>
                <a:gd name="T13" fmla="*/ 56 h 448"/>
                <a:gd name="T14" fmla="*/ 636 w 912"/>
                <a:gd name="T15" fmla="*/ 68 h 448"/>
                <a:gd name="T16" fmla="*/ 600 w 912"/>
                <a:gd name="T17" fmla="*/ 68 h 448"/>
                <a:gd name="T18" fmla="*/ 588 w 912"/>
                <a:gd name="T19" fmla="*/ 94 h 448"/>
                <a:gd name="T20" fmla="*/ 584 w 912"/>
                <a:gd name="T21" fmla="*/ 154 h 448"/>
                <a:gd name="T22" fmla="*/ 608 w 912"/>
                <a:gd name="T23" fmla="*/ 112 h 448"/>
                <a:gd name="T24" fmla="*/ 620 w 912"/>
                <a:gd name="T25" fmla="*/ 84 h 448"/>
                <a:gd name="T26" fmla="*/ 654 w 912"/>
                <a:gd name="T27" fmla="*/ 90 h 448"/>
                <a:gd name="T28" fmla="*/ 652 w 912"/>
                <a:gd name="T29" fmla="*/ 112 h 448"/>
                <a:gd name="T30" fmla="*/ 662 w 912"/>
                <a:gd name="T31" fmla="*/ 134 h 448"/>
                <a:gd name="T32" fmla="*/ 690 w 912"/>
                <a:gd name="T33" fmla="*/ 148 h 448"/>
                <a:gd name="T34" fmla="*/ 720 w 912"/>
                <a:gd name="T35" fmla="*/ 124 h 448"/>
                <a:gd name="T36" fmla="*/ 766 w 912"/>
                <a:gd name="T37" fmla="*/ 100 h 448"/>
                <a:gd name="T38" fmla="*/ 858 w 912"/>
                <a:gd name="T39" fmla="*/ 74 h 448"/>
                <a:gd name="T40" fmla="*/ 900 w 912"/>
                <a:gd name="T41" fmla="*/ 44 h 448"/>
                <a:gd name="T42" fmla="*/ 912 w 912"/>
                <a:gd name="T43" fmla="*/ 90 h 448"/>
                <a:gd name="T44" fmla="*/ 864 w 912"/>
                <a:gd name="T45" fmla="*/ 110 h 448"/>
                <a:gd name="T46" fmla="*/ 862 w 912"/>
                <a:gd name="T47" fmla="*/ 148 h 448"/>
                <a:gd name="T48" fmla="*/ 804 w 912"/>
                <a:gd name="T49" fmla="*/ 166 h 448"/>
                <a:gd name="T50" fmla="*/ 782 w 912"/>
                <a:gd name="T51" fmla="*/ 198 h 448"/>
                <a:gd name="T52" fmla="*/ 770 w 912"/>
                <a:gd name="T53" fmla="*/ 220 h 448"/>
                <a:gd name="T54" fmla="*/ 760 w 912"/>
                <a:gd name="T55" fmla="*/ 214 h 448"/>
                <a:gd name="T56" fmla="*/ 762 w 912"/>
                <a:gd name="T57" fmla="*/ 234 h 448"/>
                <a:gd name="T58" fmla="*/ 762 w 912"/>
                <a:gd name="T59" fmla="*/ 270 h 448"/>
                <a:gd name="T60" fmla="*/ 724 w 912"/>
                <a:gd name="T61" fmla="*/ 298 h 448"/>
                <a:gd name="T62" fmla="*/ 682 w 912"/>
                <a:gd name="T63" fmla="*/ 350 h 448"/>
                <a:gd name="T64" fmla="*/ 704 w 912"/>
                <a:gd name="T65" fmla="*/ 424 h 448"/>
                <a:gd name="T66" fmla="*/ 680 w 912"/>
                <a:gd name="T67" fmla="*/ 428 h 448"/>
                <a:gd name="T68" fmla="*/ 664 w 912"/>
                <a:gd name="T69" fmla="*/ 382 h 448"/>
                <a:gd name="T70" fmla="*/ 626 w 912"/>
                <a:gd name="T71" fmla="*/ 372 h 448"/>
                <a:gd name="T72" fmla="*/ 566 w 912"/>
                <a:gd name="T73" fmla="*/ 354 h 448"/>
                <a:gd name="T74" fmla="*/ 560 w 912"/>
                <a:gd name="T75" fmla="*/ 374 h 448"/>
                <a:gd name="T76" fmla="*/ 516 w 912"/>
                <a:gd name="T77" fmla="*/ 368 h 448"/>
                <a:gd name="T78" fmla="*/ 484 w 912"/>
                <a:gd name="T79" fmla="*/ 372 h 448"/>
                <a:gd name="T80" fmla="*/ 454 w 912"/>
                <a:gd name="T81" fmla="*/ 388 h 448"/>
                <a:gd name="T82" fmla="*/ 430 w 912"/>
                <a:gd name="T83" fmla="*/ 420 h 448"/>
                <a:gd name="T84" fmla="*/ 390 w 912"/>
                <a:gd name="T85" fmla="*/ 400 h 448"/>
                <a:gd name="T86" fmla="*/ 344 w 912"/>
                <a:gd name="T87" fmla="*/ 368 h 448"/>
                <a:gd name="T88" fmla="*/ 302 w 912"/>
                <a:gd name="T89" fmla="*/ 346 h 448"/>
                <a:gd name="T90" fmla="*/ 192 w 912"/>
                <a:gd name="T91" fmla="*/ 334 h 448"/>
                <a:gd name="T92" fmla="*/ 104 w 912"/>
                <a:gd name="T93" fmla="*/ 298 h 448"/>
                <a:gd name="T94" fmla="*/ 58 w 912"/>
                <a:gd name="T95" fmla="*/ 272 h 448"/>
                <a:gd name="T96" fmla="*/ 32 w 912"/>
                <a:gd name="T97" fmla="*/ 228 h 448"/>
                <a:gd name="T98" fmla="*/ 10 w 912"/>
                <a:gd name="T99" fmla="*/ 186 h 448"/>
                <a:gd name="T100" fmla="*/ 6 w 912"/>
                <a:gd name="T101" fmla="*/ 112 h 448"/>
                <a:gd name="T102" fmla="*/ 8 w 912"/>
                <a:gd name="T103" fmla="*/ 42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12" h="448">
                  <a:moveTo>
                    <a:pt x="4" y="38"/>
                  </a:moveTo>
                  <a:lnTo>
                    <a:pt x="0" y="28"/>
                  </a:lnTo>
                  <a:lnTo>
                    <a:pt x="8" y="24"/>
                  </a:lnTo>
                  <a:lnTo>
                    <a:pt x="18" y="28"/>
                  </a:lnTo>
                  <a:lnTo>
                    <a:pt x="24" y="30"/>
                  </a:lnTo>
                  <a:lnTo>
                    <a:pt x="26" y="38"/>
                  </a:lnTo>
                  <a:lnTo>
                    <a:pt x="28" y="44"/>
                  </a:lnTo>
                  <a:lnTo>
                    <a:pt x="34" y="38"/>
                  </a:lnTo>
                  <a:lnTo>
                    <a:pt x="36" y="28"/>
                  </a:lnTo>
                  <a:lnTo>
                    <a:pt x="30" y="20"/>
                  </a:lnTo>
                  <a:lnTo>
                    <a:pt x="30" y="8"/>
                  </a:lnTo>
                  <a:lnTo>
                    <a:pt x="460" y="8"/>
                  </a:lnTo>
                  <a:lnTo>
                    <a:pt x="462" y="0"/>
                  </a:lnTo>
                  <a:lnTo>
                    <a:pt x="470" y="0"/>
                  </a:lnTo>
                  <a:lnTo>
                    <a:pt x="472" y="8"/>
                  </a:lnTo>
                  <a:lnTo>
                    <a:pt x="476" y="12"/>
                  </a:lnTo>
                  <a:lnTo>
                    <a:pt x="488" y="16"/>
                  </a:lnTo>
                  <a:lnTo>
                    <a:pt x="512" y="20"/>
                  </a:lnTo>
                  <a:lnTo>
                    <a:pt x="526" y="24"/>
                  </a:lnTo>
                  <a:lnTo>
                    <a:pt x="550" y="28"/>
                  </a:lnTo>
                  <a:lnTo>
                    <a:pt x="548" y="32"/>
                  </a:lnTo>
                  <a:lnTo>
                    <a:pt x="536" y="36"/>
                  </a:lnTo>
                  <a:lnTo>
                    <a:pt x="528" y="40"/>
                  </a:lnTo>
                  <a:lnTo>
                    <a:pt x="520" y="48"/>
                  </a:lnTo>
                  <a:lnTo>
                    <a:pt x="516" y="52"/>
                  </a:lnTo>
                  <a:lnTo>
                    <a:pt x="526" y="56"/>
                  </a:lnTo>
                  <a:lnTo>
                    <a:pt x="540" y="56"/>
                  </a:lnTo>
                  <a:lnTo>
                    <a:pt x="552" y="56"/>
                  </a:lnTo>
                  <a:lnTo>
                    <a:pt x="558" y="52"/>
                  </a:lnTo>
                  <a:lnTo>
                    <a:pt x="562" y="48"/>
                  </a:lnTo>
                  <a:lnTo>
                    <a:pt x="570" y="42"/>
                  </a:lnTo>
                  <a:lnTo>
                    <a:pt x="574" y="48"/>
                  </a:lnTo>
                  <a:lnTo>
                    <a:pt x="584" y="54"/>
                  </a:lnTo>
                  <a:lnTo>
                    <a:pt x="594" y="58"/>
                  </a:lnTo>
                  <a:lnTo>
                    <a:pt x="604" y="56"/>
                  </a:lnTo>
                  <a:lnTo>
                    <a:pt x="612" y="56"/>
                  </a:lnTo>
                  <a:lnTo>
                    <a:pt x="622" y="54"/>
                  </a:lnTo>
                  <a:lnTo>
                    <a:pt x="628" y="58"/>
                  </a:lnTo>
                  <a:lnTo>
                    <a:pt x="636" y="64"/>
                  </a:lnTo>
                  <a:lnTo>
                    <a:pt x="636" y="68"/>
                  </a:lnTo>
                  <a:lnTo>
                    <a:pt x="628" y="64"/>
                  </a:lnTo>
                  <a:lnTo>
                    <a:pt x="618" y="64"/>
                  </a:lnTo>
                  <a:lnTo>
                    <a:pt x="610" y="70"/>
                  </a:lnTo>
                  <a:lnTo>
                    <a:pt x="604" y="72"/>
                  </a:lnTo>
                  <a:lnTo>
                    <a:pt x="600" y="68"/>
                  </a:lnTo>
                  <a:lnTo>
                    <a:pt x="596" y="72"/>
                  </a:lnTo>
                  <a:lnTo>
                    <a:pt x="588" y="80"/>
                  </a:lnTo>
                  <a:lnTo>
                    <a:pt x="578" y="88"/>
                  </a:lnTo>
                  <a:lnTo>
                    <a:pt x="580" y="96"/>
                  </a:lnTo>
                  <a:lnTo>
                    <a:pt x="588" y="94"/>
                  </a:lnTo>
                  <a:lnTo>
                    <a:pt x="592" y="86"/>
                  </a:lnTo>
                  <a:lnTo>
                    <a:pt x="584" y="104"/>
                  </a:lnTo>
                  <a:lnTo>
                    <a:pt x="580" y="128"/>
                  </a:lnTo>
                  <a:lnTo>
                    <a:pt x="580" y="140"/>
                  </a:lnTo>
                  <a:lnTo>
                    <a:pt x="584" y="154"/>
                  </a:lnTo>
                  <a:lnTo>
                    <a:pt x="594" y="152"/>
                  </a:lnTo>
                  <a:lnTo>
                    <a:pt x="604" y="144"/>
                  </a:lnTo>
                  <a:lnTo>
                    <a:pt x="608" y="134"/>
                  </a:lnTo>
                  <a:lnTo>
                    <a:pt x="608" y="122"/>
                  </a:lnTo>
                  <a:lnTo>
                    <a:pt x="608" y="112"/>
                  </a:lnTo>
                  <a:lnTo>
                    <a:pt x="608" y="100"/>
                  </a:lnTo>
                  <a:lnTo>
                    <a:pt x="608" y="92"/>
                  </a:lnTo>
                  <a:lnTo>
                    <a:pt x="610" y="88"/>
                  </a:lnTo>
                  <a:lnTo>
                    <a:pt x="616" y="88"/>
                  </a:lnTo>
                  <a:lnTo>
                    <a:pt x="620" y="84"/>
                  </a:lnTo>
                  <a:lnTo>
                    <a:pt x="624" y="78"/>
                  </a:lnTo>
                  <a:lnTo>
                    <a:pt x="632" y="76"/>
                  </a:lnTo>
                  <a:lnTo>
                    <a:pt x="640" y="80"/>
                  </a:lnTo>
                  <a:lnTo>
                    <a:pt x="650" y="82"/>
                  </a:lnTo>
                  <a:lnTo>
                    <a:pt x="654" y="90"/>
                  </a:lnTo>
                  <a:lnTo>
                    <a:pt x="652" y="100"/>
                  </a:lnTo>
                  <a:lnTo>
                    <a:pt x="648" y="108"/>
                  </a:lnTo>
                  <a:lnTo>
                    <a:pt x="644" y="112"/>
                  </a:lnTo>
                  <a:lnTo>
                    <a:pt x="646" y="116"/>
                  </a:lnTo>
                  <a:lnTo>
                    <a:pt x="652" y="112"/>
                  </a:lnTo>
                  <a:lnTo>
                    <a:pt x="658" y="108"/>
                  </a:lnTo>
                  <a:lnTo>
                    <a:pt x="664" y="110"/>
                  </a:lnTo>
                  <a:lnTo>
                    <a:pt x="664" y="120"/>
                  </a:lnTo>
                  <a:lnTo>
                    <a:pt x="662" y="126"/>
                  </a:lnTo>
                  <a:lnTo>
                    <a:pt x="662" y="134"/>
                  </a:lnTo>
                  <a:lnTo>
                    <a:pt x="656" y="140"/>
                  </a:lnTo>
                  <a:lnTo>
                    <a:pt x="652" y="148"/>
                  </a:lnTo>
                  <a:lnTo>
                    <a:pt x="660" y="154"/>
                  </a:lnTo>
                  <a:lnTo>
                    <a:pt x="678" y="154"/>
                  </a:lnTo>
                  <a:lnTo>
                    <a:pt x="690" y="148"/>
                  </a:lnTo>
                  <a:lnTo>
                    <a:pt x="702" y="144"/>
                  </a:lnTo>
                  <a:lnTo>
                    <a:pt x="714" y="138"/>
                  </a:lnTo>
                  <a:lnTo>
                    <a:pt x="720" y="136"/>
                  </a:lnTo>
                  <a:lnTo>
                    <a:pt x="722" y="130"/>
                  </a:lnTo>
                  <a:lnTo>
                    <a:pt x="720" y="124"/>
                  </a:lnTo>
                  <a:lnTo>
                    <a:pt x="722" y="120"/>
                  </a:lnTo>
                  <a:lnTo>
                    <a:pt x="744" y="122"/>
                  </a:lnTo>
                  <a:lnTo>
                    <a:pt x="756" y="120"/>
                  </a:lnTo>
                  <a:lnTo>
                    <a:pt x="766" y="112"/>
                  </a:lnTo>
                  <a:lnTo>
                    <a:pt x="766" y="100"/>
                  </a:lnTo>
                  <a:lnTo>
                    <a:pt x="774" y="94"/>
                  </a:lnTo>
                  <a:lnTo>
                    <a:pt x="782" y="88"/>
                  </a:lnTo>
                  <a:lnTo>
                    <a:pt x="840" y="88"/>
                  </a:lnTo>
                  <a:lnTo>
                    <a:pt x="852" y="82"/>
                  </a:lnTo>
                  <a:lnTo>
                    <a:pt x="858" y="74"/>
                  </a:lnTo>
                  <a:lnTo>
                    <a:pt x="862" y="58"/>
                  </a:lnTo>
                  <a:lnTo>
                    <a:pt x="870" y="44"/>
                  </a:lnTo>
                  <a:lnTo>
                    <a:pt x="878" y="36"/>
                  </a:lnTo>
                  <a:lnTo>
                    <a:pt x="886" y="40"/>
                  </a:lnTo>
                  <a:lnTo>
                    <a:pt x="900" y="44"/>
                  </a:lnTo>
                  <a:lnTo>
                    <a:pt x="902" y="52"/>
                  </a:lnTo>
                  <a:lnTo>
                    <a:pt x="900" y="68"/>
                  </a:lnTo>
                  <a:lnTo>
                    <a:pt x="902" y="76"/>
                  </a:lnTo>
                  <a:lnTo>
                    <a:pt x="908" y="82"/>
                  </a:lnTo>
                  <a:lnTo>
                    <a:pt x="912" y="90"/>
                  </a:lnTo>
                  <a:lnTo>
                    <a:pt x="908" y="96"/>
                  </a:lnTo>
                  <a:lnTo>
                    <a:pt x="896" y="96"/>
                  </a:lnTo>
                  <a:lnTo>
                    <a:pt x="884" y="98"/>
                  </a:lnTo>
                  <a:lnTo>
                    <a:pt x="874" y="104"/>
                  </a:lnTo>
                  <a:lnTo>
                    <a:pt x="864" y="110"/>
                  </a:lnTo>
                  <a:lnTo>
                    <a:pt x="858" y="124"/>
                  </a:lnTo>
                  <a:lnTo>
                    <a:pt x="850" y="134"/>
                  </a:lnTo>
                  <a:lnTo>
                    <a:pt x="850" y="142"/>
                  </a:lnTo>
                  <a:lnTo>
                    <a:pt x="854" y="146"/>
                  </a:lnTo>
                  <a:lnTo>
                    <a:pt x="862" y="148"/>
                  </a:lnTo>
                  <a:lnTo>
                    <a:pt x="854" y="154"/>
                  </a:lnTo>
                  <a:lnTo>
                    <a:pt x="848" y="154"/>
                  </a:lnTo>
                  <a:lnTo>
                    <a:pt x="838" y="158"/>
                  </a:lnTo>
                  <a:lnTo>
                    <a:pt x="822" y="162"/>
                  </a:lnTo>
                  <a:lnTo>
                    <a:pt x="804" y="166"/>
                  </a:lnTo>
                  <a:lnTo>
                    <a:pt x="800" y="170"/>
                  </a:lnTo>
                  <a:lnTo>
                    <a:pt x="802" y="182"/>
                  </a:lnTo>
                  <a:lnTo>
                    <a:pt x="796" y="190"/>
                  </a:lnTo>
                  <a:lnTo>
                    <a:pt x="790" y="200"/>
                  </a:lnTo>
                  <a:lnTo>
                    <a:pt x="782" y="198"/>
                  </a:lnTo>
                  <a:lnTo>
                    <a:pt x="786" y="210"/>
                  </a:lnTo>
                  <a:lnTo>
                    <a:pt x="782" y="218"/>
                  </a:lnTo>
                  <a:lnTo>
                    <a:pt x="774" y="228"/>
                  </a:lnTo>
                  <a:lnTo>
                    <a:pt x="770" y="234"/>
                  </a:lnTo>
                  <a:lnTo>
                    <a:pt x="770" y="220"/>
                  </a:lnTo>
                  <a:lnTo>
                    <a:pt x="766" y="208"/>
                  </a:lnTo>
                  <a:lnTo>
                    <a:pt x="768" y="198"/>
                  </a:lnTo>
                  <a:lnTo>
                    <a:pt x="764" y="194"/>
                  </a:lnTo>
                  <a:lnTo>
                    <a:pt x="762" y="202"/>
                  </a:lnTo>
                  <a:lnTo>
                    <a:pt x="760" y="214"/>
                  </a:lnTo>
                  <a:lnTo>
                    <a:pt x="754" y="212"/>
                  </a:lnTo>
                  <a:lnTo>
                    <a:pt x="750" y="214"/>
                  </a:lnTo>
                  <a:lnTo>
                    <a:pt x="758" y="222"/>
                  </a:lnTo>
                  <a:lnTo>
                    <a:pt x="764" y="228"/>
                  </a:lnTo>
                  <a:lnTo>
                    <a:pt x="762" y="234"/>
                  </a:lnTo>
                  <a:lnTo>
                    <a:pt x="764" y="244"/>
                  </a:lnTo>
                  <a:lnTo>
                    <a:pt x="770" y="246"/>
                  </a:lnTo>
                  <a:lnTo>
                    <a:pt x="774" y="256"/>
                  </a:lnTo>
                  <a:lnTo>
                    <a:pt x="770" y="264"/>
                  </a:lnTo>
                  <a:lnTo>
                    <a:pt x="762" y="270"/>
                  </a:lnTo>
                  <a:lnTo>
                    <a:pt x="762" y="278"/>
                  </a:lnTo>
                  <a:lnTo>
                    <a:pt x="752" y="280"/>
                  </a:lnTo>
                  <a:lnTo>
                    <a:pt x="738" y="292"/>
                  </a:lnTo>
                  <a:lnTo>
                    <a:pt x="734" y="296"/>
                  </a:lnTo>
                  <a:lnTo>
                    <a:pt x="724" y="298"/>
                  </a:lnTo>
                  <a:lnTo>
                    <a:pt x="714" y="314"/>
                  </a:lnTo>
                  <a:lnTo>
                    <a:pt x="702" y="318"/>
                  </a:lnTo>
                  <a:lnTo>
                    <a:pt x="696" y="326"/>
                  </a:lnTo>
                  <a:lnTo>
                    <a:pt x="686" y="338"/>
                  </a:lnTo>
                  <a:lnTo>
                    <a:pt x="682" y="350"/>
                  </a:lnTo>
                  <a:lnTo>
                    <a:pt x="686" y="364"/>
                  </a:lnTo>
                  <a:lnTo>
                    <a:pt x="692" y="378"/>
                  </a:lnTo>
                  <a:lnTo>
                    <a:pt x="696" y="392"/>
                  </a:lnTo>
                  <a:lnTo>
                    <a:pt x="702" y="406"/>
                  </a:lnTo>
                  <a:lnTo>
                    <a:pt x="704" y="424"/>
                  </a:lnTo>
                  <a:lnTo>
                    <a:pt x="704" y="440"/>
                  </a:lnTo>
                  <a:lnTo>
                    <a:pt x="702" y="448"/>
                  </a:lnTo>
                  <a:lnTo>
                    <a:pt x="694" y="448"/>
                  </a:lnTo>
                  <a:lnTo>
                    <a:pt x="686" y="440"/>
                  </a:lnTo>
                  <a:lnTo>
                    <a:pt x="680" y="428"/>
                  </a:lnTo>
                  <a:lnTo>
                    <a:pt x="672" y="422"/>
                  </a:lnTo>
                  <a:lnTo>
                    <a:pt x="664" y="416"/>
                  </a:lnTo>
                  <a:lnTo>
                    <a:pt x="662" y="404"/>
                  </a:lnTo>
                  <a:lnTo>
                    <a:pt x="662" y="392"/>
                  </a:lnTo>
                  <a:lnTo>
                    <a:pt x="664" y="382"/>
                  </a:lnTo>
                  <a:lnTo>
                    <a:pt x="656" y="374"/>
                  </a:lnTo>
                  <a:lnTo>
                    <a:pt x="650" y="366"/>
                  </a:lnTo>
                  <a:lnTo>
                    <a:pt x="640" y="362"/>
                  </a:lnTo>
                  <a:lnTo>
                    <a:pt x="634" y="364"/>
                  </a:lnTo>
                  <a:lnTo>
                    <a:pt x="626" y="372"/>
                  </a:lnTo>
                  <a:lnTo>
                    <a:pt x="618" y="362"/>
                  </a:lnTo>
                  <a:lnTo>
                    <a:pt x="606" y="360"/>
                  </a:lnTo>
                  <a:lnTo>
                    <a:pt x="592" y="358"/>
                  </a:lnTo>
                  <a:lnTo>
                    <a:pt x="582" y="354"/>
                  </a:lnTo>
                  <a:lnTo>
                    <a:pt x="566" y="354"/>
                  </a:lnTo>
                  <a:lnTo>
                    <a:pt x="552" y="356"/>
                  </a:lnTo>
                  <a:lnTo>
                    <a:pt x="542" y="358"/>
                  </a:lnTo>
                  <a:lnTo>
                    <a:pt x="548" y="364"/>
                  </a:lnTo>
                  <a:lnTo>
                    <a:pt x="554" y="368"/>
                  </a:lnTo>
                  <a:lnTo>
                    <a:pt x="560" y="374"/>
                  </a:lnTo>
                  <a:lnTo>
                    <a:pt x="552" y="376"/>
                  </a:lnTo>
                  <a:lnTo>
                    <a:pt x="544" y="376"/>
                  </a:lnTo>
                  <a:lnTo>
                    <a:pt x="534" y="378"/>
                  </a:lnTo>
                  <a:lnTo>
                    <a:pt x="526" y="372"/>
                  </a:lnTo>
                  <a:lnTo>
                    <a:pt x="516" y="368"/>
                  </a:lnTo>
                  <a:lnTo>
                    <a:pt x="512" y="370"/>
                  </a:lnTo>
                  <a:lnTo>
                    <a:pt x="508" y="372"/>
                  </a:lnTo>
                  <a:lnTo>
                    <a:pt x="498" y="366"/>
                  </a:lnTo>
                  <a:lnTo>
                    <a:pt x="488" y="366"/>
                  </a:lnTo>
                  <a:lnTo>
                    <a:pt x="484" y="372"/>
                  </a:lnTo>
                  <a:lnTo>
                    <a:pt x="476" y="374"/>
                  </a:lnTo>
                  <a:lnTo>
                    <a:pt x="470" y="370"/>
                  </a:lnTo>
                  <a:lnTo>
                    <a:pt x="466" y="378"/>
                  </a:lnTo>
                  <a:lnTo>
                    <a:pt x="460" y="384"/>
                  </a:lnTo>
                  <a:lnTo>
                    <a:pt x="454" y="388"/>
                  </a:lnTo>
                  <a:lnTo>
                    <a:pt x="442" y="388"/>
                  </a:lnTo>
                  <a:lnTo>
                    <a:pt x="438" y="394"/>
                  </a:lnTo>
                  <a:lnTo>
                    <a:pt x="432" y="400"/>
                  </a:lnTo>
                  <a:lnTo>
                    <a:pt x="428" y="408"/>
                  </a:lnTo>
                  <a:lnTo>
                    <a:pt x="430" y="420"/>
                  </a:lnTo>
                  <a:lnTo>
                    <a:pt x="434" y="432"/>
                  </a:lnTo>
                  <a:lnTo>
                    <a:pt x="422" y="430"/>
                  </a:lnTo>
                  <a:lnTo>
                    <a:pt x="406" y="424"/>
                  </a:lnTo>
                  <a:lnTo>
                    <a:pt x="398" y="412"/>
                  </a:lnTo>
                  <a:lnTo>
                    <a:pt x="390" y="400"/>
                  </a:lnTo>
                  <a:lnTo>
                    <a:pt x="380" y="388"/>
                  </a:lnTo>
                  <a:lnTo>
                    <a:pt x="374" y="374"/>
                  </a:lnTo>
                  <a:lnTo>
                    <a:pt x="360" y="368"/>
                  </a:lnTo>
                  <a:lnTo>
                    <a:pt x="352" y="364"/>
                  </a:lnTo>
                  <a:lnTo>
                    <a:pt x="344" y="368"/>
                  </a:lnTo>
                  <a:lnTo>
                    <a:pt x="342" y="378"/>
                  </a:lnTo>
                  <a:lnTo>
                    <a:pt x="330" y="380"/>
                  </a:lnTo>
                  <a:lnTo>
                    <a:pt x="314" y="370"/>
                  </a:lnTo>
                  <a:lnTo>
                    <a:pt x="312" y="354"/>
                  </a:lnTo>
                  <a:lnTo>
                    <a:pt x="302" y="346"/>
                  </a:lnTo>
                  <a:lnTo>
                    <a:pt x="282" y="330"/>
                  </a:lnTo>
                  <a:lnTo>
                    <a:pt x="262" y="334"/>
                  </a:lnTo>
                  <a:lnTo>
                    <a:pt x="254" y="340"/>
                  </a:lnTo>
                  <a:lnTo>
                    <a:pt x="208" y="340"/>
                  </a:lnTo>
                  <a:lnTo>
                    <a:pt x="192" y="334"/>
                  </a:lnTo>
                  <a:lnTo>
                    <a:pt x="166" y="322"/>
                  </a:lnTo>
                  <a:lnTo>
                    <a:pt x="148" y="316"/>
                  </a:lnTo>
                  <a:lnTo>
                    <a:pt x="116" y="318"/>
                  </a:lnTo>
                  <a:lnTo>
                    <a:pt x="112" y="306"/>
                  </a:lnTo>
                  <a:lnTo>
                    <a:pt x="104" y="298"/>
                  </a:lnTo>
                  <a:lnTo>
                    <a:pt x="98" y="294"/>
                  </a:lnTo>
                  <a:lnTo>
                    <a:pt x="84" y="290"/>
                  </a:lnTo>
                  <a:lnTo>
                    <a:pt x="74" y="282"/>
                  </a:lnTo>
                  <a:lnTo>
                    <a:pt x="60" y="286"/>
                  </a:lnTo>
                  <a:lnTo>
                    <a:pt x="58" y="272"/>
                  </a:lnTo>
                  <a:lnTo>
                    <a:pt x="48" y="258"/>
                  </a:lnTo>
                  <a:lnTo>
                    <a:pt x="38" y="248"/>
                  </a:lnTo>
                  <a:lnTo>
                    <a:pt x="42" y="242"/>
                  </a:lnTo>
                  <a:lnTo>
                    <a:pt x="36" y="238"/>
                  </a:lnTo>
                  <a:lnTo>
                    <a:pt x="32" y="228"/>
                  </a:lnTo>
                  <a:lnTo>
                    <a:pt x="38" y="218"/>
                  </a:lnTo>
                  <a:lnTo>
                    <a:pt x="26" y="218"/>
                  </a:lnTo>
                  <a:lnTo>
                    <a:pt x="18" y="210"/>
                  </a:lnTo>
                  <a:lnTo>
                    <a:pt x="10" y="198"/>
                  </a:lnTo>
                  <a:lnTo>
                    <a:pt x="10" y="186"/>
                  </a:lnTo>
                  <a:lnTo>
                    <a:pt x="2" y="178"/>
                  </a:lnTo>
                  <a:lnTo>
                    <a:pt x="2" y="170"/>
                  </a:lnTo>
                  <a:lnTo>
                    <a:pt x="6" y="148"/>
                  </a:lnTo>
                  <a:lnTo>
                    <a:pt x="2" y="122"/>
                  </a:lnTo>
                  <a:lnTo>
                    <a:pt x="6" y="112"/>
                  </a:lnTo>
                  <a:lnTo>
                    <a:pt x="10" y="64"/>
                  </a:lnTo>
                  <a:lnTo>
                    <a:pt x="16" y="64"/>
                  </a:lnTo>
                  <a:lnTo>
                    <a:pt x="10" y="54"/>
                  </a:lnTo>
                  <a:lnTo>
                    <a:pt x="6" y="48"/>
                  </a:lnTo>
                  <a:lnTo>
                    <a:pt x="8" y="42"/>
                  </a:lnTo>
                  <a:lnTo>
                    <a:pt x="4" y="3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grpSp>
          <p:nvGrpSpPr>
            <p:cNvPr id="866" name="Group 52">
              <a:extLst>
                <a:ext uri="{FF2B5EF4-FFF2-40B4-BE49-F238E27FC236}">
                  <a16:creationId xmlns:a16="http://schemas.microsoft.com/office/drawing/2014/main" id="{66939954-1697-4130-B51F-9533CCD47EF8}"/>
                </a:ext>
              </a:extLst>
            </p:cNvPr>
            <p:cNvGrpSpPr>
              <a:grpSpLocks/>
            </p:cNvGrpSpPr>
            <p:nvPr/>
          </p:nvGrpSpPr>
          <p:grpSpPr bwMode="auto">
            <a:xfrm>
              <a:off x="1641146" y="4100457"/>
              <a:ext cx="125482" cy="89630"/>
              <a:chOff x="170" y="2211"/>
              <a:chExt cx="76" cy="54"/>
            </a:xfrm>
            <a:grpFill/>
          </p:grpSpPr>
          <p:sp>
            <p:nvSpPr>
              <p:cNvPr id="1094" name="Freeform 53">
                <a:extLst>
                  <a:ext uri="{FF2B5EF4-FFF2-40B4-BE49-F238E27FC236}">
                    <a16:creationId xmlns:a16="http://schemas.microsoft.com/office/drawing/2014/main" id="{CCB64BB9-43CC-404C-AF90-566F081D7A50}"/>
                  </a:ext>
                </a:extLst>
              </p:cNvPr>
              <p:cNvSpPr>
                <a:spLocks/>
              </p:cNvSpPr>
              <p:nvPr/>
            </p:nvSpPr>
            <p:spPr bwMode="gray">
              <a:xfrm>
                <a:off x="214" y="2231"/>
                <a:ext cx="12" cy="10"/>
              </a:xfrm>
              <a:custGeom>
                <a:avLst/>
                <a:gdLst>
                  <a:gd name="T0" fmla="*/ 12 w 12"/>
                  <a:gd name="T1" fmla="*/ 6 h 10"/>
                  <a:gd name="T2" fmla="*/ 10 w 12"/>
                  <a:gd name="T3" fmla="*/ 2 h 10"/>
                  <a:gd name="T4" fmla="*/ 4 w 12"/>
                  <a:gd name="T5" fmla="*/ 0 h 10"/>
                  <a:gd name="T6" fmla="*/ 0 w 12"/>
                  <a:gd name="T7" fmla="*/ 4 h 10"/>
                  <a:gd name="T8" fmla="*/ 4 w 12"/>
                  <a:gd name="T9" fmla="*/ 6 h 10"/>
                  <a:gd name="T10" fmla="*/ 10 w 12"/>
                  <a:gd name="T11" fmla="*/ 10 h 10"/>
                  <a:gd name="T12" fmla="*/ 12 w 12"/>
                  <a:gd name="T13" fmla="*/ 6 h 10"/>
                </a:gdLst>
                <a:ahLst/>
                <a:cxnLst>
                  <a:cxn ang="0">
                    <a:pos x="T0" y="T1"/>
                  </a:cxn>
                  <a:cxn ang="0">
                    <a:pos x="T2" y="T3"/>
                  </a:cxn>
                  <a:cxn ang="0">
                    <a:pos x="T4" y="T5"/>
                  </a:cxn>
                  <a:cxn ang="0">
                    <a:pos x="T6" y="T7"/>
                  </a:cxn>
                  <a:cxn ang="0">
                    <a:pos x="T8" y="T9"/>
                  </a:cxn>
                  <a:cxn ang="0">
                    <a:pos x="T10" y="T11"/>
                  </a:cxn>
                  <a:cxn ang="0">
                    <a:pos x="T12" y="T13"/>
                  </a:cxn>
                </a:cxnLst>
                <a:rect l="0" t="0" r="r" b="b"/>
                <a:pathLst>
                  <a:path w="12" h="10">
                    <a:moveTo>
                      <a:pt x="12" y="6"/>
                    </a:moveTo>
                    <a:lnTo>
                      <a:pt x="10" y="2"/>
                    </a:lnTo>
                    <a:lnTo>
                      <a:pt x="4" y="0"/>
                    </a:lnTo>
                    <a:lnTo>
                      <a:pt x="0" y="4"/>
                    </a:lnTo>
                    <a:lnTo>
                      <a:pt x="4" y="6"/>
                    </a:lnTo>
                    <a:lnTo>
                      <a:pt x="10" y="10"/>
                    </a:lnTo>
                    <a:lnTo>
                      <a:pt x="12" y="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95" name="Freeform 54">
                <a:extLst>
                  <a:ext uri="{FF2B5EF4-FFF2-40B4-BE49-F238E27FC236}">
                    <a16:creationId xmlns:a16="http://schemas.microsoft.com/office/drawing/2014/main" id="{B1D10F90-393A-468F-BDE2-3425CB0CF024}"/>
                  </a:ext>
                </a:extLst>
              </p:cNvPr>
              <p:cNvSpPr>
                <a:spLocks/>
              </p:cNvSpPr>
              <p:nvPr/>
            </p:nvSpPr>
            <p:spPr bwMode="gray">
              <a:xfrm>
                <a:off x="230" y="2245"/>
                <a:ext cx="16" cy="20"/>
              </a:xfrm>
              <a:custGeom>
                <a:avLst/>
                <a:gdLst>
                  <a:gd name="T0" fmla="*/ 16 w 16"/>
                  <a:gd name="T1" fmla="*/ 14 h 20"/>
                  <a:gd name="T2" fmla="*/ 8 w 16"/>
                  <a:gd name="T3" fmla="*/ 16 h 20"/>
                  <a:gd name="T4" fmla="*/ 4 w 16"/>
                  <a:gd name="T5" fmla="*/ 20 h 20"/>
                  <a:gd name="T6" fmla="*/ 0 w 16"/>
                  <a:gd name="T7" fmla="*/ 12 h 20"/>
                  <a:gd name="T8" fmla="*/ 0 w 16"/>
                  <a:gd name="T9" fmla="*/ 6 h 20"/>
                  <a:gd name="T10" fmla="*/ 4 w 16"/>
                  <a:gd name="T11" fmla="*/ 0 h 20"/>
                  <a:gd name="T12" fmla="*/ 8 w 16"/>
                  <a:gd name="T13" fmla="*/ 2 h 20"/>
                  <a:gd name="T14" fmla="*/ 14 w 16"/>
                  <a:gd name="T15" fmla="*/ 6 h 20"/>
                  <a:gd name="T16" fmla="*/ 16 w 16"/>
                  <a:gd name="T17" fmla="*/ 1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20">
                    <a:moveTo>
                      <a:pt x="16" y="14"/>
                    </a:moveTo>
                    <a:lnTo>
                      <a:pt x="8" y="16"/>
                    </a:lnTo>
                    <a:lnTo>
                      <a:pt x="4" y="20"/>
                    </a:lnTo>
                    <a:lnTo>
                      <a:pt x="0" y="12"/>
                    </a:lnTo>
                    <a:lnTo>
                      <a:pt x="0" y="6"/>
                    </a:lnTo>
                    <a:lnTo>
                      <a:pt x="4" y="0"/>
                    </a:lnTo>
                    <a:lnTo>
                      <a:pt x="8" y="2"/>
                    </a:lnTo>
                    <a:lnTo>
                      <a:pt x="14" y="6"/>
                    </a:lnTo>
                    <a:lnTo>
                      <a:pt x="16" y="1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96" name="Freeform 55">
                <a:extLst>
                  <a:ext uri="{FF2B5EF4-FFF2-40B4-BE49-F238E27FC236}">
                    <a16:creationId xmlns:a16="http://schemas.microsoft.com/office/drawing/2014/main" id="{A8242263-71CB-4EFB-A567-EB5B44C7B00D}"/>
                  </a:ext>
                </a:extLst>
              </p:cNvPr>
              <p:cNvSpPr>
                <a:spLocks/>
              </p:cNvSpPr>
              <p:nvPr/>
            </p:nvSpPr>
            <p:spPr bwMode="gray">
              <a:xfrm>
                <a:off x="194" y="2219"/>
                <a:ext cx="6" cy="8"/>
              </a:xfrm>
              <a:custGeom>
                <a:avLst/>
                <a:gdLst>
                  <a:gd name="T0" fmla="*/ 6 w 6"/>
                  <a:gd name="T1" fmla="*/ 6 h 8"/>
                  <a:gd name="T2" fmla="*/ 4 w 6"/>
                  <a:gd name="T3" fmla="*/ 0 h 8"/>
                  <a:gd name="T4" fmla="*/ 0 w 6"/>
                  <a:gd name="T5" fmla="*/ 0 h 8"/>
                  <a:gd name="T6" fmla="*/ 0 w 6"/>
                  <a:gd name="T7" fmla="*/ 4 h 8"/>
                  <a:gd name="T8" fmla="*/ 2 w 6"/>
                  <a:gd name="T9" fmla="*/ 8 h 8"/>
                  <a:gd name="T10" fmla="*/ 6 w 6"/>
                  <a:gd name="T11" fmla="*/ 6 h 8"/>
                </a:gdLst>
                <a:ahLst/>
                <a:cxnLst>
                  <a:cxn ang="0">
                    <a:pos x="T0" y="T1"/>
                  </a:cxn>
                  <a:cxn ang="0">
                    <a:pos x="T2" y="T3"/>
                  </a:cxn>
                  <a:cxn ang="0">
                    <a:pos x="T4" y="T5"/>
                  </a:cxn>
                  <a:cxn ang="0">
                    <a:pos x="T6" y="T7"/>
                  </a:cxn>
                  <a:cxn ang="0">
                    <a:pos x="T8" y="T9"/>
                  </a:cxn>
                  <a:cxn ang="0">
                    <a:pos x="T10" y="T11"/>
                  </a:cxn>
                </a:cxnLst>
                <a:rect l="0" t="0" r="r" b="b"/>
                <a:pathLst>
                  <a:path w="6" h="8">
                    <a:moveTo>
                      <a:pt x="6" y="6"/>
                    </a:moveTo>
                    <a:lnTo>
                      <a:pt x="4" y="0"/>
                    </a:lnTo>
                    <a:lnTo>
                      <a:pt x="0" y="0"/>
                    </a:lnTo>
                    <a:lnTo>
                      <a:pt x="0" y="4"/>
                    </a:lnTo>
                    <a:lnTo>
                      <a:pt x="2" y="8"/>
                    </a:lnTo>
                    <a:lnTo>
                      <a:pt x="6" y="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97" name="Freeform 56">
                <a:extLst>
                  <a:ext uri="{FF2B5EF4-FFF2-40B4-BE49-F238E27FC236}">
                    <a16:creationId xmlns:a16="http://schemas.microsoft.com/office/drawing/2014/main" id="{1037CACA-20EC-4F10-8BA0-B1D605BBD9D3}"/>
                  </a:ext>
                </a:extLst>
              </p:cNvPr>
              <p:cNvSpPr>
                <a:spLocks/>
              </p:cNvSpPr>
              <p:nvPr/>
            </p:nvSpPr>
            <p:spPr bwMode="gray">
              <a:xfrm>
                <a:off x="194" y="2219"/>
                <a:ext cx="6" cy="8"/>
              </a:xfrm>
              <a:custGeom>
                <a:avLst/>
                <a:gdLst>
                  <a:gd name="T0" fmla="*/ 6 w 6"/>
                  <a:gd name="T1" fmla="*/ 6 h 8"/>
                  <a:gd name="T2" fmla="*/ 4 w 6"/>
                  <a:gd name="T3" fmla="*/ 0 h 8"/>
                  <a:gd name="T4" fmla="*/ 0 w 6"/>
                  <a:gd name="T5" fmla="*/ 0 h 8"/>
                  <a:gd name="T6" fmla="*/ 0 w 6"/>
                  <a:gd name="T7" fmla="*/ 4 h 8"/>
                  <a:gd name="T8" fmla="*/ 2 w 6"/>
                  <a:gd name="T9" fmla="*/ 8 h 8"/>
                  <a:gd name="T10" fmla="*/ 6 w 6"/>
                  <a:gd name="T11" fmla="*/ 6 h 8"/>
                </a:gdLst>
                <a:ahLst/>
                <a:cxnLst>
                  <a:cxn ang="0">
                    <a:pos x="T0" y="T1"/>
                  </a:cxn>
                  <a:cxn ang="0">
                    <a:pos x="T2" y="T3"/>
                  </a:cxn>
                  <a:cxn ang="0">
                    <a:pos x="T4" y="T5"/>
                  </a:cxn>
                  <a:cxn ang="0">
                    <a:pos x="T6" y="T7"/>
                  </a:cxn>
                  <a:cxn ang="0">
                    <a:pos x="T8" y="T9"/>
                  </a:cxn>
                  <a:cxn ang="0">
                    <a:pos x="T10" y="T11"/>
                  </a:cxn>
                </a:cxnLst>
                <a:rect l="0" t="0" r="r" b="b"/>
                <a:pathLst>
                  <a:path w="6" h="8">
                    <a:moveTo>
                      <a:pt x="6" y="6"/>
                    </a:moveTo>
                    <a:lnTo>
                      <a:pt x="4" y="0"/>
                    </a:lnTo>
                    <a:lnTo>
                      <a:pt x="0" y="0"/>
                    </a:lnTo>
                    <a:lnTo>
                      <a:pt x="0" y="4"/>
                    </a:lnTo>
                    <a:lnTo>
                      <a:pt x="2" y="8"/>
                    </a:lnTo>
                    <a:lnTo>
                      <a:pt x="6" y="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98" name="Freeform 57">
                <a:extLst>
                  <a:ext uri="{FF2B5EF4-FFF2-40B4-BE49-F238E27FC236}">
                    <a16:creationId xmlns:a16="http://schemas.microsoft.com/office/drawing/2014/main" id="{5F111C5C-0DC9-4C33-A38F-877EE14DF696}"/>
                  </a:ext>
                </a:extLst>
              </p:cNvPr>
              <p:cNvSpPr>
                <a:spLocks/>
              </p:cNvSpPr>
              <p:nvPr/>
            </p:nvSpPr>
            <p:spPr bwMode="gray">
              <a:xfrm>
                <a:off x="170" y="2211"/>
                <a:ext cx="6" cy="4"/>
              </a:xfrm>
              <a:custGeom>
                <a:avLst/>
                <a:gdLst>
                  <a:gd name="T0" fmla="*/ 4 w 6"/>
                  <a:gd name="T1" fmla="*/ 0 h 4"/>
                  <a:gd name="T2" fmla="*/ 0 w 6"/>
                  <a:gd name="T3" fmla="*/ 0 h 4"/>
                  <a:gd name="T4" fmla="*/ 2 w 6"/>
                  <a:gd name="T5" fmla="*/ 4 h 4"/>
                  <a:gd name="T6" fmla="*/ 6 w 6"/>
                  <a:gd name="T7" fmla="*/ 4 h 4"/>
                  <a:gd name="T8" fmla="*/ 4 w 6"/>
                  <a:gd name="T9" fmla="*/ 0 h 4"/>
                </a:gdLst>
                <a:ahLst/>
                <a:cxnLst>
                  <a:cxn ang="0">
                    <a:pos x="T0" y="T1"/>
                  </a:cxn>
                  <a:cxn ang="0">
                    <a:pos x="T2" y="T3"/>
                  </a:cxn>
                  <a:cxn ang="0">
                    <a:pos x="T4" y="T5"/>
                  </a:cxn>
                  <a:cxn ang="0">
                    <a:pos x="T6" y="T7"/>
                  </a:cxn>
                  <a:cxn ang="0">
                    <a:pos x="T8" y="T9"/>
                  </a:cxn>
                </a:cxnLst>
                <a:rect l="0" t="0" r="r" b="b"/>
                <a:pathLst>
                  <a:path w="6" h="4">
                    <a:moveTo>
                      <a:pt x="4" y="0"/>
                    </a:moveTo>
                    <a:lnTo>
                      <a:pt x="0" y="0"/>
                    </a:lnTo>
                    <a:lnTo>
                      <a:pt x="2" y="4"/>
                    </a:lnTo>
                    <a:lnTo>
                      <a:pt x="6" y="4"/>
                    </a:lnTo>
                    <a:lnTo>
                      <a:pt x="4"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99" name="Freeform 58">
                <a:extLst>
                  <a:ext uri="{FF2B5EF4-FFF2-40B4-BE49-F238E27FC236}">
                    <a16:creationId xmlns:a16="http://schemas.microsoft.com/office/drawing/2014/main" id="{6AE5C46C-B211-4D32-8E99-63029AF085EA}"/>
                  </a:ext>
                </a:extLst>
              </p:cNvPr>
              <p:cNvSpPr>
                <a:spLocks/>
              </p:cNvSpPr>
              <p:nvPr/>
            </p:nvSpPr>
            <p:spPr bwMode="gray">
              <a:xfrm>
                <a:off x="170" y="2211"/>
                <a:ext cx="6" cy="4"/>
              </a:xfrm>
              <a:custGeom>
                <a:avLst/>
                <a:gdLst>
                  <a:gd name="T0" fmla="*/ 4 w 6"/>
                  <a:gd name="T1" fmla="*/ 0 h 4"/>
                  <a:gd name="T2" fmla="*/ 0 w 6"/>
                  <a:gd name="T3" fmla="*/ 0 h 4"/>
                  <a:gd name="T4" fmla="*/ 2 w 6"/>
                  <a:gd name="T5" fmla="*/ 4 h 4"/>
                  <a:gd name="T6" fmla="*/ 6 w 6"/>
                  <a:gd name="T7" fmla="*/ 4 h 4"/>
                  <a:gd name="T8" fmla="*/ 4 w 6"/>
                  <a:gd name="T9" fmla="*/ 0 h 4"/>
                </a:gdLst>
                <a:ahLst/>
                <a:cxnLst>
                  <a:cxn ang="0">
                    <a:pos x="T0" y="T1"/>
                  </a:cxn>
                  <a:cxn ang="0">
                    <a:pos x="T2" y="T3"/>
                  </a:cxn>
                  <a:cxn ang="0">
                    <a:pos x="T4" y="T5"/>
                  </a:cxn>
                  <a:cxn ang="0">
                    <a:pos x="T6" y="T7"/>
                  </a:cxn>
                  <a:cxn ang="0">
                    <a:pos x="T8" y="T9"/>
                  </a:cxn>
                </a:cxnLst>
                <a:rect l="0" t="0" r="r" b="b"/>
                <a:pathLst>
                  <a:path w="6" h="4">
                    <a:moveTo>
                      <a:pt x="4" y="0"/>
                    </a:moveTo>
                    <a:lnTo>
                      <a:pt x="0" y="0"/>
                    </a:lnTo>
                    <a:lnTo>
                      <a:pt x="2" y="4"/>
                    </a:lnTo>
                    <a:lnTo>
                      <a:pt x="6" y="4"/>
                    </a:lnTo>
                    <a:lnTo>
                      <a:pt x="4"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grpSp>
        <p:sp>
          <p:nvSpPr>
            <p:cNvPr id="867" name="Freeform 59">
              <a:extLst>
                <a:ext uri="{FF2B5EF4-FFF2-40B4-BE49-F238E27FC236}">
                  <a16:creationId xmlns:a16="http://schemas.microsoft.com/office/drawing/2014/main" id="{29E96C3E-659C-4DCC-921C-F582CC739E21}"/>
                </a:ext>
              </a:extLst>
            </p:cNvPr>
            <p:cNvSpPr>
              <a:spLocks/>
            </p:cNvSpPr>
            <p:nvPr/>
          </p:nvSpPr>
          <p:spPr bwMode="gray">
            <a:xfrm>
              <a:off x="3404489" y="4219963"/>
              <a:ext cx="95762" cy="106229"/>
            </a:xfrm>
            <a:custGeom>
              <a:avLst/>
              <a:gdLst>
                <a:gd name="T0" fmla="*/ 34 w 58"/>
                <a:gd name="T1" fmla="*/ 64 h 64"/>
                <a:gd name="T2" fmla="*/ 42 w 58"/>
                <a:gd name="T3" fmla="*/ 56 h 64"/>
                <a:gd name="T4" fmla="*/ 48 w 58"/>
                <a:gd name="T5" fmla="*/ 50 h 64"/>
                <a:gd name="T6" fmla="*/ 52 w 58"/>
                <a:gd name="T7" fmla="*/ 46 h 64"/>
                <a:gd name="T8" fmla="*/ 58 w 58"/>
                <a:gd name="T9" fmla="*/ 38 h 64"/>
                <a:gd name="T10" fmla="*/ 54 w 58"/>
                <a:gd name="T11" fmla="*/ 34 h 64"/>
                <a:gd name="T12" fmla="*/ 48 w 58"/>
                <a:gd name="T13" fmla="*/ 34 h 64"/>
                <a:gd name="T14" fmla="*/ 48 w 58"/>
                <a:gd name="T15" fmla="*/ 0 h 64"/>
                <a:gd name="T16" fmla="*/ 18 w 58"/>
                <a:gd name="T17" fmla="*/ 2 h 64"/>
                <a:gd name="T18" fmla="*/ 16 w 58"/>
                <a:gd name="T19" fmla="*/ 6 h 64"/>
                <a:gd name="T20" fmla="*/ 18 w 58"/>
                <a:gd name="T21" fmla="*/ 14 h 64"/>
                <a:gd name="T22" fmla="*/ 26 w 58"/>
                <a:gd name="T23" fmla="*/ 20 h 64"/>
                <a:gd name="T24" fmla="*/ 30 w 58"/>
                <a:gd name="T25" fmla="*/ 26 h 64"/>
                <a:gd name="T26" fmla="*/ 26 w 58"/>
                <a:gd name="T27" fmla="*/ 28 h 64"/>
                <a:gd name="T28" fmla="*/ 14 w 58"/>
                <a:gd name="T29" fmla="*/ 30 h 64"/>
                <a:gd name="T30" fmla="*/ 10 w 58"/>
                <a:gd name="T31" fmla="*/ 28 h 64"/>
                <a:gd name="T32" fmla="*/ 4 w 58"/>
                <a:gd name="T33" fmla="*/ 36 h 64"/>
                <a:gd name="T34" fmla="*/ 2 w 58"/>
                <a:gd name="T35" fmla="*/ 42 h 64"/>
                <a:gd name="T36" fmla="*/ 0 w 58"/>
                <a:gd name="T37" fmla="*/ 54 h 64"/>
                <a:gd name="T38" fmla="*/ 6 w 58"/>
                <a:gd name="T39" fmla="*/ 58 h 64"/>
                <a:gd name="T40" fmla="*/ 12 w 58"/>
                <a:gd name="T41" fmla="*/ 62 h 64"/>
                <a:gd name="T42" fmla="*/ 22 w 58"/>
                <a:gd name="T43" fmla="*/ 64 h 64"/>
                <a:gd name="T44" fmla="*/ 34 w 58"/>
                <a:gd name="T4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8" h="64">
                  <a:moveTo>
                    <a:pt x="34" y="64"/>
                  </a:moveTo>
                  <a:lnTo>
                    <a:pt x="42" y="56"/>
                  </a:lnTo>
                  <a:lnTo>
                    <a:pt x="48" y="50"/>
                  </a:lnTo>
                  <a:lnTo>
                    <a:pt x="52" y="46"/>
                  </a:lnTo>
                  <a:lnTo>
                    <a:pt x="58" y="38"/>
                  </a:lnTo>
                  <a:lnTo>
                    <a:pt x="54" y="34"/>
                  </a:lnTo>
                  <a:lnTo>
                    <a:pt x="48" y="34"/>
                  </a:lnTo>
                  <a:lnTo>
                    <a:pt x="48" y="0"/>
                  </a:lnTo>
                  <a:lnTo>
                    <a:pt x="18" y="2"/>
                  </a:lnTo>
                  <a:lnTo>
                    <a:pt x="16" y="6"/>
                  </a:lnTo>
                  <a:lnTo>
                    <a:pt x="18" y="14"/>
                  </a:lnTo>
                  <a:lnTo>
                    <a:pt x="26" y="20"/>
                  </a:lnTo>
                  <a:lnTo>
                    <a:pt x="30" y="26"/>
                  </a:lnTo>
                  <a:lnTo>
                    <a:pt x="26" y="28"/>
                  </a:lnTo>
                  <a:lnTo>
                    <a:pt x="14" y="30"/>
                  </a:lnTo>
                  <a:lnTo>
                    <a:pt x="10" y="28"/>
                  </a:lnTo>
                  <a:lnTo>
                    <a:pt x="4" y="36"/>
                  </a:lnTo>
                  <a:lnTo>
                    <a:pt x="2" y="42"/>
                  </a:lnTo>
                  <a:lnTo>
                    <a:pt x="0" y="54"/>
                  </a:lnTo>
                  <a:lnTo>
                    <a:pt x="6" y="58"/>
                  </a:lnTo>
                  <a:lnTo>
                    <a:pt x="12" y="62"/>
                  </a:lnTo>
                  <a:lnTo>
                    <a:pt x="22" y="64"/>
                  </a:lnTo>
                  <a:lnTo>
                    <a:pt x="34" y="6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68" name="Freeform 60">
              <a:extLst>
                <a:ext uri="{FF2B5EF4-FFF2-40B4-BE49-F238E27FC236}">
                  <a16:creationId xmlns:a16="http://schemas.microsoft.com/office/drawing/2014/main" id="{DB7F40F7-BA10-4B7B-8E87-444F7A3B3D28}"/>
                </a:ext>
              </a:extLst>
            </p:cNvPr>
            <p:cNvSpPr>
              <a:spLocks/>
            </p:cNvSpPr>
            <p:nvPr/>
          </p:nvSpPr>
          <p:spPr bwMode="gray">
            <a:xfrm>
              <a:off x="3483741" y="4203366"/>
              <a:ext cx="19813" cy="73033"/>
            </a:xfrm>
            <a:custGeom>
              <a:avLst/>
              <a:gdLst>
                <a:gd name="T0" fmla="*/ 10 w 12"/>
                <a:gd name="T1" fmla="*/ 0 h 44"/>
                <a:gd name="T2" fmla="*/ 12 w 12"/>
                <a:gd name="T3" fmla="*/ 6 h 44"/>
                <a:gd name="T4" fmla="*/ 10 w 12"/>
                <a:gd name="T5" fmla="*/ 12 h 44"/>
                <a:gd name="T6" fmla="*/ 10 w 12"/>
                <a:gd name="T7" fmla="*/ 26 h 44"/>
                <a:gd name="T8" fmla="*/ 10 w 12"/>
                <a:gd name="T9" fmla="*/ 34 h 44"/>
                <a:gd name="T10" fmla="*/ 6 w 12"/>
                <a:gd name="T11" fmla="*/ 38 h 44"/>
                <a:gd name="T12" fmla="*/ 0 w 12"/>
                <a:gd name="T13" fmla="*/ 44 h 44"/>
                <a:gd name="T14" fmla="*/ 0 w 12"/>
                <a:gd name="T15" fmla="*/ 10 h 44"/>
                <a:gd name="T16" fmla="*/ 6 w 12"/>
                <a:gd name="T17" fmla="*/ 4 h 44"/>
                <a:gd name="T18" fmla="*/ 10 w 12"/>
                <a:gd name="T19"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44">
                  <a:moveTo>
                    <a:pt x="10" y="0"/>
                  </a:moveTo>
                  <a:lnTo>
                    <a:pt x="12" y="6"/>
                  </a:lnTo>
                  <a:lnTo>
                    <a:pt x="10" y="12"/>
                  </a:lnTo>
                  <a:lnTo>
                    <a:pt x="10" y="26"/>
                  </a:lnTo>
                  <a:lnTo>
                    <a:pt x="10" y="34"/>
                  </a:lnTo>
                  <a:lnTo>
                    <a:pt x="6" y="38"/>
                  </a:lnTo>
                  <a:lnTo>
                    <a:pt x="0" y="44"/>
                  </a:lnTo>
                  <a:lnTo>
                    <a:pt x="0" y="10"/>
                  </a:lnTo>
                  <a:lnTo>
                    <a:pt x="6" y="4"/>
                  </a:lnTo>
                  <a:lnTo>
                    <a:pt x="1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69" name="Freeform 61">
              <a:extLst>
                <a:ext uri="{FF2B5EF4-FFF2-40B4-BE49-F238E27FC236}">
                  <a16:creationId xmlns:a16="http://schemas.microsoft.com/office/drawing/2014/main" id="{7095A538-D4C3-40C6-9151-E7D2189CCBA7}"/>
                </a:ext>
              </a:extLst>
            </p:cNvPr>
            <p:cNvSpPr>
              <a:spLocks/>
            </p:cNvSpPr>
            <p:nvPr/>
          </p:nvSpPr>
          <p:spPr bwMode="gray">
            <a:xfrm>
              <a:off x="3460626" y="4309595"/>
              <a:ext cx="56136" cy="36517"/>
            </a:xfrm>
            <a:custGeom>
              <a:avLst/>
              <a:gdLst>
                <a:gd name="T0" fmla="*/ 0 w 34"/>
                <a:gd name="T1" fmla="*/ 10 h 22"/>
                <a:gd name="T2" fmla="*/ 12 w 34"/>
                <a:gd name="T3" fmla="*/ 0 h 22"/>
                <a:gd name="T4" fmla="*/ 18 w 34"/>
                <a:gd name="T5" fmla="*/ 4 h 22"/>
                <a:gd name="T6" fmla="*/ 24 w 34"/>
                <a:gd name="T7" fmla="*/ 8 h 22"/>
                <a:gd name="T8" fmla="*/ 32 w 34"/>
                <a:gd name="T9" fmla="*/ 10 h 22"/>
                <a:gd name="T10" fmla="*/ 34 w 34"/>
                <a:gd name="T11" fmla="*/ 14 h 22"/>
                <a:gd name="T12" fmla="*/ 30 w 34"/>
                <a:gd name="T13" fmla="*/ 20 h 22"/>
                <a:gd name="T14" fmla="*/ 26 w 34"/>
                <a:gd name="T15" fmla="*/ 22 h 22"/>
                <a:gd name="T16" fmla="*/ 16 w 34"/>
                <a:gd name="T17" fmla="*/ 18 h 22"/>
                <a:gd name="T18" fmla="*/ 8 w 34"/>
                <a:gd name="T19" fmla="*/ 14 h 22"/>
                <a:gd name="T20" fmla="*/ 0 w 34"/>
                <a:gd name="T21"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 h="22">
                  <a:moveTo>
                    <a:pt x="0" y="10"/>
                  </a:moveTo>
                  <a:lnTo>
                    <a:pt x="12" y="0"/>
                  </a:lnTo>
                  <a:lnTo>
                    <a:pt x="18" y="4"/>
                  </a:lnTo>
                  <a:lnTo>
                    <a:pt x="24" y="8"/>
                  </a:lnTo>
                  <a:lnTo>
                    <a:pt x="32" y="10"/>
                  </a:lnTo>
                  <a:lnTo>
                    <a:pt x="34" y="14"/>
                  </a:lnTo>
                  <a:lnTo>
                    <a:pt x="30" y="20"/>
                  </a:lnTo>
                  <a:lnTo>
                    <a:pt x="26" y="22"/>
                  </a:lnTo>
                  <a:lnTo>
                    <a:pt x="16" y="18"/>
                  </a:lnTo>
                  <a:lnTo>
                    <a:pt x="8" y="14"/>
                  </a:lnTo>
                  <a:lnTo>
                    <a:pt x="0" y="1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70" name="Freeform 62">
              <a:extLst>
                <a:ext uri="{FF2B5EF4-FFF2-40B4-BE49-F238E27FC236}">
                  <a16:creationId xmlns:a16="http://schemas.microsoft.com/office/drawing/2014/main" id="{8775FD35-CCB7-4F1D-996A-D514BD3EF972}"/>
                </a:ext>
              </a:extLst>
            </p:cNvPr>
            <p:cNvSpPr>
              <a:spLocks/>
            </p:cNvSpPr>
            <p:nvPr/>
          </p:nvSpPr>
          <p:spPr bwMode="gray">
            <a:xfrm>
              <a:off x="3480438" y="4273079"/>
              <a:ext cx="158503" cy="79672"/>
            </a:xfrm>
            <a:custGeom>
              <a:avLst/>
              <a:gdLst>
                <a:gd name="T0" fmla="*/ 12 w 96"/>
                <a:gd name="T1" fmla="*/ 6 h 48"/>
                <a:gd name="T2" fmla="*/ 26 w 96"/>
                <a:gd name="T3" fmla="*/ 2 h 48"/>
                <a:gd name="T4" fmla="*/ 34 w 96"/>
                <a:gd name="T5" fmla="*/ 2 h 48"/>
                <a:gd name="T6" fmla="*/ 42 w 96"/>
                <a:gd name="T7" fmla="*/ 4 h 48"/>
                <a:gd name="T8" fmla="*/ 52 w 96"/>
                <a:gd name="T9" fmla="*/ 2 h 48"/>
                <a:gd name="T10" fmla="*/ 64 w 96"/>
                <a:gd name="T11" fmla="*/ 0 h 48"/>
                <a:gd name="T12" fmla="*/ 74 w 96"/>
                <a:gd name="T13" fmla="*/ 0 h 48"/>
                <a:gd name="T14" fmla="*/ 80 w 96"/>
                <a:gd name="T15" fmla="*/ 0 h 48"/>
                <a:gd name="T16" fmla="*/ 84 w 96"/>
                <a:gd name="T17" fmla="*/ 4 h 48"/>
                <a:gd name="T18" fmla="*/ 96 w 96"/>
                <a:gd name="T19" fmla="*/ 12 h 48"/>
                <a:gd name="T20" fmla="*/ 94 w 96"/>
                <a:gd name="T21" fmla="*/ 16 h 48"/>
                <a:gd name="T22" fmla="*/ 88 w 96"/>
                <a:gd name="T23" fmla="*/ 18 h 48"/>
                <a:gd name="T24" fmla="*/ 80 w 96"/>
                <a:gd name="T25" fmla="*/ 18 h 48"/>
                <a:gd name="T26" fmla="*/ 70 w 96"/>
                <a:gd name="T27" fmla="*/ 18 h 48"/>
                <a:gd name="T28" fmla="*/ 64 w 96"/>
                <a:gd name="T29" fmla="*/ 22 h 48"/>
                <a:gd name="T30" fmla="*/ 56 w 96"/>
                <a:gd name="T31" fmla="*/ 30 h 48"/>
                <a:gd name="T32" fmla="*/ 48 w 96"/>
                <a:gd name="T33" fmla="*/ 32 h 48"/>
                <a:gd name="T34" fmla="*/ 42 w 96"/>
                <a:gd name="T35" fmla="*/ 34 h 48"/>
                <a:gd name="T36" fmla="*/ 40 w 96"/>
                <a:gd name="T37" fmla="*/ 42 h 48"/>
                <a:gd name="T38" fmla="*/ 36 w 96"/>
                <a:gd name="T39" fmla="*/ 46 h 48"/>
                <a:gd name="T40" fmla="*/ 30 w 96"/>
                <a:gd name="T41" fmla="*/ 48 h 48"/>
                <a:gd name="T42" fmla="*/ 30 w 96"/>
                <a:gd name="T43" fmla="*/ 42 h 48"/>
                <a:gd name="T44" fmla="*/ 28 w 96"/>
                <a:gd name="T45" fmla="*/ 36 h 48"/>
                <a:gd name="T46" fmla="*/ 22 w 96"/>
                <a:gd name="T47" fmla="*/ 36 h 48"/>
                <a:gd name="T48" fmla="*/ 20 w 96"/>
                <a:gd name="T49" fmla="*/ 32 h 48"/>
                <a:gd name="T50" fmla="*/ 6 w 96"/>
                <a:gd name="T51" fmla="*/ 26 h 48"/>
                <a:gd name="T52" fmla="*/ 0 w 96"/>
                <a:gd name="T53" fmla="*/ 22 h 48"/>
                <a:gd name="T54" fmla="*/ 12 w 96"/>
                <a:gd name="T55" fmla="*/ 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6" h="48">
                  <a:moveTo>
                    <a:pt x="12" y="6"/>
                  </a:moveTo>
                  <a:lnTo>
                    <a:pt x="26" y="2"/>
                  </a:lnTo>
                  <a:lnTo>
                    <a:pt x="34" y="2"/>
                  </a:lnTo>
                  <a:lnTo>
                    <a:pt x="42" y="4"/>
                  </a:lnTo>
                  <a:lnTo>
                    <a:pt x="52" y="2"/>
                  </a:lnTo>
                  <a:lnTo>
                    <a:pt x="64" y="0"/>
                  </a:lnTo>
                  <a:lnTo>
                    <a:pt x="74" y="0"/>
                  </a:lnTo>
                  <a:lnTo>
                    <a:pt x="80" y="0"/>
                  </a:lnTo>
                  <a:lnTo>
                    <a:pt x="84" y="4"/>
                  </a:lnTo>
                  <a:lnTo>
                    <a:pt x="96" y="12"/>
                  </a:lnTo>
                  <a:lnTo>
                    <a:pt x="94" y="16"/>
                  </a:lnTo>
                  <a:lnTo>
                    <a:pt x="88" y="18"/>
                  </a:lnTo>
                  <a:lnTo>
                    <a:pt x="80" y="18"/>
                  </a:lnTo>
                  <a:lnTo>
                    <a:pt x="70" y="18"/>
                  </a:lnTo>
                  <a:lnTo>
                    <a:pt x="64" y="22"/>
                  </a:lnTo>
                  <a:lnTo>
                    <a:pt x="56" y="30"/>
                  </a:lnTo>
                  <a:lnTo>
                    <a:pt x="48" y="32"/>
                  </a:lnTo>
                  <a:lnTo>
                    <a:pt x="42" y="34"/>
                  </a:lnTo>
                  <a:lnTo>
                    <a:pt x="40" y="42"/>
                  </a:lnTo>
                  <a:lnTo>
                    <a:pt x="36" y="46"/>
                  </a:lnTo>
                  <a:lnTo>
                    <a:pt x="30" y="48"/>
                  </a:lnTo>
                  <a:lnTo>
                    <a:pt x="30" y="42"/>
                  </a:lnTo>
                  <a:lnTo>
                    <a:pt x="28" y="36"/>
                  </a:lnTo>
                  <a:lnTo>
                    <a:pt x="22" y="36"/>
                  </a:lnTo>
                  <a:lnTo>
                    <a:pt x="20" y="32"/>
                  </a:lnTo>
                  <a:lnTo>
                    <a:pt x="6" y="26"/>
                  </a:lnTo>
                  <a:lnTo>
                    <a:pt x="0" y="22"/>
                  </a:lnTo>
                  <a:lnTo>
                    <a:pt x="12" y="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71" name="Freeform 63">
              <a:extLst>
                <a:ext uri="{FF2B5EF4-FFF2-40B4-BE49-F238E27FC236}">
                  <a16:creationId xmlns:a16="http://schemas.microsoft.com/office/drawing/2014/main" id="{9FE247A4-6740-4786-82D8-8EEF64E6D081}"/>
                </a:ext>
              </a:extLst>
            </p:cNvPr>
            <p:cNvSpPr>
              <a:spLocks/>
            </p:cNvSpPr>
            <p:nvPr/>
          </p:nvSpPr>
          <p:spPr bwMode="gray">
            <a:xfrm>
              <a:off x="3529970" y="4299635"/>
              <a:ext cx="105669" cy="109548"/>
            </a:xfrm>
            <a:custGeom>
              <a:avLst/>
              <a:gdLst>
                <a:gd name="T0" fmla="*/ 54 w 64"/>
                <a:gd name="T1" fmla="*/ 66 h 66"/>
                <a:gd name="T2" fmla="*/ 44 w 64"/>
                <a:gd name="T3" fmla="*/ 62 h 66"/>
                <a:gd name="T4" fmla="*/ 26 w 64"/>
                <a:gd name="T5" fmla="*/ 60 h 66"/>
                <a:gd name="T6" fmla="*/ 14 w 64"/>
                <a:gd name="T7" fmla="*/ 50 h 66"/>
                <a:gd name="T8" fmla="*/ 6 w 64"/>
                <a:gd name="T9" fmla="*/ 42 h 66"/>
                <a:gd name="T10" fmla="*/ 0 w 64"/>
                <a:gd name="T11" fmla="*/ 32 h 66"/>
                <a:gd name="T12" fmla="*/ 10 w 64"/>
                <a:gd name="T13" fmla="*/ 26 h 66"/>
                <a:gd name="T14" fmla="*/ 12 w 64"/>
                <a:gd name="T15" fmla="*/ 18 h 66"/>
                <a:gd name="T16" fmla="*/ 26 w 64"/>
                <a:gd name="T17" fmla="*/ 14 h 66"/>
                <a:gd name="T18" fmla="*/ 34 w 64"/>
                <a:gd name="T19" fmla="*/ 6 h 66"/>
                <a:gd name="T20" fmla="*/ 40 w 64"/>
                <a:gd name="T21" fmla="*/ 2 h 66"/>
                <a:gd name="T22" fmla="*/ 50 w 64"/>
                <a:gd name="T23" fmla="*/ 2 h 66"/>
                <a:gd name="T24" fmla="*/ 58 w 64"/>
                <a:gd name="T25" fmla="*/ 2 h 66"/>
                <a:gd name="T26" fmla="*/ 64 w 64"/>
                <a:gd name="T27" fmla="*/ 0 h 66"/>
                <a:gd name="T28" fmla="*/ 64 w 64"/>
                <a:gd name="T29" fmla="*/ 6 h 66"/>
                <a:gd name="T30" fmla="*/ 62 w 64"/>
                <a:gd name="T31" fmla="*/ 18 h 66"/>
                <a:gd name="T32" fmla="*/ 58 w 64"/>
                <a:gd name="T33" fmla="*/ 30 h 66"/>
                <a:gd name="T34" fmla="*/ 56 w 64"/>
                <a:gd name="T35" fmla="*/ 42 h 66"/>
                <a:gd name="T36" fmla="*/ 56 w 64"/>
                <a:gd name="T37" fmla="*/ 52 h 66"/>
                <a:gd name="T38" fmla="*/ 54 w 64"/>
                <a:gd name="T3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4" h="66">
                  <a:moveTo>
                    <a:pt x="54" y="66"/>
                  </a:moveTo>
                  <a:lnTo>
                    <a:pt x="44" y="62"/>
                  </a:lnTo>
                  <a:lnTo>
                    <a:pt x="26" y="60"/>
                  </a:lnTo>
                  <a:lnTo>
                    <a:pt x="14" y="50"/>
                  </a:lnTo>
                  <a:lnTo>
                    <a:pt x="6" y="42"/>
                  </a:lnTo>
                  <a:lnTo>
                    <a:pt x="0" y="32"/>
                  </a:lnTo>
                  <a:lnTo>
                    <a:pt x="10" y="26"/>
                  </a:lnTo>
                  <a:lnTo>
                    <a:pt x="12" y="18"/>
                  </a:lnTo>
                  <a:lnTo>
                    <a:pt x="26" y="14"/>
                  </a:lnTo>
                  <a:lnTo>
                    <a:pt x="34" y="6"/>
                  </a:lnTo>
                  <a:lnTo>
                    <a:pt x="40" y="2"/>
                  </a:lnTo>
                  <a:lnTo>
                    <a:pt x="50" y="2"/>
                  </a:lnTo>
                  <a:lnTo>
                    <a:pt x="58" y="2"/>
                  </a:lnTo>
                  <a:lnTo>
                    <a:pt x="64" y="0"/>
                  </a:lnTo>
                  <a:lnTo>
                    <a:pt x="64" y="6"/>
                  </a:lnTo>
                  <a:lnTo>
                    <a:pt x="62" y="18"/>
                  </a:lnTo>
                  <a:lnTo>
                    <a:pt x="58" y="30"/>
                  </a:lnTo>
                  <a:lnTo>
                    <a:pt x="56" y="42"/>
                  </a:lnTo>
                  <a:lnTo>
                    <a:pt x="56" y="52"/>
                  </a:lnTo>
                  <a:lnTo>
                    <a:pt x="54" y="6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72" name="Freeform 64">
              <a:extLst>
                <a:ext uri="{FF2B5EF4-FFF2-40B4-BE49-F238E27FC236}">
                  <a16:creationId xmlns:a16="http://schemas.microsoft.com/office/drawing/2014/main" id="{E849CED0-A867-4604-A0CA-89DB51DE6EB9}"/>
                </a:ext>
              </a:extLst>
            </p:cNvPr>
            <p:cNvSpPr>
              <a:spLocks/>
            </p:cNvSpPr>
            <p:nvPr/>
          </p:nvSpPr>
          <p:spPr bwMode="gray">
            <a:xfrm>
              <a:off x="3569596" y="4399226"/>
              <a:ext cx="82553" cy="73033"/>
            </a:xfrm>
            <a:custGeom>
              <a:avLst/>
              <a:gdLst>
                <a:gd name="T0" fmla="*/ 18 w 50"/>
                <a:gd name="T1" fmla="*/ 20 h 44"/>
                <a:gd name="T2" fmla="*/ 12 w 50"/>
                <a:gd name="T3" fmla="*/ 16 h 44"/>
                <a:gd name="T4" fmla="*/ 10 w 50"/>
                <a:gd name="T5" fmla="*/ 22 h 44"/>
                <a:gd name="T6" fmla="*/ 8 w 50"/>
                <a:gd name="T7" fmla="*/ 24 h 44"/>
                <a:gd name="T8" fmla="*/ 2 w 50"/>
                <a:gd name="T9" fmla="*/ 20 h 44"/>
                <a:gd name="T10" fmla="*/ 0 w 50"/>
                <a:gd name="T11" fmla="*/ 16 h 44"/>
                <a:gd name="T12" fmla="*/ 0 w 50"/>
                <a:gd name="T13" fmla="*/ 10 h 44"/>
                <a:gd name="T14" fmla="*/ 2 w 50"/>
                <a:gd name="T15" fmla="*/ 6 h 44"/>
                <a:gd name="T16" fmla="*/ 2 w 50"/>
                <a:gd name="T17" fmla="*/ 0 h 44"/>
                <a:gd name="T18" fmla="*/ 18 w 50"/>
                <a:gd name="T19" fmla="*/ 2 h 44"/>
                <a:gd name="T20" fmla="*/ 30 w 50"/>
                <a:gd name="T21" fmla="*/ 6 h 44"/>
                <a:gd name="T22" fmla="*/ 34 w 50"/>
                <a:gd name="T23" fmla="*/ 10 h 44"/>
                <a:gd name="T24" fmla="*/ 42 w 50"/>
                <a:gd name="T25" fmla="*/ 18 h 44"/>
                <a:gd name="T26" fmla="*/ 48 w 50"/>
                <a:gd name="T27" fmla="*/ 24 h 44"/>
                <a:gd name="T28" fmla="*/ 50 w 50"/>
                <a:gd name="T29" fmla="*/ 28 h 44"/>
                <a:gd name="T30" fmla="*/ 46 w 50"/>
                <a:gd name="T31" fmla="*/ 30 h 44"/>
                <a:gd name="T32" fmla="*/ 44 w 50"/>
                <a:gd name="T33" fmla="*/ 36 h 44"/>
                <a:gd name="T34" fmla="*/ 42 w 50"/>
                <a:gd name="T35" fmla="*/ 42 h 44"/>
                <a:gd name="T36" fmla="*/ 38 w 50"/>
                <a:gd name="T37" fmla="*/ 44 h 44"/>
                <a:gd name="T38" fmla="*/ 34 w 50"/>
                <a:gd name="T39" fmla="*/ 32 h 44"/>
                <a:gd name="T40" fmla="*/ 28 w 50"/>
                <a:gd name="T41" fmla="*/ 26 h 44"/>
                <a:gd name="T42" fmla="*/ 24 w 50"/>
                <a:gd name="T43" fmla="*/ 24 h 44"/>
                <a:gd name="T44" fmla="*/ 18 w 50"/>
                <a:gd name="T45"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0" h="44">
                  <a:moveTo>
                    <a:pt x="18" y="20"/>
                  </a:moveTo>
                  <a:lnTo>
                    <a:pt x="12" y="16"/>
                  </a:lnTo>
                  <a:lnTo>
                    <a:pt x="10" y="22"/>
                  </a:lnTo>
                  <a:lnTo>
                    <a:pt x="8" y="24"/>
                  </a:lnTo>
                  <a:lnTo>
                    <a:pt x="2" y="20"/>
                  </a:lnTo>
                  <a:lnTo>
                    <a:pt x="0" y="16"/>
                  </a:lnTo>
                  <a:lnTo>
                    <a:pt x="0" y="10"/>
                  </a:lnTo>
                  <a:lnTo>
                    <a:pt x="2" y="6"/>
                  </a:lnTo>
                  <a:lnTo>
                    <a:pt x="2" y="0"/>
                  </a:lnTo>
                  <a:lnTo>
                    <a:pt x="18" y="2"/>
                  </a:lnTo>
                  <a:lnTo>
                    <a:pt x="30" y="6"/>
                  </a:lnTo>
                  <a:lnTo>
                    <a:pt x="34" y="10"/>
                  </a:lnTo>
                  <a:lnTo>
                    <a:pt x="42" y="18"/>
                  </a:lnTo>
                  <a:lnTo>
                    <a:pt x="48" y="24"/>
                  </a:lnTo>
                  <a:lnTo>
                    <a:pt x="50" y="28"/>
                  </a:lnTo>
                  <a:lnTo>
                    <a:pt x="46" y="30"/>
                  </a:lnTo>
                  <a:lnTo>
                    <a:pt x="44" y="36"/>
                  </a:lnTo>
                  <a:lnTo>
                    <a:pt x="42" y="42"/>
                  </a:lnTo>
                  <a:lnTo>
                    <a:pt x="38" y="44"/>
                  </a:lnTo>
                  <a:lnTo>
                    <a:pt x="34" y="32"/>
                  </a:lnTo>
                  <a:lnTo>
                    <a:pt x="28" y="26"/>
                  </a:lnTo>
                  <a:lnTo>
                    <a:pt x="24" y="24"/>
                  </a:lnTo>
                  <a:lnTo>
                    <a:pt x="18" y="2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73" name="Freeform 65">
              <a:extLst>
                <a:ext uri="{FF2B5EF4-FFF2-40B4-BE49-F238E27FC236}">
                  <a16:creationId xmlns:a16="http://schemas.microsoft.com/office/drawing/2014/main" id="{CB3FE85D-0296-4F67-8B58-74B3BA7F306E}"/>
                </a:ext>
              </a:extLst>
            </p:cNvPr>
            <p:cNvSpPr>
              <a:spLocks/>
            </p:cNvSpPr>
            <p:nvPr/>
          </p:nvSpPr>
          <p:spPr bwMode="gray">
            <a:xfrm>
              <a:off x="3632337" y="4442381"/>
              <a:ext cx="168409" cy="63073"/>
            </a:xfrm>
            <a:custGeom>
              <a:avLst/>
              <a:gdLst>
                <a:gd name="T0" fmla="*/ 88 w 102"/>
                <a:gd name="T1" fmla="*/ 34 h 38"/>
                <a:gd name="T2" fmla="*/ 82 w 102"/>
                <a:gd name="T3" fmla="*/ 32 h 38"/>
                <a:gd name="T4" fmla="*/ 80 w 102"/>
                <a:gd name="T5" fmla="*/ 28 h 38"/>
                <a:gd name="T6" fmla="*/ 80 w 102"/>
                <a:gd name="T7" fmla="*/ 22 h 38"/>
                <a:gd name="T8" fmla="*/ 80 w 102"/>
                <a:gd name="T9" fmla="*/ 16 h 38"/>
                <a:gd name="T10" fmla="*/ 78 w 102"/>
                <a:gd name="T11" fmla="*/ 12 h 38"/>
                <a:gd name="T12" fmla="*/ 72 w 102"/>
                <a:gd name="T13" fmla="*/ 10 h 38"/>
                <a:gd name="T14" fmla="*/ 66 w 102"/>
                <a:gd name="T15" fmla="*/ 10 h 38"/>
                <a:gd name="T16" fmla="*/ 62 w 102"/>
                <a:gd name="T17" fmla="*/ 12 h 38"/>
                <a:gd name="T18" fmla="*/ 60 w 102"/>
                <a:gd name="T19" fmla="*/ 16 h 38"/>
                <a:gd name="T20" fmla="*/ 52 w 102"/>
                <a:gd name="T21" fmla="*/ 18 h 38"/>
                <a:gd name="T22" fmla="*/ 48 w 102"/>
                <a:gd name="T23" fmla="*/ 22 h 38"/>
                <a:gd name="T24" fmla="*/ 50 w 102"/>
                <a:gd name="T25" fmla="*/ 26 h 38"/>
                <a:gd name="T26" fmla="*/ 52 w 102"/>
                <a:gd name="T27" fmla="*/ 30 h 38"/>
                <a:gd name="T28" fmla="*/ 52 w 102"/>
                <a:gd name="T29" fmla="*/ 36 h 38"/>
                <a:gd name="T30" fmla="*/ 44 w 102"/>
                <a:gd name="T31" fmla="*/ 38 h 38"/>
                <a:gd name="T32" fmla="*/ 38 w 102"/>
                <a:gd name="T33" fmla="*/ 32 h 38"/>
                <a:gd name="T34" fmla="*/ 32 w 102"/>
                <a:gd name="T35" fmla="*/ 26 h 38"/>
                <a:gd name="T36" fmla="*/ 26 w 102"/>
                <a:gd name="T37" fmla="*/ 22 h 38"/>
                <a:gd name="T38" fmla="*/ 18 w 102"/>
                <a:gd name="T39" fmla="*/ 20 h 38"/>
                <a:gd name="T40" fmla="*/ 14 w 102"/>
                <a:gd name="T41" fmla="*/ 18 h 38"/>
                <a:gd name="T42" fmla="*/ 8 w 102"/>
                <a:gd name="T43" fmla="*/ 20 h 38"/>
                <a:gd name="T44" fmla="*/ 0 w 102"/>
                <a:gd name="T45" fmla="*/ 18 h 38"/>
                <a:gd name="T46" fmla="*/ 4 w 102"/>
                <a:gd name="T47" fmla="*/ 14 h 38"/>
                <a:gd name="T48" fmla="*/ 6 w 102"/>
                <a:gd name="T49" fmla="*/ 8 h 38"/>
                <a:gd name="T50" fmla="*/ 12 w 102"/>
                <a:gd name="T51" fmla="*/ 2 h 38"/>
                <a:gd name="T52" fmla="*/ 18 w 102"/>
                <a:gd name="T53" fmla="*/ 4 h 38"/>
                <a:gd name="T54" fmla="*/ 22 w 102"/>
                <a:gd name="T55" fmla="*/ 8 h 38"/>
                <a:gd name="T56" fmla="*/ 30 w 102"/>
                <a:gd name="T57" fmla="*/ 12 h 38"/>
                <a:gd name="T58" fmla="*/ 38 w 102"/>
                <a:gd name="T59" fmla="*/ 12 h 38"/>
                <a:gd name="T60" fmla="*/ 44 w 102"/>
                <a:gd name="T61" fmla="*/ 10 h 38"/>
                <a:gd name="T62" fmla="*/ 52 w 102"/>
                <a:gd name="T63" fmla="*/ 6 h 38"/>
                <a:gd name="T64" fmla="*/ 62 w 102"/>
                <a:gd name="T65" fmla="*/ 2 h 38"/>
                <a:gd name="T66" fmla="*/ 72 w 102"/>
                <a:gd name="T67" fmla="*/ 0 h 38"/>
                <a:gd name="T68" fmla="*/ 82 w 102"/>
                <a:gd name="T69" fmla="*/ 2 h 38"/>
                <a:gd name="T70" fmla="*/ 88 w 102"/>
                <a:gd name="T71" fmla="*/ 6 h 38"/>
                <a:gd name="T72" fmla="*/ 94 w 102"/>
                <a:gd name="T73" fmla="*/ 10 h 38"/>
                <a:gd name="T74" fmla="*/ 98 w 102"/>
                <a:gd name="T75" fmla="*/ 16 h 38"/>
                <a:gd name="T76" fmla="*/ 102 w 102"/>
                <a:gd name="T77" fmla="*/ 20 h 38"/>
                <a:gd name="T78" fmla="*/ 100 w 102"/>
                <a:gd name="T79" fmla="*/ 26 h 38"/>
                <a:gd name="T80" fmla="*/ 94 w 102"/>
                <a:gd name="T81" fmla="*/ 30 h 38"/>
                <a:gd name="T82" fmla="*/ 88 w 102"/>
                <a:gd name="T83" fmla="*/ 3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2" h="38">
                  <a:moveTo>
                    <a:pt x="88" y="34"/>
                  </a:moveTo>
                  <a:lnTo>
                    <a:pt x="82" y="32"/>
                  </a:lnTo>
                  <a:lnTo>
                    <a:pt x="80" y="28"/>
                  </a:lnTo>
                  <a:lnTo>
                    <a:pt x="80" y="22"/>
                  </a:lnTo>
                  <a:lnTo>
                    <a:pt x="80" y="16"/>
                  </a:lnTo>
                  <a:lnTo>
                    <a:pt x="78" y="12"/>
                  </a:lnTo>
                  <a:lnTo>
                    <a:pt x="72" y="10"/>
                  </a:lnTo>
                  <a:lnTo>
                    <a:pt x="66" y="10"/>
                  </a:lnTo>
                  <a:lnTo>
                    <a:pt x="62" y="12"/>
                  </a:lnTo>
                  <a:lnTo>
                    <a:pt x="60" y="16"/>
                  </a:lnTo>
                  <a:lnTo>
                    <a:pt x="52" y="18"/>
                  </a:lnTo>
                  <a:lnTo>
                    <a:pt x="48" y="22"/>
                  </a:lnTo>
                  <a:lnTo>
                    <a:pt x="50" y="26"/>
                  </a:lnTo>
                  <a:lnTo>
                    <a:pt x="52" y="30"/>
                  </a:lnTo>
                  <a:lnTo>
                    <a:pt x="52" y="36"/>
                  </a:lnTo>
                  <a:lnTo>
                    <a:pt x="44" y="38"/>
                  </a:lnTo>
                  <a:lnTo>
                    <a:pt x="38" y="32"/>
                  </a:lnTo>
                  <a:lnTo>
                    <a:pt x="32" y="26"/>
                  </a:lnTo>
                  <a:lnTo>
                    <a:pt x="26" y="22"/>
                  </a:lnTo>
                  <a:lnTo>
                    <a:pt x="18" y="20"/>
                  </a:lnTo>
                  <a:lnTo>
                    <a:pt x="14" y="18"/>
                  </a:lnTo>
                  <a:lnTo>
                    <a:pt x="8" y="20"/>
                  </a:lnTo>
                  <a:lnTo>
                    <a:pt x="0" y="18"/>
                  </a:lnTo>
                  <a:lnTo>
                    <a:pt x="4" y="14"/>
                  </a:lnTo>
                  <a:lnTo>
                    <a:pt x="6" y="8"/>
                  </a:lnTo>
                  <a:lnTo>
                    <a:pt x="12" y="2"/>
                  </a:lnTo>
                  <a:lnTo>
                    <a:pt x="18" y="4"/>
                  </a:lnTo>
                  <a:lnTo>
                    <a:pt x="22" y="8"/>
                  </a:lnTo>
                  <a:lnTo>
                    <a:pt x="30" y="12"/>
                  </a:lnTo>
                  <a:lnTo>
                    <a:pt x="38" y="12"/>
                  </a:lnTo>
                  <a:lnTo>
                    <a:pt x="44" y="10"/>
                  </a:lnTo>
                  <a:lnTo>
                    <a:pt x="52" y="6"/>
                  </a:lnTo>
                  <a:lnTo>
                    <a:pt x="62" y="2"/>
                  </a:lnTo>
                  <a:lnTo>
                    <a:pt x="72" y="0"/>
                  </a:lnTo>
                  <a:lnTo>
                    <a:pt x="82" y="2"/>
                  </a:lnTo>
                  <a:lnTo>
                    <a:pt x="88" y="6"/>
                  </a:lnTo>
                  <a:lnTo>
                    <a:pt x="94" y="10"/>
                  </a:lnTo>
                  <a:lnTo>
                    <a:pt x="98" y="16"/>
                  </a:lnTo>
                  <a:lnTo>
                    <a:pt x="102" y="20"/>
                  </a:lnTo>
                  <a:lnTo>
                    <a:pt x="100" y="26"/>
                  </a:lnTo>
                  <a:lnTo>
                    <a:pt x="94" y="30"/>
                  </a:lnTo>
                  <a:lnTo>
                    <a:pt x="88" y="3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74" name="Freeform 66">
              <a:extLst>
                <a:ext uri="{FF2B5EF4-FFF2-40B4-BE49-F238E27FC236}">
                  <a16:creationId xmlns:a16="http://schemas.microsoft.com/office/drawing/2014/main" id="{73BF7B22-6FB0-439F-9FAD-B18B885BC174}"/>
                </a:ext>
              </a:extLst>
            </p:cNvPr>
            <p:cNvSpPr>
              <a:spLocks/>
            </p:cNvSpPr>
            <p:nvPr/>
          </p:nvSpPr>
          <p:spPr bwMode="gray">
            <a:xfrm>
              <a:off x="3596014" y="4073898"/>
              <a:ext cx="274078" cy="92950"/>
            </a:xfrm>
            <a:custGeom>
              <a:avLst/>
              <a:gdLst>
                <a:gd name="T0" fmla="*/ 148 w 166"/>
                <a:gd name="T1" fmla="*/ 56 h 56"/>
                <a:gd name="T2" fmla="*/ 140 w 166"/>
                <a:gd name="T3" fmla="*/ 52 h 56"/>
                <a:gd name="T4" fmla="*/ 130 w 166"/>
                <a:gd name="T5" fmla="*/ 52 h 56"/>
                <a:gd name="T6" fmla="*/ 124 w 166"/>
                <a:gd name="T7" fmla="*/ 56 h 56"/>
                <a:gd name="T8" fmla="*/ 116 w 166"/>
                <a:gd name="T9" fmla="*/ 54 h 56"/>
                <a:gd name="T10" fmla="*/ 118 w 166"/>
                <a:gd name="T11" fmla="*/ 46 h 56"/>
                <a:gd name="T12" fmla="*/ 116 w 166"/>
                <a:gd name="T13" fmla="*/ 40 h 56"/>
                <a:gd name="T14" fmla="*/ 104 w 166"/>
                <a:gd name="T15" fmla="*/ 40 h 56"/>
                <a:gd name="T16" fmla="*/ 100 w 166"/>
                <a:gd name="T17" fmla="*/ 32 h 56"/>
                <a:gd name="T18" fmla="*/ 94 w 166"/>
                <a:gd name="T19" fmla="*/ 30 h 56"/>
                <a:gd name="T20" fmla="*/ 80 w 166"/>
                <a:gd name="T21" fmla="*/ 26 h 56"/>
                <a:gd name="T22" fmla="*/ 76 w 166"/>
                <a:gd name="T23" fmla="*/ 22 h 56"/>
                <a:gd name="T24" fmla="*/ 62 w 166"/>
                <a:gd name="T25" fmla="*/ 18 h 56"/>
                <a:gd name="T26" fmla="*/ 48 w 166"/>
                <a:gd name="T27" fmla="*/ 16 h 56"/>
                <a:gd name="T28" fmla="*/ 44 w 166"/>
                <a:gd name="T29" fmla="*/ 12 h 56"/>
                <a:gd name="T30" fmla="*/ 34 w 166"/>
                <a:gd name="T31" fmla="*/ 10 h 56"/>
                <a:gd name="T32" fmla="*/ 28 w 166"/>
                <a:gd name="T33" fmla="*/ 14 h 56"/>
                <a:gd name="T34" fmla="*/ 20 w 166"/>
                <a:gd name="T35" fmla="*/ 18 h 56"/>
                <a:gd name="T36" fmla="*/ 12 w 166"/>
                <a:gd name="T37" fmla="*/ 22 h 56"/>
                <a:gd name="T38" fmla="*/ 0 w 166"/>
                <a:gd name="T39" fmla="*/ 22 h 56"/>
                <a:gd name="T40" fmla="*/ 2 w 166"/>
                <a:gd name="T41" fmla="*/ 16 h 56"/>
                <a:gd name="T42" fmla="*/ 10 w 166"/>
                <a:gd name="T43" fmla="*/ 6 h 56"/>
                <a:gd name="T44" fmla="*/ 26 w 166"/>
                <a:gd name="T45" fmla="*/ 2 h 56"/>
                <a:gd name="T46" fmla="*/ 40 w 166"/>
                <a:gd name="T47" fmla="*/ 0 h 56"/>
                <a:gd name="T48" fmla="*/ 58 w 166"/>
                <a:gd name="T49" fmla="*/ 0 h 56"/>
                <a:gd name="T50" fmla="*/ 74 w 166"/>
                <a:gd name="T51" fmla="*/ 4 h 56"/>
                <a:gd name="T52" fmla="*/ 88 w 166"/>
                <a:gd name="T53" fmla="*/ 10 h 56"/>
                <a:gd name="T54" fmla="*/ 104 w 166"/>
                <a:gd name="T55" fmla="*/ 14 h 56"/>
                <a:gd name="T56" fmla="*/ 110 w 166"/>
                <a:gd name="T57" fmla="*/ 20 h 56"/>
                <a:gd name="T58" fmla="*/ 116 w 166"/>
                <a:gd name="T59" fmla="*/ 24 h 56"/>
                <a:gd name="T60" fmla="*/ 130 w 166"/>
                <a:gd name="T61" fmla="*/ 30 h 56"/>
                <a:gd name="T62" fmla="*/ 142 w 166"/>
                <a:gd name="T63" fmla="*/ 34 h 56"/>
                <a:gd name="T64" fmla="*/ 154 w 166"/>
                <a:gd name="T65" fmla="*/ 40 h 56"/>
                <a:gd name="T66" fmla="*/ 166 w 166"/>
                <a:gd name="T67" fmla="*/ 46 h 56"/>
                <a:gd name="T68" fmla="*/ 160 w 166"/>
                <a:gd name="T69" fmla="*/ 50 h 56"/>
                <a:gd name="T70" fmla="*/ 152 w 166"/>
                <a:gd name="T71" fmla="*/ 52 h 56"/>
                <a:gd name="T72" fmla="*/ 150 w 166"/>
                <a:gd name="T73" fmla="*/ 56 h 56"/>
                <a:gd name="T74" fmla="*/ 148 w 166"/>
                <a:gd name="T75"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6" h="56">
                  <a:moveTo>
                    <a:pt x="148" y="56"/>
                  </a:moveTo>
                  <a:lnTo>
                    <a:pt x="140" y="52"/>
                  </a:lnTo>
                  <a:lnTo>
                    <a:pt x="130" y="52"/>
                  </a:lnTo>
                  <a:lnTo>
                    <a:pt x="124" y="56"/>
                  </a:lnTo>
                  <a:lnTo>
                    <a:pt x="116" y="54"/>
                  </a:lnTo>
                  <a:lnTo>
                    <a:pt x="118" y="46"/>
                  </a:lnTo>
                  <a:lnTo>
                    <a:pt x="116" y="40"/>
                  </a:lnTo>
                  <a:lnTo>
                    <a:pt x="104" y="40"/>
                  </a:lnTo>
                  <a:lnTo>
                    <a:pt x="100" y="32"/>
                  </a:lnTo>
                  <a:lnTo>
                    <a:pt x="94" y="30"/>
                  </a:lnTo>
                  <a:lnTo>
                    <a:pt x="80" y="26"/>
                  </a:lnTo>
                  <a:lnTo>
                    <a:pt x="76" y="22"/>
                  </a:lnTo>
                  <a:lnTo>
                    <a:pt x="62" y="18"/>
                  </a:lnTo>
                  <a:lnTo>
                    <a:pt x="48" y="16"/>
                  </a:lnTo>
                  <a:lnTo>
                    <a:pt x="44" y="12"/>
                  </a:lnTo>
                  <a:lnTo>
                    <a:pt x="34" y="10"/>
                  </a:lnTo>
                  <a:lnTo>
                    <a:pt x="28" y="14"/>
                  </a:lnTo>
                  <a:lnTo>
                    <a:pt x="20" y="18"/>
                  </a:lnTo>
                  <a:lnTo>
                    <a:pt x="12" y="22"/>
                  </a:lnTo>
                  <a:lnTo>
                    <a:pt x="0" y="22"/>
                  </a:lnTo>
                  <a:lnTo>
                    <a:pt x="2" y="16"/>
                  </a:lnTo>
                  <a:lnTo>
                    <a:pt x="10" y="6"/>
                  </a:lnTo>
                  <a:lnTo>
                    <a:pt x="26" y="2"/>
                  </a:lnTo>
                  <a:lnTo>
                    <a:pt x="40" y="0"/>
                  </a:lnTo>
                  <a:lnTo>
                    <a:pt x="58" y="0"/>
                  </a:lnTo>
                  <a:lnTo>
                    <a:pt x="74" y="4"/>
                  </a:lnTo>
                  <a:lnTo>
                    <a:pt x="88" y="10"/>
                  </a:lnTo>
                  <a:lnTo>
                    <a:pt x="104" y="14"/>
                  </a:lnTo>
                  <a:lnTo>
                    <a:pt x="110" y="20"/>
                  </a:lnTo>
                  <a:lnTo>
                    <a:pt x="116" y="24"/>
                  </a:lnTo>
                  <a:lnTo>
                    <a:pt x="130" y="30"/>
                  </a:lnTo>
                  <a:lnTo>
                    <a:pt x="142" y="34"/>
                  </a:lnTo>
                  <a:lnTo>
                    <a:pt x="154" y="40"/>
                  </a:lnTo>
                  <a:lnTo>
                    <a:pt x="166" y="46"/>
                  </a:lnTo>
                  <a:lnTo>
                    <a:pt x="160" y="50"/>
                  </a:lnTo>
                  <a:lnTo>
                    <a:pt x="152" y="52"/>
                  </a:lnTo>
                  <a:lnTo>
                    <a:pt x="150" y="56"/>
                  </a:lnTo>
                  <a:lnTo>
                    <a:pt x="148" y="5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75" name="Freeform 67">
              <a:extLst>
                <a:ext uri="{FF2B5EF4-FFF2-40B4-BE49-F238E27FC236}">
                  <a16:creationId xmlns:a16="http://schemas.microsoft.com/office/drawing/2014/main" id="{66896519-6D3A-4262-AA88-2F2F1844BDA5}"/>
                </a:ext>
              </a:extLst>
            </p:cNvPr>
            <p:cNvSpPr>
              <a:spLocks/>
            </p:cNvSpPr>
            <p:nvPr/>
          </p:nvSpPr>
          <p:spPr bwMode="gray">
            <a:xfrm>
              <a:off x="3870091" y="4160210"/>
              <a:ext cx="72648" cy="49794"/>
            </a:xfrm>
            <a:custGeom>
              <a:avLst/>
              <a:gdLst>
                <a:gd name="T0" fmla="*/ 0 w 44"/>
                <a:gd name="T1" fmla="*/ 28 h 30"/>
                <a:gd name="T2" fmla="*/ 16 w 44"/>
                <a:gd name="T3" fmla="*/ 30 h 30"/>
                <a:gd name="T4" fmla="*/ 32 w 44"/>
                <a:gd name="T5" fmla="*/ 30 h 30"/>
                <a:gd name="T6" fmla="*/ 40 w 44"/>
                <a:gd name="T7" fmla="*/ 30 h 30"/>
                <a:gd name="T8" fmla="*/ 40 w 44"/>
                <a:gd name="T9" fmla="*/ 24 h 30"/>
                <a:gd name="T10" fmla="*/ 36 w 44"/>
                <a:gd name="T11" fmla="*/ 20 h 30"/>
                <a:gd name="T12" fmla="*/ 42 w 44"/>
                <a:gd name="T13" fmla="*/ 18 h 30"/>
                <a:gd name="T14" fmla="*/ 44 w 44"/>
                <a:gd name="T15" fmla="*/ 14 h 30"/>
                <a:gd name="T16" fmla="*/ 42 w 44"/>
                <a:gd name="T17" fmla="*/ 4 h 30"/>
                <a:gd name="T18" fmla="*/ 32 w 44"/>
                <a:gd name="T19" fmla="*/ 2 h 30"/>
                <a:gd name="T20" fmla="*/ 24 w 44"/>
                <a:gd name="T21" fmla="*/ 0 h 30"/>
                <a:gd name="T22" fmla="*/ 16 w 44"/>
                <a:gd name="T23" fmla="*/ 2 h 30"/>
                <a:gd name="T24" fmla="*/ 22 w 44"/>
                <a:gd name="T25" fmla="*/ 6 h 30"/>
                <a:gd name="T26" fmla="*/ 28 w 44"/>
                <a:gd name="T27" fmla="*/ 14 h 30"/>
                <a:gd name="T28" fmla="*/ 28 w 44"/>
                <a:gd name="T29" fmla="*/ 20 h 30"/>
                <a:gd name="T30" fmla="*/ 20 w 44"/>
                <a:gd name="T31" fmla="*/ 20 h 30"/>
                <a:gd name="T32" fmla="*/ 14 w 44"/>
                <a:gd name="T33" fmla="*/ 18 h 30"/>
                <a:gd name="T34" fmla="*/ 6 w 44"/>
                <a:gd name="T35" fmla="*/ 20 h 30"/>
                <a:gd name="T36" fmla="*/ 0 w 44"/>
                <a:gd name="T37" fmla="*/ 20 h 30"/>
                <a:gd name="T38" fmla="*/ 0 w 44"/>
                <a:gd name="T39" fmla="*/ 2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 h="30">
                  <a:moveTo>
                    <a:pt x="0" y="28"/>
                  </a:moveTo>
                  <a:lnTo>
                    <a:pt x="16" y="30"/>
                  </a:lnTo>
                  <a:lnTo>
                    <a:pt x="32" y="30"/>
                  </a:lnTo>
                  <a:lnTo>
                    <a:pt x="40" y="30"/>
                  </a:lnTo>
                  <a:lnTo>
                    <a:pt x="40" y="24"/>
                  </a:lnTo>
                  <a:lnTo>
                    <a:pt x="36" y="20"/>
                  </a:lnTo>
                  <a:lnTo>
                    <a:pt x="42" y="18"/>
                  </a:lnTo>
                  <a:lnTo>
                    <a:pt x="44" y="14"/>
                  </a:lnTo>
                  <a:lnTo>
                    <a:pt x="42" y="4"/>
                  </a:lnTo>
                  <a:lnTo>
                    <a:pt x="32" y="2"/>
                  </a:lnTo>
                  <a:lnTo>
                    <a:pt x="24" y="0"/>
                  </a:lnTo>
                  <a:lnTo>
                    <a:pt x="16" y="2"/>
                  </a:lnTo>
                  <a:lnTo>
                    <a:pt x="22" y="6"/>
                  </a:lnTo>
                  <a:lnTo>
                    <a:pt x="28" y="14"/>
                  </a:lnTo>
                  <a:lnTo>
                    <a:pt x="28" y="20"/>
                  </a:lnTo>
                  <a:lnTo>
                    <a:pt x="20" y="20"/>
                  </a:lnTo>
                  <a:lnTo>
                    <a:pt x="14" y="18"/>
                  </a:lnTo>
                  <a:lnTo>
                    <a:pt x="6" y="20"/>
                  </a:lnTo>
                  <a:lnTo>
                    <a:pt x="0" y="20"/>
                  </a:lnTo>
                  <a:lnTo>
                    <a:pt x="0" y="2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76" name="Freeform 68">
              <a:extLst>
                <a:ext uri="{FF2B5EF4-FFF2-40B4-BE49-F238E27FC236}">
                  <a16:creationId xmlns:a16="http://schemas.microsoft.com/office/drawing/2014/main" id="{9DEBE63A-CA43-4920-BA84-A32E61434687}"/>
                </a:ext>
              </a:extLst>
            </p:cNvPr>
            <p:cNvSpPr>
              <a:spLocks/>
            </p:cNvSpPr>
            <p:nvPr/>
          </p:nvSpPr>
          <p:spPr bwMode="gray">
            <a:xfrm>
              <a:off x="3767725" y="4196726"/>
              <a:ext cx="52834" cy="29876"/>
            </a:xfrm>
            <a:custGeom>
              <a:avLst/>
              <a:gdLst>
                <a:gd name="T0" fmla="*/ 0 w 32"/>
                <a:gd name="T1" fmla="*/ 6 h 18"/>
                <a:gd name="T2" fmla="*/ 6 w 32"/>
                <a:gd name="T3" fmla="*/ 0 h 18"/>
                <a:gd name="T4" fmla="*/ 14 w 32"/>
                <a:gd name="T5" fmla="*/ 0 h 18"/>
                <a:gd name="T6" fmla="*/ 20 w 32"/>
                <a:gd name="T7" fmla="*/ 2 h 18"/>
                <a:gd name="T8" fmla="*/ 28 w 32"/>
                <a:gd name="T9" fmla="*/ 6 h 18"/>
                <a:gd name="T10" fmla="*/ 32 w 32"/>
                <a:gd name="T11" fmla="*/ 10 h 18"/>
                <a:gd name="T12" fmla="*/ 24 w 32"/>
                <a:gd name="T13" fmla="*/ 14 h 18"/>
                <a:gd name="T14" fmla="*/ 18 w 32"/>
                <a:gd name="T15" fmla="*/ 14 h 18"/>
                <a:gd name="T16" fmla="*/ 14 w 32"/>
                <a:gd name="T17" fmla="*/ 18 h 18"/>
                <a:gd name="T18" fmla="*/ 10 w 32"/>
                <a:gd name="T19" fmla="*/ 12 h 18"/>
                <a:gd name="T20" fmla="*/ 6 w 32"/>
                <a:gd name="T21" fmla="*/ 8 h 18"/>
                <a:gd name="T22" fmla="*/ 0 w 32"/>
                <a:gd name="T23" fmla="*/ 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18">
                  <a:moveTo>
                    <a:pt x="0" y="6"/>
                  </a:moveTo>
                  <a:lnTo>
                    <a:pt x="6" y="0"/>
                  </a:lnTo>
                  <a:lnTo>
                    <a:pt x="14" y="0"/>
                  </a:lnTo>
                  <a:lnTo>
                    <a:pt x="20" y="2"/>
                  </a:lnTo>
                  <a:lnTo>
                    <a:pt x="28" y="6"/>
                  </a:lnTo>
                  <a:lnTo>
                    <a:pt x="32" y="10"/>
                  </a:lnTo>
                  <a:lnTo>
                    <a:pt x="24" y="14"/>
                  </a:lnTo>
                  <a:lnTo>
                    <a:pt x="18" y="14"/>
                  </a:lnTo>
                  <a:lnTo>
                    <a:pt x="14" y="18"/>
                  </a:lnTo>
                  <a:lnTo>
                    <a:pt x="10" y="12"/>
                  </a:lnTo>
                  <a:lnTo>
                    <a:pt x="6" y="8"/>
                  </a:lnTo>
                  <a:lnTo>
                    <a:pt x="0" y="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77" name="Freeform 69">
              <a:extLst>
                <a:ext uri="{FF2B5EF4-FFF2-40B4-BE49-F238E27FC236}">
                  <a16:creationId xmlns:a16="http://schemas.microsoft.com/office/drawing/2014/main" id="{9CBBE023-F945-4859-8286-C1E4CEFAFEDF}"/>
                </a:ext>
              </a:extLst>
            </p:cNvPr>
            <p:cNvSpPr>
              <a:spLocks/>
            </p:cNvSpPr>
            <p:nvPr/>
          </p:nvSpPr>
          <p:spPr bwMode="gray">
            <a:xfrm>
              <a:off x="3929530" y="4166850"/>
              <a:ext cx="95762" cy="59754"/>
            </a:xfrm>
            <a:custGeom>
              <a:avLst/>
              <a:gdLst>
                <a:gd name="T0" fmla="*/ 6 w 58"/>
                <a:gd name="T1" fmla="*/ 0 h 36"/>
                <a:gd name="T2" fmla="*/ 16 w 58"/>
                <a:gd name="T3" fmla="*/ 2 h 36"/>
                <a:gd name="T4" fmla="*/ 24 w 58"/>
                <a:gd name="T5" fmla="*/ 2 h 36"/>
                <a:gd name="T6" fmla="*/ 34 w 58"/>
                <a:gd name="T7" fmla="*/ 4 h 36"/>
                <a:gd name="T8" fmla="*/ 40 w 58"/>
                <a:gd name="T9" fmla="*/ 6 h 36"/>
                <a:gd name="T10" fmla="*/ 46 w 58"/>
                <a:gd name="T11" fmla="*/ 10 h 36"/>
                <a:gd name="T12" fmla="*/ 56 w 58"/>
                <a:gd name="T13" fmla="*/ 16 h 36"/>
                <a:gd name="T14" fmla="*/ 58 w 58"/>
                <a:gd name="T15" fmla="*/ 20 h 36"/>
                <a:gd name="T16" fmla="*/ 54 w 58"/>
                <a:gd name="T17" fmla="*/ 24 h 36"/>
                <a:gd name="T18" fmla="*/ 44 w 58"/>
                <a:gd name="T19" fmla="*/ 22 h 36"/>
                <a:gd name="T20" fmla="*/ 38 w 58"/>
                <a:gd name="T21" fmla="*/ 22 h 36"/>
                <a:gd name="T22" fmla="*/ 30 w 58"/>
                <a:gd name="T23" fmla="*/ 24 h 36"/>
                <a:gd name="T24" fmla="*/ 24 w 58"/>
                <a:gd name="T25" fmla="*/ 24 h 36"/>
                <a:gd name="T26" fmla="*/ 20 w 58"/>
                <a:gd name="T27" fmla="*/ 20 h 36"/>
                <a:gd name="T28" fmla="*/ 14 w 58"/>
                <a:gd name="T29" fmla="*/ 22 h 36"/>
                <a:gd name="T30" fmla="*/ 12 w 58"/>
                <a:gd name="T31" fmla="*/ 28 h 36"/>
                <a:gd name="T32" fmla="*/ 12 w 58"/>
                <a:gd name="T33" fmla="*/ 34 h 36"/>
                <a:gd name="T34" fmla="*/ 8 w 58"/>
                <a:gd name="T35" fmla="*/ 36 h 36"/>
                <a:gd name="T36" fmla="*/ 4 w 58"/>
                <a:gd name="T37" fmla="*/ 30 h 36"/>
                <a:gd name="T38" fmla="*/ 4 w 58"/>
                <a:gd name="T39" fmla="*/ 26 h 36"/>
                <a:gd name="T40" fmla="*/ 4 w 58"/>
                <a:gd name="T41" fmla="*/ 20 h 36"/>
                <a:gd name="T42" fmla="*/ 0 w 58"/>
                <a:gd name="T43" fmla="*/ 16 h 36"/>
                <a:gd name="T44" fmla="*/ 6 w 58"/>
                <a:gd name="T45" fmla="*/ 14 h 36"/>
                <a:gd name="T46" fmla="*/ 8 w 58"/>
                <a:gd name="T47" fmla="*/ 10 h 36"/>
                <a:gd name="T48" fmla="*/ 6 w 58"/>
                <a:gd name="T4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8" h="36">
                  <a:moveTo>
                    <a:pt x="6" y="0"/>
                  </a:moveTo>
                  <a:lnTo>
                    <a:pt x="16" y="2"/>
                  </a:lnTo>
                  <a:lnTo>
                    <a:pt x="24" y="2"/>
                  </a:lnTo>
                  <a:lnTo>
                    <a:pt x="34" y="4"/>
                  </a:lnTo>
                  <a:lnTo>
                    <a:pt x="40" y="6"/>
                  </a:lnTo>
                  <a:lnTo>
                    <a:pt x="46" y="10"/>
                  </a:lnTo>
                  <a:lnTo>
                    <a:pt x="56" y="16"/>
                  </a:lnTo>
                  <a:lnTo>
                    <a:pt x="58" y="20"/>
                  </a:lnTo>
                  <a:lnTo>
                    <a:pt x="54" y="24"/>
                  </a:lnTo>
                  <a:lnTo>
                    <a:pt x="44" y="22"/>
                  </a:lnTo>
                  <a:lnTo>
                    <a:pt x="38" y="22"/>
                  </a:lnTo>
                  <a:lnTo>
                    <a:pt x="30" y="24"/>
                  </a:lnTo>
                  <a:lnTo>
                    <a:pt x="24" y="24"/>
                  </a:lnTo>
                  <a:lnTo>
                    <a:pt x="20" y="20"/>
                  </a:lnTo>
                  <a:lnTo>
                    <a:pt x="14" y="22"/>
                  </a:lnTo>
                  <a:lnTo>
                    <a:pt x="12" y="28"/>
                  </a:lnTo>
                  <a:lnTo>
                    <a:pt x="12" y="34"/>
                  </a:lnTo>
                  <a:lnTo>
                    <a:pt x="8" y="36"/>
                  </a:lnTo>
                  <a:lnTo>
                    <a:pt x="4" y="30"/>
                  </a:lnTo>
                  <a:lnTo>
                    <a:pt x="4" y="26"/>
                  </a:lnTo>
                  <a:lnTo>
                    <a:pt x="4" y="20"/>
                  </a:lnTo>
                  <a:lnTo>
                    <a:pt x="0" y="16"/>
                  </a:lnTo>
                  <a:lnTo>
                    <a:pt x="6" y="14"/>
                  </a:lnTo>
                  <a:lnTo>
                    <a:pt x="8" y="10"/>
                  </a:lnTo>
                  <a:lnTo>
                    <a:pt x="6"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78" name="Freeform 70">
              <a:extLst>
                <a:ext uri="{FF2B5EF4-FFF2-40B4-BE49-F238E27FC236}">
                  <a16:creationId xmlns:a16="http://schemas.microsoft.com/office/drawing/2014/main" id="{974ABD61-9F8A-4A5D-9D44-F17E89ADA77A}"/>
                </a:ext>
              </a:extLst>
            </p:cNvPr>
            <p:cNvSpPr>
              <a:spLocks/>
            </p:cNvSpPr>
            <p:nvPr/>
          </p:nvSpPr>
          <p:spPr bwMode="gray">
            <a:xfrm>
              <a:off x="4055011" y="4200045"/>
              <a:ext cx="42928" cy="16599"/>
            </a:xfrm>
            <a:custGeom>
              <a:avLst/>
              <a:gdLst>
                <a:gd name="T0" fmla="*/ 18 w 26"/>
                <a:gd name="T1" fmla="*/ 0 h 10"/>
                <a:gd name="T2" fmla="*/ 8 w 26"/>
                <a:gd name="T3" fmla="*/ 0 h 10"/>
                <a:gd name="T4" fmla="*/ 0 w 26"/>
                <a:gd name="T5" fmla="*/ 4 h 10"/>
                <a:gd name="T6" fmla="*/ 4 w 26"/>
                <a:gd name="T7" fmla="*/ 10 h 10"/>
                <a:gd name="T8" fmla="*/ 12 w 26"/>
                <a:gd name="T9" fmla="*/ 10 h 10"/>
                <a:gd name="T10" fmla="*/ 22 w 26"/>
                <a:gd name="T11" fmla="*/ 10 h 10"/>
                <a:gd name="T12" fmla="*/ 26 w 26"/>
                <a:gd name="T13" fmla="*/ 8 h 10"/>
                <a:gd name="T14" fmla="*/ 26 w 26"/>
                <a:gd name="T15" fmla="*/ 4 h 10"/>
                <a:gd name="T16" fmla="*/ 22 w 26"/>
                <a:gd name="T17" fmla="*/ 0 h 10"/>
                <a:gd name="T18" fmla="*/ 18 w 26"/>
                <a:gd name="T1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0">
                  <a:moveTo>
                    <a:pt x="18" y="0"/>
                  </a:moveTo>
                  <a:lnTo>
                    <a:pt x="8" y="0"/>
                  </a:lnTo>
                  <a:lnTo>
                    <a:pt x="0" y="4"/>
                  </a:lnTo>
                  <a:lnTo>
                    <a:pt x="4" y="10"/>
                  </a:lnTo>
                  <a:lnTo>
                    <a:pt x="12" y="10"/>
                  </a:lnTo>
                  <a:lnTo>
                    <a:pt x="22" y="10"/>
                  </a:lnTo>
                  <a:lnTo>
                    <a:pt x="26" y="8"/>
                  </a:lnTo>
                  <a:lnTo>
                    <a:pt x="26" y="4"/>
                  </a:lnTo>
                  <a:lnTo>
                    <a:pt x="22" y="0"/>
                  </a:lnTo>
                  <a:lnTo>
                    <a:pt x="18"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79" name="Freeform 71">
              <a:extLst>
                <a:ext uri="{FF2B5EF4-FFF2-40B4-BE49-F238E27FC236}">
                  <a16:creationId xmlns:a16="http://schemas.microsoft.com/office/drawing/2014/main" id="{5D31D364-A674-49EE-BA9D-A58CDFA7145C}"/>
                </a:ext>
              </a:extLst>
            </p:cNvPr>
            <p:cNvSpPr>
              <a:spLocks/>
            </p:cNvSpPr>
            <p:nvPr/>
          </p:nvSpPr>
          <p:spPr bwMode="gray">
            <a:xfrm>
              <a:off x="3764423" y="4017466"/>
              <a:ext cx="19813" cy="26557"/>
            </a:xfrm>
            <a:custGeom>
              <a:avLst/>
              <a:gdLst>
                <a:gd name="T0" fmla="*/ 8 w 12"/>
                <a:gd name="T1" fmla="*/ 4 h 16"/>
                <a:gd name="T2" fmla="*/ 2 w 12"/>
                <a:gd name="T3" fmla="*/ 0 h 16"/>
                <a:gd name="T4" fmla="*/ 0 w 12"/>
                <a:gd name="T5" fmla="*/ 8 h 16"/>
                <a:gd name="T6" fmla="*/ 6 w 12"/>
                <a:gd name="T7" fmla="*/ 12 h 16"/>
                <a:gd name="T8" fmla="*/ 10 w 12"/>
                <a:gd name="T9" fmla="*/ 16 h 16"/>
                <a:gd name="T10" fmla="*/ 12 w 12"/>
                <a:gd name="T11" fmla="*/ 10 h 16"/>
                <a:gd name="T12" fmla="*/ 8 w 12"/>
                <a:gd name="T13" fmla="*/ 4 h 16"/>
              </a:gdLst>
              <a:ahLst/>
              <a:cxnLst>
                <a:cxn ang="0">
                  <a:pos x="T0" y="T1"/>
                </a:cxn>
                <a:cxn ang="0">
                  <a:pos x="T2" y="T3"/>
                </a:cxn>
                <a:cxn ang="0">
                  <a:pos x="T4" y="T5"/>
                </a:cxn>
                <a:cxn ang="0">
                  <a:pos x="T6" y="T7"/>
                </a:cxn>
                <a:cxn ang="0">
                  <a:pos x="T8" y="T9"/>
                </a:cxn>
                <a:cxn ang="0">
                  <a:pos x="T10" y="T11"/>
                </a:cxn>
                <a:cxn ang="0">
                  <a:pos x="T12" y="T13"/>
                </a:cxn>
              </a:cxnLst>
              <a:rect l="0" t="0" r="r" b="b"/>
              <a:pathLst>
                <a:path w="12" h="16">
                  <a:moveTo>
                    <a:pt x="8" y="4"/>
                  </a:moveTo>
                  <a:lnTo>
                    <a:pt x="2" y="0"/>
                  </a:lnTo>
                  <a:lnTo>
                    <a:pt x="0" y="8"/>
                  </a:lnTo>
                  <a:lnTo>
                    <a:pt x="6" y="12"/>
                  </a:lnTo>
                  <a:lnTo>
                    <a:pt x="10" y="16"/>
                  </a:lnTo>
                  <a:lnTo>
                    <a:pt x="12" y="10"/>
                  </a:lnTo>
                  <a:lnTo>
                    <a:pt x="8" y="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80" name="Freeform 72">
              <a:extLst>
                <a:ext uri="{FF2B5EF4-FFF2-40B4-BE49-F238E27FC236}">
                  <a16:creationId xmlns:a16="http://schemas.microsoft.com/office/drawing/2014/main" id="{6618E5CE-E12F-4981-957E-744C0017C6F2}"/>
                </a:ext>
              </a:extLst>
            </p:cNvPr>
            <p:cNvSpPr>
              <a:spLocks/>
            </p:cNvSpPr>
            <p:nvPr/>
          </p:nvSpPr>
          <p:spPr bwMode="gray">
            <a:xfrm>
              <a:off x="4114449" y="3805006"/>
              <a:ext cx="19813" cy="13279"/>
            </a:xfrm>
            <a:custGeom>
              <a:avLst/>
              <a:gdLst>
                <a:gd name="T0" fmla="*/ 6 w 12"/>
                <a:gd name="T1" fmla="*/ 0 h 8"/>
                <a:gd name="T2" fmla="*/ 2 w 12"/>
                <a:gd name="T3" fmla="*/ 2 h 8"/>
                <a:gd name="T4" fmla="*/ 0 w 12"/>
                <a:gd name="T5" fmla="*/ 8 h 8"/>
                <a:gd name="T6" fmla="*/ 8 w 12"/>
                <a:gd name="T7" fmla="*/ 8 h 8"/>
                <a:gd name="T8" fmla="*/ 12 w 12"/>
                <a:gd name="T9" fmla="*/ 8 h 8"/>
                <a:gd name="T10" fmla="*/ 6 w 12"/>
                <a:gd name="T11" fmla="*/ 0 h 8"/>
              </a:gdLst>
              <a:ahLst/>
              <a:cxnLst>
                <a:cxn ang="0">
                  <a:pos x="T0" y="T1"/>
                </a:cxn>
                <a:cxn ang="0">
                  <a:pos x="T2" y="T3"/>
                </a:cxn>
                <a:cxn ang="0">
                  <a:pos x="T4" y="T5"/>
                </a:cxn>
                <a:cxn ang="0">
                  <a:pos x="T6" y="T7"/>
                </a:cxn>
                <a:cxn ang="0">
                  <a:pos x="T8" y="T9"/>
                </a:cxn>
                <a:cxn ang="0">
                  <a:pos x="T10" y="T11"/>
                </a:cxn>
              </a:cxnLst>
              <a:rect l="0" t="0" r="r" b="b"/>
              <a:pathLst>
                <a:path w="12" h="8">
                  <a:moveTo>
                    <a:pt x="6" y="0"/>
                  </a:moveTo>
                  <a:lnTo>
                    <a:pt x="2" y="2"/>
                  </a:lnTo>
                  <a:lnTo>
                    <a:pt x="0" y="8"/>
                  </a:lnTo>
                  <a:lnTo>
                    <a:pt x="8" y="8"/>
                  </a:lnTo>
                  <a:lnTo>
                    <a:pt x="12" y="8"/>
                  </a:lnTo>
                  <a:lnTo>
                    <a:pt x="6"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81" name="Freeform 73">
              <a:extLst>
                <a:ext uri="{FF2B5EF4-FFF2-40B4-BE49-F238E27FC236}">
                  <a16:creationId xmlns:a16="http://schemas.microsoft.com/office/drawing/2014/main" id="{72C6F6E6-BAF8-42BB-B475-DB4803C6D38D}"/>
                </a:ext>
              </a:extLst>
            </p:cNvPr>
            <p:cNvSpPr>
              <a:spLocks/>
            </p:cNvSpPr>
            <p:nvPr/>
          </p:nvSpPr>
          <p:spPr bwMode="gray">
            <a:xfrm>
              <a:off x="3754517" y="4366029"/>
              <a:ext cx="307100" cy="441514"/>
            </a:xfrm>
            <a:custGeom>
              <a:avLst/>
              <a:gdLst>
                <a:gd name="T0" fmla="*/ 30 w 186"/>
                <a:gd name="T1" fmla="*/ 72 h 266"/>
                <a:gd name="T2" fmla="*/ 34 w 186"/>
                <a:gd name="T3" fmla="*/ 58 h 266"/>
                <a:gd name="T4" fmla="*/ 50 w 186"/>
                <a:gd name="T5" fmla="*/ 42 h 266"/>
                <a:gd name="T6" fmla="*/ 54 w 186"/>
                <a:gd name="T7" fmla="*/ 28 h 266"/>
                <a:gd name="T8" fmla="*/ 74 w 186"/>
                <a:gd name="T9" fmla="*/ 20 h 266"/>
                <a:gd name="T10" fmla="*/ 88 w 186"/>
                <a:gd name="T11" fmla="*/ 16 h 266"/>
                <a:gd name="T12" fmla="*/ 104 w 186"/>
                <a:gd name="T13" fmla="*/ 6 h 266"/>
                <a:gd name="T14" fmla="*/ 116 w 186"/>
                <a:gd name="T15" fmla="*/ 0 h 266"/>
                <a:gd name="T16" fmla="*/ 118 w 186"/>
                <a:gd name="T17" fmla="*/ 10 h 266"/>
                <a:gd name="T18" fmla="*/ 106 w 186"/>
                <a:gd name="T19" fmla="*/ 18 h 266"/>
                <a:gd name="T20" fmla="*/ 92 w 186"/>
                <a:gd name="T21" fmla="*/ 34 h 266"/>
                <a:gd name="T22" fmla="*/ 92 w 186"/>
                <a:gd name="T23" fmla="*/ 54 h 266"/>
                <a:gd name="T24" fmla="*/ 100 w 186"/>
                <a:gd name="T25" fmla="*/ 64 h 266"/>
                <a:gd name="T26" fmla="*/ 102 w 186"/>
                <a:gd name="T27" fmla="*/ 82 h 266"/>
                <a:gd name="T28" fmla="*/ 136 w 186"/>
                <a:gd name="T29" fmla="*/ 84 h 266"/>
                <a:gd name="T30" fmla="*/ 176 w 186"/>
                <a:gd name="T31" fmla="*/ 96 h 266"/>
                <a:gd name="T32" fmla="*/ 176 w 186"/>
                <a:gd name="T33" fmla="*/ 110 h 266"/>
                <a:gd name="T34" fmla="*/ 176 w 186"/>
                <a:gd name="T35" fmla="*/ 128 h 266"/>
                <a:gd name="T36" fmla="*/ 178 w 186"/>
                <a:gd name="T37" fmla="*/ 136 h 266"/>
                <a:gd name="T38" fmla="*/ 180 w 186"/>
                <a:gd name="T39" fmla="*/ 150 h 266"/>
                <a:gd name="T40" fmla="*/ 184 w 186"/>
                <a:gd name="T41" fmla="*/ 162 h 266"/>
                <a:gd name="T42" fmla="*/ 178 w 186"/>
                <a:gd name="T43" fmla="*/ 168 h 266"/>
                <a:gd name="T44" fmla="*/ 168 w 186"/>
                <a:gd name="T45" fmla="*/ 170 h 266"/>
                <a:gd name="T46" fmla="*/ 140 w 186"/>
                <a:gd name="T47" fmla="*/ 172 h 266"/>
                <a:gd name="T48" fmla="*/ 138 w 186"/>
                <a:gd name="T49" fmla="*/ 176 h 266"/>
                <a:gd name="T50" fmla="*/ 146 w 186"/>
                <a:gd name="T51" fmla="*/ 180 h 266"/>
                <a:gd name="T52" fmla="*/ 152 w 186"/>
                <a:gd name="T53" fmla="*/ 188 h 266"/>
                <a:gd name="T54" fmla="*/ 142 w 186"/>
                <a:gd name="T55" fmla="*/ 186 h 266"/>
                <a:gd name="T56" fmla="*/ 140 w 186"/>
                <a:gd name="T57" fmla="*/ 200 h 266"/>
                <a:gd name="T58" fmla="*/ 148 w 186"/>
                <a:gd name="T59" fmla="*/ 220 h 266"/>
                <a:gd name="T60" fmla="*/ 144 w 186"/>
                <a:gd name="T61" fmla="*/ 252 h 266"/>
                <a:gd name="T62" fmla="*/ 132 w 186"/>
                <a:gd name="T63" fmla="*/ 262 h 266"/>
                <a:gd name="T64" fmla="*/ 136 w 186"/>
                <a:gd name="T65" fmla="*/ 246 h 266"/>
                <a:gd name="T66" fmla="*/ 132 w 186"/>
                <a:gd name="T67" fmla="*/ 234 h 266"/>
                <a:gd name="T68" fmla="*/ 86 w 186"/>
                <a:gd name="T69" fmla="*/ 224 h 266"/>
                <a:gd name="T70" fmla="*/ 64 w 186"/>
                <a:gd name="T71" fmla="*/ 200 h 266"/>
                <a:gd name="T72" fmla="*/ 38 w 186"/>
                <a:gd name="T73" fmla="*/ 192 h 266"/>
                <a:gd name="T74" fmla="*/ 16 w 186"/>
                <a:gd name="T75" fmla="*/ 186 h 266"/>
                <a:gd name="T76" fmla="*/ 4 w 186"/>
                <a:gd name="T77" fmla="*/ 168 h 266"/>
                <a:gd name="T78" fmla="*/ 12 w 186"/>
                <a:gd name="T79" fmla="*/ 158 h 266"/>
                <a:gd name="T80" fmla="*/ 24 w 186"/>
                <a:gd name="T81" fmla="*/ 138 h 266"/>
                <a:gd name="T82" fmla="*/ 24 w 186"/>
                <a:gd name="T83" fmla="*/ 110 h 266"/>
                <a:gd name="T84" fmla="*/ 20 w 186"/>
                <a:gd name="T85" fmla="*/ 90 h 266"/>
                <a:gd name="T86" fmla="*/ 26 w 186"/>
                <a:gd name="T87" fmla="*/ 72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6" h="266">
                  <a:moveTo>
                    <a:pt x="28" y="66"/>
                  </a:moveTo>
                  <a:lnTo>
                    <a:pt x="30" y="72"/>
                  </a:lnTo>
                  <a:lnTo>
                    <a:pt x="34" y="68"/>
                  </a:lnTo>
                  <a:lnTo>
                    <a:pt x="34" y="58"/>
                  </a:lnTo>
                  <a:lnTo>
                    <a:pt x="44" y="50"/>
                  </a:lnTo>
                  <a:lnTo>
                    <a:pt x="50" y="42"/>
                  </a:lnTo>
                  <a:lnTo>
                    <a:pt x="52" y="36"/>
                  </a:lnTo>
                  <a:lnTo>
                    <a:pt x="54" y="28"/>
                  </a:lnTo>
                  <a:lnTo>
                    <a:pt x="68" y="20"/>
                  </a:lnTo>
                  <a:lnTo>
                    <a:pt x="74" y="20"/>
                  </a:lnTo>
                  <a:lnTo>
                    <a:pt x="78" y="16"/>
                  </a:lnTo>
                  <a:lnTo>
                    <a:pt x="88" y="16"/>
                  </a:lnTo>
                  <a:lnTo>
                    <a:pt x="96" y="12"/>
                  </a:lnTo>
                  <a:lnTo>
                    <a:pt x="104" y="6"/>
                  </a:lnTo>
                  <a:lnTo>
                    <a:pt x="110" y="0"/>
                  </a:lnTo>
                  <a:lnTo>
                    <a:pt x="116" y="0"/>
                  </a:lnTo>
                  <a:lnTo>
                    <a:pt x="120" y="2"/>
                  </a:lnTo>
                  <a:lnTo>
                    <a:pt x="118" y="10"/>
                  </a:lnTo>
                  <a:lnTo>
                    <a:pt x="112" y="14"/>
                  </a:lnTo>
                  <a:lnTo>
                    <a:pt x="106" y="18"/>
                  </a:lnTo>
                  <a:lnTo>
                    <a:pt x="96" y="26"/>
                  </a:lnTo>
                  <a:lnTo>
                    <a:pt x="92" y="34"/>
                  </a:lnTo>
                  <a:lnTo>
                    <a:pt x="90" y="48"/>
                  </a:lnTo>
                  <a:lnTo>
                    <a:pt x="92" y="54"/>
                  </a:lnTo>
                  <a:lnTo>
                    <a:pt x="96" y="60"/>
                  </a:lnTo>
                  <a:lnTo>
                    <a:pt x="100" y="64"/>
                  </a:lnTo>
                  <a:lnTo>
                    <a:pt x="102" y="68"/>
                  </a:lnTo>
                  <a:lnTo>
                    <a:pt x="102" y="82"/>
                  </a:lnTo>
                  <a:lnTo>
                    <a:pt x="108" y="86"/>
                  </a:lnTo>
                  <a:lnTo>
                    <a:pt x="136" y="84"/>
                  </a:lnTo>
                  <a:lnTo>
                    <a:pt x="148" y="98"/>
                  </a:lnTo>
                  <a:lnTo>
                    <a:pt x="176" y="96"/>
                  </a:lnTo>
                  <a:lnTo>
                    <a:pt x="182" y="102"/>
                  </a:lnTo>
                  <a:lnTo>
                    <a:pt x="176" y="110"/>
                  </a:lnTo>
                  <a:lnTo>
                    <a:pt x="176" y="120"/>
                  </a:lnTo>
                  <a:lnTo>
                    <a:pt x="176" y="128"/>
                  </a:lnTo>
                  <a:lnTo>
                    <a:pt x="176" y="136"/>
                  </a:lnTo>
                  <a:lnTo>
                    <a:pt x="178" y="136"/>
                  </a:lnTo>
                  <a:lnTo>
                    <a:pt x="180" y="138"/>
                  </a:lnTo>
                  <a:lnTo>
                    <a:pt x="180" y="150"/>
                  </a:lnTo>
                  <a:lnTo>
                    <a:pt x="180" y="160"/>
                  </a:lnTo>
                  <a:lnTo>
                    <a:pt x="184" y="162"/>
                  </a:lnTo>
                  <a:lnTo>
                    <a:pt x="186" y="172"/>
                  </a:lnTo>
                  <a:lnTo>
                    <a:pt x="178" y="168"/>
                  </a:lnTo>
                  <a:lnTo>
                    <a:pt x="174" y="168"/>
                  </a:lnTo>
                  <a:lnTo>
                    <a:pt x="168" y="170"/>
                  </a:lnTo>
                  <a:lnTo>
                    <a:pt x="150" y="170"/>
                  </a:lnTo>
                  <a:lnTo>
                    <a:pt x="140" y="172"/>
                  </a:lnTo>
                  <a:lnTo>
                    <a:pt x="140" y="174"/>
                  </a:lnTo>
                  <a:lnTo>
                    <a:pt x="138" y="176"/>
                  </a:lnTo>
                  <a:lnTo>
                    <a:pt x="140" y="178"/>
                  </a:lnTo>
                  <a:lnTo>
                    <a:pt x="146" y="180"/>
                  </a:lnTo>
                  <a:lnTo>
                    <a:pt x="152" y="182"/>
                  </a:lnTo>
                  <a:lnTo>
                    <a:pt x="152" y="188"/>
                  </a:lnTo>
                  <a:lnTo>
                    <a:pt x="146" y="186"/>
                  </a:lnTo>
                  <a:lnTo>
                    <a:pt x="142" y="186"/>
                  </a:lnTo>
                  <a:lnTo>
                    <a:pt x="140" y="188"/>
                  </a:lnTo>
                  <a:lnTo>
                    <a:pt x="140" y="200"/>
                  </a:lnTo>
                  <a:lnTo>
                    <a:pt x="146" y="208"/>
                  </a:lnTo>
                  <a:lnTo>
                    <a:pt x="148" y="220"/>
                  </a:lnTo>
                  <a:lnTo>
                    <a:pt x="146" y="234"/>
                  </a:lnTo>
                  <a:lnTo>
                    <a:pt x="144" y="252"/>
                  </a:lnTo>
                  <a:lnTo>
                    <a:pt x="138" y="266"/>
                  </a:lnTo>
                  <a:lnTo>
                    <a:pt x="132" y="262"/>
                  </a:lnTo>
                  <a:lnTo>
                    <a:pt x="132" y="252"/>
                  </a:lnTo>
                  <a:lnTo>
                    <a:pt x="136" y="246"/>
                  </a:lnTo>
                  <a:lnTo>
                    <a:pt x="134" y="240"/>
                  </a:lnTo>
                  <a:lnTo>
                    <a:pt x="132" y="234"/>
                  </a:lnTo>
                  <a:lnTo>
                    <a:pt x="90" y="232"/>
                  </a:lnTo>
                  <a:lnTo>
                    <a:pt x="86" y="224"/>
                  </a:lnTo>
                  <a:lnTo>
                    <a:pt x="74" y="212"/>
                  </a:lnTo>
                  <a:lnTo>
                    <a:pt x="64" y="200"/>
                  </a:lnTo>
                  <a:lnTo>
                    <a:pt x="50" y="196"/>
                  </a:lnTo>
                  <a:lnTo>
                    <a:pt x="38" y="192"/>
                  </a:lnTo>
                  <a:lnTo>
                    <a:pt x="26" y="192"/>
                  </a:lnTo>
                  <a:lnTo>
                    <a:pt x="16" y="186"/>
                  </a:lnTo>
                  <a:lnTo>
                    <a:pt x="0" y="176"/>
                  </a:lnTo>
                  <a:lnTo>
                    <a:pt x="4" y="168"/>
                  </a:lnTo>
                  <a:lnTo>
                    <a:pt x="4" y="158"/>
                  </a:lnTo>
                  <a:lnTo>
                    <a:pt x="12" y="158"/>
                  </a:lnTo>
                  <a:lnTo>
                    <a:pt x="20" y="152"/>
                  </a:lnTo>
                  <a:lnTo>
                    <a:pt x="24" y="138"/>
                  </a:lnTo>
                  <a:lnTo>
                    <a:pt x="24" y="124"/>
                  </a:lnTo>
                  <a:lnTo>
                    <a:pt x="24" y="110"/>
                  </a:lnTo>
                  <a:lnTo>
                    <a:pt x="22" y="96"/>
                  </a:lnTo>
                  <a:lnTo>
                    <a:pt x="20" y="90"/>
                  </a:lnTo>
                  <a:lnTo>
                    <a:pt x="14" y="80"/>
                  </a:lnTo>
                  <a:lnTo>
                    <a:pt x="26" y="72"/>
                  </a:lnTo>
                  <a:lnTo>
                    <a:pt x="28" y="6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82" name="Freeform 74">
              <a:extLst>
                <a:ext uri="{FF2B5EF4-FFF2-40B4-BE49-F238E27FC236}">
                  <a16:creationId xmlns:a16="http://schemas.microsoft.com/office/drawing/2014/main" id="{AEE25394-281A-4B2D-9C7C-642F373FFE99}"/>
                </a:ext>
              </a:extLst>
            </p:cNvPr>
            <p:cNvSpPr>
              <a:spLocks/>
            </p:cNvSpPr>
            <p:nvPr/>
          </p:nvSpPr>
          <p:spPr bwMode="gray">
            <a:xfrm>
              <a:off x="3701683" y="4658159"/>
              <a:ext cx="145294" cy="165983"/>
            </a:xfrm>
            <a:custGeom>
              <a:avLst/>
              <a:gdLst>
                <a:gd name="T0" fmla="*/ 26 w 88"/>
                <a:gd name="T1" fmla="*/ 100 h 100"/>
                <a:gd name="T2" fmla="*/ 20 w 88"/>
                <a:gd name="T3" fmla="*/ 94 h 100"/>
                <a:gd name="T4" fmla="*/ 8 w 88"/>
                <a:gd name="T5" fmla="*/ 88 h 100"/>
                <a:gd name="T6" fmla="*/ 8 w 88"/>
                <a:gd name="T7" fmla="*/ 76 h 100"/>
                <a:gd name="T8" fmla="*/ 14 w 88"/>
                <a:gd name="T9" fmla="*/ 72 h 100"/>
                <a:gd name="T10" fmla="*/ 18 w 88"/>
                <a:gd name="T11" fmla="*/ 64 h 100"/>
                <a:gd name="T12" fmla="*/ 18 w 88"/>
                <a:gd name="T13" fmla="*/ 58 h 100"/>
                <a:gd name="T14" fmla="*/ 14 w 88"/>
                <a:gd name="T15" fmla="*/ 58 h 100"/>
                <a:gd name="T16" fmla="*/ 10 w 88"/>
                <a:gd name="T17" fmla="*/ 62 h 100"/>
                <a:gd name="T18" fmla="*/ 6 w 88"/>
                <a:gd name="T19" fmla="*/ 62 h 100"/>
                <a:gd name="T20" fmla="*/ 0 w 88"/>
                <a:gd name="T21" fmla="*/ 58 h 100"/>
                <a:gd name="T22" fmla="*/ 0 w 88"/>
                <a:gd name="T23" fmla="*/ 48 h 100"/>
                <a:gd name="T24" fmla="*/ 2 w 88"/>
                <a:gd name="T25" fmla="*/ 38 h 100"/>
                <a:gd name="T26" fmla="*/ 6 w 88"/>
                <a:gd name="T27" fmla="*/ 26 h 100"/>
                <a:gd name="T28" fmla="*/ 10 w 88"/>
                <a:gd name="T29" fmla="*/ 18 h 100"/>
                <a:gd name="T30" fmla="*/ 14 w 88"/>
                <a:gd name="T31" fmla="*/ 12 h 100"/>
                <a:gd name="T32" fmla="*/ 22 w 88"/>
                <a:gd name="T33" fmla="*/ 6 h 100"/>
                <a:gd name="T34" fmla="*/ 32 w 88"/>
                <a:gd name="T35" fmla="*/ 0 h 100"/>
                <a:gd name="T36" fmla="*/ 58 w 88"/>
                <a:gd name="T37" fmla="*/ 16 h 100"/>
                <a:gd name="T38" fmla="*/ 70 w 88"/>
                <a:gd name="T39" fmla="*/ 16 h 100"/>
                <a:gd name="T40" fmla="*/ 88 w 88"/>
                <a:gd name="T41" fmla="*/ 22 h 100"/>
                <a:gd name="T42" fmla="*/ 86 w 88"/>
                <a:gd name="T43" fmla="*/ 30 h 100"/>
                <a:gd name="T44" fmla="*/ 86 w 88"/>
                <a:gd name="T45" fmla="*/ 40 h 100"/>
                <a:gd name="T46" fmla="*/ 82 w 88"/>
                <a:gd name="T47" fmla="*/ 48 h 100"/>
                <a:gd name="T48" fmla="*/ 76 w 88"/>
                <a:gd name="T49" fmla="*/ 56 h 100"/>
                <a:gd name="T50" fmla="*/ 68 w 88"/>
                <a:gd name="T51" fmla="*/ 62 h 100"/>
                <a:gd name="T52" fmla="*/ 52 w 88"/>
                <a:gd name="T53" fmla="*/ 68 h 100"/>
                <a:gd name="T54" fmla="*/ 46 w 88"/>
                <a:gd name="T55" fmla="*/ 74 h 100"/>
                <a:gd name="T56" fmla="*/ 40 w 88"/>
                <a:gd name="T57" fmla="*/ 82 h 100"/>
                <a:gd name="T58" fmla="*/ 36 w 88"/>
                <a:gd name="T59" fmla="*/ 92 h 100"/>
                <a:gd name="T60" fmla="*/ 26 w 88"/>
                <a:gd name="T61"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8" h="100">
                  <a:moveTo>
                    <a:pt x="26" y="100"/>
                  </a:moveTo>
                  <a:lnTo>
                    <a:pt x="20" y="94"/>
                  </a:lnTo>
                  <a:lnTo>
                    <a:pt x="8" y="88"/>
                  </a:lnTo>
                  <a:lnTo>
                    <a:pt x="8" y="76"/>
                  </a:lnTo>
                  <a:lnTo>
                    <a:pt x="14" y="72"/>
                  </a:lnTo>
                  <a:lnTo>
                    <a:pt x="18" y="64"/>
                  </a:lnTo>
                  <a:lnTo>
                    <a:pt x="18" y="58"/>
                  </a:lnTo>
                  <a:lnTo>
                    <a:pt x="14" y="58"/>
                  </a:lnTo>
                  <a:lnTo>
                    <a:pt x="10" y="62"/>
                  </a:lnTo>
                  <a:lnTo>
                    <a:pt x="6" y="62"/>
                  </a:lnTo>
                  <a:lnTo>
                    <a:pt x="0" y="58"/>
                  </a:lnTo>
                  <a:lnTo>
                    <a:pt x="0" y="48"/>
                  </a:lnTo>
                  <a:lnTo>
                    <a:pt x="2" y="38"/>
                  </a:lnTo>
                  <a:lnTo>
                    <a:pt x="6" y="26"/>
                  </a:lnTo>
                  <a:lnTo>
                    <a:pt x="10" y="18"/>
                  </a:lnTo>
                  <a:lnTo>
                    <a:pt x="14" y="12"/>
                  </a:lnTo>
                  <a:lnTo>
                    <a:pt x="22" y="6"/>
                  </a:lnTo>
                  <a:lnTo>
                    <a:pt x="32" y="0"/>
                  </a:lnTo>
                  <a:lnTo>
                    <a:pt x="58" y="16"/>
                  </a:lnTo>
                  <a:lnTo>
                    <a:pt x="70" y="16"/>
                  </a:lnTo>
                  <a:lnTo>
                    <a:pt x="88" y="22"/>
                  </a:lnTo>
                  <a:lnTo>
                    <a:pt x="86" y="30"/>
                  </a:lnTo>
                  <a:lnTo>
                    <a:pt x="86" y="40"/>
                  </a:lnTo>
                  <a:lnTo>
                    <a:pt x="82" y="48"/>
                  </a:lnTo>
                  <a:lnTo>
                    <a:pt x="76" y="56"/>
                  </a:lnTo>
                  <a:lnTo>
                    <a:pt x="68" y="62"/>
                  </a:lnTo>
                  <a:lnTo>
                    <a:pt x="52" y="68"/>
                  </a:lnTo>
                  <a:lnTo>
                    <a:pt x="46" y="74"/>
                  </a:lnTo>
                  <a:lnTo>
                    <a:pt x="40" y="82"/>
                  </a:lnTo>
                  <a:lnTo>
                    <a:pt x="36" y="92"/>
                  </a:lnTo>
                  <a:lnTo>
                    <a:pt x="26" y="10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83" name="Freeform 75">
              <a:extLst>
                <a:ext uri="{FF2B5EF4-FFF2-40B4-BE49-F238E27FC236}">
                  <a16:creationId xmlns:a16="http://schemas.microsoft.com/office/drawing/2014/main" id="{80EEABF5-D50A-4519-BEA1-98B4364AF91D}"/>
                </a:ext>
              </a:extLst>
            </p:cNvPr>
            <p:cNvSpPr>
              <a:spLocks/>
            </p:cNvSpPr>
            <p:nvPr/>
          </p:nvSpPr>
          <p:spPr bwMode="gray">
            <a:xfrm>
              <a:off x="4193701" y="4405864"/>
              <a:ext cx="33021" cy="26557"/>
            </a:xfrm>
            <a:custGeom>
              <a:avLst/>
              <a:gdLst>
                <a:gd name="T0" fmla="*/ 12 w 20"/>
                <a:gd name="T1" fmla="*/ 0 h 16"/>
                <a:gd name="T2" fmla="*/ 20 w 20"/>
                <a:gd name="T3" fmla="*/ 0 h 16"/>
                <a:gd name="T4" fmla="*/ 18 w 20"/>
                <a:gd name="T5" fmla="*/ 10 h 16"/>
                <a:gd name="T6" fmla="*/ 14 w 20"/>
                <a:gd name="T7" fmla="*/ 16 h 16"/>
                <a:gd name="T8" fmla="*/ 0 w 20"/>
                <a:gd name="T9" fmla="*/ 14 h 16"/>
                <a:gd name="T10" fmla="*/ 6 w 20"/>
                <a:gd name="T11" fmla="*/ 6 h 16"/>
                <a:gd name="T12" fmla="*/ 10 w 20"/>
                <a:gd name="T13" fmla="*/ 6 h 16"/>
                <a:gd name="T14" fmla="*/ 12 w 20"/>
                <a:gd name="T15" fmla="*/ 0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6">
                  <a:moveTo>
                    <a:pt x="12" y="0"/>
                  </a:moveTo>
                  <a:lnTo>
                    <a:pt x="20" y="0"/>
                  </a:lnTo>
                  <a:lnTo>
                    <a:pt x="18" y="10"/>
                  </a:lnTo>
                  <a:lnTo>
                    <a:pt x="14" y="16"/>
                  </a:lnTo>
                  <a:lnTo>
                    <a:pt x="0" y="14"/>
                  </a:lnTo>
                  <a:lnTo>
                    <a:pt x="6" y="6"/>
                  </a:lnTo>
                  <a:lnTo>
                    <a:pt x="10" y="6"/>
                  </a:lnTo>
                  <a:lnTo>
                    <a:pt x="12"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84" name="Freeform 76">
              <a:extLst>
                <a:ext uri="{FF2B5EF4-FFF2-40B4-BE49-F238E27FC236}">
                  <a16:creationId xmlns:a16="http://schemas.microsoft.com/office/drawing/2014/main" id="{35B97ACF-9C36-4D8D-AC88-BD84DC5AD351}"/>
                </a:ext>
              </a:extLst>
            </p:cNvPr>
            <p:cNvSpPr>
              <a:spLocks/>
            </p:cNvSpPr>
            <p:nvPr/>
          </p:nvSpPr>
          <p:spPr bwMode="gray">
            <a:xfrm>
              <a:off x="3903113" y="4369349"/>
              <a:ext cx="346724" cy="305408"/>
            </a:xfrm>
            <a:custGeom>
              <a:avLst/>
              <a:gdLst>
                <a:gd name="T0" fmla="*/ 46 w 210"/>
                <a:gd name="T1" fmla="*/ 8 h 184"/>
                <a:gd name="T2" fmla="*/ 50 w 210"/>
                <a:gd name="T3" fmla="*/ 0 h 184"/>
                <a:gd name="T4" fmla="*/ 52 w 210"/>
                <a:gd name="T5" fmla="*/ 12 h 184"/>
                <a:gd name="T6" fmla="*/ 70 w 210"/>
                <a:gd name="T7" fmla="*/ 16 h 184"/>
                <a:gd name="T8" fmla="*/ 80 w 210"/>
                <a:gd name="T9" fmla="*/ 24 h 184"/>
                <a:gd name="T10" fmla="*/ 108 w 210"/>
                <a:gd name="T11" fmla="*/ 28 h 184"/>
                <a:gd name="T12" fmla="*/ 138 w 210"/>
                <a:gd name="T13" fmla="*/ 32 h 184"/>
                <a:gd name="T14" fmla="*/ 156 w 210"/>
                <a:gd name="T15" fmla="*/ 26 h 184"/>
                <a:gd name="T16" fmla="*/ 174 w 210"/>
                <a:gd name="T17" fmla="*/ 28 h 184"/>
                <a:gd name="T18" fmla="*/ 162 w 210"/>
                <a:gd name="T19" fmla="*/ 32 h 184"/>
                <a:gd name="T20" fmla="*/ 176 w 210"/>
                <a:gd name="T21" fmla="*/ 40 h 184"/>
                <a:gd name="T22" fmla="*/ 192 w 210"/>
                <a:gd name="T23" fmla="*/ 46 h 184"/>
                <a:gd name="T24" fmla="*/ 188 w 210"/>
                <a:gd name="T25" fmla="*/ 56 h 184"/>
                <a:gd name="T26" fmla="*/ 196 w 210"/>
                <a:gd name="T27" fmla="*/ 60 h 184"/>
                <a:gd name="T28" fmla="*/ 210 w 210"/>
                <a:gd name="T29" fmla="*/ 62 h 184"/>
                <a:gd name="T30" fmla="*/ 200 w 210"/>
                <a:gd name="T31" fmla="*/ 76 h 184"/>
                <a:gd name="T32" fmla="*/ 192 w 210"/>
                <a:gd name="T33" fmla="*/ 90 h 184"/>
                <a:gd name="T34" fmla="*/ 190 w 210"/>
                <a:gd name="T35" fmla="*/ 104 h 184"/>
                <a:gd name="T36" fmla="*/ 196 w 210"/>
                <a:gd name="T37" fmla="*/ 116 h 184"/>
                <a:gd name="T38" fmla="*/ 180 w 210"/>
                <a:gd name="T39" fmla="*/ 130 h 184"/>
                <a:gd name="T40" fmla="*/ 164 w 210"/>
                <a:gd name="T41" fmla="*/ 136 h 184"/>
                <a:gd name="T42" fmla="*/ 148 w 210"/>
                <a:gd name="T43" fmla="*/ 134 h 184"/>
                <a:gd name="T44" fmla="*/ 134 w 210"/>
                <a:gd name="T45" fmla="*/ 132 h 184"/>
                <a:gd name="T46" fmla="*/ 142 w 210"/>
                <a:gd name="T47" fmla="*/ 148 h 184"/>
                <a:gd name="T48" fmla="*/ 154 w 210"/>
                <a:gd name="T49" fmla="*/ 156 h 184"/>
                <a:gd name="T50" fmla="*/ 152 w 210"/>
                <a:gd name="T51" fmla="*/ 166 h 184"/>
                <a:gd name="T52" fmla="*/ 140 w 210"/>
                <a:gd name="T53" fmla="*/ 168 h 184"/>
                <a:gd name="T54" fmla="*/ 116 w 210"/>
                <a:gd name="T55" fmla="*/ 184 h 184"/>
                <a:gd name="T56" fmla="*/ 98 w 210"/>
                <a:gd name="T57" fmla="*/ 174 h 184"/>
                <a:gd name="T58" fmla="*/ 94 w 210"/>
                <a:gd name="T59" fmla="*/ 160 h 184"/>
                <a:gd name="T60" fmla="*/ 90 w 210"/>
                <a:gd name="T61" fmla="*/ 136 h 184"/>
                <a:gd name="T62" fmla="*/ 86 w 210"/>
                <a:gd name="T63" fmla="*/ 108 h 184"/>
                <a:gd name="T64" fmla="*/ 86 w 210"/>
                <a:gd name="T65" fmla="*/ 94 h 184"/>
                <a:gd name="T66" fmla="*/ 46 w 210"/>
                <a:gd name="T67" fmla="*/ 82 h 184"/>
                <a:gd name="T68" fmla="*/ 12 w 210"/>
                <a:gd name="T69" fmla="*/ 80 h 184"/>
                <a:gd name="T70" fmla="*/ 0 w 210"/>
                <a:gd name="T71" fmla="*/ 46 h 184"/>
                <a:gd name="T72" fmla="*/ 8 w 210"/>
                <a:gd name="T73" fmla="*/ 22 h 184"/>
                <a:gd name="T74" fmla="*/ 22 w 210"/>
                <a:gd name="T75" fmla="*/ 16 h 184"/>
                <a:gd name="T76" fmla="*/ 22 w 210"/>
                <a:gd name="T77" fmla="*/ 30 h 184"/>
                <a:gd name="T78" fmla="*/ 18 w 210"/>
                <a:gd name="T79" fmla="*/ 46 h 184"/>
                <a:gd name="T80" fmla="*/ 30 w 210"/>
                <a:gd name="T81" fmla="*/ 48 h 184"/>
                <a:gd name="T82" fmla="*/ 30 w 210"/>
                <a:gd name="T83" fmla="*/ 32 h 184"/>
                <a:gd name="T84" fmla="*/ 32 w 210"/>
                <a:gd name="T85" fmla="*/ 20 h 184"/>
                <a:gd name="T86" fmla="*/ 44 w 210"/>
                <a:gd name="T87" fmla="*/ 1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0" h="184">
                  <a:moveTo>
                    <a:pt x="44" y="14"/>
                  </a:moveTo>
                  <a:lnTo>
                    <a:pt x="46" y="8"/>
                  </a:lnTo>
                  <a:lnTo>
                    <a:pt x="46" y="2"/>
                  </a:lnTo>
                  <a:lnTo>
                    <a:pt x="50" y="0"/>
                  </a:lnTo>
                  <a:lnTo>
                    <a:pt x="52" y="4"/>
                  </a:lnTo>
                  <a:lnTo>
                    <a:pt x="52" y="12"/>
                  </a:lnTo>
                  <a:lnTo>
                    <a:pt x="60" y="14"/>
                  </a:lnTo>
                  <a:lnTo>
                    <a:pt x="70" y="16"/>
                  </a:lnTo>
                  <a:lnTo>
                    <a:pt x="76" y="22"/>
                  </a:lnTo>
                  <a:lnTo>
                    <a:pt x="80" y="24"/>
                  </a:lnTo>
                  <a:lnTo>
                    <a:pt x="98" y="28"/>
                  </a:lnTo>
                  <a:lnTo>
                    <a:pt x="108" y="28"/>
                  </a:lnTo>
                  <a:lnTo>
                    <a:pt x="126" y="36"/>
                  </a:lnTo>
                  <a:lnTo>
                    <a:pt x="138" y="32"/>
                  </a:lnTo>
                  <a:lnTo>
                    <a:pt x="146" y="28"/>
                  </a:lnTo>
                  <a:lnTo>
                    <a:pt x="156" y="26"/>
                  </a:lnTo>
                  <a:lnTo>
                    <a:pt x="164" y="28"/>
                  </a:lnTo>
                  <a:lnTo>
                    <a:pt x="174" y="28"/>
                  </a:lnTo>
                  <a:lnTo>
                    <a:pt x="170" y="30"/>
                  </a:lnTo>
                  <a:lnTo>
                    <a:pt x="162" y="32"/>
                  </a:lnTo>
                  <a:lnTo>
                    <a:pt x="164" y="40"/>
                  </a:lnTo>
                  <a:lnTo>
                    <a:pt x="176" y="40"/>
                  </a:lnTo>
                  <a:lnTo>
                    <a:pt x="188" y="42"/>
                  </a:lnTo>
                  <a:lnTo>
                    <a:pt x="192" y="46"/>
                  </a:lnTo>
                  <a:lnTo>
                    <a:pt x="192" y="52"/>
                  </a:lnTo>
                  <a:lnTo>
                    <a:pt x="188" y="56"/>
                  </a:lnTo>
                  <a:lnTo>
                    <a:pt x="188" y="62"/>
                  </a:lnTo>
                  <a:lnTo>
                    <a:pt x="196" y="60"/>
                  </a:lnTo>
                  <a:lnTo>
                    <a:pt x="202" y="58"/>
                  </a:lnTo>
                  <a:lnTo>
                    <a:pt x="210" y="62"/>
                  </a:lnTo>
                  <a:lnTo>
                    <a:pt x="204" y="70"/>
                  </a:lnTo>
                  <a:lnTo>
                    <a:pt x="200" y="76"/>
                  </a:lnTo>
                  <a:lnTo>
                    <a:pt x="202" y="84"/>
                  </a:lnTo>
                  <a:lnTo>
                    <a:pt x="192" y="90"/>
                  </a:lnTo>
                  <a:lnTo>
                    <a:pt x="188" y="96"/>
                  </a:lnTo>
                  <a:lnTo>
                    <a:pt x="190" y="104"/>
                  </a:lnTo>
                  <a:lnTo>
                    <a:pt x="194" y="110"/>
                  </a:lnTo>
                  <a:lnTo>
                    <a:pt x="196" y="116"/>
                  </a:lnTo>
                  <a:lnTo>
                    <a:pt x="192" y="126"/>
                  </a:lnTo>
                  <a:lnTo>
                    <a:pt x="180" y="130"/>
                  </a:lnTo>
                  <a:lnTo>
                    <a:pt x="170" y="132"/>
                  </a:lnTo>
                  <a:lnTo>
                    <a:pt x="164" y="136"/>
                  </a:lnTo>
                  <a:lnTo>
                    <a:pt x="158" y="136"/>
                  </a:lnTo>
                  <a:lnTo>
                    <a:pt x="148" y="134"/>
                  </a:lnTo>
                  <a:lnTo>
                    <a:pt x="140" y="130"/>
                  </a:lnTo>
                  <a:lnTo>
                    <a:pt x="134" y="132"/>
                  </a:lnTo>
                  <a:lnTo>
                    <a:pt x="140" y="138"/>
                  </a:lnTo>
                  <a:lnTo>
                    <a:pt x="142" y="148"/>
                  </a:lnTo>
                  <a:lnTo>
                    <a:pt x="148" y="156"/>
                  </a:lnTo>
                  <a:lnTo>
                    <a:pt x="154" y="156"/>
                  </a:lnTo>
                  <a:lnTo>
                    <a:pt x="154" y="160"/>
                  </a:lnTo>
                  <a:lnTo>
                    <a:pt x="152" y="166"/>
                  </a:lnTo>
                  <a:lnTo>
                    <a:pt x="146" y="166"/>
                  </a:lnTo>
                  <a:lnTo>
                    <a:pt x="140" y="168"/>
                  </a:lnTo>
                  <a:lnTo>
                    <a:pt x="130" y="180"/>
                  </a:lnTo>
                  <a:lnTo>
                    <a:pt x="116" y="184"/>
                  </a:lnTo>
                  <a:lnTo>
                    <a:pt x="106" y="182"/>
                  </a:lnTo>
                  <a:lnTo>
                    <a:pt x="98" y="174"/>
                  </a:lnTo>
                  <a:lnTo>
                    <a:pt x="96" y="170"/>
                  </a:lnTo>
                  <a:lnTo>
                    <a:pt x="94" y="160"/>
                  </a:lnTo>
                  <a:lnTo>
                    <a:pt x="90" y="158"/>
                  </a:lnTo>
                  <a:lnTo>
                    <a:pt x="90" y="136"/>
                  </a:lnTo>
                  <a:lnTo>
                    <a:pt x="86" y="134"/>
                  </a:lnTo>
                  <a:lnTo>
                    <a:pt x="86" y="108"/>
                  </a:lnTo>
                  <a:lnTo>
                    <a:pt x="92" y="100"/>
                  </a:lnTo>
                  <a:lnTo>
                    <a:pt x="86" y="94"/>
                  </a:lnTo>
                  <a:lnTo>
                    <a:pt x="58" y="96"/>
                  </a:lnTo>
                  <a:lnTo>
                    <a:pt x="46" y="82"/>
                  </a:lnTo>
                  <a:lnTo>
                    <a:pt x="18" y="84"/>
                  </a:lnTo>
                  <a:lnTo>
                    <a:pt x="12" y="80"/>
                  </a:lnTo>
                  <a:lnTo>
                    <a:pt x="12" y="66"/>
                  </a:lnTo>
                  <a:lnTo>
                    <a:pt x="0" y="46"/>
                  </a:lnTo>
                  <a:lnTo>
                    <a:pt x="2" y="32"/>
                  </a:lnTo>
                  <a:lnTo>
                    <a:pt x="8" y="22"/>
                  </a:lnTo>
                  <a:lnTo>
                    <a:pt x="18" y="14"/>
                  </a:lnTo>
                  <a:lnTo>
                    <a:pt x="22" y="16"/>
                  </a:lnTo>
                  <a:lnTo>
                    <a:pt x="22" y="20"/>
                  </a:lnTo>
                  <a:lnTo>
                    <a:pt x="22" y="30"/>
                  </a:lnTo>
                  <a:lnTo>
                    <a:pt x="16" y="34"/>
                  </a:lnTo>
                  <a:lnTo>
                    <a:pt x="18" y="46"/>
                  </a:lnTo>
                  <a:lnTo>
                    <a:pt x="22" y="52"/>
                  </a:lnTo>
                  <a:lnTo>
                    <a:pt x="30" y="48"/>
                  </a:lnTo>
                  <a:lnTo>
                    <a:pt x="34" y="40"/>
                  </a:lnTo>
                  <a:lnTo>
                    <a:pt x="30" y="32"/>
                  </a:lnTo>
                  <a:lnTo>
                    <a:pt x="28" y="26"/>
                  </a:lnTo>
                  <a:lnTo>
                    <a:pt x="32" y="20"/>
                  </a:lnTo>
                  <a:lnTo>
                    <a:pt x="38" y="18"/>
                  </a:lnTo>
                  <a:lnTo>
                    <a:pt x="44" y="1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85" name="Freeform 77">
              <a:extLst>
                <a:ext uri="{FF2B5EF4-FFF2-40B4-BE49-F238E27FC236}">
                  <a16:creationId xmlns:a16="http://schemas.microsoft.com/office/drawing/2014/main" id="{895259ED-385D-4BA2-BFDE-2358ECA8696A}"/>
                </a:ext>
              </a:extLst>
            </p:cNvPr>
            <p:cNvSpPr>
              <a:spLocks/>
            </p:cNvSpPr>
            <p:nvPr/>
          </p:nvSpPr>
          <p:spPr bwMode="gray">
            <a:xfrm>
              <a:off x="4213515" y="4472258"/>
              <a:ext cx="115574" cy="189220"/>
            </a:xfrm>
            <a:custGeom>
              <a:avLst/>
              <a:gdLst>
                <a:gd name="T0" fmla="*/ 42 w 70"/>
                <a:gd name="T1" fmla="*/ 30 h 114"/>
                <a:gd name="T2" fmla="*/ 50 w 70"/>
                <a:gd name="T3" fmla="*/ 24 h 114"/>
                <a:gd name="T4" fmla="*/ 58 w 70"/>
                <a:gd name="T5" fmla="*/ 30 h 114"/>
                <a:gd name="T6" fmla="*/ 66 w 70"/>
                <a:gd name="T7" fmla="*/ 40 h 114"/>
                <a:gd name="T8" fmla="*/ 64 w 70"/>
                <a:gd name="T9" fmla="*/ 48 h 114"/>
                <a:gd name="T10" fmla="*/ 60 w 70"/>
                <a:gd name="T11" fmla="*/ 54 h 114"/>
                <a:gd name="T12" fmla="*/ 54 w 70"/>
                <a:gd name="T13" fmla="*/ 62 h 114"/>
                <a:gd name="T14" fmla="*/ 52 w 70"/>
                <a:gd name="T15" fmla="*/ 72 h 114"/>
                <a:gd name="T16" fmla="*/ 56 w 70"/>
                <a:gd name="T17" fmla="*/ 76 h 114"/>
                <a:gd name="T18" fmla="*/ 60 w 70"/>
                <a:gd name="T19" fmla="*/ 82 h 114"/>
                <a:gd name="T20" fmla="*/ 64 w 70"/>
                <a:gd name="T21" fmla="*/ 86 h 114"/>
                <a:gd name="T22" fmla="*/ 66 w 70"/>
                <a:gd name="T23" fmla="*/ 90 h 114"/>
                <a:gd name="T24" fmla="*/ 70 w 70"/>
                <a:gd name="T25" fmla="*/ 100 h 114"/>
                <a:gd name="T26" fmla="*/ 66 w 70"/>
                <a:gd name="T27" fmla="*/ 104 h 114"/>
                <a:gd name="T28" fmla="*/ 58 w 70"/>
                <a:gd name="T29" fmla="*/ 108 h 114"/>
                <a:gd name="T30" fmla="*/ 52 w 70"/>
                <a:gd name="T31" fmla="*/ 112 h 114"/>
                <a:gd name="T32" fmla="*/ 42 w 70"/>
                <a:gd name="T33" fmla="*/ 114 h 114"/>
                <a:gd name="T34" fmla="*/ 34 w 70"/>
                <a:gd name="T35" fmla="*/ 114 h 114"/>
                <a:gd name="T36" fmla="*/ 26 w 70"/>
                <a:gd name="T37" fmla="*/ 106 h 114"/>
                <a:gd name="T38" fmla="*/ 20 w 70"/>
                <a:gd name="T39" fmla="*/ 98 h 114"/>
                <a:gd name="T40" fmla="*/ 20 w 70"/>
                <a:gd name="T41" fmla="*/ 90 h 114"/>
                <a:gd name="T42" fmla="*/ 20 w 70"/>
                <a:gd name="T43" fmla="*/ 78 h 114"/>
                <a:gd name="T44" fmla="*/ 26 w 70"/>
                <a:gd name="T45" fmla="*/ 72 h 114"/>
                <a:gd name="T46" fmla="*/ 22 w 70"/>
                <a:gd name="T47" fmla="*/ 62 h 114"/>
                <a:gd name="T48" fmla="*/ 18 w 70"/>
                <a:gd name="T49" fmla="*/ 50 h 114"/>
                <a:gd name="T50" fmla="*/ 6 w 70"/>
                <a:gd name="T51" fmla="*/ 50 h 114"/>
                <a:gd name="T52" fmla="*/ 2 w 70"/>
                <a:gd name="T53" fmla="*/ 42 h 114"/>
                <a:gd name="T54" fmla="*/ 0 w 70"/>
                <a:gd name="T55" fmla="*/ 34 h 114"/>
                <a:gd name="T56" fmla="*/ 4 w 70"/>
                <a:gd name="T57" fmla="*/ 28 h 114"/>
                <a:gd name="T58" fmla="*/ 14 w 70"/>
                <a:gd name="T59" fmla="*/ 22 h 114"/>
                <a:gd name="T60" fmla="*/ 12 w 70"/>
                <a:gd name="T61" fmla="*/ 14 h 114"/>
                <a:gd name="T62" fmla="*/ 16 w 70"/>
                <a:gd name="T63" fmla="*/ 8 h 114"/>
                <a:gd name="T64" fmla="*/ 22 w 70"/>
                <a:gd name="T65" fmla="*/ 0 h 114"/>
                <a:gd name="T66" fmla="*/ 28 w 70"/>
                <a:gd name="T67" fmla="*/ 2 h 114"/>
                <a:gd name="T68" fmla="*/ 34 w 70"/>
                <a:gd name="T69" fmla="*/ 6 h 114"/>
                <a:gd name="T70" fmla="*/ 42 w 70"/>
                <a:gd name="T71" fmla="*/ 12 h 114"/>
                <a:gd name="T72" fmla="*/ 44 w 70"/>
                <a:gd name="T73" fmla="*/ 16 h 114"/>
                <a:gd name="T74" fmla="*/ 44 w 70"/>
                <a:gd name="T75" fmla="*/ 22 h 114"/>
                <a:gd name="T76" fmla="*/ 42 w 70"/>
                <a:gd name="T77" fmla="*/ 3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0" h="114">
                  <a:moveTo>
                    <a:pt x="42" y="30"/>
                  </a:moveTo>
                  <a:lnTo>
                    <a:pt x="50" y="24"/>
                  </a:lnTo>
                  <a:lnTo>
                    <a:pt x="58" y="30"/>
                  </a:lnTo>
                  <a:lnTo>
                    <a:pt x="66" y="40"/>
                  </a:lnTo>
                  <a:lnTo>
                    <a:pt x="64" y="48"/>
                  </a:lnTo>
                  <a:lnTo>
                    <a:pt x="60" y="54"/>
                  </a:lnTo>
                  <a:lnTo>
                    <a:pt x="54" y="62"/>
                  </a:lnTo>
                  <a:lnTo>
                    <a:pt x="52" y="72"/>
                  </a:lnTo>
                  <a:lnTo>
                    <a:pt x="56" y="76"/>
                  </a:lnTo>
                  <a:lnTo>
                    <a:pt x="60" y="82"/>
                  </a:lnTo>
                  <a:lnTo>
                    <a:pt x="64" y="86"/>
                  </a:lnTo>
                  <a:lnTo>
                    <a:pt x="66" y="90"/>
                  </a:lnTo>
                  <a:lnTo>
                    <a:pt x="70" y="100"/>
                  </a:lnTo>
                  <a:lnTo>
                    <a:pt x="66" y="104"/>
                  </a:lnTo>
                  <a:lnTo>
                    <a:pt x="58" y="108"/>
                  </a:lnTo>
                  <a:lnTo>
                    <a:pt x="52" y="112"/>
                  </a:lnTo>
                  <a:lnTo>
                    <a:pt x="42" y="114"/>
                  </a:lnTo>
                  <a:lnTo>
                    <a:pt x="34" y="114"/>
                  </a:lnTo>
                  <a:lnTo>
                    <a:pt x="26" y="106"/>
                  </a:lnTo>
                  <a:lnTo>
                    <a:pt x="20" y="98"/>
                  </a:lnTo>
                  <a:lnTo>
                    <a:pt x="20" y="90"/>
                  </a:lnTo>
                  <a:lnTo>
                    <a:pt x="20" y="78"/>
                  </a:lnTo>
                  <a:lnTo>
                    <a:pt x="26" y="72"/>
                  </a:lnTo>
                  <a:lnTo>
                    <a:pt x="22" y="62"/>
                  </a:lnTo>
                  <a:lnTo>
                    <a:pt x="18" y="50"/>
                  </a:lnTo>
                  <a:lnTo>
                    <a:pt x="6" y="50"/>
                  </a:lnTo>
                  <a:lnTo>
                    <a:pt x="2" y="42"/>
                  </a:lnTo>
                  <a:lnTo>
                    <a:pt x="0" y="34"/>
                  </a:lnTo>
                  <a:lnTo>
                    <a:pt x="4" y="28"/>
                  </a:lnTo>
                  <a:lnTo>
                    <a:pt x="14" y="22"/>
                  </a:lnTo>
                  <a:lnTo>
                    <a:pt x="12" y="14"/>
                  </a:lnTo>
                  <a:lnTo>
                    <a:pt x="16" y="8"/>
                  </a:lnTo>
                  <a:lnTo>
                    <a:pt x="22" y="0"/>
                  </a:lnTo>
                  <a:lnTo>
                    <a:pt x="28" y="2"/>
                  </a:lnTo>
                  <a:lnTo>
                    <a:pt x="34" y="6"/>
                  </a:lnTo>
                  <a:lnTo>
                    <a:pt x="42" y="12"/>
                  </a:lnTo>
                  <a:lnTo>
                    <a:pt x="44" y="16"/>
                  </a:lnTo>
                  <a:lnTo>
                    <a:pt x="44" y="22"/>
                  </a:lnTo>
                  <a:lnTo>
                    <a:pt x="42" y="3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86" name="Freeform 78">
              <a:extLst>
                <a:ext uri="{FF2B5EF4-FFF2-40B4-BE49-F238E27FC236}">
                  <a16:creationId xmlns:a16="http://schemas.microsoft.com/office/drawing/2014/main" id="{2BEB15BA-FD97-4C25-B066-059C507CD384}"/>
                </a:ext>
              </a:extLst>
            </p:cNvPr>
            <p:cNvSpPr>
              <a:spLocks/>
            </p:cNvSpPr>
            <p:nvPr/>
          </p:nvSpPr>
          <p:spPr bwMode="gray">
            <a:xfrm>
              <a:off x="4388528" y="4541970"/>
              <a:ext cx="79252" cy="99590"/>
            </a:xfrm>
            <a:custGeom>
              <a:avLst/>
              <a:gdLst>
                <a:gd name="T0" fmla="*/ 6 w 48"/>
                <a:gd name="T1" fmla="*/ 0 h 60"/>
                <a:gd name="T2" fmla="*/ 16 w 48"/>
                <a:gd name="T3" fmla="*/ 2 h 60"/>
                <a:gd name="T4" fmla="*/ 28 w 48"/>
                <a:gd name="T5" fmla="*/ 6 h 60"/>
                <a:gd name="T6" fmla="*/ 38 w 48"/>
                <a:gd name="T7" fmla="*/ 12 h 60"/>
                <a:gd name="T8" fmla="*/ 44 w 48"/>
                <a:gd name="T9" fmla="*/ 20 h 60"/>
                <a:gd name="T10" fmla="*/ 48 w 48"/>
                <a:gd name="T11" fmla="*/ 26 h 60"/>
                <a:gd name="T12" fmla="*/ 42 w 48"/>
                <a:gd name="T13" fmla="*/ 34 h 60"/>
                <a:gd name="T14" fmla="*/ 36 w 48"/>
                <a:gd name="T15" fmla="*/ 46 h 60"/>
                <a:gd name="T16" fmla="*/ 30 w 48"/>
                <a:gd name="T17" fmla="*/ 60 h 60"/>
                <a:gd name="T18" fmla="*/ 24 w 48"/>
                <a:gd name="T19" fmla="*/ 56 h 60"/>
                <a:gd name="T20" fmla="*/ 14 w 48"/>
                <a:gd name="T21" fmla="*/ 54 h 60"/>
                <a:gd name="T22" fmla="*/ 8 w 48"/>
                <a:gd name="T23" fmla="*/ 58 h 60"/>
                <a:gd name="T24" fmla="*/ 2 w 48"/>
                <a:gd name="T25" fmla="*/ 58 h 60"/>
                <a:gd name="T26" fmla="*/ 2 w 48"/>
                <a:gd name="T27" fmla="*/ 50 h 60"/>
                <a:gd name="T28" fmla="*/ 6 w 48"/>
                <a:gd name="T29" fmla="*/ 36 h 60"/>
                <a:gd name="T30" fmla="*/ 10 w 48"/>
                <a:gd name="T31" fmla="*/ 28 h 60"/>
                <a:gd name="T32" fmla="*/ 4 w 48"/>
                <a:gd name="T33" fmla="*/ 24 h 60"/>
                <a:gd name="T34" fmla="*/ 0 w 48"/>
                <a:gd name="T35" fmla="*/ 18 h 60"/>
                <a:gd name="T36" fmla="*/ 0 w 48"/>
                <a:gd name="T37" fmla="*/ 12 h 60"/>
                <a:gd name="T38" fmla="*/ 2 w 48"/>
                <a:gd name="T39" fmla="*/ 6 h 60"/>
                <a:gd name="T40" fmla="*/ 6 w 48"/>
                <a:gd name="T41"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8" h="60">
                  <a:moveTo>
                    <a:pt x="6" y="0"/>
                  </a:moveTo>
                  <a:lnTo>
                    <a:pt x="16" y="2"/>
                  </a:lnTo>
                  <a:lnTo>
                    <a:pt x="28" y="6"/>
                  </a:lnTo>
                  <a:lnTo>
                    <a:pt x="38" y="12"/>
                  </a:lnTo>
                  <a:lnTo>
                    <a:pt x="44" y="20"/>
                  </a:lnTo>
                  <a:lnTo>
                    <a:pt x="48" y="26"/>
                  </a:lnTo>
                  <a:lnTo>
                    <a:pt x="42" y="34"/>
                  </a:lnTo>
                  <a:lnTo>
                    <a:pt x="36" y="46"/>
                  </a:lnTo>
                  <a:lnTo>
                    <a:pt x="30" y="60"/>
                  </a:lnTo>
                  <a:lnTo>
                    <a:pt x="24" y="56"/>
                  </a:lnTo>
                  <a:lnTo>
                    <a:pt x="14" y="54"/>
                  </a:lnTo>
                  <a:lnTo>
                    <a:pt x="8" y="58"/>
                  </a:lnTo>
                  <a:lnTo>
                    <a:pt x="2" y="58"/>
                  </a:lnTo>
                  <a:lnTo>
                    <a:pt x="2" y="50"/>
                  </a:lnTo>
                  <a:lnTo>
                    <a:pt x="6" y="36"/>
                  </a:lnTo>
                  <a:lnTo>
                    <a:pt x="10" y="28"/>
                  </a:lnTo>
                  <a:lnTo>
                    <a:pt x="4" y="24"/>
                  </a:lnTo>
                  <a:lnTo>
                    <a:pt x="0" y="18"/>
                  </a:lnTo>
                  <a:lnTo>
                    <a:pt x="0" y="12"/>
                  </a:lnTo>
                  <a:lnTo>
                    <a:pt x="2" y="6"/>
                  </a:lnTo>
                  <a:lnTo>
                    <a:pt x="6"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87" name="Freeform 79">
              <a:extLst>
                <a:ext uri="{FF2B5EF4-FFF2-40B4-BE49-F238E27FC236}">
                  <a16:creationId xmlns:a16="http://schemas.microsoft.com/office/drawing/2014/main" id="{90813E70-9715-4D53-9E87-25A38F2502B5}"/>
                </a:ext>
              </a:extLst>
            </p:cNvPr>
            <p:cNvSpPr>
              <a:spLocks/>
            </p:cNvSpPr>
            <p:nvPr/>
          </p:nvSpPr>
          <p:spPr bwMode="gray">
            <a:xfrm>
              <a:off x="4299370" y="4538651"/>
              <a:ext cx="105669" cy="106229"/>
            </a:xfrm>
            <a:custGeom>
              <a:avLst/>
              <a:gdLst>
                <a:gd name="T0" fmla="*/ 14 w 64"/>
                <a:gd name="T1" fmla="*/ 0 h 64"/>
                <a:gd name="T2" fmla="*/ 22 w 64"/>
                <a:gd name="T3" fmla="*/ 0 h 64"/>
                <a:gd name="T4" fmla="*/ 32 w 64"/>
                <a:gd name="T5" fmla="*/ 2 h 64"/>
                <a:gd name="T6" fmla="*/ 36 w 64"/>
                <a:gd name="T7" fmla="*/ 2 h 64"/>
                <a:gd name="T8" fmla="*/ 42 w 64"/>
                <a:gd name="T9" fmla="*/ 2 h 64"/>
                <a:gd name="T10" fmla="*/ 48 w 64"/>
                <a:gd name="T11" fmla="*/ 2 h 64"/>
                <a:gd name="T12" fmla="*/ 54 w 64"/>
                <a:gd name="T13" fmla="*/ 2 h 64"/>
                <a:gd name="T14" fmla="*/ 60 w 64"/>
                <a:gd name="T15" fmla="*/ 2 h 64"/>
                <a:gd name="T16" fmla="*/ 54 w 64"/>
                <a:gd name="T17" fmla="*/ 14 h 64"/>
                <a:gd name="T18" fmla="*/ 54 w 64"/>
                <a:gd name="T19" fmla="*/ 20 h 64"/>
                <a:gd name="T20" fmla="*/ 58 w 64"/>
                <a:gd name="T21" fmla="*/ 26 h 64"/>
                <a:gd name="T22" fmla="*/ 64 w 64"/>
                <a:gd name="T23" fmla="*/ 30 h 64"/>
                <a:gd name="T24" fmla="*/ 56 w 64"/>
                <a:gd name="T25" fmla="*/ 52 h 64"/>
                <a:gd name="T26" fmla="*/ 56 w 64"/>
                <a:gd name="T27" fmla="*/ 60 h 64"/>
                <a:gd name="T28" fmla="*/ 50 w 64"/>
                <a:gd name="T29" fmla="*/ 58 h 64"/>
                <a:gd name="T30" fmla="*/ 42 w 64"/>
                <a:gd name="T31" fmla="*/ 56 h 64"/>
                <a:gd name="T32" fmla="*/ 36 w 64"/>
                <a:gd name="T33" fmla="*/ 54 h 64"/>
                <a:gd name="T34" fmla="*/ 32 w 64"/>
                <a:gd name="T35" fmla="*/ 54 h 64"/>
                <a:gd name="T36" fmla="*/ 32 w 64"/>
                <a:gd name="T37" fmla="*/ 60 h 64"/>
                <a:gd name="T38" fmla="*/ 30 w 64"/>
                <a:gd name="T39" fmla="*/ 64 h 64"/>
                <a:gd name="T40" fmla="*/ 28 w 64"/>
                <a:gd name="T41" fmla="*/ 64 h 64"/>
                <a:gd name="T42" fmla="*/ 22 w 64"/>
                <a:gd name="T43" fmla="*/ 64 h 64"/>
                <a:gd name="T44" fmla="*/ 18 w 64"/>
                <a:gd name="T45" fmla="*/ 60 h 64"/>
                <a:gd name="T46" fmla="*/ 12 w 64"/>
                <a:gd name="T47" fmla="*/ 46 h 64"/>
                <a:gd name="T48" fmla="*/ 0 w 64"/>
                <a:gd name="T49" fmla="*/ 32 h 64"/>
                <a:gd name="T50" fmla="*/ 2 w 64"/>
                <a:gd name="T51" fmla="*/ 22 h 64"/>
                <a:gd name="T52" fmla="*/ 8 w 64"/>
                <a:gd name="T53" fmla="*/ 14 h 64"/>
                <a:gd name="T54" fmla="*/ 12 w 64"/>
                <a:gd name="T55" fmla="*/ 8 h 64"/>
                <a:gd name="T56" fmla="*/ 14 w 64"/>
                <a:gd name="T5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4" h="64">
                  <a:moveTo>
                    <a:pt x="14" y="0"/>
                  </a:moveTo>
                  <a:lnTo>
                    <a:pt x="22" y="0"/>
                  </a:lnTo>
                  <a:lnTo>
                    <a:pt x="32" y="2"/>
                  </a:lnTo>
                  <a:lnTo>
                    <a:pt x="36" y="2"/>
                  </a:lnTo>
                  <a:lnTo>
                    <a:pt x="42" y="2"/>
                  </a:lnTo>
                  <a:lnTo>
                    <a:pt x="48" y="2"/>
                  </a:lnTo>
                  <a:lnTo>
                    <a:pt x="54" y="2"/>
                  </a:lnTo>
                  <a:lnTo>
                    <a:pt x="60" y="2"/>
                  </a:lnTo>
                  <a:lnTo>
                    <a:pt x="54" y="14"/>
                  </a:lnTo>
                  <a:lnTo>
                    <a:pt x="54" y="20"/>
                  </a:lnTo>
                  <a:lnTo>
                    <a:pt x="58" y="26"/>
                  </a:lnTo>
                  <a:lnTo>
                    <a:pt x="64" y="30"/>
                  </a:lnTo>
                  <a:lnTo>
                    <a:pt x="56" y="52"/>
                  </a:lnTo>
                  <a:lnTo>
                    <a:pt x="56" y="60"/>
                  </a:lnTo>
                  <a:lnTo>
                    <a:pt x="50" y="58"/>
                  </a:lnTo>
                  <a:lnTo>
                    <a:pt x="42" y="56"/>
                  </a:lnTo>
                  <a:lnTo>
                    <a:pt x="36" y="54"/>
                  </a:lnTo>
                  <a:lnTo>
                    <a:pt x="32" y="54"/>
                  </a:lnTo>
                  <a:lnTo>
                    <a:pt x="32" y="60"/>
                  </a:lnTo>
                  <a:lnTo>
                    <a:pt x="30" y="64"/>
                  </a:lnTo>
                  <a:lnTo>
                    <a:pt x="28" y="64"/>
                  </a:lnTo>
                  <a:lnTo>
                    <a:pt x="22" y="64"/>
                  </a:lnTo>
                  <a:lnTo>
                    <a:pt x="18" y="60"/>
                  </a:lnTo>
                  <a:lnTo>
                    <a:pt x="12" y="46"/>
                  </a:lnTo>
                  <a:lnTo>
                    <a:pt x="0" y="32"/>
                  </a:lnTo>
                  <a:lnTo>
                    <a:pt x="2" y="22"/>
                  </a:lnTo>
                  <a:lnTo>
                    <a:pt x="8" y="14"/>
                  </a:lnTo>
                  <a:lnTo>
                    <a:pt x="12" y="8"/>
                  </a:lnTo>
                  <a:lnTo>
                    <a:pt x="14"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88" name="Freeform 80">
              <a:extLst>
                <a:ext uri="{FF2B5EF4-FFF2-40B4-BE49-F238E27FC236}">
                  <a16:creationId xmlns:a16="http://schemas.microsoft.com/office/drawing/2014/main" id="{A0769C81-5AB0-4136-BBBF-7BCF830047CB}"/>
                </a:ext>
              </a:extLst>
            </p:cNvPr>
            <p:cNvSpPr>
              <a:spLocks/>
            </p:cNvSpPr>
            <p:nvPr/>
          </p:nvSpPr>
          <p:spPr bwMode="gray">
            <a:xfrm>
              <a:off x="3688474" y="4694675"/>
              <a:ext cx="326912" cy="484671"/>
            </a:xfrm>
            <a:custGeom>
              <a:avLst/>
              <a:gdLst>
                <a:gd name="T0" fmla="*/ 6 w 198"/>
                <a:gd name="T1" fmla="*/ 60 h 292"/>
                <a:gd name="T2" fmla="*/ 16 w 198"/>
                <a:gd name="T3" fmla="*/ 54 h 292"/>
                <a:gd name="T4" fmla="*/ 24 w 198"/>
                <a:gd name="T5" fmla="*/ 68 h 292"/>
                <a:gd name="T6" fmla="*/ 44 w 198"/>
                <a:gd name="T7" fmla="*/ 70 h 292"/>
                <a:gd name="T8" fmla="*/ 54 w 198"/>
                <a:gd name="T9" fmla="*/ 52 h 292"/>
                <a:gd name="T10" fmla="*/ 72 w 198"/>
                <a:gd name="T11" fmla="*/ 40 h 292"/>
                <a:gd name="T12" fmla="*/ 84 w 198"/>
                <a:gd name="T13" fmla="*/ 34 h 292"/>
                <a:gd name="T14" fmla="*/ 94 w 198"/>
                <a:gd name="T15" fmla="*/ 18 h 292"/>
                <a:gd name="T16" fmla="*/ 104 w 198"/>
                <a:gd name="T17" fmla="*/ 2 h 292"/>
                <a:gd name="T18" fmla="*/ 114 w 198"/>
                <a:gd name="T19" fmla="*/ 14 h 292"/>
                <a:gd name="T20" fmla="*/ 126 w 198"/>
                <a:gd name="T21" fmla="*/ 26 h 292"/>
                <a:gd name="T22" fmla="*/ 172 w 198"/>
                <a:gd name="T23" fmla="*/ 36 h 292"/>
                <a:gd name="T24" fmla="*/ 176 w 198"/>
                <a:gd name="T25" fmla="*/ 48 h 292"/>
                <a:gd name="T26" fmla="*/ 172 w 198"/>
                <a:gd name="T27" fmla="*/ 64 h 292"/>
                <a:gd name="T28" fmla="*/ 172 w 198"/>
                <a:gd name="T29" fmla="*/ 68 h 292"/>
                <a:gd name="T30" fmla="*/ 142 w 198"/>
                <a:gd name="T31" fmla="*/ 76 h 292"/>
                <a:gd name="T32" fmla="*/ 130 w 198"/>
                <a:gd name="T33" fmla="*/ 98 h 292"/>
                <a:gd name="T34" fmla="*/ 116 w 198"/>
                <a:gd name="T35" fmla="*/ 116 h 292"/>
                <a:gd name="T36" fmla="*/ 124 w 198"/>
                <a:gd name="T37" fmla="*/ 138 h 292"/>
                <a:gd name="T38" fmla="*/ 144 w 198"/>
                <a:gd name="T39" fmla="*/ 158 h 292"/>
                <a:gd name="T40" fmla="*/ 162 w 198"/>
                <a:gd name="T41" fmla="*/ 156 h 292"/>
                <a:gd name="T42" fmla="*/ 172 w 198"/>
                <a:gd name="T43" fmla="*/ 154 h 292"/>
                <a:gd name="T44" fmla="*/ 170 w 198"/>
                <a:gd name="T45" fmla="*/ 172 h 292"/>
                <a:gd name="T46" fmla="*/ 188 w 198"/>
                <a:gd name="T47" fmla="*/ 174 h 292"/>
                <a:gd name="T48" fmla="*/ 198 w 198"/>
                <a:gd name="T49" fmla="*/ 208 h 292"/>
                <a:gd name="T50" fmla="*/ 196 w 198"/>
                <a:gd name="T51" fmla="*/ 228 h 292"/>
                <a:gd name="T52" fmla="*/ 190 w 198"/>
                <a:gd name="T53" fmla="*/ 240 h 292"/>
                <a:gd name="T54" fmla="*/ 192 w 198"/>
                <a:gd name="T55" fmla="*/ 256 h 292"/>
                <a:gd name="T56" fmla="*/ 194 w 198"/>
                <a:gd name="T57" fmla="*/ 268 h 292"/>
                <a:gd name="T58" fmla="*/ 184 w 198"/>
                <a:gd name="T59" fmla="*/ 282 h 292"/>
                <a:gd name="T60" fmla="*/ 174 w 198"/>
                <a:gd name="T61" fmla="*/ 292 h 292"/>
                <a:gd name="T62" fmla="*/ 140 w 198"/>
                <a:gd name="T63" fmla="*/ 268 h 292"/>
                <a:gd name="T64" fmla="*/ 100 w 198"/>
                <a:gd name="T65" fmla="*/ 248 h 292"/>
                <a:gd name="T66" fmla="*/ 76 w 198"/>
                <a:gd name="T67" fmla="*/ 222 h 292"/>
                <a:gd name="T68" fmla="*/ 72 w 198"/>
                <a:gd name="T69" fmla="*/ 198 h 292"/>
                <a:gd name="T70" fmla="*/ 56 w 198"/>
                <a:gd name="T71" fmla="*/ 172 h 292"/>
                <a:gd name="T72" fmla="*/ 36 w 198"/>
                <a:gd name="T73" fmla="*/ 132 h 292"/>
                <a:gd name="T74" fmla="*/ 16 w 198"/>
                <a:gd name="T75" fmla="*/ 102 h 292"/>
                <a:gd name="T76" fmla="*/ 6 w 198"/>
                <a:gd name="T77" fmla="*/ 84 h 292"/>
                <a:gd name="T78" fmla="*/ 2 w 198"/>
                <a:gd name="T79" fmla="*/ 68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98" h="292">
                  <a:moveTo>
                    <a:pt x="2" y="68"/>
                  </a:moveTo>
                  <a:lnTo>
                    <a:pt x="6" y="60"/>
                  </a:lnTo>
                  <a:lnTo>
                    <a:pt x="10" y="54"/>
                  </a:lnTo>
                  <a:lnTo>
                    <a:pt x="16" y="54"/>
                  </a:lnTo>
                  <a:lnTo>
                    <a:pt x="16" y="66"/>
                  </a:lnTo>
                  <a:lnTo>
                    <a:pt x="24" y="68"/>
                  </a:lnTo>
                  <a:lnTo>
                    <a:pt x="34" y="78"/>
                  </a:lnTo>
                  <a:lnTo>
                    <a:pt x="44" y="70"/>
                  </a:lnTo>
                  <a:lnTo>
                    <a:pt x="48" y="60"/>
                  </a:lnTo>
                  <a:lnTo>
                    <a:pt x="54" y="52"/>
                  </a:lnTo>
                  <a:lnTo>
                    <a:pt x="60" y="46"/>
                  </a:lnTo>
                  <a:lnTo>
                    <a:pt x="72" y="40"/>
                  </a:lnTo>
                  <a:lnTo>
                    <a:pt x="80" y="36"/>
                  </a:lnTo>
                  <a:lnTo>
                    <a:pt x="84" y="34"/>
                  </a:lnTo>
                  <a:lnTo>
                    <a:pt x="90" y="26"/>
                  </a:lnTo>
                  <a:lnTo>
                    <a:pt x="94" y="18"/>
                  </a:lnTo>
                  <a:lnTo>
                    <a:pt x="96" y="0"/>
                  </a:lnTo>
                  <a:lnTo>
                    <a:pt x="104" y="2"/>
                  </a:lnTo>
                  <a:lnTo>
                    <a:pt x="110" y="10"/>
                  </a:lnTo>
                  <a:lnTo>
                    <a:pt x="114" y="14"/>
                  </a:lnTo>
                  <a:lnTo>
                    <a:pt x="120" y="20"/>
                  </a:lnTo>
                  <a:lnTo>
                    <a:pt x="126" y="26"/>
                  </a:lnTo>
                  <a:lnTo>
                    <a:pt x="130" y="34"/>
                  </a:lnTo>
                  <a:lnTo>
                    <a:pt x="172" y="36"/>
                  </a:lnTo>
                  <a:lnTo>
                    <a:pt x="174" y="42"/>
                  </a:lnTo>
                  <a:lnTo>
                    <a:pt x="176" y="48"/>
                  </a:lnTo>
                  <a:lnTo>
                    <a:pt x="172" y="54"/>
                  </a:lnTo>
                  <a:lnTo>
                    <a:pt x="172" y="64"/>
                  </a:lnTo>
                  <a:lnTo>
                    <a:pt x="178" y="68"/>
                  </a:lnTo>
                  <a:lnTo>
                    <a:pt x="172" y="68"/>
                  </a:lnTo>
                  <a:lnTo>
                    <a:pt x="156" y="70"/>
                  </a:lnTo>
                  <a:lnTo>
                    <a:pt x="142" y="76"/>
                  </a:lnTo>
                  <a:lnTo>
                    <a:pt x="132" y="88"/>
                  </a:lnTo>
                  <a:lnTo>
                    <a:pt x="130" y="98"/>
                  </a:lnTo>
                  <a:lnTo>
                    <a:pt x="124" y="104"/>
                  </a:lnTo>
                  <a:lnTo>
                    <a:pt x="116" y="116"/>
                  </a:lnTo>
                  <a:lnTo>
                    <a:pt x="120" y="126"/>
                  </a:lnTo>
                  <a:lnTo>
                    <a:pt x="124" y="138"/>
                  </a:lnTo>
                  <a:lnTo>
                    <a:pt x="134" y="148"/>
                  </a:lnTo>
                  <a:lnTo>
                    <a:pt x="144" y="158"/>
                  </a:lnTo>
                  <a:lnTo>
                    <a:pt x="152" y="160"/>
                  </a:lnTo>
                  <a:lnTo>
                    <a:pt x="162" y="156"/>
                  </a:lnTo>
                  <a:lnTo>
                    <a:pt x="170" y="148"/>
                  </a:lnTo>
                  <a:lnTo>
                    <a:pt x="172" y="154"/>
                  </a:lnTo>
                  <a:lnTo>
                    <a:pt x="168" y="166"/>
                  </a:lnTo>
                  <a:lnTo>
                    <a:pt x="170" y="172"/>
                  </a:lnTo>
                  <a:lnTo>
                    <a:pt x="176" y="172"/>
                  </a:lnTo>
                  <a:lnTo>
                    <a:pt x="188" y="174"/>
                  </a:lnTo>
                  <a:lnTo>
                    <a:pt x="198" y="200"/>
                  </a:lnTo>
                  <a:lnTo>
                    <a:pt x="198" y="208"/>
                  </a:lnTo>
                  <a:lnTo>
                    <a:pt x="196" y="222"/>
                  </a:lnTo>
                  <a:lnTo>
                    <a:pt x="196" y="228"/>
                  </a:lnTo>
                  <a:lnTo>
                    <a:pt x="194" y="230"/>
                  </a:lnTo>
                  <a:lnTo>
                    <a:pt x="190" y="240"/>
                  </a:lnTo>
                  <a:lnTo>
                    <a:pt x="188" y="250"/>
                  </a:lnTo>
                  <a:lnTo>
                    <a:pt x="192" y="256"/>
                  </a:lnTo>
                  <a:lnTo>
                    <a:pt x="198" y="262"/>
                  </a:lnTo>
                  <a:lnTo>
                    <a:pt x="194" y="268"/>
                  </a:lnTo>
                  <a:lnTo>
                    <a:pt x="186" y="276"/>
                  </a:lnTo>
                  <a:lnTo>
                    <a:pt x="184" y="282"/>
                  </a:lnTo>
                  <a:lnTo>
                    <a:pt x="180" y="290"/>
                  </a:lnTo>
                  <a:lnTo>
                    <a:pt x="174" y="292"/>
                  </a:lnTo>
                  <a:lnTo>
                    <a:pt x="158" y="278"/>
                  </a:lnTo>
                  <a:lnTo>
                    <a:pt x="140" y="268"/>
                  </a:lnTo>
                  <a:lnTo>
                    <a:pt x="118" y="258"/>
                  </a:lnTo>
                  <a:lnTo>
                    <a:pt x="100" y="248"/>
                  </a:lnTo>
                  <a:lnTo>
                    <a:pt x="90" y="236"/>
                  </a:lnTo>
                  <a:lnTo>
                    <a:pt x="76" y="222"/>
                  </a:lnTo>
                  <a:lnTo>
                    <a:pt x="82" y="214"/>
                  </a:lnTo>
                  <a:lnTo>
                    <a:pt x="72" y="198"/>
                  </a:lnTo>
                  <a:lnTo>
                    <a:pt x="64" y="186"/>
                  </a:lnTo>
                  <a:lnTo>
                    <a:pt x="56" y="172"/>
                  </a:lnTo>
                  <a:lnTo>
                    <a:pt x="48" y="152"/>
                  </a:lnTo>
                  <a:lnTo>
                    <a:pt x="36" y="132"/>
                  </a:lnTo>
                  <a:lnTo>
                    <a:pt x="26" y="112"/>
                  </a:lnTo>
                  <a:lnTo>
                    <a:pt x="16" y="102"/>
                  </a:lnTo>
                  <a:lnTo>
                    <a:pt x="4" y="96"/>
                  </a:lnTo>
                  <a:lnTo>
                    <a:pt x="6" y="84"/>
                  </a:lnTo>
                  <a:lnTo>
                    <a:pt x="0" y="78"/>
                  </a:lnTo>
                  <a:lnTo>
                    <a:pt x="2" y="6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89" name="Freeform 81">
              <a:extLst>
                <a:ext uri="{FF2B5EF4-FFF2-40B4-BE49-F238E27FC236}">
                  <a16:creationId xmlns:a16="http://schemas.microsoft.com/office/drawing/2014/main" id="{3CF5A303-F27C-4ABB-9B90-7FD8D00324B7}"/>
                </a:ext>
              </a:extLst>
            </p:cNvPr>
            <p:cNvSpPr>
              <a:spLocks/>
            </p:cNvSpPr>
            <p:nvPr/>
          </p:nvSpPr>
          <p:spPr bwMode="gray">
            <a:xfrm>
              <a:off x="3998875" y="4953608"/>
              <a:ext cx="310401" cy="355203"/>
            </a:xfrm>
            <a:custGeom>
              <a:avLst/>
              <a:gdLst>
                <a:gd name="T0" fmla="*/ 54 w 188"/>
                <a:gd name="T1" fmla="*/ 0 h 214"/>
                <a:gd name="T2" fmla="*/ 68 w 188"/>
                <a:gd name="T3" fmla="*/ 28 h 214"/>
                <a:gd name="T4" fmla="*/ 100 w 188"/>
                <a:gd name="T5" fmla="*/ 44 h 214"/>
                <a:gd name="T6" fmla="*/ 122 w 188"/>
                <a:gd name="T7" fmla="*/ 56 h 214"/>
                <a:gd name="T8" fmla="*/ 146 w 188"/>
                <a:gd name="T9" fmla="*/ 74 h 214"/>
                <a:gd name="T10" fmla="*/ 146 w 188"/>
                <a:gd name="T11" fmla="*/ 90 h 214"/>
                <a:gd name="T12" fmla="*/ 160 w 188"/>
                <a:gd name="T13" fmla="*/ 102 h 214"/>
                <a:gd name="T14" fmla="*/ 174 w 188"/>
                <a:gd name="T15" fmla="*/ 110 h 214"/>
                <a:gd name="T16" fmla="*/ 186 w 188"/>
                <a:gd name="T17" fmla="*/ 126 h 214"/>
                <a:gd name="T18" fmla="*/ 188 w 188"/>
                <a:gd name="T19" fmla="*/ 142 h 214"/>
                <a:gd name="T20" fmla="*/ 184 w 188"/>
                <a:gd name="T21" fmla="*/ 162 h 214"/>
                <a:gd name="T22" fmla="*/ 174 w 188"/>
                <a:gd name="T23" fmla="*/ 160 h 214"/>
                <a:gd name="T24" fmla="*/ 152 w 188"/>
                <a:gd name="T25" fmla="*/ 152 h 214"/>
                <a:gd name="T26" fmla="*/ 126 w 188"/>
                <a:gd name="T27" fmla="*/ 158 h 214"/>
                <a:gd name="T28" fmla="*/ 114 w 188"/>
                <a:gd name="T29" fmla="*/ 174 h 214"/>
                <a:gd name="T30" fmla="*/ 112 w 188"/>
                <a:gd name="T31" fmla="*/ 194 h 214"/>
                <a:gd name="T32" fmla="*/ 90 w 188"/>
                <a:gd name="T33" fmla="*/ 198 h 214"/>
                <a:gd name="T34" fmla="*/ 74 w 188"/>
                <a:gd name="T35" fmla="*/ 200 h 214"/>
                <a:gd name="T36" fmla="*/ 52 w 188"/>
                <a:gd name="T37" fmla="*/ 196 h 214"/>
                <a:gd name="T38" fmla="*/ 40 w 188"/>
                <a:gd name="T39" fmla="*/ 210 h 214"/>
                <a:gd name="T40" fmla="*/ 32 w 188"/>
                <a:gd name="T41" fmla="*/ 214 h 214"/>
                <a:gd name="T42" fmla="*/ 28 w 188"/>
                <a:gd name="T43" fmla="*/ 214 h 214"/>
                <a:gd name="T44" fmla="*/ 22 w 188"/>
                <a:gd name="T45" fmla="*/ 186 h 214"/>
                <a:gd name="T46" fmla="*/ 14 w 188"/>
                <a:gd name="T47" fmla="*/ 156 h 214"/>
                <a:gd name="T48" fmla="*/ 2 w 188"/>
                <a:gd name="T49" fmla="*/ 126 h 214"/>
                <a:gd name="T50" fmla="*/ 6 w 188"/>
                <a:gd name="T51" fmla="*/ 112 h 214"/>
                <a:gd name="T52" fmla="*/ 4 w 188"/>
                <a:gd name="T53" fmla="*/ 100 h 214"/>
                <a:gd name="T54" fmla="*/ 2 w 188"/>
                <a:gd name="T55" fmla="*/ 84 h 214"/>
                <a:gd name="T56" fmla="*/ 8 w 188"/>
                <a:gd name="T57" fmla="*/ 72 h 214"/>
                <a:gd name="T58" fmla="*/ 10 w 188"/>
                <a:gd name="T59" fmla="*/ 44 h 214"/>
                <a:gd name="T60" fmla="*/ 10 w 188"/>
                <a:gd name="T61" fmla="*/ 18 h 214"/>
                <a:gd name="T62" fmla="*/ 34 w 188"/>
                <a:gd name="T63" fmla="*/ 10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8" h="214">
                  <a:moveTo>
                    <a:pt x="42" y="4"/>
                  </a:moveTo>
                  <a:lnTo>
                    <a:pt x="54" y="0"/>
                  </a:lnTo>
                  <a:lnTo>
                    <a:pt x="66" y="0"/>
                  </a:lnTo>
                  <a:lnTo>
                    <a:pt x="68" y="28"/>
                  </a:lnTo>
                  <a:lnTo>
                    <a:pt x="80" y="40"/>
                  </a:lnTo>
                  <a:lnTo>
                    <a:pt x="100" y="44"/>
                  </a:lnTo>
                  <a:lnTo>
                    <a:pt x="104" y="50"/>
                  </a:lnTo>
                  <a:lnTo>
                    <a:pt x="122" y="56"/>
                  </a:lnTo>
                  <a:lnTo>
                    <a:pt x="142" y="62"/>
                  </a:lnTo>
                  <a:lnTo>
                    <a:pt x="146" y="74"/>
                  </a:lnTo>
                  <a:lnTo>
                    <a:pt x="148" y="82"/>
                  </a:lnTo>
                  <a:lnTo>
                    <a:pt x="146" y="90"/>
                  </a:lnTo>
                  <a:lnTo>
                    <a:pt x="148" y="102"/>
                  </a:lnTo>
                  <a:lnTo>
                    <a:pt x="160" y="102"/>
                  </a:lnTo>
                  <a:lnTo>
                    <a:pt x="176" y="102"/>
                  </a:lnTo>
                  <a:lnTo>
                    <a:pt x="174" y="110"/>
                  </a:lnTo>
                  <a:lnTo>
                    <a:pt x="176" y="122"/>
                  </a:lnTo>
                  <a:lnTo>
                    <a:pt x="186" y="126"/>
                  </a:lnTo>
                  <a:lnTo>
                    <a:pt x="188" y="136"/>
                  </a:lnTo>
                  <a:lnTo>
                    <a:pt x="188" y="142"/>
                  </a:lnTo>
                  <a:lnTo>
                    <a:pt x="180" y="156"/>
                  </a:lnTo>
                  <a:lnTo>
                    <a:pt x="184" y="162"/>
                  </a:lnTo>
                  <a:lnTo>
                    <a:pt x="180" y="166"/>
                  </a:lnTo>
                  <a:lnTo>
                    <a:pt x="174" y="160"/>
                  </a:lnTo>
                  <a:lnTo>
                    <a:pt x="164" y="154"/>
                  </a:lnTo>
                  <a:lnTo>
                    <a:pt x="152" y="152"/>
                  </a:lnTo>
                  <a:lnTo>
                    <a:pt x="136" y="154"/>
                  </a:lnTo>
                  <a:lnTo>
                    <a:pt x="126" y="158"/>
                  </a:lnTo>
                  <a:lnTo>
                    <a:pt x="120" y="160"/>
                  </a:lnTo>
                  <a:lnTo>
                    <a:pt x="114" y="174"/>
                  </a:lnTo>
                  <a:lnTo>
                    <a:pt x="114" y="184"/>
                  </a:lnTo>
                  <a:lnTo>
                    <a:pt x="112" y="194"/>
                  </a:lnTo>
                  <a:lnTo>
                    <a:pt x="108" y="198"/>
                  </a:lnTo>
                  <a:lnTo>
                    <a:pt x="90" y="198"/>
                  </a:lnTo>
                  <a:lnTo>
                    <a:pt x="84" y="212"/>
                  </a:lnTo>
                  <a:lnTo>
                    <a:pt x="74" y="200"/>
                  </a:lnTo>
                  <a:lnTo>
                    <a:pt x="60" y="202"/>
                  </a:lnTo>
                  <a:lnTo>
                    <a:pt x="52" y="196"/>
                  </a:lnTo>
                  <a:lnTo>
                    <a:pt x="44" y="202"/>
                  </a:lnTo>
                  <a:lnTo>
                    <a:pt x="40" y="210"/>
                  </a:lnTo>
                  <a:lnTo>
                    <a:pt x="38" y="214"/>
                  </a:lnTo>
                  <a:lnTo>
                    <a:pt x="32" y="214"/>
                  </a:lnTo>
                  <a:lnTo>
                    <a:pt x="30" y="214"/>
                  </a:lnTo>
                  <a:lnTo>
                    <a:pt x="28" y="214"/>
                  </a:lnTo>
                  <a:lnTo>
                    <a:pt x="26" y="200"/>
                  </a:lnTo>
                  <a:lnTo>
                    <a:pt x="22" y="186"/>
                  </a:lnTo>
                  <a:lnTo>
                    <a:pt x="14" y="174"/>
                  </a:lnTo>
                  <a:lnTo>
                    <a:pt x="14" y="156"/>
                  </a:lnTo>
                  <a:lnTo>
                    <a:pt x="8" y="144"/>
                  </a:lnTo>
                  <a:lnTo>
                    <a:pt x="2" y="126"/>
                  </a:lnTo>
                  <a:lnTo>
                    <a:pt x="0" y="118"/>
                  </a:lnTo>
                  <a:lnTo>
                    <a:pt x="6" y="112"/>
                  </a:lnTo>
                  <a:lnTo>
                    <a:pt x="10" y="106"/>
                  </a:lnTo>
                  <a:lnTo>
                    <a:pt x="4" y="100"/>
                  </a:lnTo>
                  <a:lnTo>
                    <a:pt x="0" y="94"/>
                  </a:lnTo>
                  <a:lnTo>
                    <a:pt x="2" y="84"/>
                  </a:lnTo>
                  <a:lnTo>
                    <a:pt x="6" y="74"/>
                  </a:lnTo>
                  <a:lnTo>
                    <a:pt x="8" y="72"/>
                  </a:lnTo>
                  <a:lnTo>
                    <a:pt x="8" y="66"/>
                  </a:lnTo>
                  <a:lnTo>
                    <a:pt x="10" y="44"/>
                  </a:lnTo>
                  <a:lnTo>
                    <a:pt x="0" y="18"/>
                  </a:lnTo>
                  <a:lnTo>
                    <a:pt x="10" y="18"/>
                  </a:lnTo>
                  <a:lnTo>
                    <a:pt x="20" y="16"/>
                  </a:lnTo>
                  <a:lnTo>
                    <a:pt x="34" y="10"/>
                  </a:lnTo>
                  <a:lnTo>
                    <a:pt x="42" y="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90" name="Freeform 82">
              <a:extLst>
                <a:ext uri="{FF2B5EF4-FFF2-40B4-BE49-F238E27FC236}">
                  <a16:creationId xmlns:a16="http://schemas.microsoft.com/office/drawing/2014/main" id="{264214CA-69A8-45AF-88D8-F196959928A5}"/>
                </a:ext>
              </a:extLst>
            </p:cNvPr>
            <p:cNvSpPr>
              <a:spLocks/>
            </p:cNvSpPr>
            <p:nvPr/>
          </p:nvSpPr>
          <p:spPr bwMode="gray">
            <a:xfrm>
              <a:off x="4177191" y="5205902"/>
              <a:ext cx="221243" cy="232376"/>
            </a:xfrm>
            <a:custGeom>
              <a:avLst/>
              <a:gdLst>
                <a:gd name="T0" fmla="*/ 108 w 134"/>
                <a:gd name="T1" fmla="*/ 136 h 140"/>
                <a:gd name="T2" fmla="*/ 94 w 134"/>
                <a:gd name="T3" fmla="*/ 140 h 140"/>
                <a:gd name="T4" fmla="*/ 72 w 134"/>
                <a:gd name="T5" fmla="*/ 140 h 140"/>
                <a:gd name="T6" fmla="*/ 66 w 134"/>
                <a:gd name="T7" fmla="*/ 132 h 140"/>
                <a:gd name="T8" fmla="*/ 72 w 134"/>
                <a:gd name="T9" fmla="*/ 118 h 140"/>
                <a:gd name="T10" fmla="*/ 80 w 134"/>
                <a:gd name="T11" fmla="*/ 106 h 140"/>
                <a:gd name="T12" fmla="*/ 74 w 134"/>
                <a:gd name="T13" fmla="*/ 98 h 140"/>
                <a:gd name="T14" fmla="*/ 54 w 134"/>
                <a:gd name="T15" fmla="*/ 90 h 140"/>
                <a:gd name="T16" fmla="*/ 38 w 134"/>
                <a:gd name="T17" fmla="*/ 78 h 140"/>
                <a:gd name="T18" fmla="*/ 30 w 134"/>
                <a:gd name="T19" fmla="*/ 78 h 140"/>
                <a:gd name="T20" fmla="*/ 20 w 134"/>
                <a:gd name="T21" fmla="*/ 72 h 140"/>
                <a:gd name="T22" fmla="*/ 8 w 134"/>
                <a:gd name="T23" fmla="*/ 60 h 140"/>
                <a:gd name="T24" fmla="*/ 2 w 134"/>
                <a:gd name="T25" fmla="*/ 52 h 140"/>
                <a:gd name="T26" fmla="*/ 0 w 134"/>
                <a:gd name="T27" fmla="*/ 46 h 140"/>
                <a:gd name="T28" fmla="*/ 4 w 134"/>
                <a:gd name="T29" fmla="*/ 42 h 140"/>
                <a:gd name="T30" fmla="*/ 6 w 134"/>
                <a:gd name="T31" fmla="*/ 32 h 140"/>
                <a:gd name="T32" fmla="*/ 6 w 134"/>
                <a:gd name="T33" fmla="*/ 22 h 140"/>
                <a:gd name="T34" fmla="*/ 12 w 134"/>
                <a:gd name="T35" fmla="*/ 8 h 140"/>
                <a:gd name="T36" fmla="*/ 28 w 134"/>
                <a:gd name="T37" fmla="*/ 2 h 140"/>
                <a:gd name="T38" fmla="*/ 44 w 134"/>
                <a:gd name="T39" fmla="*/ 0 h 140"/>
                <a:gd name="T40" fmla="*/ 56 w 134"/>
                <a:gd name="T41" fmla="*/ 2 h 140"/>
                <a:gd name="T42" fmla="*/ 66 w 134"/>
                <a:gd name="T43" fmla="*/ 8 h 140"/>
                <a:gd name="T44" fmla="*/ 72 w 134"/>
                <a:gd name="T45" fmla="*/ 14 h 140"/>
                <a:gd name="T46" fmla="*/ 76 w 134"/>
                <a:gd name="T47" fmla="*/ 22 h 140"/>
                <a:gd name="T48" fmla="*/ 76 w 134"/>
                <a:gd name="T49" fmla="*/ 34 h 140"/>
                <a:gd name="T50" fmla="*/ 76 w 134"/>
                <a:gd name="T51" fmla="*/ 50 h 140"/>
                <a:gd name="T52" fmla="*/ 86 w 134"/>
                <a:gd name="T53" fmla="*/ 50 h 140"/>
                <a:gd name="T54" fmla="*/ 94 w 134"/>
                <a:gd name="T55" fmla="*/ 48 h 140"/>
                <a:gd name="T56" fmla="*/ 104 w 134"/>
                <a:gd name="T57" fmla="*/ 50 h 140"/>
                <a:gd name="T58" fmla="*/ 110 w 134"/>
                <a:gd name="T59" fmla="*/ 54 h 140"/>
                <a:gd name="T60" fmla="*/ 108 w 134"/>
                <a:gd name="T61" fmla="*/ 64 h 140"/>
                <a:gd name="T62" fmla="*/ 112 w 134"/>
                <a:gd name="T63" fmla="*/ 74 h 140"/>
                <a:gd name="T64" fmla="*/ 120 w 134"/>
                <a:gd name="T65" fmla="*/ 82 h 140"/>
                <a:gd name="T66" fmla="*/ 128 w 134"/>
                <a:gd name="T67" fmla="*/ 80 h 140"/>
                <a:gd name="T68" fmla="*/ 134 w 134"/>
                <a:gd name="T69" fmla="*/ 82 h 140"/>
                <a:gd name="T70" fmla="*/ 132 w 134"/>
                <a:gd name="T71" fmla="*/ 90 h 140"/>
                <a:gd name="T72" fmla="*/ 128 w 134"/>
                <a:gd name="T73" fmla="*/ 100 h 140"/>
                <a:gd name="T74" fmla="*/ 128 w 134"/>
                <a:gd name="T75" fmla="*/ 114 h 140"/>
                <a:gd name="T76" fmla="*/ 126 w 134"/>
                <a:gd name="T77" fmla="*/ 120 h 140"/>
                <a:gd name="T78" fmla="*/ 122 w 134"/>
                <a:gd name="T79" fmla="*/ 128 h 140"/>
                <a:gd name="T80" fmla="*/ 112 w 134"/>
                <a:gd name="T81" fmla="*/ 134 h 140"/>
                <a:gd name="T82" fmla="*/ 108 w 134"/>
                <a:gd name="T83" fmla="*/ 13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4" h="140">
                  <a:moveTo>
                    <a:pt x="108" y="136"/>
                  </a:moveTo>
                  <a:lnTo>
                    <a:pt x="94" y="140"/>
                  </a:lnTo>
                  <a:lnTo>
                    <a:pt x="72" y="140"/>
                  </a:lnTo>
                  <a:lnTo>
                    <a:pt x="66" y="132"/>
                  </a:lnTo>
                  <a:lnTo>
                    <a:pt x="72" y="118"/>
                  </a:lnTo>
                  <a:lnTo>
                    <a:pt x="80" y="106"/>
                  </a:lnTo>
                  <a:lnTo>
                    <a:pt x="74" y="98"/>
                  </a:lnTo>
                  <a:lnTo>
                    <a:pt x="54" y="90"/>
                  </a:lnTo>
                  <a:lnTo>
                    <a:pt x="38" y="78"/>
                  </a:lnTo>
                  <a:lnTo>
                    <a:pt x="30" y="78"/>
                  </a:lnTo>
                  <a:lnTo>
                    <a:pt x="20" y="72"/>
                  </a:lnTo>
                  <a:lnTo>
                    <a:pt x="8" y="60"/>
                  </a:lnTo>
                  <a:lnTo>
                    <a:pt x="2" y="52"/>
                  </a:lnTo>
                  <a:lnTo>
                    <a:pt x="0" y="46"/>
                  </a:lnTo>
                  <a:lnTo>
                    <a:pt x="4" y="42"/>
                  </a:lnTo>
                  <a:lnTo>
                    <a:pt x="6" y="32"/>
                  </a:lnTo>
                  <a:lnTo>
                    <a:pt x="6" y="22"/>
                  </a:lnTo>
                  <a:lnTo>
                    <a:pt x="12" y="8"/>
                  </a:lnTo>
                  <a:lnTo>
                    <a:pt x="28" y="2"/>
                  </a:lnTo>
                  <a:lnTo>
                    <a:pt x="44" y="0"/>
                  </a:lnTo>
                  <a:lnTo>
                    <a:pt x="56" y="2"/>
                  </a:lnTo>
                  <a:lnTo>
                    <a:pt x="66" y="8"/>
                  </a:lnTo>
                  <a:lnTo>
                    <a:pt x="72" y="14"/>
                  </a:lnTo>
                  <a:lnTo>
                    <a:pt x="76" y="22"/>
                  </a:lnTo>
                  <a:lnTo>
                    <a:pt x="76" y="34"/>
                  </a:lnTo>
                  <a:lnTo>
                    <a:pt x="76" y="50"/>
                  </a:lnTo>
                  <a:lnTo>
                    <a:pt x="86" y="50"/>
                  </a:lnTo>
                  <a:lnTo>
                    <a:pt x="94" y="48"/>
                  </a:lnTo>
                  <a:lnTo>
                    <a:pt x="104" y="50"/>
                  </a:lnTo>
                  <a:lnTo>
                    <a:pt x="110" y="54"/>
                  </a:lnTo>
                  <a:lnTo>
                    <a:pt x="108" y="64"/>
                  </a:lnTo>
                  <a:lnTo>
                    <a:pt x="112" y="74"/>
                  </a:lnTo>
                  <a:lnTo>
                    <a:pt x="120" y="82"/>
                  </a:lnTo>
                  <a:lnTo>
                    <a:pt x="128" y="80"/>
                  </a:lnTo>
                  <a:lnTo>
                    <a:pt x="134" y="82"/>
                  </a:lnTo>
                  <a:lnTo>
                    <a:pt x="132" y="90"/>
                  </a:lnTo>
                  <a:lnTo>
                    <a:pt x="128" y="100"/>
                  </a:lnTo>
                  <a:lnTo>
                    <a:pt x="128" y="114"/>
                  </a:lnTo>
                  <a:lnTo>
                    <a:pt x="126" y="120"/>
                  </a:lnTo>
                  <a:lnTo>
                    <a:pt x="122" y="128"/>
                  </a:lnTo>
                  <a:lnTo>
                    <a:pt x="112" y="134"/>
                  </a:lnTo>
                  <a:lnTo>
                    <a:pt x="108" y="13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91" name="Freeform 83">
              <a:extLst>
                <a:ext uri="{FF2B5EF4-FFF2-40B4-BE49-F238E27FC236}">
                  <a16:creationId xmlns:a16="http://schemas.microsoft.com/office/drawing/2014/main" id="{599BC40F-3A28-4E2F-A174-FBD5DC7BB48B}"/>
                </a:ext>
              </a:extLst>
            </p:cNvPr>
            <p:cNvSpPr>
              <a:spLocks/>
            </p:cNvSpPr>
            <p:nvPr/>
          </p:nvSpPr>
          <p:spPr bwMode="gray">
            <a:xfrm>
              <a:off x="4289464" y="5504672"/>
              <a:ext cx="138690" cy="149384"/>
            </a:xfrm>
            <a:custGeom>
              <a:avLst/>
              <a:gdLst>
                <a:gd name="T0" fmla="*/ 20 w 84"/>
                <a:gd name="T1" fmla="*/ 0 h 90"/>
                <a:gd name="T2" fmla="*/ 30 w 84"/>
                <a:gd name="T3" fmla="*/ 8 h 90"/>
                <a:gd name="T4" fmla="*/ 38 w 84"/>
                <a:gd name="T5" fmla="*/ 18 h 90"/>
                <a:gd name="T6" fmla="*/ 46 w 84"/>
                <a:gd name="T7" fmla="*/ 20 h 90"/>
                <a:gd name="T8" fmla="*/ 60 w 84"/>
                <a:gd name="T9" fmla="*/ 28 h 90"/>
                <a:gd name="T10" fmla="*/ 72 w 84"/>
                <a:gd name="T11" fmla="*/ 38 h 90"/>
                <a:gd name="T12" fmla="*/ 78 w 84"/>
                <a:gd name="T13" fmla="*/ 44 h 90"/>
                <a:gd name="T14" fmla="*/ 82 w 84"/>
                <a:gd name="T15" fmla="*/ 50 h 90"/>
                <a:gd name="T16" fmla="*/ 80 w 84"/>
                <a:gd name="T17" fmla="*/ 56 h 90"/>
                <a:gd name="T18" fmla="*/ 80 w 84"/>
                <a:gd name="T19" fmla="*/ 62 h 90"/>
                <a:gd name="T20" fmla="*/ 84 w 84"/>
                <a:gd name="T21" fmla="*/ 66 h 90"/>
                <a:gd name="T22" fmla="*/ 80 w 84"/>
                <a:gd name="T23" fmla="*/ 70 h 90"/>
                <a:gd name="T24" fmla="*/ 72 w 84"/>
                <a:gd name="T25" fmla="*/ 80 h 90"/>
                <a:gd name="T26" fmla="*/ 66 w 84"/>
                <a:gd name="T27" fmla="*/ 86 h 90"/>
                <a:gd name="T28" fmla="*/ 62 w 84"/>
                <a:gd name="T29" fmla="*/ 88 h 90"/>
                <a:gd name="T30" fmla="*/ 60 w 84"/>
                <a:gd name="T31" fmla="*/ 90 h 90"/>
                <a:gd name="T32" fmla="*/ 42 w 84"/>
                <a:gd name="T33" fmla="*/ 88 h 90"/>
                <a:gd name="T34" fmla="*/ 28 w 84"/>
                <a:gd name="T35" fmla="*/ 86 h 90"/>
                <a:gd name="T36" fmla="*/ 18 w 84"/>
                <a:gd name="T37" fmla="*/ 82 h 90"/>
                <a:gd name="T38" fmla="*/ 6 w 84"/>
                <a:gd name="T39" fmla="*/ 80 h 90"/>
                <a:gd name="T40" fmla="*/ 0 w 84"/>
                <a:gd name="T41" fmla="*/ 76 h 90"/>
                <a:gd name="T42" fmla="*/ 0 w 84"/>
                <a:gd name="T43" fmla="*/ 60 h 90"/>
                <a:gd name="T44" fmla="*/ 4 w 84"/>
                <a:gd name="T45" fmla="*/ 40 h 90"/>
                <a:gd name="T46" fmla="*/ 6 w 84"/>
                <a:gd name="T47" fmla="*/ 24 h 90"/>
                <a:gd name="T48" fmla="*/ 10 w 84"/>
                <a:gd name="T49" fmla="*/ 8 h 90"/>
                <a:gd name="T50" fmla="*/ 12 w 84"/>
                <a:gd name="T51" fmla="*/ 2 h 90"/>
                <a:gd name="T52" fmla="*/ 20 w 84"/>
                <a:gd name="T53"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4" h="90">
                  <a:moveTo>
                    <a:pt x="20" y="0"/>
                  </a:moveTo>
                  <a:lnTo>
                    <a:pt x="30" y="8"/>
                  </a:lnTo>
                  <a:lnTo>
                    <a:pt x="38" y="18"/>
                  </a:lnTo>
                  <a:lnTo>
                    <a:pt x="46" y="20"/>
                  </a:lnTo>
                  <a:lnTo>
                    <a:pt x="60" y="28"/>
                  </a:lnTo>
                  <a:lnTo>
                    <a:pt x="72" y="38"/>
                  </a:lnTo>
                  <a:lnTo>
                    <a:pt x="78" y="44"/>
                  </a:lnTo>
                  <a:lnTo>
                    <a:pt x="82" y="50"/>
                  </a:lnTo>
                  <a:lnTo>
                    <a:pt x="80" y="56"/>
                  </a:lnTo>
                  <a:lnTo>
                    <a:pt x="80" y="62"/>
                  </a:lnTo>
                  <a:lnTo>
                    <a:pt x="84" y="66"/>
                  </a:lnTo>
                  <a:lnTo>
                    <a:pt x="80" y="70"/>
                  </a:lnTo>
                  <a:lnTo>
                    <a:pt x="72" y="80"/>
                  </a:lnTo>
                  <a:lnTo>
                    <a:pt x="66" y="86"/>
                  </a:lnTo>
                  <a:lnTo>
                    <a:pt x="62" y="88"/>
                  </a:lnTo>
                  <a:lnTo>
                    <a:pt x="60" y="90"/>
                  </a:lnTo>
                  <a:lnTo>
                    <a:pt x="42" y="88"/>
                  </a:lnTo>
                  <a:lnTo>
                    <a:pt x="28" y="86"/>
                  </a:lnTo>
                  <a:lnTo>
                    <a:pt x="18" y="82"/>
                  </a:lnTo>
                  <a:lnTo>
                    <a:pt x="6" y="80"/>
                  </a:lnTo>
                  <a:lnTo>
                    <a:pt x="0" y="76"/>
                  </a:lnTo>
                  <a:lnTo>
                    <a:pt x="0" y="60"/>
                  </a:lnTo>
                  <a:lnTo>
                    <a:pt x="4" y="40"/>
                  </a:lnTo>
                  <a:lnTo>
                    <a:pt x="6" y="24"/>
                  </a:lnTo>
                  <a:lnTo>
                    <a:pt x="10" y="8"/>
                  </a:lnTo>
                  <a:lnTo>
                    <a:pt x="12" y="2"/>
                  </a:lnTo>
                  <a:lnTo>
                    <a:pt x="2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92" name="Freeform 84">
              <a:extLst>
                <a:ext uri="{FF2B5EF4-FFF2-40B4-BE49-F238E27FC236}">
                  <a16:creationId xmlns:a16="http://schemas.microsoft.com/office/drawing/2014/main" id="{57C9AF96-B61B-4DD1-84D4-A149F3AFB936}"/>
                </a:ext>
              </a:extLst>
            </p:cNvPr>
            <p:cNvSpPr>
              <a:spLocks/>
            </p:cNvSpPr>
            <p:nvPr/>
          </p:nvSpPr>
          <p:spPr bwMode="gray">
            <a:xfrm>
              <a:off x="3893206" y="5278935"/>
              <a:ext cx="521738" cy="932823"/>
            </a:xfrm>
            <a:custGeom>
              <a:avLst/>
              <a:gdLst>
                <a:gd name="T0" fmla="*/ 108 w 316"/>
                <a:gd name="T1" fmla="*/ 6 h 562"/>
                <a:gd name="T2" fmla="*/ 138 w 316"/>
                <a:gd name="T3" fmla="*/ 4 h 562"/>
                <a:gd name="T4" fmla="*/ 172 w 316"/>
                <a:gd name="T5" fmla="*/ 2 h 562"/>
                <a:gd name="T6" fmla="*/ 190 w 316"/>
                <a:gd name="T7" fmla="*/ 26 h 562"/>
                <a:gd name="T8" fmla="*/ 210 w 316"/>
                <a:gd name="T9" fmla="*/ 34 h 562"/>
                <a:gd name="T10" fmla="*/ 236 w 316"/>
                <a:gd name="T11" fmla="*/ 50 h 562"/>
                <a:gd name="T12" fmla="*/ 246 w 316"/>
                <a:gd name="T13" fmla="*/ 72 h 562"/>
                <a:gd name="T14" fmla="*/ 266 w 316"/>
                <a:gd name="T15" fmla="*/ 96 h 562"/>
                <a:gd name="T16" fmla="*/ 294 w 316"/>
                <a:gd name="T17" fmla="*/ 84 h 562"/>
                <a:gd name="T18" fmla="*/ 310 w 316"/>
                <a:gd name="T19" fmla="*/ 62 h 562"/>
                <a:gd name="T20" fmla="*/ 312 w 316"/>
                <a:gd name="T21" fmla="*/ 88 h 562"/>
                <a:gd name="T22" fmla="*/ 292 w 316"/>
                <a:gd name="T23" fmla="*/ 104 h 562"/>
                <a:gd name="T24" fmla="*/ 268 w 316"/>
                <a:gd name="T25" fmla="*/ 128 h 562"/>
                <a:gd name="T26" fmla="*/ 252 w 316"/>
                <a:gd name="T27" fmla="*/ 138 h 562"/>
                <a:gd name="T28" fmla="*/ 240 w 316"/>
                <a:gd name="T29" fmla="*/ 192 h 562"/>
                <a:gd name="T30" fmla="*/ 234 w 316"/>
                <a:gd name="T31" fmla="*/ 222 h 562"/>
                <a:gd name="T32" fmla="*/ 258 w 316"/>
                <a:gd name="T33" fmla="*/ 236 h 562"/>
                <a:gd name="T34" fmla="*/ 266 w 316"/>
                <a:gd name="T35" fmla="*/ 254 h 562"/>
                <a:gd name="T36" fmla="*/ 240 w 316"/>
                <a:gd name="T37" fmla="*/ 294 h 562"/>
                <a:gd name="T38" fmla="*/ 190 w 316"/>
                <a:gd name="T39" fmla="*/ 300 h 562"/>
                <a:gd name="T40" fmla="*/ 180 w 316"/>
                <a:gd name="T41" fmla="*/ 314 h 562"/>
                <a:gd name="T42" fmla="*/ 162 w 316"/>
                <a:gd name="T43" fmla="*/ 342 h 562"/>
                <a:gd name="T44" fmla="*/ 136 w 316"/>
                <a:gd name="T45" fmla="*/ 332 h 562"/>
                <a:gd name="T46" fmla="*/ 136 w 316"/>
                <a:gd name="T47" fmla="*/ 362 h 562"/>
                <a:gd name="T48" fmla="*/ 150 w 316"/>
                <a:gd name="T49" fmla="*/ 362 h 562"/>
                <a:gd name="T50" fmla="*/ 158 w 316"/>
                <a:gd name="T51" fmla="*/ 370 h 562"/>
                <a:gd name="T52" fmla="*/ 146 w 316"/>
                <a:gd name="T53" fmla="*/ 368 h 562"/>
                <a:gd name="T54" fmla="*/ 140 w 316"/>
                <a:gd name="T55" fmla="*/ 376 h 562"/>
                <a:gd name="T56" fmla="*/ 132 w 316"/>
                <a:gd name="T57" fmla="*/ 396 h 562"/>
                <a:gd name="T58" fmla="*/ 118 w 316"/>
                <a:gd name="T59" fmla="*/ 414 h 562"/>
                <a:gd name="T60" fmla="*/ 96 w 316"/>
                <a:gd name="T61" fmla="*/ 444 h 562"/>
                <a:gd name="T62" fmla="*/ 112 w 316"/>
                <a:gd name="T63" fmla="*/ 456 h 562"/>
                <a:gd name="T64" fmla="*/ 118 w 316"/>
                <a:gd name="T65" fmla="*/ 474 h 562"/>
                <a:gd name="T66" fmla="*/ 90 w 316"/>
                <a:gd name="T67" fmla="*/ 510 h 562"/>
                <a:gd name="T68" fmla="*/ 70 w 316"/>
                <a:gd name="T69" fmla="*/ 524 h 562"/>
                <a:gd name="T70" fmla="*/ 72 w 316"/>
                <a:gd name="T71" fmla="*/ 552 h 562"/>
                <a:gd name="T72" fmla="*/ 60 w 316"/>
                <a:gd name="T73" fmla="*/ 558 h 562"/>
                <a:gd name="T74" fmla="*/ 18 w 316"/>
                <a:gd name="T75" fmla="*/ 544 h 562"/>
                <a:gd name="T76" fmla="*/ 2 w 316"/>
                <a:gd name="T77" fmla="*/ 520 h 562"/>
                <a:gd name="T78" fmla="*/ 10 w 316"/>
                <a:gd name="T79" fmla="*/ 492 h 562"/>
                <a:gd name="T80" fmla="*/ 28 w 316"/>
                <a:gd name="T81" fmla="*/ 450 h 562"/>
                <a:gd name="T82" fmla="*/ 26 w 316"/>
                <a:gd name="T83" fmla="*/ 400 h 562"/>
                <a:gd name="T84" fmla="*/ 24 w 316"/>
                <a:gd name="T85" fmla="*/ 360 h 562"/>
                <a:gd name="T86" fmla="*/ 36 w 316"/>
                <a:gd name="T87" fmla="*/ 302 h 562"/>
                <a:gd name="T88" fmla="*/ 40 w 316"/>
                <a:gd name="T89" fmla="*/ 278 h 562"/>
                <a:gd name="T90" fmla="*/ 48 w 316"/>
                <a:gd name="T91" fmla="*/ 244 h 562"/>
                <a:gd name="T92" fmla="*/ 56 w 316"/>
                <a:gd name="T93" fmla="*/ 196 h 562"/>
                <a:gd name="T94" fmla="*/ 48 w 316"/>
                <a:gd name="T95" fmla="*/ 156 h 562"/>
                <a:gd name="T96" fmla="*/ 64 w 316"/>
                <a:gd name="T97" fmla="*/ 106 h 562"/>
                <a:gd name="T98" fmla="*/ 76 w 316"/>
                <a:gd name="T99" fmla="*/ 52 h 562"/>
                <a:gd name="T100" fmla="*/ 100 w 316"/>
                <a:gd name="T101" fmla="*/ 30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16" h="562">
                  <a:moveTo>
                    <a:pt x="102" y="18"/>
                  </a:moveTo>
                  <a:lnTo>
                    <a:pt x="104" y="10"/>
                  </a:lnTo>
                  <a:lnTo>
                    <a:pt x="108" y="6"/>
                  </a:lnTo>
                  <a:lnTo>
                    <a:pt x="116" y="0"/>
                  </a:lnTo>
                  <a:lnTo>
                    <a:pt x="124" y="6"/>
                  </a:lnTo>
                  <a:lnTo>
                    <a:pt x="138" y="4"/>
                  </a:lnTo>
                  <a:lnTo>
                    <a:pt x="148" y="16"/>
                  </a:lnTo>
                  <a:lnTo>
                    <a:pt x="154" y="2"/>
                  </a:lnTo>
                  <a:lnTo>
                    <a:pt x="172" y="2"/>
                  </a:lnTo>
                  <a:lnTo>
                    <a:pt x="174" y="8"/>
                  </a:lnTo>
                  <a:lnTo>
                    <a:pt x="180" y="16"/>
                  </a:lnTo>
                  <a:lnTo>
                    <a:pt x="190" y="26"/>
                  </a:lnTo>
                  <a:lnTo>
                    <a:pt x="192" y="28"/>
                  </a:lnTo>
                  <a:lnTo>
                    <a:pt x="202" y="34"/>
                  </a:lnTo>
                  <a:lnTo>
                    <a:pt x="210" y="34"/>
                  </a:lnTo>
                  <a:lnTo>
                    <a:pt x="220" y="40"/>
                  </a:lnTo>
                  <a:lnTo>
                    <a:pt x="226" y="46"/>
                  </a:lnTo>
                  <a:lnTo>
                    <a:pt x="236" y="50"/>
                  </a:lnTo>
                  <a:lnTo>
                    <a:pt x="246" y="54"/>
                  </a:lnTo>
                  <a:lnTo>
                    <a:pt x="252" y="62"/>
                  </a:lnTo>
                  <a:lnTo>
                    <a:pt x="246" y="72"/>
                  </a:lnTo>
                  <a:lnTo>
                    <a:pt x="238" y="88"/>
                  </a:lnTo>
                  <a:lnTo>
                    <a:pt x="244" y="96"/>
                  </a:lnTo>
                  <a:lnTo>
                    <a:pt x="266" y="96"/>
                  </a:lnTo>
                  <a:lnTo>
                    <a:pt x="280" y="92"/>
                  </a:lnTo>
                  <a:lnTo>
                    <a:pt x="288" y="86"/>
                  </a:lnTo>
                  <a:lnTo>
                    <a:pt x="294" y="84"/>
                  </a:lnTo>
                  <a:lnTo>
                    <a:pt x="300" y="70"/>
                  </a:lnTo>
                  <a:lnTo>
                    <a:pt x="300" y="60"/>
                  </a:lnTo>
                  <a:lnTo>
                    <a:pt x="310" y="62"/>
                  </a:lnTo>
                  <a:lnTo>
                    <a:pt x="314" y="66"/>
                  </a:lnTo>
                  <a:lnTo>
                    <a:pt x="316" y="76"/>
                  </a:lnTo>
                  <a:lnTo>
                    <a:pt x="312" y="88"/>
                  </a:lnTo>
                  <a:lnTo>
                    <a:pt x="308" y="94"/>
                  </a:lnTo>
                  <a:lnTo>
                    <a:pt x="300" y="98"/>
                  </a:lnTo>
                  <a:lnTo>
                    <a:pt x="292" y="104"/>
                  </a:lnTo>
                  <a:lnTo>
                    <a:pt x="282" y="112"/>
                  </a:lnTo>
                  <a:lnTo>
                    <a:pt x="274" y="118"/>
                  </a:lnTo>
                  <a:lnTo>
                    <a:pt x="268" y="128"/>
                  </a:lnTo>
                  <a:lnTo>
                    <a:pt x="262" y="132"/>
                  </a:lnTo>
                  <a:lnTo>
                    <a:pt x="260" y="136"/>
                  </a:lnTo>
                  <a:lnTo>
                    <a:pt x="252" y="138"/>
                  </a:lnTo>
                  <a:lnTo>
                    <a:pt x="246" y="160"/>
                  </a:lnTo>
                  <a:lnTo>
                    <a:pt x="244" y="174"/>
                  </a:lnTo>
                  <a:lnTo>
                    <a:pt x="240" y="192"/>
                  </a:lnTo>
                  <a:lnTo>
                    <a:pt x="240" y="212"/>
                  </a:lnTo>
                  <a:lnTo>
                    <a:pt x="236" y="216"/>
                  </a:lnTo>
                  <a:lnTo>
                    <a:pt x="234" y="222"/>
                  </a:lnTo>
                  <a:lnTo>
                    <a:pt x="244" y="224"/>
                  </a:lnTo>
                  <a:lnTo>
                    <a:pt x="254" y="228"/>
                  </a:lnTo>
                  <a:lnTo>
                    <a:pt x="258" y="236"/>
                  </a:lnTo>
                  <a:lnTo>
                    <a:pt x="256" y="244"/>
                  </a:lnTo>
                  <a:lnTo>
                    <a:pt x="258" y="248"/>
                  </a:lnTo>
                  <a:lnTo>
                    <a:pt x="266" y="254"/>
                  </a:lnTo>
                  <a:lnTo>
                    <a:pt x="266" y="268"/>
                  </a:lnTo>
                  <a:lnTo>
                    <a:pt x="254" y="284"/>
                  </a:lnTo>
                  <a:lnTo>
                    <a:pt x="240" y="294"/>
                  </a:lnTo>
                  <a:lnTo>
                    <a:pt x="220" y="296"/>
                  </a:lnTo>
                  <a:lnTo>
                    <a:pt x="206" y="298"/>
                  </a:lnTo>
                  <a:lnTo>
                    <a:pt x="190" y="300"/>
                  </a:lnTo>
                  <a:lnTo>
                    <a:pt x="180" y="298"/>
                  </a:lnTo>
                  <a:lnTo>
                    <a:pt x="178" y="304"/>
                  </a:lnTo>
                  <a:lnTo>
                    <a:pt x="180" y="314"/>
                  </a:lnTo>
                  <a:lnTo>
                    <a:pt x="178" y="330"/>
                  </a:lnTo>
                  <a:lnTo>
                    <a:pt x="170" y="338"/>
                  </a:lnTo>
                  <a:lnTo>
                    <a:pt x="162" y="342"/>
                  </a:lnTo>
                  <a:lnTo>
                    <a:pt x="148" y="336"/>
                  </a:lnTo>
                  <a:lnTo>
                    <a:pt x="142" y="334"/>
                  </a:lnTo>
                  <a:lnTo>
                    <a:pt x="136" y="332"/>
                  </a:lnTo>
                  <a:lnTo>
                    <a:pt x="134" y="338"/>
                  </a:lnTo>
                  <a:lnTo>
                    <a:pt x="136" y="354"/>
                  </a:lnTo>
                  <a:lnTo>
                    <a:pt x="136" y="362"/>
                  </a:lnTo>
                  <a:lnTo>
                    <a:pt x="142" y="364"/>
                  </a:lnTo>
                  <a:lnTo>
                    <a:pt x="150" y="364"/>
                  </a:lnTo>
                  <a:lnTo>
                    <a:pt x="150" y="362"/>
                  </a:lnTo>
                  <a:lnTo>
                    <a:pt x="154" y="360"/>
                  </a:lnTo>
                  <a:lnTo>
                    <a:pt x="158" y="364"/>
                  </a:lnTo>
                  <a:lnTo>
                    <a:pt x="158" y="370"/>
                  </a:lnTo>
                  <a:lnTo>
                    <a:pt x="152" y="374"/>
                  </a:lnTo>
                  <a:lnTo>
                    <a:pt x="148" y="372"/>
                  </a:lnTo>
                  <a:lnTo>
                    <a:pt x="146" y="368"/>
                  </a:lnTo>
                  <a:lnTo>
                    <a:pt x="142" y="368"/>
                  </a:lnTo>
                  <a:lnTo>
                    <a:pt x="138" y="370"/>
                  </a:lnTo>
                  <a:lnTo>
                    <a:pt x="140" y="376"/>
                  </a:lnTo>
                  <a:lnTo>
                    <a:pt x="136" y="382"/>
                  </a:lnTo>
                  <a:lnTo>
                    <a:pt x="130" y="384"/>
                  </a:lnTo>
                  <a:lnTo>
                    <a:pt x="132" y="396"/>
                  </a:lnTo>
                  <a:lnTo>
                    <a:pt x="126" y="408"/>
                  </a:lnTo>
                  <a:lnTo>
                    <a:pt x="124" y="410"/>
                  </a:lnTo>
                  <a:lnTo>
                    <a:pt x="118" y="414"/>
                  </a:lnTo>
                  <a:lnTo>
                    <a:pt x="106" y="420"/>
                  </a:lnTo>
                  <a:lnTo>
                    <a:pt x="94" y="432"/>
                  </a:lnTo>
                  <a:lnTo>
                    <a:pt x="96" y="444"/>
                  </a:lnTo>
                  <a:lnTo>
                    <a:pt x="106" y="454"/>
                  </a:lnTo>
                  <a:lnTo>
                    <a:pt x="106" y="456"/>
                  </a:lnTo>
                  <a:lnTo>
                    <a:pt x="112" y="456"/>
                  </a:lnTo>
                  <a:lnTo>
                    <a:pt x="122" y="458"/>
                  </a:lnTo>
                  <a:lnTo>
                    <a:pt x="122" y="466"/>
                  </a:lnTo>
                  <a:lnTo>
                    <a:pt x="118" y="474"/>
                  </a:lnTo>
                  <a:lnTo>
                    <a:pt x="104" y="486"/>
                  </a:lnTo>
                  <a:lnTo>
                    <a:pt x="94" y="496"/>
                  </a:lnTo>
                  <a:lnTo>
                    <a:pt x="90" y="510"/>
                  </a:lnTo>
                  <a:lnTo>
                    <a:pt x="88" y="516"/>
                  </a:lnTo>
                  <a:lnTo>
                    <a:pt x="76" y="518"/>
                  </a:lnTo>
                  <a:lnTo>
                    <a:pt x="70" y="524"/>
                  </a:lnTo>
                  <a:lnTo>
                    <a:pt x="66" y="538"/>
                  </a:lnTo>
                  <a:lnTo>
                    <a:pt x="68" y="546"/>
                  </a:lnTo>
                  <a:lnTo>
                    <a:pt x="72" y="552"/>
                  </a:lnTo>
                  <a:lnTo>
                    <a:pt x="78" y="560"/>
                  </a:lnTo>
                  <a:lnTo>
                    <a:pt x="76" y="562"/>
                  </a:lnTo>
                  <a:lnTo>
                    <a:pt x="60" y="558"/>
                  </a:lnTo>
                  <a:lnTo>
                    <a:pt x="34" y="558"/>
                  </a:lnTo>
                  <a:lnTo>
                    <a:pt x="24" y="556"/>
                  </a:lnTo>
                  <a:lnTo>
                    <a:pt x="18" y="544"/>
                  </a:lnTo>
                  <a:lnTo>
                    <a:pt x="18" y="528"/>
                  </a:lnTo>
                  <a:lnTo>
                    <a:pt x="6" y="526"/>
                  </a:lnTo>
                  <a:lnTo>
                    <a:pt x="2" y="520"/>
                  </a:lnTo>
                  <a:lnTo>
                    <a:pt x="0" y="510"/>
                  </a:lnTo>
                  <a:lnTo>
                    <a:pt x="2" y="500"/>
                  </a:lnTo>
                  <a:lnTo>
                    <a:pt x="10" y="492"/>
                  </a:lnTo>
                  <a:lnTo>
                    <a:pt x="18" y="480"/>
                  </a:lnTo>
                  <a:lnTo>
                    <a:pt x="20" y="462"/>
                  </a:lnTo>
                  <a:lnTo>
                    <a:pt x="28" y="450"/>
                  </a:lnTo>
                  <a:lnTo>
                    <a:pt x="28" y="424"/>
                  </a:lnTo>
                  <a:lnTo>
                    <a:pt x="30" y="412"/>
                  </a:lnTo>
                  <a:lnTo>
                    <a:pt x="26" y="400"/>
                  </a:lnTo>
                  <a:lnTo>
                    <a:pt x="26" y="380"/>
                  </a:lnTo>
                  <a:lnTo>
                    <a:pt x="22" y="376"/>
                  </a:lnTo>
                  <a:lnTo>
                    <a:pt x="24" y="360"/>
                  </a:lnTo>
                  <a:lnTo>
                    <a:pt x="26" y="348"/>
                  </a:lnTo>
                  <a:lnTo>
                    <a:pt x="28" y="318"/>
                  </a:lnTo>
                  <a:lnTo>
                    <a:pt x="36" y="302"/>
                  </a:lnTo>
                  <a:lnTo>
                    <a:pt x="38" y="296"/>
                  </a:lnTo>
                  <a:lnTo>
                    <a:pt x="40" y="292"/>
                  </a:lnTo>
                  <a:lnTo>
                    <a:pt x="40" y="278"/>
                  </a:lnTo>
                  <a:lnTo>
                    <a:pt x="38" y="254"/>
                  </a:lnTo>
                  <a:lnTo>
                    <a:pt x="44" y="248"/>
                  </a:lnTo>
                  <a:lnTo>
                    <a:pt x="48" y="244"/>
                  </a:lnTo>
                  <a:lnTo>
                    <a:pt x="50" y="224"/>
                  </a:lnTo>
                  <a:lnTo>
                    <a:pt x="54" y="216"/>
                  </a:lnTo>
                  <a:lnTo>
                    <a:pt x="56" y="196"/>
                  </a:lnTo>
                  <a:lnTo>
                    <a:pt x="52" y="180"/>
                  </a:lnTo>
                  <a:lnTo>
                    <a:pt x="48" y="172"/>
                  </a:lnTo>
                  <a:lnTo>
                    <a:pt x="48" y="156"/>
                  </a:lnTo>
                  <a:lnTo>
                    <a:pt x="52" y="148"/>
                  </a:lnTo>
                  <a:lnTo>
                    <a:pt x="56" y="120"/>
                  </a:lnTo>
                  <a:lnTo>
                    <a:pt x="64" y="106"/>
                  </a:lnTo>
                  <a:lnTo>
                    <a:pt x="74" y="92"/>
                  </a:lnTo>
                  <a:lnTo>
                    <a:pt x="80" y="82"/>
                  </a:lnTo>
                  <a:lnTo>
                    <a:pt x="76" y="52"/>
                  </a:lnTo>
                  <a:lnTo>
                    <a:pt x="82" y="46"/>
                  </a:lnTo>
                  <a:lnTo>
                    <a:pt x="90" y="42"/>
                  </a:lnTo>
                  <a:lnTo>
                    <a:pt x="100" y="30"/>
                  </a:lnTo>
                  <a:lnTo>
                    <a:pt x="102" y="1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93" name="Freeform 85">
              <a:extLst>
                <a:ext uri="{FF2B5EF4-FFF2-40B4-BE49-F238E27FC236}">
                  <a16:creationId xmlns:a16="http://schemas.microsoft.com/office/drawing/2014/main" id="{798528A9-F46A-441C-B499-CF6E6D97DEAC}"/>
                </a:ext>
              </a:extLst>
            </p:cNvPr>
            <p:cNvSpPr>
              <a:spLocks/>
            </p:cNvSpPr>
            <p:nvPr/>
          </p:nvSpPr>
          <p:spPr bwMode="gray">
            <a:xfrm>
              <a:off x="3837070" y="5149468"/>
              <a:ext cx="224546" cy="1115405"/>
            </a:xfrm>
            <a:custGeom>
              <a:avLst/>
              <a:gdLst>
                <a:gd name="T0" fmla="*/ 96 w 136"/>
                <a:gd name="T1" fmla="*/ 2 h 672"/>
                <a:gd name="T2" fmla="*/ 112 w 136"/>
                <a:gd name="T3" fmla="*/ 38 h 672"/>
                <a:gd name="T4" fmla="*/ 124 w 136"/>
                <a:gd name="T5" fmla="*/ 82 h 672"/>
                <a:gd name="T6" fmla="*/ 134 w 136"/>
                <a:gd name="T7" fmla="*/ 108 h 672"/>
                <a:gd name="T8" fmla="*/ 110 w 136"/>
                <a:gd name="T9" fmla="*/ 130 h 672"/>
                <a:gd name="T10" fmla="*/ 90 w 136"/>
                <a:gd name="T11" fmla="*/ 198 h 672"/>
                <a:gd name="T12" fmla="*/ 82 w 136"/>
                <a:gd name="T13" fmla="*/ 250 h 672"/>
                <a:gd name="T14" fmla="*/ 84 w 136"/>
                <a:gd name="T15" fmla="*/ 302 h 672"/>
                <a:gd name="T16" fmla="*/ 74 w 136"/>
                <a:gd name="T17" fmla="*/ 354 h 672"/>
                <a:gd name="T18" fmla="*/ 60 w 136"/>
                <a:gd name="T19" fmla="*/ 426 h 672"/>
                <a:gd name="T20" fmla="*/ 60 w 136"/>
                <a:gd name="T21" fmla="*/ 458 h 672"/>
                <a:gd name="T22" fmla="*/ 62 w 136"/>
                <a:gd name="T23" fmla="*/ 502 h 672"/>
                <a:gd name="T24" fmla="*/ 52 w 136"/>
                <a:gd name="T25" fmla="*/ 558 h 672"/>
                <a:gd name="T26" fmla="*/ 34 w 136"/>
                <a:gd name="T27" fmla="*/ 588 h 672"/>
                <a:gd name="T28" fmla="*/ 52 w 136"/>
                <a:gd name="T29" fmla="*/ 606 h 672"/>
                <a:gd name="T30" fmla="*/ 68 w 136"/>
                <a:gd name="T31" fmla="*/ 636 h 672"/>
                <a:gd name="T32" fmla="*/ 88 w 136"/>
                <a:gd name="T33" fmla="*/ 648 h 672"/>
                <a:gd name="T34" fmla="*/ 74 w 136"/>
                <a:gd name="T35" fmla="*/ 666 h 672"/>
                <a:gd name="T36" fmla="*/ 58 w 136"/>
                <a:gd name="T37" fmla="*/ 668 h 672"/>
                <a:gd name="T38" fmla="*/ 70 w 136"/>
                <a:gd name="T39" fmla="*/ 652 h 672"/>
                <a:gd name="T40" fmla="*/ 52 w 136"/>
                <a:gd name="T41" fmla="*/ 662 h 672"/>
                <a:gd name="T42" fmla="*/ 46 w 136"/>
                <a:gd name="T43" fmla="*/ 648 h 672"/>
                <a:gd name="T44" fmla="*/ 38 w 136"/>
                <a:gd name="T45" fmla="*/ 646 h 672"/>
                <a:gd name="T46" fmla="*/ 42 w 136"/>
                <a:gd name="T47" fmla="*/ 632 h 672"/>
                <a:gd name="T48" fmla="*/ 26 w 136"/>
                <a:gd name="T49" fmla="*/ 630 h 672"/>
                <a:gd name="T50" fmla="*/ 20 w 136"/>
                <a:gd name="T51" fmla="*/ 606 h 672"/>
                <a:gd name="T52" fmla="*/ 16 w 136"/>
                <a:gd name="T53" fmla="*/ 590 h 672"/>
                <a:gd name="T54" fmla="*/ 8 w 136"/>
                <a:gd name="T55" fmla="*/ 558 h 672"/>
                <a:gd name="T56" fmla="*/ 18 w 136"/>
                <a:gd name="T57" fmla="*/ 568 h 672"/>
                <a:gd name="T58" fmla="*/ 28 w 136"/>
                <a:gd name="T59" fmla="*/ 556 h 672"/>
                <a:gd name="T60" fmla="*/ 28 w 136"/>
                <a:gd name="T61" fmla="*/ 548 h 672"/>
                <a:gd name="T62" fmla="*/ 18 w 136"/>
                <a:gd name="T63" fmla="*/ 536 h 672"/>
                <a:gd name="T64" fmla="*/ 16 w 136"/>
                <a:gd name="T65" fmla="*/ 530 h 672"/>
                <a:gd name="T66" fmla="*/ 10 w 136"/>
                <a:gd name="T67" fmla="*/ 514 h 672"/>
                <a:gd name="T68" fmla="*/ 24 w 136"/>
                <a:gd name="T69" fmla="*/ 506 h 672"/>
                <a:gd name="T70" fmla="*/ 42 w 136"/>
                <a:gd name="T71" fmla="*/ 494 h 672"/>
                <a:gd name="T72" fmla="*/ 44 w 136"/>
                <a:gd name="T73" fmla="*/ 462 h 672"/>
                <a:gd name="T74" fmla="*/ 46 w 136"/>
                <a:gd name="T75" fmla="*/ 440 h 672"/>
                <a:gd name="T76" fmla="*/ 36 w 136"/>
                <a:gd name="T77" fmla="*/ 428 h 672"/>
                <a:gd name="T78" fmla="*/ 32 w 136"/>
                <a:gd name="T79" fmla="*/ 456 h 672"/>
                <a:gd name="T80" fmla="*/ 22 w 136"/>
                <a:gd name="T81" fmla="*/ 450 h 672"/>
                <a:gd name="T82" fmla="*/ 28 w 136"/>
                <a:gd name="T83" fmla="*/ 426 h 672"/>
                <a:gd name="T84" fmla="*/ 32 w 136"/>
                <a:gd name="T85" fmla="*/ 394 h 672"/>
                <a:gd name="T86" fmla="*/ 34 w 136"/>
                <a:gd name="T87" fmla="*/ 366 h 672"/>
                <a:gd name="T88" fmla="*/ 38 w 136"/>
                <a:gd name="T89" fmla="*/ 346 h 672"/>
                <a:gd name="T90" fmla="*/ 52 w 136"/>
                <a:gd name="T91" fmla="*/ 308 h 672"/>
                <a:gd name="T92" fmla="*/ 64 w 136"/>
                <a:gd name="T93" fmla="*/ 270 h 672"/>
                <a:gd name="T94" fmla="*/ 70 w 136"/>
                <a:gd name="T95" fmla="*/ 214 h 672"/>
                <a:gd name="T96" fmla="*/ 70 w 136"/>
                <a:gd name="T97" fmla="*/ 194 h 672"/>
                <a:gd name="T98" fmla="*/ 82 w 136"/>
                <a:gd name="T99" fmla="*/ 98 h 672"/>
                <a:gd name="T100" fmla="*/ 84 w 136"/>
                <a:gd name="T101" fmla="*/ 18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6" h="672">
                  <a:moveTo>
                    <a:pt x="84" y="18"/>
                  </a:moveTo>
                  <a:lnTo>
                    <a:pt x="90" y="16"/>
                  </a:lnTo>
                  <a:lnTo>
                    <a:pt x="96" y="2"/>
                  </a:lnTo>
                  <a:lnTo>
                    <a:pt x="98" y="0"/>
                  </a:lnTo>
                  <a:lnTo>
                    <a:pt x="102" y="12"/>
                  </a:lnTo>
                  <a:lnTo>
                    <a:pt x="112" y="38"/>
                  </a:lnTo>
                  <a:lnTo>
                    <a:pt x="112" y="56"/>
                  </a:lnTo>
                  <a:lnTo>
                    <a:pt x="120" y="68"/>
                  </a:lnTo>
                  <a:lnTo>
                    <a:pt x="124" y="82"/>
                  </a:lnTo>
                  <a:lnTo>
                    <a:pt x="126" y="96"/>
                  </a:lnTo>
                  <a:lnTo>
                    <a:pt x="136" y="96"/>
                  </a:lnTo>
                  <a:lnTo>
                    <a:pt x="134" y="108"/>
                  </a:lnTo>
                  <a:lnTo>
                    <a:pt x="124" y="120"/>
                  </a:lnTo>
                  <a:lnTo>
                    <a:pt x="116" y="124"/>
                  </a:lnTo>
                  <a:lnTo>
                    <a:pt x="110" y="130"/>
                  </a:lnTo>
                  <a:lnTo>
                    <a:pt x="114" y="160"/>
                  </a:lnTo>
                  <a:lnTo>
                    <a:pt x="96" y="186"/>
                  </a:lnTo>
                  <a:lnTo>
                    <a:pt x="90" y="198"/>
                  </a:lnTo>
                  <a:lnTo>
                    <a:pt x="86" y="222"/>
                  </a:lnTo>
                  <a:lnTo>
                    <a:pt x="82" y="234"/>
                  </a:lnTo>
                  <a:lnTo>
                    <a:pt x="82" y="250"/>
                  </a:lnTo>
                  <a:lnTo>
                    <a:pt x="90" y="274"/>
                  </a:lnTo>
                  <a:lnTo>
                    <a:pt x="88" y="292"/>
                  </a:lnTo>
                  <a:lnTo>
                    <a:pt x="84" y="302"/>
                  </a:lnTo>
                  <a:lnTo>
                    <a:pt x="82" y="322"/>
                  </a:lnTo>
                  <a:lnTo>
                    <a:pt x="72" y="332"/>
                  </a:lnTo>
                  <a:lnTo>
                    <a:pt x="74" y="354"/>
                  </a:lnTo>
                  <a:lnTo>
                    <a:pt x="74" y="370"/>
                  </a:lnTo>
                  <a:lnTo>
                    <a:pt x="62" y="396"/>
                  </a:lnTo>
                  <a:lnTo>
                    <a:pt x="60" y="426"/>
                  </a:lnTo>
                  <a:lnTo>
                    <a:pt x="58" y="438"/>
                  </a:lnTo>
                  <a:lnTo>
                    <a:pt x="56" y="454"/>
                  </a:lnTo>
                  <a:lnTo>
                    <a:pt x="60" y="458"/>
                  </a:lnTo>
                  <a:lnTo>
                    <a:pt x="60" y="478"/>
                  </a:lnTo>
                  <a:lnTo>
                    <a:pt x="64" y="490"/>
                  </a:lnTo>
                  <a:lnTo>
                    <a:pt x="62" y="502"/>
                  </a:lnTo>
                  <a:lnTo>
                    <a:pt x="62" y="528"/>
                  </a:lnTo>
                  <a:lnTo>
                    <a:pt x="54" y="540"/>
                  </a:lnTo>
                  <a:lnTo>
                    <a:pt x="52" y="558"/>
                  </a:lnTo>
                  <a:lnTo>
                    <a:pt x="44" y="570"/>
                  </a:lnTo>
                  <a:lnTo>
                    <a:pt x="36" y="578"/>
                  </a:lnTo>
                  <a:lnTo>
                    <a:pt x="34" y="588"/>
                  </a:lnTo>
                  <a:lnTo>
                    <a:pt x="36" y="596"/>
                  </a:lnTo>
                  <a:lnTo>
                    <a:pt x="40" y="604"/>
                  </a:lnTo>
                  <a:lnTo>
                    <a:pt x="52" y="606"/>
                  </a:lnTo>
                  <a:lnTo>
                    <a:pt x="52" y="622"/>
                  </a:lnTo>
                  <a:lnTo>
                    <a:pt x="58" y="634"/>
                  </a:lnTo>
                  <a:lnTo>
                    <a:pt x="68" y="636"/>
                  </a:lnTo>
                  <a:lnTo>
                    <a:pt x="94" y="636"/>
                  </a:lnTo>
                  <a:lnTo>
                    <a:pt x="96" y="644"/>
                  </a:lnTo>
                  <a:lnTo>
                    <a:pt x="88" y="648"/>
                  </a:lnTo>
                  <a:lnTo>
                    <a:pt x="80" y="650"/>
                  </a:lnTo>
                  <a:lnTo>
                    <a:pt x="74" y="656"/>
                  </a:lnTo>
                  <a:lnTo>
                    <a:pt x="74" y="666"/>
                  </a:lnTo>
                  <a:lnTo>
                    <a:pt x="72" y="672"/>
                  </a:lnTo>
                  <a:lnTo>
                    <a:pt x="64" y="672"/>
                  </a:lnTo>
                  <a:lnTo>
                    <a:pt x="58" y="668"/>
                  </a:lnTo>
                  <a:lnTo>
                    <a:pt x="60" y="664"/>
                  </a:lnTo>
                  <a:lnTo>
                    <a:pt x="66" y="660"/>
                  </a:lnTo>
                  <a:lnTo>
                    <a:pt x="70" y="652"/>
                  </a:lnTo>
                  <a:lnTo>
                    <a:pt x="64" y="648"/>
                  </a:lnTo>
                  <a:lnTo>
                    <a:pt x="56" y="654"/>
                  </a:lnTo>
                  <a:lnTo>
                    <a:pt x="52" y="662"/>
                  </a:lnTo>
                  <a:lnTo>
                    <a:pt x="44" y="660"/>
                  </a:lnTo>
                  <a:lnTo>
                    <a:pt x="38" y="654"/>
                  </a:lnTo>
                  <a:lnTo>
                    <a:pt x="46" y="648"/>
                  </a:lnTo>
                  <a:lnTo>
                    <a:pt x="48" y="644"/>
                  </a:lnTo>
                  <a:lnTo>
                    <a:pt x="46" y="640"/>
                  </a:lnTo>
                  <a:lnTo>
                    <a:pt x="38" y="646"/>
                  </a:lnTo>
                  <a:lnTo>
                    <a:pt x="28" y="646"/>
                  </a:lnTo>
                  <a:lnTo>
                    <a:pt x="30" y="638"/>
                  </a:lnTo>
                  <a:lnTo>
                    <a:pt x="42" y="632"/>
                  </a:lnTo>
                  <a:lnTo>
                    <a:pt x="42" y="628"/>
                  </a:lnTo>
                  <a:lnTo>
                    <a:pt x="34" y="630"/>
                  </a:lnTo>
                  <a:lnTo>
                    <a:pt x="26" y="630"/>
                  </a:lnTo>
                  <a:lnTo>
                    <a:pt x="28" y="622"/>
                  </a:lnTo>
                  <a:lnTo>
                    <a:pt x="22" y="618"/>
                  </a:lnTo>
                  <a:lnTo>
                    <a:pt x="20" y="606"/>
                  </a:lnTo>
                  <a:lnTo>
                    <a:pt x="20" y="602"/>
                  </a:lnTo>
                  <a:lnTo>
                    <a:pt x="20" y="594"/>
                  </a:lnTo>
                  <a:lnTo>
                    <a:pt x="16" y="590"/>
                  </a:lnTo>
                  <a:lnTo>
                    <a:pt x="10" y="582"/>
                  </a:lnTo>
                  <a:lnTo>
                    <a:pt x="6" y="574"/>
                  </a:lnTo>
                  <a:lnTo>
                    <a:pt x="8" y="558"/>
                  </a:lnTo>
                  <a:lnTo>
                    <a:pt x="14" y="558"/>
                  </a:lnTo>
                  <a:lnTo>
                    <a:pt x="16" y="560"/>
                  </a:lnTo>
                  <a:lnTo>
                    <a:pt x="18" y="568"/>
                  </a:lnTo>
                  <a:lnTo>
                    <a:pt x="24" y="566"/>
                  </a:lnTo>
                  <a:lnTo>
                    <a:pt x="24" y="556"/>
                  </a:lnTo>
                  <a:lnTo>
                    <a:pt x="28" y="556"/>
                  </a:lnTo>
                  <a:lnTo>
                    <a:pt x="32" y="554"/>
                  </a:lnTo>
                  <a:lnTo>
                    <a:pt x="32" y="546"/>
                  </a:lnTo>
                  <a:lnTo>
                    <a:pt x="28" y="548"/>
                  </a:lnTo>
                  <a:lnTo>
                    <a:pt x="20" y="550"/>
                  </a:lnTo>
                  <a:lnTo>
                    <a:pt x="18" y="544"/>
                  </a:lnTo>
                  <a:lnTo>
                    <a:pt x="18" y="536"/>
                  </a:lnTo>
                  <a:lnTo>
                    <a:pt x="24" y="534"/>
                  </a:lnTo>
                  <a:lnTo>
                    <a:pt x="24" y="530"/>
                  </a:lnTo>
                  <a:lnTo>
                    <a:pt x="16" y="530"/>
                  </a:lnTo>
                  <a:lnTo>
                    <a:pt x="0" y="530"/>
                  </a:lnTo>
                  <a:lnTo>
                    <a:pt x="6" y="522"/>
                  </a:lnTo>
                  <a:lnTo>
                    <a:pt x="10" y="514"/>
                  </a:lnTo>
                  <a:lnTo>
                    <a:pt x="16" y="506"/>
                  </a:lnTo>
                  <a:lnTo>
                    <a:pt x="22" y="502"/>
                  </a:lnTo>
                  <a:lnTo>
                    <a:pt x="24" y="506"/>
                  </a:lnTo>
                  <a:lnTo>
                    <a:pt x="28" y="518"/>
                  </a:lnTo>
                  <a:lnTo>
                    <a:pt x="36" y="508"/>
                  </a:lnTo>
                  <a:lnTo>
                    <a:pt x="42" y="494"/>
                  </a:lnTo>
                  <a:lnTo>
                    <a:pt x="40" y="484"/>
                  </a:lnTo>
                  <a:lnTo>
                    <a:pt x="38" y="472"/>
                  </a:lnTo>
                  <a:lnTo>
                    <a:pt x="44" y="462"/>
                  </a:lnTo>
                  <a:lnTo>
                    <a:pt x="42" y="452"/>
                  </a:lnTo>
                  <a:lnTo>
                    <a:pt x="44" y="446"/>
                  </a:lnTo>
                  <a:lnTo>
                    <a:pt x="46" y="440"/>
                  </a:lnTo>
                  <a:lnTo>
                    <a:pt x="46" y="428"/>
                  </a:lnTo>
                  <a:lnTo>
                    <a:pt x="40" y="426"/>
                  </a:lnTo>
                  <a:lnTo>
                    <a:pt x="36" y="428"/>
                  </a:lnTo>
                  <a:lnTo>
                    <a:pt x="34" y="438"/>
                  </a:lnTo>
                  <a:lnTo>
                    <a:pt x="32" y="444"/>
                  </a:lnTo>
                  <a:lnTo>
                    <a:pt x="32" y="456"/>
                  </a:lnTo>
                  <a:lnTo>
                    <a:pt x="28" y="462"/>
                  </a:lnTo>
                  <a:lnTo>
                    <a:pt x="22" y="458"/>
                  </a:lnTo>
                  <a:lnTo>
                    <a:pt x="22" y="450"/>
                  </a:lnTo>
                  <a:lnTo>
                    <a:pt x="22" y="438"/>
                  </a:lnTo>
                  <a:lnTo>
                    <a:pt x="26" y="430"/>
                  </a:lnTo>
                  <a:lnTo>
                    <a:pt x="28" y="426"/>
                  </a:lnTo>
                  <a:lnTo>
                    <a:pt x="28" y="416"/>
                  </a:lnTo>
                  <a:lnTo>
                    <a:pt x="30" y="402"/>
                  </a:lnTo>
                  <a:lnTo>
                    <a:pt x="32" y="394"/>
                  </a:lnTo>
                  <a:lnTo>
                    <a:pt x="40" y="386"/>
                  </a:lnTo>
                  <a:lnTo>
                    <a:pt x="36" y="376"/>
                  </a:lnTo>
                  <a:lnTo>
                    <a:pt x="34" y="366"/>
                  </a:lnTo>
                  <a:lnTo>
                    <a:pt x="34" y="358"/>
                  </a:lnTo>
                  <a:lnTo>
                    <a:pt x="32" y="346"/>
                  </a:lnTo>
                  <a:lnTo>
                    <a:pt x="38" y="346"/>
                  </a:lnTo>
                  <a:lnTo>
                    <a:pt x="42" y="332"/>
                  </a:lnTo>
                  <a:lnTo>
                    <a:pt x="48" y="320"/>
                  </a:lnTo>
                  <a:lnTo>
                    <a:pt x="52" y="308"/>
                  </a:lnTo>
                  <a:lnTo>
                    <a:pt x="58" y="292"/>
                  </a:lnTo>
                  <a:lnTo>
                    <a:pt x="60" y="278"/>
                  </a:lnTo>
                  <a:lnTo>
                    <a:pt x="64" y="270"/>
                  </a:lnTo>
                  <a:lnTo>
                    <a:pt x="62" y="232"/>
                  </a:lnTo>
                  <a:lnTo>
                    <a:pt x="62" y="220"/>
                  </a:lnTo>
                  <a:lnTo>
                    <a:pt x="70" y="214"/>
                  </a:lnTo>
                  <a:lnTo>
                    <a:pt x="70" y="206"/>
                  </a:lnTo>
                  <a:lnTo>
                    <a:pt x="66" y="200"/>
                  </a:lnTo>
                  <a:lnTo>
                    <a:pt x="70" y="194"/>
                  </a:lnTo>
                  <a:lnTo>
                    <a:pt x="74" y="174"/>
                  </a:lnTo>
                  <a:lnTo>
                    <a:pt x="80" y="144"/>
                  </a:lnTo>
                  <a:lnTo>
                    <a:pt x="82" y="98"/>
                  </a:lnTo>
                  <a:lnTo>
                    <a:pt x="88" y="52"/>
                  </a:lnTo>
                  <a:lnTo>
                    <a:pt x="86" y="28"/>
                  </a:lnTo>
                  <a:lnTo>
                    <a:pt x="84" y="1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94" name="Freeform 86">
              <a:extLst>
                <a:ext uri="{FF2B5EF4-FFF2-40B4-BE49-F238E27FC236}">
                  <a16:creationId xmlns:a16="http://schemas.microsoft.com/office/drawing/2014/main" id="{9B3C3187-5D4E-4A3B-B065-345B86962D63}"/>
                </a:ext>
              </a:extLst>
            </p:cNvPr>
            <p:cNvSpPr>
              <a:spLocks/>
            </p:cNvSpPr>
            <p:nvPr/>
          </p:nvSpPr>
          <p:spPr bwMode="gray">
            <a:xfrm>
              <a:off x="4021989" y="6234995"/>
              <a:ext cx="92460" cy="76353"/>
            </a:xfrm>
            <a:custGeom>
              <a:avLst/>
              <a:gdLst>
                <a:gd name="T0" fmla="*/ 0 w 56"/>
                <a:gd name="T1" fmla="*/ 0 h 46"/>
                <a:gd name="T2" fmla="*/ 0 w 56"/>
                <a:gd name="T3" fmla="*/ 42 h 46"/>
                <a:gd name="T4" fmla="*/ 12 w 56"/>
                <a:gd name="T5" fmla="*/ 42 h 46"/>
                <a:gd name="T6" fmla="*/ 22 w 56"/>
                <a:gd name="T7" fmla="*/ 42 h 46"/>
                <a:gd name="T8" fmla="*/ 36 w 56"/>
                <a:gd name="T9" fmla="*/ 46 h 46"/>
                <a:gd name="T10" fmla="*/ 50 w 56"/>
                <a:gd name="T11" fmla="*/ 44 h 46"/>
                <a:gd name="T12" fmla="*/ 56 w 56"/>
                <a:gd name="T13" fmla="*/ 42 h 46"/>
                <a:gd name="T14" fmla="*/ 48 w 56"/>
                <a:gd name="T15" fmla="*/ 40 h 46"/>
                <a:gd name="T16" fmla="*/ 32 w 56"/>
                <a:gd name="T17" fmla="*/ 36 h 46"/>
                <a:gd name="T18" fmla="*/ 20 w 56"/>
                <a:gd name="T19" fmla="*/ 28 h 46"/>
                <a:gd name="T20" fmla="*/ 8 w 56"/>
                <a:gd name="T21" fmla="*/ 16 h 46"/>
                <a:gd name="T22" fmla="*/ 6 w 56"/>
                <a:gd name="T23" fmla="*/ 8 h 46"/>
                <a:gd name="T24" fmla="*/ 4 w 56"/>
                <a:gd name="T25" fmla="*/ 2 h 46"/>
                <a:gd name="T26" fmla="*/ 0 w 56"/>
                <a:gd name="T2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 h="46">
                  <a:moveTo>
                    <a:pt x="0" y="0"/>
                  </a:moveTo>
                  <a:lnTo>
                    <a:pt x="0" y="42"/>
                  </a:lnTo>
                  <a:lnTo>
                    <a:pt x="12" y="42"/>
                  </a:lnTo>
                  <a:lnTo>
                    <a:pt x="22" y="42"/>
                  </a:lnTo>
                  <a:lnTo>
                    <a:pt x="36" y="46"/>
                  </a:lnTo>
                  <a:lnTo>
                    <a:pt x="50" y="44"/>
                  </a:lnTo>
                  <a:lnTo>
                    <a:pt x="56" y="42"/>
                  </a:lnTo>
                  <a:lnTo>
                    <a:pt x="48" y="40"/>
                  </a:lnTo>
                  <a:lnTo>
                    <a:pt x="32" y="36"/>
                  </a:lnTo>
                  <a:lnTo>
                    <a:pt x="20" y="28"/>
                  </a:lnTo>
                  <a:lnTo>
                    <a:pt x="8" y="16"/>
                  </a:lnTo>
                  <a:lnTo>
                    <a:pt x="6" y="8"/>
                  </a:lnTo>
                  <a:lnTo>
                    <a:pt x="4" y="2"/>
                  </a:lnTo>
                  <a:lnTo>
                    <a:pt x="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95" name="Freeform 87">
              <a:extLst>
                <a:ext uri="{FF2B5EF4-FFF2-40B4-BE49-F238E27FC236}">
                  <a16:creationId xmlns:a16="http://schemas.microsoft.com/office/drawing/2014/main" id="{E1DD91E8-2BE6-4B51-9C2A-359F512CC9CC}"/>
                </a:ext>
              </a:extLst>
            </p:cNvPr>
            <p:cNvSpPr>
              <a:spLocks/>
            </p:cNvSpPr>
            <p:nvPr/>
          </p:nvSpPr>
          <p:spPr bwMode="gray">
            <a:xfrm>
              <a:off x="3952645" y="6225037"/>
              <a:ext cx="112273" cy="106229"/>
            </a:xfrm>
            <a:custGeom>
              <a:avLst/>
              <a:gdLst>
                <a:gd name="T0" fmla="*/ 2 w 68"/>
                <a:gd name="T1" fmla="*/ 46 h 64"/>
                <a:gd name="T2" fmla="*/ 0 w 68"/>
                <a:gd name="T3" fmla="*/ 40 h 64"/>
                <a:gd name="T4" fmla="*/ 6 w 68"/>
                <a:gd name="T5" fmla="*/ 38 h 64"/>
                <a:gd name="T6" fmla="*/ 10 w 68"/>
                <a:gd name="T7" fmla="*/ 38 h 64"/>
                <a:gd name="T8" fmla="*/ 20 w 68"/>
                <a:gd name="T9" fmla="*/ 38 h 64"/>
                <a:gd name="T10" fmla="*/ 26 w 68"/>
                <a:gd name="T11" fmla="*/ 40 h 64"/>
                <a:gd name="T12" fmla="*/ 30 w 68"/>
                <a:gd name="T13" fmla="*/ 38 h 64"/>
                <a:gd name="T14" fmla="*/ 22 w 68"/>
                <a:gd name="T15" fmla="*/ 32 h 64"/>
                <a:gd name="T16" fmla="*/ 16 w 68"/>
                <a:gd name="T17" fmla="*/ 28 h 64"/>
                <a:gd name="T18" fmla="*/ 18 w 68"/>
                <a:gd name="T19" fmla="*/ 22 h 64"/>
                <a:gd name="T20" fmla="*/ 22 w 68"/>
                <a:gd name="T21" fmla="*/ 22 h 64"/>
                <a:gd name="T22" fmla="*/ 28 w 68"/>
                <a:gd name="T23" fmla="*/ 20 h 64"/>
                <a:gd name="T24" fmla="*/ 26 w 68"/>
                <a:gd name="T25" fmla="*/ 14 h 64"/>
                <a:gd name="T26" fmla="*/ 20 w 68"/>
                <a:gd name="T27" fmla="*/ 16 h 64"/>
                <a:gd name="T28" fmla="*/ 14 w 68"/>
                <a:gd name="T29" fmla="*/ 18 h 64"/>
                <a:gd name="T30" fmla="*/ 12 w 68"/>
                <a:gd name="T31" fmla="*/ 12 h 64"/>
                <a:gd name="T32" fmla="*/ 14 w 68"/>
                <a:gd name="T33" fmla="*/ 8 h 64"/>
                <a:gd name="T34" fmla="*/ 20 w 68"/>
                <a:gd name="T35" fmla="*/ 6 h 64"/>
                <a:gd name="T36" fmla="*/ 24 w 68"/>
                <a:gd name="T37" fmla="*/ 2 h 64"/>
                <a:gd name="T38" fmla="*/ 32 w 68"/>
                <a:gd name="T39" fmla="*/ 0 h 64"/>
                <a:gd name="T40" fmla="*/ 38 w 68"/>
                <a:gd name="T41" fmla="*/ 0 h 64"/>
                <a:gd name="T42" fmla="*/ 42 w 68"/>
                <a:gd name="T43" fmla="*/ 6 h 64"/>
                <a:gd name="T44" fmla="*/ 42 w 68"/>
                <a:gd name="T45" fmla="*/ 48 h 64"/>
                <a:gd name="T46" fmla="*/ 64 w 68"/>
                <a:gd name="T47" fmla="*/ 48 h 64"/>
                <a:gd name="T48" fmla="*/ 68 w 68"/>
                <a:gd name="T49" fmla="*/ 52 h 64"/>
                <a:gd name="T50" fmla="*/ 68 w 68"/>
                <a:gd name="T51" fmla="*/ 56 h 64"/>
                <a:gd name="T52" fmla="*/ 60 w 68"/>
                <a:gd name="T53" fmla="*/ 58 h 64"/>
                <a:gd name="T54" fmla="*/ 52 w 68"/>
                <a:gd name="T55" fmla="*/ 58 h 64"/>
                <a:gd name="T56" fmla="*/ 44 w 68"/>
                <a:gd name="T57" fmla="*/ 60 h 64"/>
                <a:gd name="T58" fmla="*/ 42 w 68"/>
                <a:gd name="T59" fmla="*/ 64 h 64"/>
                <a:gd name="T60" fmla="*/ 34 w 68"/>
                <a:gd name="T61" fmla="*/ 62 h 64"/>
                <a:gd name="T62" fmla="*/ 24 w 68"/>
                <a:gd name="T63" fmla="*/ 60 h 64"/>
                <a:gd name="T64" fmla="*/ 20 w 68"/>
                <a:gd name="T65" fmla="*/ 56 h 64"/>
                <a:gd name="T66" fmla="*/ 20 w 68"/>
                <a:gd name="T67" fmla="*/ 50 h 64"/>
                <a:gd name="T68" fmla="*/ 16 w 68"/>
                <a:gd name="T69" fmla="*/ 50 h 64"/>
                <a:gd name="T70" fmla="*/ 12 w 68"/>
                <a:gd name="T71" fmla="*/ 50 h 64"/>
                <a:gd name="T72" fmla="*/ 12 w 68"/>
                <a:gd name="T73" fmla="*/ 56 h 64"/>
                <a:gd name="T74" fmla="*/ 2 w 68"/>
                <a:gd name="T75" fmla="*/ 52 h 64"/>
                <a:gd name="T76" fmla="*/ 2 w 68"/>
                <a:gd name="T77" fmla="*/ 4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8" h="64">
                  <a:moveTo>
                    <a:pt x="2" y="46"/>
                  </a:moveTo>
                  <a:lnTo>
                    <a:pt x="0" y="40"/>
                  </a:lnTo>
                  <a:lnTo>
                    <a:pt x="6" y="38"/>
                  </a:lnTo>
                  <a:lnTo>
                    <a:pt x="10" y="38"/>
                  </a:lnTo>
                  <a:lnTo>
                    <a:pt x="20" y="38"/>
                  </a:lnTo>
                  <a:lnTo>
                    <a:pt x="26" y="40"/>
                  </a:lnTo>
                  <a:lnTo>
                    <a:pt x="30" y="38"/>
                  </a:lnTo>
                  <a:lnTo>
                    <a:pt x="22" y="32"/>
                  </a:lnTo>
                  <a:lnTo>
                    <a:pt x="16" y="28"/>
                  </a:lnTo>
                  <a:lnTo>
                    <a:pt x="18" y="22"/>
                  </a:lnTo>
                  <a:lnTo>
                    <a:pt x="22" y="22"/>
                  </a:lnTo>
                  <a:lnTo>
                    <a:pt x="28" y="20"/>
                  </a:lnTo>
                  <a:lnTo>
                    <a:pt x="26" y="14"/>
                  </a:lnTo>
                  <a:lnTo>
                    <a:pt x="20" y="16"/>
                  </a:lnTo>
                  <a:lnTo>
                    <a:pt x="14" y="18"/>
                  </a:lnTo>
                  <a:lnTo>
                    <a:pt x="12" y="12"/>
                  </a:lnTo>
                  <a:lnTo>
                    <a:pt x="14" y="8"/>
                  </a:lnTo>
                  <a:lnTo>
                    <a:pt x="20" y="6"/>
                  </a:lnTo>
                  <a:lnTo>
                    <a:pt x="24" y="2"/>
                  </a:lnTo>
                  <a:lnTo>
                    <a:pt x="32" y="0"/>
                  </a:lnTo>
                  <a:lnTo>
                    <a:pt x="38" y="0"/>
                  </a:lnTo>
                  <a:lnTo>
                    <a:pt x="42" y="6"/>
                  </a:lnTo>
                  <a:lnTo>
                    <a:pt x="42" y="48"/>
                  </a:lnTo>
                  <a:lnTo>
                    <a:pt x="64" y="48"/>
                  </a:lnTo>
                  <a:lnTo>
                    <a:pt x="68" y="52"/>
                  </a:lnTo>
                  <a:lnTo>
                    <a:pt x="68" y="56"/>
                  </a:lnTo>
                  <a:lnTo>
                    <a:pt x="60" y="58"/>
                  </a:lnTo>
                  <a:lnTo>
                    <a:pt x="52" y="58"/>
                  </a:lnTo>
                  <a:lnTo>
                    <a:pt x="44" y="60"/>
                  </a:lnTo>
                  <a:lnTo>
                    <a:pt x="42" y="64"/>
                  </a:lnTo>
                  <a:lnTo>
                    <a:pt x="34" y="62"/>
                  </a:lnTo>
                  <a:lnTo>
                    <a:pt x="24" y="60"/>
                  </a:lnTo>
                  <a:lnTo>
                    <a:pt x="20" y="56"/>
                  </a:lnTo>
                  <a:lnTo>
                    <a:pt x="20" y="50"/>
                  </a:lnTo>
                  <a:lnTo>
                    <a:pt x="16" y="50"/>
                  </a:lnTo>
                  <a:lnTo>
                    <a:pt x="12" y="50"/>
                  </a:lnTo>
                  <a:lnTo>
                    <a:pt x="12" y="56"/>
                  </a:lnTo>
                  <a:lnTo>
                    <a:pt x="2" y="52"/>
                  </a:lnTo>
                  <a:lnTo>
                    <a:pt x="2" y="4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96" name="Freeform 88">
              <a:extLst>
                <a:ext uri="{FF2B5EF4-FFF2-40B4-BE49-F238E27FC236}">
                  <a16:creationId xmlns:a16="http://schemas.microsoft.com/office/drawing/2014/main" id="{82A0C04F-F1AB-4904-98FC-2D268D67F7AA}"/>
                </a:ext>
              </a:extLst>
            </p:cNvPr>
            <p:cNvSpPr>
              <a:spLocks/>
            </p:cNvSpPr>
            <p:nvPr/>
          </p:nvSpPr>
          <p:spPr bwMode="gray">
            <a:xfrm>
              <a:off x="4230025" y="6178562"/>
              <a:ext cx="29719" cy="29876"/>
            </a:xfrm>
            <a:custGeom>
              <a:avLst/>
              <a:gdLst>
                <a:gd name="T0" fmla="*/ 6 w 18"/>
                <a:gd name="T1" fmla="*/ 4 h 18"/>
                <a:gd name="T2" fmla="*/ 12 w 18"/>
                <a:gd name="T3" fmla="*/ 0 h 18"/>
                <a:gd name="T4" fmla="*/ 18 w 18"/>
                <a:gd name="T5" fmla="*/ 2 h 18"/>
                <a:gd name="T6" fmla="*/ 18 w 18"/>
                <a:gd name="T7" fmla="*/ 6 h 18"/>
                <a:gd name="T8" fmla="*/ 14 w 18"/>
                <a:gd name="T9" fmla="*/ 10 h 18"/>
                <a:gd name="T10" fmla="*/ 8 w 18"/>
                <a:gd name="T11" fmla="*/ 16 h 18"/>
                <a:gd name="T12" fmla="*/ 4 w 18"/>
                <a:gd name="T13" fmla="*/ 18 h 18"/>
                <a:gd name="T14" fmla="*/ 0 w 18"/>
                <a:gd name="T15" fmla="*/ 16 h 18"/>
                <a:gd name="T16" fmla="*/ 0 w 18"/>
                <a:gd name="T17" fmla="*/ 12 h 18"/>
                <a:gd name="T18" fmla="*/ 4 w 18"/>
                <a:gd name="T19" fmla="*/ 8 h 18"/>
                <a:gd name="T20" fmla="*/ 6 w 18"/>
                <a:gd name="T21" fmla="*/ 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 h="18">
                  <a:moveTo>
                    <a:pt x="6" y="4"/>
                  </a:moveTo>
                  <a:lnTo>
                    <a:pt x="12" y="0"/>
                  </a:lnTo>
                  <a:lnTo>
                    <a:pt x="18" y="2"/>
                  </a:lnTo>
                  <a:lnTo>
                    <a:pt x="18" y="6"/>
                  </a:lnTo>
                  <a:lnTo>
                    <a:pt x="14" y="10"/>
                  </a:lnTo>
                  <a:lnTo>
                    <a:pt x="8" y="16"/>
                  </a:lnTo>
                  <a:lnTo>
                    <a:pt x="4" y="18"/>
                  </a:lnTo>
                  <a:lnTo>
                    <a:pt x="0" y="16"/>
                  </a:lnTo>
                  <a:lnTo>
                    <a:pt x="0" y="12"/>
                  </a:lnTo>
                  <a:lnTo>
                    <a:pt x="4" y="8"/>
                  </a:lnTo>
                  <a:lnTo>
                    <a:pt x="6" y="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97" name="Freeform 89">
              <a:extLst>
                <a:ext uri="{FF2B5EF4-FFF2-40B4-BE49-F238E27FC236}">
                  <a16:creationId xmlns:a16="http://schemas.microsoft.com/office/drawing/2014/main" id="{8ECD711D-2C9B-4661-BE7F-BEDAF72469E2}"/>
                </a:ext>
              </a:extLst>
            </p:cNvPr>
            <p:cNvSpPr>
              <a:spLocks/>
            </p:cNvSpPr>
            <p:nvPr/>
          </p:nvSpPr>
          <p:spPr bwMode="gray">
            <a:xfrm>
              <a:off x="4256442" y="6181882"/>
              <a:ext cx="46230" cy="33197"/>
            </a:xfrm>
            <a:custGeom>
              <a:avLst/>
              <a:gdLst>
                <a:gd name="T0" fmla="*/ 6 w 28"/>
                <a:gd name="T1" fmla="*/ 8 h 20"/>
                <a:gd name="T2" fmla="*/ 10 w 28"/>
                <a:gd name="T3" fmla="*/ 0 h 20"/>
                <a:gd name="T4" fmla="*/ 16 w 28"/>
                <a:gd name="T5" fmla="*/ 0 h 20"/>
                <a:gd name="T6" fmla="*/ 22 w 28"/>
                <a:gd name="T7" fmla="*/ 0 h 20"/>
                <a:gd name="T8" fmla="*/ 28 w 28"/>
                <a:gd name="T9" fmla="*/ 2 h 20"/>
                <a:gd name="T10" fmla="*/ 28 w 28"/>
                <a:gd name="T11" fmla="*/ 6 h 20"/>
                <a:gd name="T12" fmla="*/ 22 w 28"/>
                <a:gd name="T13" fmla="*/ 8 h 20"/>
                <a:gd name="T14" fmla="*/ 18 w 28"/>
                <a:gd name="T15" fmla="*/ 10 h 20"/>
                <a:gd name="T16" fmla="*/ 16 w 28"/>
                <a:gd name="T17" fmla="*/ 10 h 20"/>
                <a:gd name="T18" fmla="*/ 12 w 28"/>
                <a:gd name="T19" fmla="*/ 14 h 20"/>
                <a:gd name="T20" fmla="*/ 8 w 28"/>
                <a:gd name="T21" fmla="*/ 16 h 20"/>
                <a:gd name="T22" fmla="*/ 6 w 28"/>
                <a:gd name="T23" fmla="*/ 20 h 20"/>
                <a:gd name="T24" fmla="*/ 0 w 28"/>
                <a:gd name="T25" fmla="*/ 18 h 20"/>
                <a:gd name="T26" fmla="*/ 0 w 28"/>
                <a:gd name="T27" fmla="*/ 12 h 20"/>
                <a:gd name="T28" fmla="*/ 2 w 28"/>
                <a:gd name="T29" fmla="*/ 10 h 20"/>
                <a:gd name="T30" fmla="*/ 6 w 28"/>
                <a:gd name="T31" fmla="*/ 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 h="20">
                  <a:moveTo>
                    <a:pt x="6" y="8"/>
                  </a:moveTo>
                  <a:lnTo>
                    <a:pt x="10" y="0"/>
                  </a:lnTo>
                  <a:lnTo>
                    <a:pt x="16" y="0"/>
                  </a:lnTo>
                  <a:lnTo>
                    <a:pt x="22" y="0"/>
                  </a:lnTo>
                  <a:lnTo>
                    <a:pt x="28" y="2"/>
                  </a:lnTo>
                  <a:lnTo>
                    <a:pt x="28" y="6"/>
                  </a:lnTo>
                  <a:lnTo>
                    <a:pt x="22" y="8"/>
                  </a:lnTo>
                  <a:lnTo>
                    <a:pt x="18" y="10"/>
                  </a:lnTo>
                  <a:lnTo>
                    <a:pt x="16" y="10"/>
                  </a:lnTo>
                  <a:lnTo>
                    <a:pt x="12" y="14"/>
                  </a:lnTo>
                  <a:lnTo>
                    <a:pt x="8" y="16"/>
                  </a:lnTo>
                  <a:lnTo>
                    <a:pt x="6" y="20"/>
                  </a:lnTo>
                  <a:lnTo>
                    <a:pt x="0" y="18"/>
                  </a:lnTo>
                  <a:lnTo>
                    <a:pt x="0" y="12"/>
                  </a:lnTo>
                  <a:lnTo>
                    <a:pt x="2" y="10"/>
                  </a:lnTo>
                  <a:lnTo>
                    <a:pt x="6" y="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98" name="Freeform 90">
              <a:extLst>
                <a:ext uri="{FF2B5EF4-FFF2-40B4-BE49-F238E27FC236}">
                  <a16:creationId xmlns:a16="http://schemas.microsoft.com/office/drawing/2014/main" id="{BF9B2A95-6C35-42C1-ADA9-A04CCCB2087B}"/>
                </a:ext>
              </a:extLst>
            </p:cNvPr>
            <p:cNvSpPr>
              <a:spLocks/>
            </p:cNvSpPr>
            <p:nvPr/>
          </p:nvSpPr>
          <p:spPr bwMode="gray">
            <a:xfrm>
              <a:off x="3879997" y="4555250"/>
              <a:ext cx="1023665" cy="1058970"/>
            </a:xfrm>
            <a:custGeom>
              <a:avLst/>
              <a:gdLst>
                <a:gd name="T0" fmla="*/ 366 w 620"/>
                <a:gd name="T1" fmla="*/ 36 h 638"/>
                <a:gd name="T2" fmla="*/ 378 w 620"/>
                <a:gd name="T3" fmla="*/ 70 h 638"/>
                <a:gd name="T4" fmla="*/ 362 w 620"/>
                <a:gd name="T5" fmla="*/ 100 h 638"/>
                <a:gd name="T6" fmla="*/ 388 w 620"/>
                <a:gd name="T7" fmla="*/ 78 h 638"/>
                <a:gd name="T8" fmla="*/ 402 w 620"/>
                <a:gd name="T9" fmla="*/ 98 h 638"/>
                <a:gd name="T10" fmla="*/ 404 w 620"/>
                <a:gd name="T11" fmla="*/ 108 h 638"/>
                <a:gd name="T12" fmla="*/ 420 w 620"/>
                <a:gd name="T13" fmla="*/ 92 h 638"/>
                <a:gd name="T14" fmla="*/ 472 w 620"/>
                <a:gd name="T15" fmla="*/ 114 h 638"/>
                <a:gd name="T16" fmla="*/ 476 w 620"/>
                <a:gd name="T17" fmla="*/ 126 h 638"/>
                <a:gd name="T18" fmla="*/ 516 w 620"/>
                <a:gd name="T19" fmla="*/ 130 h 638"/>
                <a:gd name="T20" fmla="*/ 572 w 620"/>
                <a:gd name="T21" fmla="*/ 152 h 638"/>
                <a:gd name="T22" fmla="*/ 614 w 620"/>
                <a:gd name="T23" fmla="*/ 174 h 638"/>
                <a:gd name="T24" fmla="*/ 600 w 620"/>
                <a:gd name="T25" fmla="*/ 246 h 638"/>
                <a:gd name="T26" fmla="*/ 570 w 620"/>
                <a:gd name="T27" fmla="*/ 286 h 638"/>
                <a:gd name="T28" fmla="*/ 556 w 620"/>
                <a:gd name="T29" fmla="*/ 322 h 638"/>
                <a:gd name="T30" fmla="*/ 544 w 620"/>
                <a:gd name="T31" fmla="*/ 392 h 638"/>
                <a:gd name="T32" fmla="*/ 512 w 620"/>
                <a:gd name="T33" fmla="*/ 446 h 638"/>
                <a:gd name="T34" fmla="*/ 454 w 620"/>
                <a:gd name="T35" fmla="*/ 468 h 638"/>
                <a:gd name="T36" fmla="*/ 408 w 620"/>
                <a:gd name="T37" fmla="*/ 494 h 638"/>
                <a:gd name="T38" fmla="*/ 398 w 620"/>
                <a:gd name="T39" fmla="*/ 550 h 638"/>
                <a:gd name="T40" fmla="*/ 374 w 620"/>
                <a:gd name="T41" fmla="*/ 588 h 638"/>
                <a:gd name="T42" fmla="*/ 352 w 620"/>
                <a:gd name="T43" fmla="*/ 606 h 638"/>
                <a:gd name="T44" fmla="*/ 370 w 620"/>
                <a:gd name="T45" fmla="*/ 584 h 638"/>
                <a:gd name="T46" fmla="*/ 352 w 620"/>
                <a:gd name="T47" fmla="*/ 596 h 638"/>
                <a:gd name="T48" fmla="*/ 342 w 620"/>
                <a:gd name="T49" fmla="*/ 622 h 638"/>
                <a:gd name="T50" fmla="*/ 330 w 620"/>
                <a:gd name="T51" fmla="*/ 622 h 638"/>
                <a:gd name="T52" fmla="*/ 286 w 620"/>
                <a:gd name="T53" fmla="*/ 590 h 638"/>
                <a:gd name="T54" fmla="*/ 300 w 620"/>
                <a:gd name="T55" fmla="*/ 540 h 638"/>
                <a:gd name="T56" fmla="*/ 322 w 620"/>
                <a:gd name="T57" fmla="*/ 502 h 638"/>
                <a:gd name="T58" fmla="*/ 314 w 620"/>
                <a:gd name="T59" fmla="*/ 474 h 638"/>
                <a:gd name="T60" fmla="*/ 290 w 620"/>
                <a:gd name="T61" fmla="*/ 446 h 638"/>
                <a:gd name="T62" fmla="*/ 256 w 620"/>
                <a:gd name="T63" fmla="*/ 414 h 638"/>
                <a:gd name="T64" fmla="*/ 260 w 620"/>
                <a:gd name="T65" fmla="*/ 376 h 638"/>
                <a:gd name="T66" fmla="*/ 220 w 620"/>
                <a:gd name="T67" fmla="*/ 342 h 638"/>
                <a:gd name="T68" fmla="*/ 214 w 620"/>
                <a:gd name="T69" fmla="*/ 302 h 638"/>
                <a:gd name="T70" fmla="*/ 162 w 620"/>
                <a:gd name="T71" fmla="*/ 282 h 638"/>
                <a:gd name="T72" fmla="*/ 116 w 620"/>
                <a:gd name="T73" fmla="*/ 244 h 638"/>
                <a:gd name="T74" fmla="*/ 60 w 620"/>
                <a:gd name="T75" fmla="*/ 256 h 638"/>
                <a:gd name="T76" fmla="*/ 48 w 620"/>
                <a:gd name="T77" fmla="*/ 238 h 638"/>
                <a:gd name="T78" fmla="*/ 8 w 620"/>
                <a:gd name="T79" fmla="*/ 222 h 638"/>
                <a:gd name="T80" fmla="*/ 26 w 620"/>
                <a:gd name="T81" fmla="*/ 160 h 638"/>
                <a:gd name="T82" fmla="*/ 70 w 620"/>
                <a:gd name="T83" fmla="*/ 120 h 638"/>
                <a:gd name="T84" fmla="*/ 66 w 620"/>
                <a:gd name="T85" fmla="*/ 72 h 638"/>
                <a:gd name="T86" fmla="*/ 92 w 620"/>
                <a:gd name="T87" fmla="*/ 56 h 638"/>
                <a:gd name="T88" fmla="*/ 130 w 620"/>
                <a:gd name="T89" fmla="*/ 72 h 638"/>
                <a:gd name="T90" fmla="*/ 168 w 620"/>
                <a:gd name="T91" fmla="*/ 44 h 638"/>
                <a:gd name="T92" fmla="*/ 154 w 620"/>
                <a:gd name="T93" fmla="*/ 18 h 638"/>
                <a:gd name="T94" fmla="*/ 194 w 620"/>
                <a:gd name="T95" fmla="*/ 18 h 638"/>
                <a:gd name="T96" fmla="*/ 228 w 620"/>
                <a:gd name="T97" fmla="*/ 22 h 638"/>
                <a:gd name="T98" fmla="*/ 244 w 620"/>
                <a:gd name="T99" fmla="*/ 64 h 638"/>
                <a:gd name="T100" fmla="*/ 276 w 620"/>
                <a:gd name="T101" fmla="*/ 54 h 638"/>
                <a:gd name="T102" fmla="*/ 290 w 620"/>
                <a:gd name="T103" fmla="*/ 44 h 638"/>
                <a:gd name="T104" fmla="*/ 332 w 620"/>
                <a:gd name="T105" fmla="*/ 4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20" h="638">
                  <a:moveTo>
                    <a:pt x="356" y="18"/>
                  </a:moveTo>
                  <a:lnTo>
                    <a:pt x="362" y="20"/>
                  </a:lnTo>
                  <a:lnTo>
                    <a:pt x="366" y="24"/>
                  </a:lnTo>
                  <a:lnTo>
                    <a:pt x="364" y="28"/>
                  </a:lnTo>
                  <a:lnTo>
                    <a:pt x="366" y="36"/>
                  </a:lnTo>
                  <a:lnTo>
                    <a:pt x="368" y="44"/>
                  </a:lnTo>
                  <a:lnTo>
                    <a:pt x="376" y="54"/>
                  </a:lnTo>
                  <a:lnTo>
                    <a:pt x="382" y="60"/>
                  </a:lnTo>
                  <a:lnTo>
                    <a:pt x="382" y="68"/>
                  </a:lnTo>
                  <a:lnTo>
                    <a:pt x="378" y="70"/>
                  </a:lnTo>
                  <a:lnTo>
                    <a:pt x="370" y="76"/>
                  </a:lnTo>
                  <a:lnTo>
                    <a:pt x="362" y="84"/>
                  </a:lnTo>
                  <a:lnTo>
                    <a:pt x="360" y="88"/>
                  </a:lnTo>
                  <a:lnTo>
                    <a:pt x="360" y="96"/>
                  </a:lnTo>
                  <a:lnTo>
                    <a:pt x="362" y="100"/>
                  </a:lnTo>
                  <a:lnTo>
                    <a:pt x="368" y="98"/>
                  </a:lnTo>
                  <a:lnTo>
                    <a:pt x="372" y="92"/>
                  </a:lnTo>
                  <a:lnTo>
                    <a:pt x="372" y="82"/>
                  </a:lnTo>
                  <a:lnTo>
                    <a:pt x="380" y="78"/>
                  </a:lnTo>
                  <a:lnTo>
                    <a:pt x="388" y="78"/>
                  </a:lnTo>
                  <a:lnTo>
                    <a:pt x="392" y="82"/>
                  </a:lnTo>
                  <a:lnTo>
                    <a:pt x="400" y="84"/>
                  </a:lnTo>
                  <a:lnTo>
                    <a:pt x="404" y="88"/>
                  </a:lnTo>
                  <a:lnTo>
                    <a:pt x="404" y="92"/>
                  </a:lnTo>
                  <a:lnTo>
                    <a:pt x="402" y="98"/>
                  </a:lnTo>
                  <a:lnTo>
                    <a:pt x="398" y="102"/>
                  </a:lnTo>
                  <a:lnTo>
                    <a:pt x="392" y="108"/>
                  </a:lnTo>
                  <a:lnTo>
                    <a:pt x="392" y="116"/>
                  </a:lnTo>
                  <a:lnTo>
                    <a:pt x="396" y="116"/>
                  </a:lnTo>
                  <a:lnTo>
                    <a:pt x="404" y="108"/>
                  </a:lnTo>
                  <a:lnTo>
                    <a:pt x="406" y="108"/>
                  </a:lnTo>
                  <a:lnTo>
                    <a:pt x="408" y="104"/>
                  </a:lnTo>
                  <a:lnTo>
                    <a:pt x="410" y="98"/>
                  </a:lnTo>
                  <a:lnTo>
                    <a:pt x="414" y="94"/>
                  </a:lnTo>
                  <a:lnTo>
                    <a:pt x="420" y="92"/>
                  </a:lnTo>
                  <a:lnTo>
                    <a:pt x="426" y="94"/>
                  </a:lnTo>
                  <a:lnTo>
                    <a:pt x="440" y="98"/>
                  </a:lnTo>
                  <a:lnTo>
                    <a:pt x="448" y="104"/>
                  </a:lnTo>
                  <a:lnTo>
                    <a:pt x="462" y="110"/>
                  </a:lnTo>
                  <a:lnTo>
                    <a:pt x="472" y="114"/>
                  </a:lnTo>
                  <a:lnTo>
                    <a:pt x="472" y="120"/>
                  </a:lnTo>
                  <a:lnTo>
                    <a:pt x="468" y="126"/>
                  </a:lnTo>
                  <a:lnTo>
                    <a:pt x="466" y="134"/>
                  </a:lnTo>
                  <a:lnTo>
                    <a:pt x="468" y="134"/>
                  </a:lnTo>
                  <a:lnTo>
                    <a:pt x="476" y="126"/>
                  </a:lnTo>
                  <a:lnTo>
                    <a:pt x="482" y="124"/>
                  </a:lnTo>
                  <a:lnTo>
                    <a:pt x="488" y="122"/>
                  </a:lnTo>
                  <a:lnTo>
                    <a:pt x="496" y="124"/>
                  </a:lnTo>
                  <a:lnTo>
                    <a:pt x="506" y="128"/>
                  </a:lnTo>
                  <a:lnTo>
                    <a:pt x="516" y="130"/>
                  </a:lnTo>
                  <a:lnTo>
                    <a:pt x="528" y="130"/>
                  </a:lnTo>
                  <a:lnTo>
                    <a:pt x="538" y="132"/>
                  </a:lnTo>
                  <a:lnTo>
                    <a:pt x="548" y="134"/>
                  </a:lnTo>
                  <a:lnTo>
                    <a:pt x="560" y="142"/>
                  </a:lnTo>
                  <a:lnTo>
                    <a:pt x="572" y="152"/>
                  </a:lnTo>
                  <a:lnTo>
                    <a:pt x="582" y="160"/>
                  </a:lnTo>
                  <a:lnTo>
                    <a:pt x="592" y="166"/>
                  </a:lnTo>
                  <a:lnTo>
                    <a:pt x="602" y="164"/>
                  </a:lnTo>
                  <a:lnTo>
                    <a:pt x="610" y="164"/>
                  </a:lnTo>
                  <a:lnTo>
                    <a:pt x="614" y="174"/>
                  </a:lnTo>
                  <a:lnTo>
                    <a:pt x="620" y="190"/>
                  </a:lnTo>
                  <a:lnTo>
                    <a:pt x="620" y="206"/>
                  </a:lnTo>
                  <a:lnTo>
                    <a:pt x="618" y="224"/>
                  </a:lnTo>
                  <a:lnTo>
                    <a:pt x="608" y="236"/>
                  </a:lnTo>
                  <a:lnTo>
                    <a:pt x="600" y="246"/>
                  </a:lnTo>
                  <a:lnTo>
                    <a:pt x="580" y="264"/>
                  </a:lnTo>
                  <a:lnTo>
                    <a:pt x="580" y="272"/>
                  </a:lnTo>
                  <a:lnTo>
                    <a:pt x="578" y="278"/>
                  </a:lnTo>
                  <a:lnTo>
                    <a:pt x="574" y="282"/>
                  </a:lnTo>
                  <a:lnTo>
                    <a:pt x="570" y="286"/>
                  </a:lnTo>
                  <a:lnTo>
                    <a:pt x="562" y="290"/>
                  </a:lnTo>
                  <a:lnTo>
                    <a:pt x="556" y="294"/>
                  </a:lnTo>
                  <a:lnTo>
                    <a:pt x="554" y="302"/>
                  </a:lnTo>
                  <a:lnTo>
                    <a:pt x="554" y="310"/>
                  </a:lnTo>
                  <a:lnTo>
                    <a:pt x="556" y="322"/>
                  </a:lnTo>
                  <a:lnTo>
                    <a:pt x="556" y="338"/>
                  </a:lnTo>
                  <a:lnTo>
                    <a:pt x="554" y="350"/>
                  </a:lnTo>
                  <a:lnTo>
                    <a:pt x="552" y="366"/>
                  </a:lnTo>
                  <a:lnTo>
                    <a:pt x="548" y="376"/>
                  </a:lnTo>
                  <a:lnTo>
                    <a:pt x="544" y="392"/>
                  </a:lnTo>
                  <a:lnTo>
                    <a:pt x="536" y="408"/>
                  </a:lnTo>
                  <a:lnTo>
                    <a:pt x="528" y="420"/>
                  </a:lnTo>
                  <a:lnTo>
                    <a:pt x="524" y="434"/>
                  </a:lnTo>
                  <a:lnTo>
                    <a:pt x="518" y="440"/>
                  </a:lnTo>
                  <a:lnTo>
                    <a:pt x="512" y="446"/>
                  </a:lnTo>
                  <a:lnTo>
                    <a:pt x="508" y="452"/>
                  </a:lnTo>
                  <a:lnTo>
                    <a:pt x="494" y="456"/>
                  </a:lnTo>
                  <a:lnTo>
                    <a:pt x="482" y="456"/>
                  </a:lnTo>
                  <a:lnTo>
                    <a:pt x="464" y="458"/>
                  </a:lnTo>
                  <a:lnTo>
                    <a:pt x="454" y="468"/>
                  </a:lnTo>
                  <a:lnTo>
                    <a:pt x="446" y="472"/>
                  </a:lnTo>
                  <a:lnTo>
                    <a:pt x="438" y="472"/>
                  </a:lnTo>
                  <a:lnTo>
                    <a:pt x="430" y="480"/>
                  </a:lnTo>
                  <a:lnTo>
                    <a:pt x="418" y="484"/>
                  </a:lnTo>
                  <a:lnTo>
                    <a:pt x="408" y="494"/>
                  </a:lnTo>
                  <a:lnTo>
                    <a:pt x="404" y="502"/>
                  </a:lnTo>
                  <a:lnTo>
                    <a:pt x="402" y="516"/>
                  </a:lnTo>
                  <a:lnTo>
                    <a:pt x="402" y="526"/>
                  </a:lnTo>
                  <a:lnTo>
                    <a:pt x="404" y="542"/>
                  </a:lnTo>
                  <a:lnTo>
                    <a:pt x="398" y="550"/>
                  </a:lnTo>
                  <a:lnTo>
                    <a:pt x="390" y="560"/>
                  </a:lnTo>
                  <a:lnTo>
                    <a:pt x="384" y="566"/>
                  </a:lnTo>
                  <a:lnTo>
                    <a:pt x="380" y="574"/>
                  </a:lnTo>
                  <a:lnTo>
                    <a:pt x="376" y="584"/>
                  </a:lnTo>
                  <a:lnTo>
                    <a:pt x="374" y="588"/>
                  </a:lnTo>
                  <a:lnTo>
                    <a:pt x="370" y="592"/>
                  </a:lnTo>
                  <a:lnTo>
                    <a:pt x="366" y="600"/>
                  </a:lnTo>
                  <a:lnTo>
                    <a:pt x="360" y="604"/>
                  </a:lnTo>
                  <a:lnTo>
                    <a:pt x="352" y="610"/>
                  </a:lnTo>
                  <a:lnTo>
                    <a:pt x="352" y="606"/>
                  </a:lnTo>
                  <a:lnTo>
                    <a:pt x="352" y="604"/>
                  </a:lnTo>
                  <a:lnTo>
                    <a:pt x="356" y="600"/>
                  </a:lnTo>
                  <a:lnTo>
                    <a:pt x="360" y="596"/>
                  </a:lnTo>
                  <a:lnTo>
                    <a:pt x="366" y="590"/>
                  </a:lnTo>
                  <a:lnTo>
                    <a:pt x="370" y="584"/>
                  </a:lnTo>
                  <a:lnTo>
                    <a:pt x="368" y="580"/>
                  </a:lnTo>
                  <a:lnTo>
                    <a:pt x="364" y="582"/>
                  </a:lnTo>
                  <a:lnTo>
                    <a:pt x="360" y="586"/>
                  </a:lnTo>
                  <a:lnTo>
                    <a:pt x="356" y="592"/>
                  </a:lnTo>
                  <a:lnTo>
                    <a:pt x="352" y="596"/>
                  </a:lnTo>
                  <a:lnTo>
                    <a:pt x="348" y="600"/>
                  </a:lnTo>
                  <a:lnTo>
                    <a:pt x="348" y="606"/>
                  </a:lnTo>
                  <a:lnTo>
                    <a:pt x="346" y="612"/>
                  </a:lnTo>
                  <a:lnTo>
                    <a:pt x="344" y="618"/>
                  </a:lnTo>
                  <a:lnTo>
                    <a:pt x="342" y="622"/>
                  </a:lnTo>
                  <a:lnTo>
                    <a:pt x="336" y="630"/>
                  </a:lnTo>
                  <a:lnTo>
                    <a:pt x="332" y="638"/>
                  </a:lnTo>
                  <a:lnTo>
                    <a:pt x="328" y="634"/>
                  </a:lnTo>
                  <a:lnTo>
                    <a:pt x="328" y="628"/>
                  </a:lnTo>
                  <a:lnTo>
                    <a:pt x="330" y="622"/>
                  </a:lnTo>
                  <a:lnTo>
                    <a:pt x="326" y="614"/>
                  </a:lnTo>
                  <a:lnTo>
                    <a:pt x="320" y="610"/>
                  </a:lnTo>
                  <a:lnTo>
                    <a:pt x="308" y="600"/>
                  </a:lnTo>
                  <a:lnTo>
                    <a:pt x="294" y="592"/>
                  </a:lnTo>
                  <a:lnTo>
                    <a:pt x="286" y="590"/>
                  </a:lnTo>
                  <a:lnTo>
                    <a:pt x="278" y="580"/>
                  </a:lnTo>
                  <a:lnTo>
                    <a:pt x="268" y="572"/>
                  </a:lnTo>
                  <a:lnTo>
                    <a:pt x="270" y="568"/>
                  </a:lnTo>
                  <a:lnTo>
                    <a:pt x="276" y="564"/>
                  </a:lnTo>
                  <a:lnTo>
                    <a:pt x="300" y="540"/>
                  </a:lnTo>
                  <a:lnTo>
                    <a:pt x="308" y="534"/>
                  </a:lnTo>
                  <a:lnTo>
                    <a:pt x="316" y="530"/>
                  </a:lnTo>
                  <a:lnTo>
                    <a:pt x="320" y="524"/>
                  </a:lnTo>
                  <a:lnTo>
                    <a:pt x="324" y="512"/>
                  </a:lnTo>
                  <a:lnTo>
                    <a:pt x="322" y="502"/>
                  </a:lnTo>
                  <a:lnTo>
                    <a:pt x="318" y="498"/>
                  </a:lnTo>
                  <a:lnTo>
                    <a:pt x="308" y="496"/>
                  </a:lnTo>
                  <a:lnTo>
                    <a:pt x="308" y="490"/>
                  </a:lnTo>
                  <a:lnTo>
                    <a:pt x="312" y="482"/>
                  </a:lnTo>
                  <a:lnTo>
                    <a:pt x="314" y="474"/>
                  </a:lnTo>
                  <a:lnTo>
                    <a:pt x="308" y="472"/>
                  </a:lnTo>
                  <a:lnTo>
                    <a:pt x="300" y="474"/>
                  </a:lnTo>
                  <a:lnTo>
                    <a:pt x="292" y="466"/>
                  </a:lnTo>
                  <a:lnTo>
                    <a:pt x="288" y="456"/>
                  </a:lnTo>
                  <a:lnTo>
                    <a:pt x="290" y="446"/>
                  </a:lnTo>
                  <a:lnTo>
                    <a:pt x="284" y="442"/>
                  </a:lnTo>
                  <a:lnTo>
                    <a:pt x="274" y="440"/>
                  </a:lnTo>
                  <a:lnTo>
                    <a:pt x="266" y="442"/>
                  </a:lnTo>
                  <a:lnTo>
                    <a:pt x="256" y="442"/>
                  </a:lnTo>
                  <a:lnTo>
                    <a:pt x="256" y="414"/>
                  </a:lnTo>
                  <a:lnTo>
                    <a:pt x="252" y="406"/>
                  </a:lnTo>
                  <a:lnTo>
                    <a:pt x="256" y="402"/>
                  </a:lnTo>
                  <a:lnTo>
                    <a:pt x="252" y="396"/>
                  </a:lnTo>
                  <a:lnTo>
                    <a:pt x="260" y="382"/>
                  </a:lnTo>
                  <a:lnTo>
                    <a:pt x="260" y="376"/>
                  </a:lnTo>
                  <a:lnTo>
                    <a:pt x="258" y="366"/>
                  </a:lnTo>
                  <a:lnTo>
                    <a:pt x="248" y="362"/>
                  </a:lnTo>
                  <a:lnTo>
                    <a:pt x="246" y="350"/>
                  </a:lnTo>
                  <a:lnTo>
                    <a:pt x="248" y="342"/>
                  </a:lnTo>
                  <a:lnTo>
                    <a:pt x="220" y="342"/>
                  </a:lnTo>
                  <a:lnTo>
                    <a:pt x="218" y="330"/>
                  </a:lnTo>
                  <a:lnTo>
                    <a:pt x="218" y="326"/>
                  </a:lnTo>
                  <a:lnTo>
                    <a:pt x="220" y="322"/>
                  </a:lnTo>
                  <a:lnTo>
                    <a:pt x="218" y="314"/>
                  </a:lnTo>
                  <a:lnTo>
                    <a:pt x="214" y="302"/>
                  </a:lnTo>
                  <a:lnTo>
                    <a:pt x="196" y="298"/>
                  </a:lnTo>
                  <a:lnTo>
                    <a:pt x="184" y="292"/>
                  </a:lnTo>
                  <a:lnTo>
                    <a:pt x="176" y="290"/>
                  </a:lnTo>
                  <a:lnTo>
                    <a:pt x="172" y="284"/>
                  </a:lnTo>
                  <a:lnTo>
                    <a:pt x="162" y="282"/>
                  </a:lnTo>
                  <a:lnTo>
                    <a:pt x="152" y="280"/>
                  </a:lnTo>
                  <a:lnTo>
                    <a:pt x="140" y="268"/>
                  </a:lnTo>
                  <a:lnTo>
                    <a:pt x="138" y="240"/>
                  </a:lnTo>
                  <a:lnTo>
                    <a:pt x="126" y="240"/>
                  </a:lnTo>
                  <a:lnTo>
                    <a:pt x="116" y="244"/>
                  </a:lnTo>
                  <a:lnTo>
                    <a:pt x="114" y="244"/>
                  </a:lnTo>
                  <a:lnTo>
                    <a:pt x="106" y="250"/>
                  </a:lnTo>
                  <a:lnTo>
                    <a:pt x="92" y="256"/>
                  </a:lnTo>
                  <a:lnTo>
                    <a:pt x="72" y="258"/>
                  </a:lnTo>
                  <a:lnTo>
                    <a:pt x="60" y="256"/>
                  </a:lnTo>
                  <a:lnTo>
                    <a:pt x="54" y="256"/>
                  </a:lnTo>
                  <a:lnTo>
                    <a:pt x="52" y="250"/>
                  </a:lnTo>
                  <a:lnTo>
                    <a:pt x="56" y="238"/>
                  </a:lnTo>
                  <a:lnTo>
                    <a:pt x="54" y="232"/>
                  </a:lnTo>
                  <a:lnTo>
                    <a:pt x="48" y="238"/>
                  </a:lnTo>
                  <a:lnTo>
                    <a:pt x="38" y="242"/>
                  </a:lnTo>
                  <a:lnTo>
                    <a:pt x="36" y="244"/>
                  </a:lnTo>
                  <a:lnTo>
                    <a:pt x="28" y="242"/>
                  </a:lnTo>
                  <a:lnTo>
                    <a:pt x="18" y="232"/>
                  </a:lnTo>
                  <a:lnTo>
                    <a:pt x="8" y="222"/>
                  </a:lnTo>
                  <a:lnTo>
                    <a:pt x="0" y="200"/>
                  </a:lnTo>
                  <a:lnTo>
                    <a:pt x="8" y="188"/>
                  </a:lnTo>
                  <a:lnTo>
                    <a:pt x="14" y="182"/>
                  </a:lnTo>
                  <a:lnTo>
                    <a:pt x="16" y="172"/>
                  </a:lnTo>
                  <a:lnTo>
                    <a:pt x="26" y="160"/>
                  </a:lnTo>
                  <a:lnTo>
                    <a:pt x="40" y="154"/>
                  </a:lnTo>
                  <a:lnTo>
                    <a:pt x="62" y="152"/>
                  </a:lnTo>
                  <a:lnTo>
                    <a:pt x="68" y="138"/>
                  </a:lnTo>
                  <a:lnTo>
                    <a:pt x="68" y="126"/>
                  </a:lnTo>
                  <a:lnTo>
                    <a:pt x="70" y="120"/>
                  </a:lnTo>
                  <a:lnTo>
                    <a:pt x="72" y="106"/>
                  </a:lnTo>
                  <a:lnTo>
                    <a:pt x="70" y="94"/>
                  </a:lnTo>
                  <a:lnTo>
                    <a:pt x="64" y="86"/>
                  </a:lnTo>
                  <a:lnTo>
                    <a:pt x="64" y="74"/>
                  </a:lnTo>
                  <a:lnTo>
                    <a:pt x="66" y="72"/>
                  </a:lnTo>
                  <a:lnTo>
                    <a:pt x="76" y="74"/>
                  </a:lnTo>
                  <a:lnTo>
                    <a:pt x="76" y="68"/>
                  </a:lnTo>
                  <a:lnTo>
                    <a:pt x="64" y="64"/>
                  </a:lnTo>
                  <a:lnTo>
                    <a:pt x="64" y="58"/>
                  </a:lnTo>
                  <a:lnTo>
                    <a:pt x="92" y="56"/>
                  </a:lnTo>
                  <a:lnTo>
                    <a:pt x="102" y="54"/>
                  </a:lnTo>
                  <a:lnTo>
                    <a:pt x="108" y="56"/>
                  </a:lnTo>
                  <a:lnTo>
                    <a:pt x="112" y="62"/>
                  </a:lnTo>
                  <a:lnTo>
                    <a:pt x="120" y="70"/>
                  </a:lnTo>
                  <a:lnTo>
                    <a:pt x="130" y="72"/>
                  </a:lnTo>
                  <a:lnTo>
                    <a:pt x="144" y="68"/>
                  </a:lnTo>
                  <a:lnTo>
                    <a:pt x="150" y="62"/>
                  </a:lnTo>
                  <a:lnTo>
                    <a:pt x="156" y="56"/>
                  </a:lnTo>
                  <a:lnTo>
                    <a:pt x="168" y="52"/>
                  </a:lnTo>
                  <a:lnTo>
                    <a:pt x="168" y="44"/>
                  </a:lnTo>
                  <a:lnTo>
                    <a:pt x="162" y="44"/>
                  </a:lnTo>
                  <a:lnTo>
                    <a:pt x="156" y="36"/>
                  </a:lnTo>
                  <a:lnTo>
                    <a:pt x="154" y="26"/>
                  </a:lnTo>
                  <a:lnTo>
                    <a:pt x="148" y="20"/>
                  </a:lnTo>
                  <a:lnTo>
                    <a:pt x="154" y="18"/>
                  </a:lnTo>
                  <a:lnTo>
                    <a:pt x="162" y="22"/>
                  </a:lnTo>
                  <a:lnTo>
                    <a:pt x="174" y="22"/>
                  </a:lnTo>
                  <a:lnTo>
                    <a:pt x="178" y="24"/>
                  </a:lnTo>
                  <a:lnTo>
                    <a:pt x="184" y="20"/>
                  </a:lnTo>
                  <a:lnTo>
                    <a:pt x="194" y="18"/>
                  </a:lnTo>
                  <a:lnTo>
                    <a:pt x="206" y="14"/>
                  </a:lnTo>
                  <a:lnTo>
                    <a:pt x="210" y="4"/>
                  </a:lnTo>
                  <a:lnTo>
                    <a:pt x="208" y="0"/>
                  </a:lnTo>
                  <a:lnTo>
                    <a:pt x="220" y="0"/>
                  </a:lnTo>
                  <a:lnTo>
                    <a:pt x="228" y="22"/>
                  </a:lnTo>
                  <a:lnTo>
                    <a:pt x="222" y="28"/>
                  </a:lnTo>
                  <a:lnTo>
                    <a:pt x="222" y="48"/>
                  </a:lnTo>
                  <a:lnTo>
                    <a:pt x="228" y="56"/>
                  </a:lnTo>
                  <a:lnTo>
                    <a:pt x="236" y="64"/>
                  </a:lnTo>
                  <a:lnTo>
                    <a:pt x="244" y="64"/>
                  </a:lnTo>
                  <a:lnTo>
                    <a:pt x="254" y="62"/>
                  </a:lnTo>
                  <a:lnTo>
                    <a:pt x="260" y="58"/>
                  </a:lnTo>
                  <a:lnTo>
                    <a:pt x="268" y="54"/>
                  </a:lnTo>
                  <a:lnTo>
                    <a:pt x="272" y="50"/>
                  </a:lnTo>
                  <a:lnTo>
                    <a:pt x="276" y="54"/>
                  </a:lnTo>
                  <a:lnTo>
                    <a:pt x="282" y="54"/>
                  </a:lnTo>
                  <a:lnTo>
                    <a:pt x="284" y="54"/>
                  </a:lnTo>
                  <a:lnTo>
                    <a:pt x="286" y="48"/>
                  </a:lnTo>
                  <a:lnTo>
                    <a:pt x="286" y="44"/>
                  </a:lnTo>
                  <a:lnTo>
                    <a:pt x="290" y="44"/>
                  </a:lnTo>
                  <a:lnTo>
                    <a:pt x="300" y="46"/>
                  </a:lnTo>
                  <a:lnTo>
                    <a:pt x="310" y="50"/>
                  </a:lnTo>
                  <a:lnTo>
                    <a:pt x="316" y="50"/>
                  </a:lnTo>
                  <a:lnTo>
                    <a:pt x="322" y="46"/>
                  </a:lnTo>
                  <a:lnTo>
                    <a:pt x="332" y="48"/>
                  </a:lnTo>
                  <a:lnTo>
                    <a:pt x="338" y="52"/>
                  </a:lnTo>
                  <a:lnTo>
                    <a:pt x="350" y="24"/>
                  </a:lnTo>
                  <a:lnTo>
                    <a:pt x="356" y="1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99" name="Freeform 91">
              <a:extLst>
                <a:ext uri="{FF2B5EF4-FFF2-40B4-BE49-F238E27FC236}">
                  <a16:creationId xmlns:a16="http://schemas.microsoft.com/office/drawing/2014/main" id="{346B3A75-0AD9-4410-9739-503E5FCFD21A}"/>
                </a:ext>
              </a:extLst>
            </p:cNvPr>
            <p:cNvSpPr>
              <a:spLocks/>
            </p:cNvSpPr>
            <p:nvPr/>
          </p:nvSpPr>
          <p:spPr bwMode="gray">
            <a:xfrm>
              <a:off x="6105642" y="1929400"/>
              <a:ext cx="275729" cy="199179"/>
            </a:xfrm>
            <a:custGeom>
              <a:avLst/>
              <a:gdLst>
                <a:gd name="T0" fmla="*/ 55 w 167"/>
                <a:gd name="T1" fmla="*/ 84 h 120"/>
                <a:gd name="T2" fmla="*/ 71 w 167"/>
                <a:gd name="T3" fmla="*/ 80 h 120"/>
                <a:gd name="T4" fmla="*/ 43 w 167"/>
                <a:gd name="T5" fmla="*/ 78 h 120"/>
                <a:gd name="T6" fmla="*/ 55 w 167"/>
                <a:gd name="T7" fmla="*/ 64 h 120"/>
                <a:gd name="T8" fmla="*/ 85 w 167"/>
                <a:gd name="T9" fmla="*/ 60 h 120"/>
                <a:gd name="T10" fmla="*/ 89 w 167"/>
                <a:gd name="T11" fmla="*/ 48 h 120"/>
                <a:gd name="T12" fmla="*/ 71 w 167"/>
                <a:gd name="T13" fmla="*/ 52 h 120"/>
                <a:gd name="T14" fmla="*/ 65 w 167"/>
                <a:gd name="T15" fmla="*/ 42 h 120"/>
                <a:gd name="T16" fmla="*/ 55 w 167"/>
                <a:gd name="T17" fmla="*/ 48 h 120"/>
                <a:gd name="T18" fmla="*/ 37 w 167"/>
                <a:gd name="T19" fmla="*/ 64 h 120"/>
                <a:gd name="T20" fmla="*/ 11 w 167"/>
                <a:gd name="T21" fmla="*/ 46 h 120"/>
                <a:gd name="T22" fmla="*/ 19 w 167"/>
                <a:gd name="T23" fmla="*/ 28 h 120"/>
                <a:gd name="T24" fmla="*/ 11 w 167"/>
                <a:gd name="T25" fmla="*/ 24 h 120"/>
                <a:gd name="T26" fmla="*/ 0 w 167"/>
                <a:gd name="T27" fmla="*/ 20 h 120"/>
                <a:gd name="T28" fmla="*/ 19 w 167"/>
                <a:gd name="T29" fmla="*/ 8 h 120"/>
                <a:gd name="T30" fmla="*/ 47 w 167"/>
                <a:gd name="T31" fmla="*/ 10 h 120"/>
                <a:gd name="T32" fmla="*/ 55 w 167"/>
                <a:gd name="T33" fmla="*/ 12 h 120"/>
                <a:gd name="T34" fmla="*/ 73 w 167"/>
                <a:gd name="T35" fmla="*/ 14 h 120"/>
                <a:gd name="T36" fmla="*/ 77 w 167"/>
                <a:gd name="T37" fmla="*/ 28 h 120"/>
                <a:gd name="T38" fmla="*/ 89 w 167"/>
                <a:gd name="T39" fmla="*/ 38 h 120"/>
                <a:gd name="T40" fmla="*/ 83 w 167"/>
                <a:gd name="T41" fmla="*/ 12 h 120"/>
                <a:gd name="T42" fmla="*/ 85 w 167"/>
                <a:gd name="T43" fmla="*/ 0 h 120"/>
                <a:gd name="T44" fmla="*/ 107 w 167"/>
                <a:gd name="T45" fmla="*/ 8 h 120"/>
                <a:gd name="T46" fmla="*/ 111 w 167"/>
                <a:gd name="T47" fmla="*/ 22 h 120"/>
                <a:gd name="T48" fmla="*/ 127 w 167"/>
                <a:gd name="T49" fmla="*/ 22 h 120"/>
                <a:gd name="T50" fmla="*/ 151 w 167"/>
                <a:gd name="T51" fmla="*/ 36 h 120"/>
                <a:gd name="T52" fmla="*/ 159 w 167"/>
                <a:gd name="T53" fmla="*/ 48 h 120"/>
                <a:gd name="T54" fmla="*/ 123 w 167"/>
                <a:gd name="T55" fmla="*/ 60 h 120"/>
                <a:gd name="T56" fmla="*/ 117 w 167"/>
                <a:gd name="T57" fmla="*/ 84 h 120"/>
                <a:gd name="T58" fmla="*/ 101 w 167"/>
                <a:gd name="T59" fmla="*/ 102 h 120"/>
                <a:gd name="T60" fmla="*/ 81 w 167"/>
                <a:gd name="T61" fmla="*/ 114 h 120"/>
                <a:gd name="T62" fmla="*/ 67 w 167"/>
                <a:gd name="T63" fmla="*/ 104 h 120"/>
                <a:gd name="T64" fmla="*/ 45 w 167"/>
                <a:gd name="T65" fmla="*/ 9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7" h="120">
                  <a:moveTo>
                    <a:pt x="45" y="92"/>
                  </a:moveTo>
                  <a:lnTo>
                    <a:pt x="55" y="84"/>
                  </a:lnTo>
                  <a:lnTo>
                    <a:pt x="83" y="88"/>
                  </a:lnTo>
                  <a:lnTo>
                    <a:pt x="71" y="80"/>
                  </a:lnTo>
                  <a:lnTo>
                    <a:pt x="59" y="76"/>
                  </a:lnTo>
                  <a:lnTo>
                    <a:pt x="43" y="78"/>
                  </a:lnTo>
                  <a:lnTo>
                    <a:pt x="43" y="68"/>
                  </a:lnTo>
                  <a:lnTo>
                    <a:pt x="55" y="64"/>
                  </a:lnTo>
                  <a:lnTo>
                    <a:pt x="69" y="60"/>
                  </a:lnTo>
                  <a:lnTo>
                    <a:pt x="85" y="60"/>
                  </a:lnTo>
                  <a:lnTo>
                    <a:pt x="97" y="56"/>
                  </a:lnTo>
                  <a:lnTo>
                    <a:pt x="89" y="48"/>
                  </a:lnTo>
                  <a:lnTo>
                    <a:pt x="83" y="52"/>
                  </a:lnTo>
                  <a:lnTo>
                    <a:pt x="71" y="52"/>
                  </a:lnTo>
                  <a:lnTo>
                    <a:pt x="71" y="44"/>
                  </a:lnTo>
                  <a:lnTo>
                    <a:pt x="65" y="42"/>
                  </a:lnTo>
                  <a:lnTo>
                    <a:pt x="61" y="48"/>
                  </a:lnTo>
                  <a:lnTo>
                    <a:pt x="55" y="48"/>
                  </a:lnTo>
                  <a:lnTo>
                    <a:pt x="51" y="56"/>
                  </a:lnTo>
                  <a:lnTo>
                    <a:pt x="37" y="64"/>
                  </a:lnTo>
                  <a:lnTo>
                    <a:pt x="27" y="58"/>
                  </a:lnTo>
                  <a:lnTo>
                    <a:pt x="11" y="46"/>
                  </a:lnTo>
                  <a:lnTo>
                    <a:pt x="7" y="36"/>
                  </a:lnTo>
                  <a:lnTo>
                    <a:pt x="19" y="28"/>
                  </a:lnTo>
                  <a:lnTo>
                    <a:pt x="19" y="24"/>
                  </a:lnTo>
                  <a:lnTo>
                    <a:pt x="11" y="24"/>
                  </a:lnTo>
                  <a:lnTo>
                    <a:pt x="2" y="30"/>
                  </a:lnTo>
                  <a:lnTo>
                    <a:pt x="0" y="20"/>
                  </a:lnTo>
                  <a:lnTo>
                    <a:pt x="4" y="12"/>
                  </a:lnTo>
                  <a:lnTo>
                    <a:pt x="19" y="8"/>
                  </a:lnTo>
                  <a:lnTo>
                    <a:pt x="33" y="8"/>
                  </a:lnTo>
                  <a:lnTo>
                    <a:pt x="47" y="10"/>
                  </a:lnTo>
                  <a:lnTo>
                    <a:pt x="51" y="26"/>
                  </a:lnTo>
                  <a:lnTo>
                    <a:pt x="55" y="12"/>
                  </a:lnTo>
                  <a:lnTo>
                    <a:pt x="63" y="10"/>
                  </a:lnTo>
                  <a:lnTo>
                    <a:pt x="73" y="14"/>
                  </a:lnTo>
                  <a:lnTo>
                    <a:pt x="75" y="22"/>
                  </a:lnTo>
                  <a:lnTo>
                    <a:pt x="77" y="28"/>
                  </a:lnTo>
                  <a:lnTo>
                    <a:pt x="83" y="36"/>
                  </a:lnTo>
                  <a:lnTo>
                    <a:pt x="89" y="38"/>
                  </a:lnTo>
                  <a:lnTo>
                    <a:pt x="87" y="24"/>
                  </a:lnTo>
                  <a:lnTo>
                    <a:pt x="83" y="12"/>
                  </a:lnTo>
                  <a:lnTo>
                    <a:pt x="81" y="4"/>
                  </a:lnTo>
                  <a:lnTo>
                    <a:pt x="85" y="0"/>
                  </a:lnTo>
                  <a:lnTo>
                    <a:pt x="95" y="4"/>
                  </a:lnTo>
                  <a:lnTo>
                    <a:pt x="107" y="8"/>
                  </a:lnTo>
                  <a:lnTo>
                    <a:pt x="103" y="20"/>
                  </a:lnTo>
                  <a:lnTo>
                    <a:pt x="111" y="22"/>
                  </a:lnTo>
                  <a:lnTo>
                    <a:pt x="115" y="16"/>
                  </a:lnTo>
                  <a:lnTo>
                    <a:pt x="127" y="22"/>
                  </a:lnTo>
                  <a:lnTo>
                    <a:pt x="127" y="30"/>
                  </a:lnTo>
                  <a:lnTo>
                    <a:pt x="151" y="36"/>
                  </a:lnTo>
                  <a:lnTo>
                    <a:pt x="167" y="44"/>
                  </a:lnTo>
                  <a:lnTo>
                    <a:pt x="159" y="48"/>
                  </a:lnTo>
                  <a:lnTo>
                    <a:pt x="137" y="52"/>
                  </a:lnTo>
                  <a:lnTo>
                    <a:pt x="123" y="60"/>
                  </a:lnTo>
                  <a:lnTo>
                    <a:pt x="119" y="68"/>
                  </a:lnTo>
                  <a:lnTo>
                    <a:pt x="117" y="84"/>
                  </a:lnTo>
                  <a:lnTo>
                    <a:pt x="107" y="88"/>
                  </a:lnTo>
                  <a:lnTo>
                    <a:pt x="101" y="102"/>
                  </a:lnTo>
                  <a:lnTo>
                    <a:pt x="93" y="120"/>
                  </a:lnTo>
                  <a:lnTo>
                    <a:pt x="81" y="114"/>
                  </a:lnTo>
                  <a:lnTo>
                    <a:pt x="81" y="102"/>
                  </a:lnTo>
                  <a:lnTo>
                    <a:pt x="67" y="104"/>
                  </a:lnTo>
                  <a:lnTo>
                    <a:pt x="59" y="98"/>
                  </a:lnTo>
                  <a:lnTo>
                    <a:pt x="45" y="9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00" name="Freeform 92">
              <a:extLst>
                <a:ext uri="{FF2B5EF4-FFF2-40B4-BE49-F238E27FC236}">
                  <a16:creationId xmlns:a16="http://schemas.microsoft.com/office/drawing/2014/main" id="{A3A714C4-5741-402A-8B0F-3EFCBE758A57}"/>
                </a:ext>
              </a:extLst>
            </p:cNvPr>
            <p:cNvSpPr>
              <a:spLocks/>
            </p:cNvSpPr>
            <p:nvPr/>
          </p:nvSpPr>
          <p:spPr bwMode="gray">
            <a:xfrm>
              <a:off x="6298817" y="1899523"/>
              <a:ext cx="237754" cy="82991"/>
            </a:xfrm>
            <a:custGeom>
              <a:avLst/>
              <a:gdLst>
                <a:gd name="T0" fmla="*/ 62 w 144"/>
                <a:gd name="T1" fmla="*/ 38 h 50"/>
                <a:gd name="T2" fmla="*/ 52 w 144"/>
                <a:gd name="T3" fmla="*/ 38 h 50"/>
                <a:gd name="T4" fmla="*/ 34 w 144"/>
                <a:gd name="T5" fmla="*/ 38 h 50"/>
                <a:gd name="T6" fmla="*/ 36 w 144"/>
                <a:gd name="T7" fmla="*/ 30 h 50"/>
                <a:gd name="T8" fmla="*/ 54 w 144"/>
                <a:gd name="T9" fmla="*/ 28 h 50"/>
                <a:gd name="T10" fmla="*/ 60 w 144"/>
                <a:gd name="T11" fmla="*/ 24 h 50"/>
                <a:gd name="T12" fmla="*/ 50 w 144"/>
                <a:gd name="T13" fmla="*/ 22 h 50"/>
                <a:gd name="T14" fmla="*/ 34 w 144"/>
                <a:gd name="T15" fmla="*/ 22 h 50"/>
                <a:gd name="T16" fmla="*/ 18 w 144"/>
                <a:gd name="T17" fmla="*/ 26 h 50"/>
                <a:gd name="T18" fmla="*/ 2 w 144"/>
                <a:gd name="T19" fmla="*/ 24 h 50"/>
                <a:gd name="T20" fmla="*/ 0 w 144"/>
                <a:gd name="T21" fmla="*/ 18 h 50"/>
                <a:gd name="T22" fmla="*/ 10 w 144"/>
                <a:gd name="T23" fmla="*/ 14 h 50"/>
                <a:gd name="T24" fmla="*/ 22 w 144"/>
                <a:gd name="T25" fmla="*/ 6 h 50"/>
                <a:gd name="T26" fmla="*/ 30 w 144"/>
                <a:gd name="T27" fmla="*/ 6 h 50"/>
                <a:gd name="T28" fmla="*/ 46 w 144"/>
                <a:gd name="T29" fmla="*/ 10 h 50"/>
                <a:gd name="T30" fmla="*/ 56 w 144"/>
                <a:gd name="T31" fmla="*/ 10 h 50"/>
                <a:gd name="T32" fmla="*/ 66 w 144"/>
                <a:gd name="T33" fmla="*/ 12 h 50"/>
                <a:gd name="T34" fmla="*/ 74 w 144"/>
                <a:gd name="T35" fmla="*/ 0 h 50"/>
                <a:gd name="T36" fmla="*/ 82 w 144"/>
                <a:gd name="T37" fmla="*/ 14 h 50"/>
                <a:gd name="T38" fmla="*/ 96 w 144"/>
                <a:gd name="T39" fmla="*/ 8 h 50"/>
                <a:gd name="T40" fmla="*/ 114 w 144"/>
                <a:gd name="T41" fmla="*/ 10 h 50"/>
                <a:gd name="T42" fmla="*/ 132 w 144"/>
                <a:gd name="T43" fmla="*/ 14 h 50"/>
                <a:gd name="T44" fmla="*/ 144 w 144"/>
                <a:gd name="T45" fmla="*/ 16 h 50"/>
                <a:gd name="T46" fmla="*/ 138 w 144"/>
                <a:gd name="T47" fmla="*/ 22 h 50"/>
                <a:gd name="T48" fmla="*/ 122 w 144"/>
                <a:gd name="T49" fmla="*/ 30 h 50"/>
                <a:gd name="T50" fmla="*/ 114 w 144"/>
                <a:gd name="T51" fmla="*/ 38 h 50"/>
                <a:gd name="T52" fmla="*/ 100 w 144"/>
                <a:gd name="T53" fmla="*/ 38 h 50"/>
                <a:gd name="T54" fmla="*/ 92 w 144"/>
                <a:gd name="T55" fmla="*/ 50 h 50"/>
                <a:gd name="T56" fmla="*/ 74 w 144"/>
                <a:gd name="T57" fmla="*/ 46 h 50"/>
                <a:gd name="T58" fmla="*/ 68 w 144"/>
                <a:gd name="T59" fmla="*/ 38 h 50"/>
                <a:gd name="T60" fmla="*/ 62 w 144"/>
                <a:gd name="T61" fmla="*/ 3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4" h="50">
                  <a:moveTo>
                    <a:pt x="62" y="38"/>
                  </a:moveTo>
                  <a:lnTo>
                    <a:pt x="52" y="38"/>
                  </a:lnTo>
                  <a:lnTo>
                    <a:pt x="34" y="38"/>
                  </a:lnTo>
                  <a:lnTo>
                    <a:pt x="36" y="30"/>
                  </a:lnTo>
                  <a:lnTo>
                    <a:pt x="54" y="28"/>
                  </a:lnTo>
                  <a:lnTo>
                    <a:pt x="60" y="24"/>
                  </a:lnTo>
                  <a:lnTo>
                    <a:pt x="50" y="22"/>
                  </a:lnTo>
                  <a:lnTo>
                    <a:pt x="34" y="22"/>
                  </a:lnTo>
                  <a:lnTo>
                    <a:pt x="18" y="26"/>
                  </a:lnTo>
                  <a:lnTo>
                    <a:pt x="2" y="24"/>
                  </a:lnTo>
                  <a:lnTo>
                    <a:pt x="0" y="18"/>
                  </a:lnTo>
                  <a:lnTo>
                    <a:pt x="10" y="14"/>
                  </a:lnTo>
                  <a:lnTo>
                    <a:pt x="22" y="6"/>
                  </a:lnTo>
                  <a:lnTo>
                    <a:pt x="30" y="6"/>
                  </a:lnTo>
                  <a:lnTo>
                    <a:pt x="46" y="10"/>
                  </a:lnTo>
                  <a:lnTo>
                    <a:pt x="56" y="10"/>
                  </a:lnTo>
                  <a:lnTo>
                    <a:pt x="66" y="12"/>
                  </a:lnTo>
                  <a:lnTo>
                    <a:pt x="74" y="0"/>
                  </a:lnTo>
                  <a:lnTo>
                    <a:pt x="82" y="14"/>
                  </a:lnTo>
                  <a:lnTo>
                    <a:pt x="96" y="8"/>
                  </a:lnTo>
                  <a:lnTo>
                    <a:pt x="114" y="10"/>
                  </a:lnTo>
                  <a:lnTo>
                    <a:pt x="132" y="14"/>
                  </a:lnTo>
                  <a:lnTo>
                    <a:pt x="144" y="16"/>
                  </a:lnTo>
                  <a:lnTo>
                    <a:pt x="138" y="22"/>
                  </a:lnTo>
                  <a:lnTo>
                    <a:pt x="122" y="30"/>
                  </a:lnTo>
                  <a:lnTo>
                    <a:pt x="114" y="38"/>
                  </a:lnTo>
                  <a:lnTo>
                    <a:pt x="100" y="38"/>
                  </a:lnTo>
                  <a:lnTo>
                    <a:pt x="92" y="50"/>
                  </a:lnTo>
                  <a:lnTo>
                    <a:pt x="74" y="46"/>
                  </a:lnTo>
                  <a:lnTo>
                    <a:pt x="68" y="38"/>
                  </a:lnTo>
                  <a:lnTo>
                    <a:pt x="62" y="3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01" name="Freeform 93">
              <a:extLst>
                <a:ext uri="{FF2B5EF4-FFF2-40B4-BE49-F238E27FC236}">
                  <a16:creationId xmlns:a16="http://schemas.microsoft.com/office/drawing/2014/main" id="{1E91237B-8344-4547-8075-1BB3D0C2B3E6}"/>
                </a:ext>
              </a:extLst>
            </p:cNvPr>
            <p:cNvSpPr>
              <a:spLocks/>
            </p:cNvSpPr>
            <p:nvPr/>
          </p:nvSpPr>
          <p:spPr bwMode="gray">
            <a:xfrm>
              <a:off x="6364860" y="2035629"/>
              <a:ext cx="95762" cy="53115"/>
            </a:xfrm>
            <a:custGeom>
              <a:avLst/>
              <a:gdLst>
                <a:gd name="T0" fmla="*/ 10 w 58"/>
                <a:gd name="T1" fmla="*/ 8 h 32"/>
                <a:gd name="T2" fmla="*/ 14 w 58"/>
                <a:gd name="T3" fmla="*/ 4 h 32"/>
                <a:gd name="T4" fmla="*/ 30 w 58"/>
                <a:gd name="T5" fmla="*/ 0 h 32"/>
                <a:gd name="T6" fmla="*/ 38 w 58"/>
                <a:gd name="T7" fmla="*/ 0 h 32"/>
                <a:gd name="T8" fmla="*/ 42 w 58"/>
                <a:gd name="T9" fmla="*/ 8 h 32"/>
                <a:gd name="T10" fmla="*/ 48 w 58"/>
                <a:gd name="T11" fmla="*/ 12 h 32"/>
                <a:gd name="T12" fmla="*/ 58 w 58"/>
                <a:gd name="T13" fmla="*/ 12 h 32"/>
                <a:gd name="T14" fmla="*/ 52 w 58"/>
                <a:gd name="T15" fmla="*/ 20 h 32"/>
                <a:gd name="T16" fmla="*/ 38 w 58"/>
                <a:gd name="T17" fmla="*/ 28 h 32"/>
                <a:gd name="T18" fmla="*/ 26 w 58"/>
                <a:gd name="T19" fmla="*/ 32 h 32"/>
                <a:gd name="T20" fmla="*/ 26 w 58"/>
                <a:gd name="T21" fmla="*/ 20 h 32"/>
                <a:gd name="T22" fmla="*/ 18 w 58"/>
                <a:gd name="T23" fmla="*/ 20 h 32"/>
                <a:gd name="T24" fmla="*/ 10 w 58"/>
                <a:gd name="T25" fmla="*/ 22 h 32"/>
                <a:gd name="T26" fmla="*/ 4 w 58"/>
                <a:gd name="T27" fmla="*/ 28 h 32"/>
                <a:gd name="T28" fmla="*/ 0 w 58"/>
                <a:gd name="T29" fmla="*/ 20 h 32"/>
                <a:gd name="T30" fmla="*/ 6 w 58"/>
                <a:gd name="T31" fmla="*/ 14 h 32"/>
                <a:gd name="T32" fmla="*/ 10 w 58"/>
                <a:gd name="T33"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8" h="32">
                  <a:moveTo>
                    <a:pt x="10" y="8"/>
                  </a:moveTo>
                  <a:lnTo>
                    <a:pt x="14" y="4"/>
                  </a:lnTo>
                  <a:lnTo>
                    <a:pt x="30" y="0"/>
                  </a:lnTo>
                  <a:lnTo>
                    <a:pt x="38" y="0"/>
                  </a:lnTo>
                  <a:lnTo>
                    <a:pt x="42" y="8"/>
                  </a:lnTo>
                  <a:lnTo>
                    <a:pt x="48" y="12"/>
                  </a:lnTo>
                  <a:lnTo>
                    <a:pt x="58" y="12"/>
                  </a:lnTo>
                  <a:lnTo>
                    <a:pt x="52" y="20"/>
                  </a:lnTo>
                  <a:lnTo>
                    <a:pt x="38" y="28"/>
                  </a:lnTo>
                  <a:lnTo>
                    <a:pt x="26" y="32"/>
                  </a:lnTo>
                  <a:lnTo>
                    <a:pt x="26" y="20"/>
                  </a:lnTo>
                  <a:lnTo>
                    <a:pt x="18" y="20"/>
                  </a:lnTo>
                  <a:lnTo>
                    <a:pt x="10" y="22"/>
                  </a:lnTo>
                  <a:lnTo>
                    <a:pt x="4" y="28"/>
                  </a:lnTo>
                  <a:lnTo>
                    <a:pt x="0" y="20"/>
                  </a:lnTo>
                  <a:lnTo>
                    <a:pt x="6" y="14"/>
                  </a:lnTo>
                  <a:lnTo>
                    <a:pt x="10" y="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02" name="Freeform 94">
              <a:extLst>
                <a:ext uri="{FF2B5EF4-FFF2-40B4-BE49-F238E27FC236}">
                  <a16:creationId xmlns:a16="http://schemas.microsoft.com/office/drawing/2014/main" id="{09D68118-F13E-42C0-AEF7-10006793AEB2}"/>
                </a:ext>
              </a:extLst>
            </p:cNvPr>
            <p:cNvSpPr>
              <a:spLocks/>
            </p:cNvSpPr>
            <p:nvPr/>
          </p:nvSpPr>
          <p:spPr bwMode="gray">
            <a:xfrm>
              <a:off x="6962547" y="3539434"/>
              <a:ext cx="85856" cy="73033"/>
            </a:xfrm>
            <a:custGeom>
              <a:avLst/>
              <a:gdLst>
                <a:gd name="T0" fmla="*/ 0 w 52"/>
                <a:gd name="T1" fmla="*/ 6 h 44"/>
                <a:gd name="T2" fmla="*/ 6 w 52"/>
                <a:gd name="T3" fmla="*/ 4 h 44"/>
                <a:gd name="T4" fmla="*/ 16 w 52"/>
                <a:gd name="T5" fmla="*/ 0 h 44"/>
                <a:gd name="T6" fmla="*/ 24 w 52"/>
                <a:gd name="T7" fmla="*/ 0 h 44"/>
                <a:gd name="T8" fmla="*/ 28 w 52"/>
                <a:gd name="T9" fmla="*/ 4 h 44"/>
                <a:gd name="T10" fmla="*/ 30 w 52"/>
                <a:gd name="T11" fmla="*/ 10 h 44"/>
                <a:gd name="T12" fmla="*/ 32 w 52"/>
                <a:gd name="T13" fmla="*/ 18 h 44"/>
                <a:gd name="T14" fmla="*/ 36 w 52"/>
                <a:gd name="T15" fmla="*/ 24 h 44"/>
                <a:gd name="T16" fmla="*/ 40 w 52"/>
                <a:gd name="T17" fmla="*/ 28 h 44"/>
                <a:gd name="T18" fmla="*/ 46 w 52"/>
                <a:gd name="T19" fmla="*/ 30 h 44"/>
                <a:gd name="T20" fmla="*/ 50 w 52"/>
                <a:gd name="T21" fmla="*/ 34 h 44"/>
                <a:gd name="T22" fmla="*/ 52 w 52"/>
                <a:gd name="T23" fmla="*/ 38 h 44"/>
                <a:gd name="T24" fmla="*/ 50 w 52"/>
                <a:gd name="T25" fmla="*/ 44 h 44"/>
                <a:gd name="T26" fmla="*/ 42 w 52"/>
                <a:gd name="T27" fmla="*/ 42 h 44"/>
                <a:gd name="T28" fmla="*/ 40 w 52"/>
                <a:gd name="T29" fmla="*/ 34 h 44"/>
                <a:gd name="T30" fmla="*/ 34 w 52"/>
                <a:gd name="T31" fmla="*/ 32 h 44"/>
                <a:gd name="T32" fmla="*/ 28 w 52"/>
                <a:gd name="T33" fmla="*/ 28 h 44"/>
                <a:gd name="T34" fmla="*/ 20 w 52"/>
                <a:gd name="T35" fmla="*/ 28 h 44"/>
                <a:gd name="T36" fmla="*/ 18 w 52"/>
                <a:gd name="T37" fmla="*/ 32 h 44"/>
                <a:gd name="T38" fmla="*/ 12 w 52"/>
                <a:gd name="T39" fmla="*/ 28 h 44"/>
                <a:gd name="T40" fmla="*/ 0 w 52"/>
                <a:gd name="T41" fmla="*/ 28 h 44"/>
                <a:gd name="T42" fmla="*/ 0 w 52"/>
                <a:gd name="T43" fmla="*/ 16 h 44"/>
                <a:gd name="T44" fmla="*/ 0 w 52"/>
                <a:gd name="T45" fmla="*/ 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2" h="44">
                  <a:moveTo>
                    <a:pt x="0" y="6"/>
                  </a:moveTo>
                  <a:lnTo>
                    <a:pt x="6" y="4"/>
                  </a:lnTo>
                  <a:lnTo>
                    <a:pt x="16" y="0"/>
                  </a:lnTo>
                  <a:lnTo>
                    <a:pt x="24" y="0"/>
                  </a:lnTo>
                  <a:lnTo>
                    <a:pt x="28" y="4"/>
                  </a:lnTo>
                  <a:lnTo>
                    <a:pt x="30" y="10"/>
                  </a:lnTo>
                  <a:lnTo>
                    <a:pt x="32" y="18"/>
                  </a:lnTo>
                  <a:lnTo>
                    <a:pt x="36" y="24"/>
                  </a:lnTo>
                  <a:lnTo>
                    <a:pt x="40" y="28"/>
                  </a:lnTo>
                  <a:lnTo>
                    <a:pt x="46" y="30"/>
                  </a:lnTo>
                  <a:lnTo>
                    <a:pt x="50" y="34"/>
                  </a:lnTo>
                  <a:lnTo>
                    <a:pt x="52" y="38"/>
                  </a:lnTo>
                  <a:lnTo>
                    <a:pt x="50" y="44"/>
                  </a:lnTo>
                  <a:lnTo>
                    <a:pt x="42" y="42"/>
                  </a:lnTo>
                  <a:lnTo>
                    <a:pt x="40" y="34"/>
                  </a:lnTo>
                  <a:lnTo>
                    <a:pt x="34" y="32"/>
                  </a:lnTo>
                  <a:lnTo>
                    <a:pt x="28" y="28"/>
                  </a:lnTo>
                  <a:lnTo>
                    <a:pt x="20" y="28"/>
                  </a:lnTo>
                  <a:lnTo>
                    <a:pt x="18" y="32"/>
                  </a:lnTo>
                  <a:lnTo>
                    <a:pt x="12" y="28"/>
                  </a:lnTo>
                  <a:lnTo>
                    <a:pt x="0" y="28"/>
                  </a:lnTo>
                  <a:lnTo>
                    <a:pt x="0" y="16"/>
                  </a:lnTo>
                  <a:lnTo>
                    <a:pt x="0" y="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03" name="Freeform 95">
              <a:extLst>
                <a:ext uri="{FF2B5EF4-FFF2-40B4-BE49-F238E27FC236}">
                  <a16:creationId xmlns:a16="http://schemas.microsoft.com/office/drawing/2014/main" id="{0434F2B0-178E-4CA9-8834-4FBC968BF747}"/>
                </a:ext>
              </a:extLst>
            </p:cNvPr>
            <p:cNvSpPr>
              <a:spLocks/>
            </p:cNvSpPr>
            <p:nvPr/>
          </p:nvSpPr>
          <p:spPr bwMode="gray">
            <a:xfrm>
              <a:off x="7002174" y="3519516"/>
              <a:ext cx="138690" cy="109548"/>
            </a:xfrm>
            <a:custGeom>
              <a:avLst/>
              <a:gdLst>
                <a:gd name="T0" fmla="*/ 20 w 84"/>
                <a:gd name="T1" fmla="*/ 0 h 66"/>
                <a:gd name="T2" fmla="*/ 26 w 84"/>
                <a:gd name="T3" fmla="*/ 2 h 66"/>
                <a:gd name="T4" fmla="*/ 32 w 84"/>
                <a:gd name="T5" fmla="*/ 8 h 66"/>
                <a:gd name="T6" fmla="*/ 42 w 84"/>
                <a:gd name="T7" fmla="*/ 14 h 66"/>
                <a:gd name="T8" fmla="*/ 46 w 84"/>
                <a:gd name="T9" fmla="*/ 12 h 66"/>
                <a:gd name="T10" fmla="*/ 52 w 84"/>
                <a:gd name="T11" fmla="*/ 6 h 66"/>
                <a:gd name="T12" fmla="*/ 56 w 84"/>
                <a:gd name="T13" fmla="*/ 2 h 66"/>
                <a:gd name="T14" fmla="*/ 60 w 84"/>
                <a:gd name="T15" fmla="*/ 8 h 66"/>
                <a:gd name="T16" fmla="*/ 66 w 84"/>
                <a:gd name="T17" fmla="*/ 20 h 66"/>
                <a:gd name="T18" fmla="*/ 70 w 84"/>
                <a:gd name="T19" fmla="*/ 24 h 66"/>
                <a:gd name="T20" fmla="*/ 80 w 84"/>
                <a:gd name="T21" fmla="*/ 28 h 66"/>
                <a:gd name="T22" fmla="*/ 84 w 84"/>
                <a:gd name="T23" fmla="*/ 30 h 66"/>
                <a:gd name="T24" fmla="*/ 84 w 84"/>
                <a:gd name="T25" fmla="*/ 36 h 66"/>
                <a:gd name="T26" fmla="*/ 72 w 84"/>
                <a:gd name="T27" fmla="*/ 36 h 66"/>
                <a:gd name="T28" fmla="*/ 68 w 84"/>
                <a:gd name="T29" fmla="*/ 38 h 66"/>
                <a:gd name="T30" fmla="*/ 66 w 84"/>
                <a:gd name="T31" fmla="*/ 44 h 66"/>
                <a:gd name="T32" fmla="*/ 68 w 84"/>
                <a:gd name="T33" fmla="*/ 48 h 66"/>
                <a:gd name="T34" fmla="*/ 68 w 84"/>
                <a:gd name="T35" fmla="*/ 50 h 66"/>
                <a:gd name="T36" fmla="*/ 68 w 84"/>
                <a:gd name="T37" fmla="*/ 52 h 66"/>
                <a:gd name="T38" fmla="*/ 68 w 84"/>
                <a:gd name="T39" fmla="*/ 54 h 66"/>
                <a:gd name="T40" fmla="*/ 60 w 84"/>
                <a:gd name="T41" fmla="*/ 54 h 66"/>
                <a:gd name="T42" fmla="*/ 60 w 84"/>
                <a:gd name="T43" fmla="*/ 58 h 66"/>
                <a:gd name="T44" fmla="*/ 60 w 84"/>
                <a:gd name="T45" fmla="*/ 62 h 66"/>
                <a:gd name="T46" fmla="*/ 60 w 84"/>
                <a:gd name="T47" fmla="*/ 66 h 66"/>
                <a:gd name="T48" fmla="*/ 52 w 84"/>
                <a:gd name="T49" fmla="*/ 66 h 66"/>
                <a:gd name="T50" fmla="*/ 46 w 84"/>
                <a:gd name="T51" fmla="*/ 62 h 66"/>
                <a:gd name="T52" fmla="*/ 52 w 84"/>
                <a:gd name="T53" fmla="*/ 58 h 66"/>
                <a:gd name="T54" fmla="*/ 48 w 84"/>
                <a:gd name="T55" fmla="*/ 52 h 66"/>
                <a:gd name="T56" fmla="*/ 48 w 84"/>
                <a:gd name="T57" fmla="*/ 44 h 66"/>
                <a:gd name="T58" fmla="*/ 44 w 84"/>
                <a:gd name="T59" fmla="*/ 42 h 66"/>
                <a:gd name="T60" fmla="*/ 42 w 84"/>
                <a:gd name="T61" fmla="*/ 44 h 66"/>
                <a:gd name="T62" fmla="*/ 38 w 84"/>
                <a:gd name="T63" fmla="*/ 48 h 66"/>
                <a:gd name="T64" fmla="*/ 32 w 84"/>
                <a:gd name="T65" fmla="*/ 52 h 66"/>
                <a:gd name="T66" fmla="*/ 26 w 84"/>
                <a:gd name="T67" fmla="*/ 56 h 66"/>
                <a:gd name="T68" fmla="*/ 28 w 84"/>
                <a:gd name="T69" fmla="*/ 50 h 66"/>
                <a:gd name="T70" fmla="*/ 26 w 84"/>
                <a:gd name="T71" fmla="*/ 46 h 66"/>
                <a:gd name="T72" fmla="*/ 12 w 84"/>
                <a:gd name="T73" fmla="*/ 36 h 66"/>
                <a:gd name="T74" fmla="*/ 6 w 84"/>
                <a:gd name="T75" fmla="*/ 20 h 66"/>
                <a:gd name="T76" fmla="*/ 4 w 84"/>
                <a:gd name="T77" fmla="*/ 16 h 66"/>
                <a:gd name="T78" fmla="*/ 0 w 84"/>
                <a:gd name="T79" fmla="*/ 12 h 66"/>
                <a:gd name="T80" fmla="*/ 6 w 84"/>
                <a:gd name="T81" fmla="*/ 8 h 66"/>
                <a:gd name="T82" fmla="*/ 12 w 84"/>
                <a:gd name="T83" fmla="*/ 12 h 66"/>
                <a:gd name="T84" fmla="*/ 18 w 84"/>
                <a:gd name="T85" fmla="*/ 18 h 66"/>
                <a:gd name="T86" fmla="*/ 24 w 84"/>
                <a:gd name="T87" fmla="*/ 18 h 66"/>
                <a:gd name="T88" fmla="*/ 26 w 84"/>
                <a:gd name="T89" fmla="*/ 14 h 66"/>
                <a:gd name="T90" fmla="*/ 22 w 84"/>
                <a:gd name="T91" fmla="*/ 8 h 66"/>
                <a:gd name="T92" fmla="*/ 16 w 84"/>
                <a:gd name="T93" fmla="*/ 2 h 66"/>
                <a:gd name="T94" fmla="*/ 20 w 84"/>
                <a:gd name="T95"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4" h="66">
                  <a:moveTo>
                    <a:pt x="20" y="0"/>
                  </a:moveTo>
                  <a:lnTo>
                    <a:pt x="26" y="2"/>
                  </a:lnTo>
                  <a:lnTo>
                    <a:pt x="32" y="8"/>
                  </a:lnTo>
                  <a:lnTo>
                    <a:pt x="42" y="14"/>
                  </a:lnTo>
                  <a:lnTo>
                    <a:pt x="46" y="12"/>
                  </a:lnTo>
                  <a:lnTo>
                    <a:pt x="52" y="6"/>
                  </a:lnTo>
                  <a:lnTo>
                    <a:pt x="56" y="2"/>
                  </a:lnTo>
                  <a:lnTo>
                    <a:pt x="60" y="8"/>
                  </a:lnTo>
                  <a:lnTo>
                    <a:pt x="66" y="20"/>
                  </a:lnTo>
                  <a:lnTo>
                    <a:pt x="70" y="24"/>
                  </a:lnTo>
                  <a:lnTo>
                    <a:pt x="80" y="28"/>
                  </a:lnTo>
                  <a:lnTo>
                    <a:pt x="84" y="30"/>
                  </a:lnTo>
                  <a:lnTo>
                    <a:pt x="84" y="36"/>
                  </a:lnTo>
                  <a:lnTo>
                    <a:pt x="72" y="36"/>
                  </a:lnTo>
                  <a:lnTo>
                    <a:pt x="68" y="38"/>
                  </a:lnTo>
                  <a:lnTo>
                    <a:pt x="66" y="44"/>
                  </a:lnTo>
                  <a:lnTo>
                    <a:pt x="68" y="48"/>
                  </a:lnTo>
                  <a:lnTo>
                    <a:pt x="68" y="50"/>
                  </a:lnTo>
                  <a:lnTo>
                    <a:pt x="68" y="52"/>
                  </a:lnTo>
                  <a:lnTo>
                    <a:pt x="68" y="54"/>
                  </a:lnTo>
                  <a:lnTo>
                    <a:pt x="60" y="54"/>
                  </a:lnTo>
                  <a:lnTo>
                    <a:pt x="60" y="58"/>
                  </a:lnTo>
                  <a:lnTo>
                    <a:pt x="60" y="62"/>
                  </a:lnTo>
                  <a:lnTo>
                    <a:pt x="60" y="66"/>
                  </a:lnTo>
                  <a:lnTo>
                    <a:pt x="52" y="66"/>
                  </a:lnTo>
                  <a:lnTo>
                    <a:pt x="46" y="62"/>
                  </a:lnTo>
                  <a:lnTo>
                    <a:pt x="52" y="58"/>
                  </a:lnTo>
                  <a:lnTo>
                    <a:pt x="48" y="52"/>
                  </a:lnTo>
                  <a:lnTo>
                    <a:pt x="48" y="44"/>
                  </a:lnTo>
                  <a:lnTo>
                    <a:pt x="44" y="42"/>
                  </a:lnTo>
                  <a:lnTo>
                    <a:pt x="42" y="44"/>
                  </a:lnTo>
                  <a:lnTo>
                    <a:pt x="38" y="48"/>
                  </a:lnTo>
                  <a:lnTo>
                    <a:pt x="32" y="52"/>
                  </a:lnTo>
                  <a:lnTo>
                    <a:pt x="26" y="56"/>
                  </a:lnTo>
                  <a:lnTo>
                    <a:pt x="28" y="50"/>
                  </a:lnTo>
                  <a:lnTo>
                    <a:pt x="26" y="46"/>
                  </a:lnTo>
                  <a:lnTo>
                    <a:pt x="12" y="36"/>
                  </a:lnTo>
                  <a:lnTo>
                    <a:pt x="6" y="20"/>
                  </a:lnTo>
                  <a:lnTo>
                    <a:pt x="4" y="16"/>
                  </a:lnTo>
                  <a:lnTo>
                    <a:pt x="0" y="12"/>
                  </a:lnTo>
                  <a:lnTo>
                    <a:pt x="6" y="8"/>
                  </a:lnTo>
                  <a:lnTo>
                    <a:pt x="12" y="12"/>
                  </a:lnTo>
                  <a:lnTo>
                    <a:pt x="18" y="18"/>
                  </a:lnTo>
                  <a:lnTo>
                    <a:pt x="24" y="18"/>
                  </a:lnTo>
                  <a:lnTo>
                    <a:pt x="26" y="14"/>
                  </a:lnTo>
                  <a:lnTo>
                    <a:pt x="22" y="8"/>
                  </a:lnTo>
                  <a:lnTo>
                    <a:pt x="16" y="2"/>
                  </a:lnTo>
                  <a:lnTo>
                    <a:pt x="2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04" name="Freeform 96">
              <a:extLst>
                <a:ext uri="{FF2B5EF4-FFF2-40B4-BE49-F238E27FC236}">
                  <a16:creationId xmlns:a16="http://schemas.microsoft.com/office/drawing/2014/main" id="{F6F9B9F0-D8CF-4BB4-AA6F-CBCBE30CB5CE}"/>
                </a:ext>
              </a:extLst>
            </p:cNvPr>
            <p:cNvSpPr>
              <a:spLocks/>
            </p:cNvSpPr>
            <p:nvPr/>
          </p:nvSpPr>
          <p:spPr bwMode="gray">
            <a:xfrm>
              <a:off x="6866786" y="3466402"/>
              <a:ext cx="178316" cy="82991"/>
            </a:xfrm>
            <a:custGeom>
              <a:avLst/>
              <a:gdLst>
                <a:gd name="T0" fmla="*/ 0 w 108"/>
                <a:gd name="T1" fmla="*/ 2 h 50"/>
                <a:gd name="T2" fmla="*/ 12 w 108"/>
                <a:gd name="T3" fmla="*/ 0 h 50"/>
                <a:gd name="T4" fmla="*/ 18 w 108"/>
                <a:gd name="T5" fmla="*/ 4 h 50"/>
                <a:gd name="T6" fmla="*/ 24 w 108"/>
                <a:gd name="T7" fmla="*/ 8 h 50"/>
                <a:gd name="T8" fmla="*/ 34 w 108"/>
                <a:gd name="T9" fmla="*/ 6 h 50"/>
                <a:gd name="T10" fmla="*/ 42 w 108"/>
                <a:gd name="T11" fmla="*/ 6 h 50"/>
                <a:gd name="T12" fmla="*/ 52 w 108"/>
                <a:gd name="T13" fmla="*/ 12 h 50"/>
                <a:gd name="T14" fmla="*/ 56 w 108"/>
                <a:gd name="T15" fmla="*/ 14 h 50"/>
                <a:gd name="T16" fmla="*/ 66 w 108"/>
                <a:gd name="T17" fmla="*/ 18 h 50"/>
                <a:gd name="T18" fmla="*/ 72 w 108"/>
                <a:gd name="T19" fmla="*/ 18 h 50"/>
                <a:gd name="T20" fmla="*/ 82 w 108"/>
                <a:gd name="T21" fmla="*/ 16 h 50"/>
                <a:gd name="T22" fmla="*/ 92 w 108"/>
                <a:gd name="T23" fmla="*/ 22 h 50"/>
                <a:gd name="T24" fmla="*/ 94 w 108"/>
                <a:gd name="T25" fmla="*/ 24 h 50"/>
                <a:gd name="T26" fmla="*/ 102 w 108"/>
                <a:gd name="T27" fmla="*/ 32 h 50"/>
                <a:gd name="T28" fmla="*/ 98 w 108"/>
                <a:gd name="T29" fmla="*/ 34 h 50"/>
                <a:gd name="T30" fmla="*/ 104 w 108"/>
                <a:gd name="T31" fmla="*/ 40 h 50"/>
                <a:gd name="T32" fmla="*/ 108 w 108"/>
                <a:gd name="T33" fmla="*/ 46 h 50"/>
                <a:gd name="T34" fmla="*/ 106 w 108"/>
                <a:gd name="T35" fmla="*/ 50 h 50"/>
                <a:gd name="T36" fmla="*/ 100 w 108"/>
                <a:gd name="T37" fmla="*/ 50 h 50"/>
                <a:gd name="T38" fmla="*/ 88 w 108"/>
                <a:gd name="T39" fmla="*/ 40 h 50"/>
                <a:gd name="T40" fmla="*/ 82 w 108"/>
                <a:gd name="T41" fmla="*/ 44 h 50"/>
                <a:gd name="T42" fmla="*/ 74 w 108"/>
                <a:gd name="T43" fmla="*/ 44 h 50"/>
                <a:gd name="T44" fmla="*/ 66 w 108"/>
                <a:gd name="T45" fmla="*/ 46 h 50"/>
                <a:gd name="T46" fmla="*/ 58 w 108"/>
                <a:gd name="T47" fmla="*/ 50 h 50"/>
                <a:gd name="T48" fmla="*/ 52 w 108"/>
                <a:gd name="T49" fmla="*/ 46 h 50"/>
                <a:gd name="T50" fmla="*/ 46 w 108"/>
                <a:gd name="T51" fmla="*/ 40 h 50"/>
                <a:gd name="T52" fmla="*/ 38 w 108"/>
                <a:gd name="T53" fmla="*/ 38 h 50"/>
                <a:gd name="T54" fmla="*/ 36 w 108"/>
                <a:gd name="T55" fmla="*/ 44 h 50"/>
                <a:gd name="T56" fmla="*/ 26 w 108"/>
                <a:gd name="T57" fmla="*/ 40 h 50"/>
                <a:gd name="T58" fmla="*/ 30 w 108"/>
                <a:gd name="T59" fmla="*/ 32 h 50"/>
                <a:gd name="T60" fmla="*/ 26 w 108"/>
                <a:gd name="T61" fmla="*/ 22 h 50"/>
                <a:gd name="T62" fmla="*/ 20 w 108"/>
                <a:gd name="T63" fmla="*/ 14 h 50"/>
                <a:gd name="T64" fmla="*/ 12 w 108"/>
                <a:gd name="T65" fmla="*/ 10 h 50"/>
                <a:gd name="T66" fmla="*/ 6 w 108"/>
                <a:gd name="T67" fmla="*/ 6 h 50"/>
                <a:gd name="T68" fmla="*/ 0 w 108"/>
                <a:gd name="T69" fmla="*/ 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50">
                  <a:moveTo>
                    <a:pt x="0" y="2"/>
                  </a:moveTo>
                  <a:lnTo>
                    <a:pt x="12" y="0"/>
                  </a:lnTo>
                  <a:lnTo>
                    <a:pt x="18" y="4"/>
                  </a:lnTo>
                  <a:lnTo>
                    <a:pt x="24" y="8"/>
                  </a:lnTo>
                  <a:lnTo>
                    <a:pt x="34" y="6"/>
                  </a:lnTo>
                  <a:lnTo>
                    <a:pt x="42" y="6"/>
                  </a:lnTo>
                  <a:lnTo>
                    <a:pt x="52" y="12"/>
                  </a:lnTo>
                  <a:lnTo>
                    <a:pt x="56" y="14"/>
                  </a:lnTo>
                  <a:lnTo>
                    <a:pt x="66" y="18"/>
                  </a:lnTo>
                  <a:lnTo>
                    <a:pt x="72" y="18"/>
                  </a:lnTo>
                  <a:lnTo>
                    <a:pt x="82" y="16"/>
                  </a:lnTo>
                  <a:lnTo>
                    <a:pt x="92" y="22"/>
                  </a:lnTo>
                  <a:lnTo>
                    <a:pt x="94" y="24"/>
                  </a:lnTo>
                  <a:lnTo>
                    <a:pt x="102" y="32"/>
                  </a:lnTo>
                  <a:lnTo>
                    <a:pt x="98" y="34"/>
                  </a:lnTo>
                  <a:lnTo>
                    <a:pt x="104" y="40"/>
                  </a:lnTo>
                  <a:lnTo>
                    <a:pt x="108" y="46"/>
                  </a:lnTo>
                  <a:lnTo>
                    <a:pt x="106" y="50"/>
                  </a:lnTo>
                  <a:lnTo>
                    <a:pt x="100" y="50"/>
                  </a:lnTo>
                  <a:lnTo>
                    <a:pt x="88" y="40"/>
                  </a:lnTo>
                  <a:lnTo>
                    <a:pt x="82" y="44"/>
                  </a:lnTo>
                  <a:lnTo>
                    <a:pt x="74" y="44"/>
                  </a:lnTo>
                  <a:lnTo>
                    <a:pt x="66" y="46"/>
                  </a:lnTo>
                  <a:lnTo>
                    <a:pt x="58" y="50"/>
                  </a:lnTo>
                  <a:lnTo>
                    <a:pt x="52" y="46"/>
                  </a:lnTo>
                  <a:lnTo>
                    <a:pt x="46" y="40"/>
                  </a:lnTo>
                  <a:lnTo>
                    <a:pt x="38" y="38"/>
                  </a:lnTo>
                  <a:lnTo>
                    <a:pt x="36" y="44"/>
                  </a:lnTo>
                  <a:lnTo>
                    <a:pt x="26" y="40"/>
                  </a:lnTo>
                  <a:lnTo>
                    <a:pt x="30" y="32"/>
                  </a:lnTo>
                  <a:lnTo>
                    <a:pt x="26" y="22"/>
                  </a:lnTo>
                  <a:lnTo>
                    <a:pt x="20" y="14"/>
                  </a:lnTo>
                  <a:lnTo>
                    <a:pt x="12" y="10"/>
                  </a:lnTo>
                  <a:lnTo>
                    <a:pt x="6" y="6"/>
                  </a:lnTo>
                  <a:lnTo>
                    <a:pt x="0" y="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05" name="Freeform 97">
              <a:extLst>
                <a:ext uri="{FF2B5EF4-FFF2-40B4-BE49-F238E27FC236}">
                  <a16:creationId xmlns:a16="http://schemas.microsoft.com/office/drawing/2014/main" id="{3A2D7E63-A876-4EFD-B456-FDA0812C6930}"/>
                </a:ext>
              </a:extLst>
            </p:cNvPr>
            <p:cNvSpPr>
              <a:spLocks/>
            </p:cNvSpPr>
            <p:nvPr/>
          </p:nvSpPr>
          <p:spPr bwMode="gray">
            <a:xfrm>
              <a:off x="7200302" y="3496278"/>
              <a:ext cx="366538" cy="229056"/>
            </a:xfrm>
            <a:custGeom>
              <a:avLst/>
              <a:gdLst>
                <a:gd name="T0" fmla="*/ 20 w 222"/>
                <a:gd name="T1" fmla="*/ 104 h 138"/>
                <a:gd name="T2" fmla="*/ 18 w 222"/>
                <a:gd name="T3" fmla="*/ 80 h 138"/>
                <a:gd name="T4" fmla="*/ 24 w 222"/>
                <a:gd name="T5" fmla="*/ 72 h 138"/>
                <a:gd name="T6" fmla="*/ 12 w 222"/>
                <a:gd name="T7" fmla="*/ 56 h 138"/>
                <a:gd name="T8" fmla="*/ 8 w 222"/>
                <a:gd name="T9" fmla="*/ 50 h 138"/>
                <a:gd name="T10" fmla="*/ 0 w 222"/>
                <a:gd name="T11" fmla="*/ 52 h 138"/>
                <a:gd name="T12" fmla="*/ 0 w 222"/>
                <a:gd name="T13" fmla="*/ 44 h 138"/>
                <a:gd name="T14" fmla="*/ 6 w 222"/>
                <a:gd name="T15" fmla="*/ 36 h 138"/>
                <a:gd name="T16" fmla="*/ 12 w 222"/>
                <a:gd name="T17" fmla="*/ 40 h 138"/>
                <a:gd name="T18" fmla="*/ 28 w 222"/>
                <a:gd name="T19" fmla="*/ 40 h 138"/>
                <a:gd name="T20" fmla="*/ 34 w 222"/>
                <a:gd name="T21" fmla="*/ 32 h 138"/>
                <a:gd name="T22" fmla="*/ 26 w 222"/>
                <a:gd name="T23" fmla="*/ 24 h 138"/>
                <a:gd name="T24" fmla="*/ 20 w 222"/>
                <a:gd name="T25" fmla="*/ 16 h 138"/>
                <a:gd name="T26" fmla="*/ 14 w 222"/>
                <a:gd name="T27" fmla="*/ 10 h 138"/>
                <a:gd name="T28" fmla="*/ 4 w 222"/>
                <a:gd name="T29" fmla="*/ 14 h 138"/>
                <a:gd name="T30" fmla="*/ 2 w 222"/>
                <a:gd name="T31" fmla="*/ 28 h 138"/>
                <a:gd name="T32" fmla="*/ 0 w 222"/>
                <a:gd name="T33" fmla="*/ 22 h 138"/>
                <a:gd name="T34" fmla="*/ 0 w 222"/>
                <a:gd name="T35" fmla="*/ 12 h 138"/>
                <a:gd name="T36" fmla="*/ 10 w 222"/>
                <a:gd name="T37" fmla="*/ 6 h 138"/>
                <a:gd name="T38" fmla="*/ 24 w 222"/>
                <a:gd name="T39" fmla="*/ 4 h 138"/>
                <a:gd name="T40" fmla="*/ 36 w 222"/>
                <a:gd name="T41" fmla="*/ 12 h 138"/>
                <a:gd name="T42" fmla="*/ 44 w 222"/>
                <a:gd name="T43" fmla="*/ 26 h 138"/>
                <a:gd name="T44" fmla="*/ 54 w 222"/>
                <a:gd name="T45" fmla="*/ 28 h 138"/>
                <a:gd name="T46" fmla="*/ 68 w 222"/>
                <a:gd name="T47" fmla="*/ 26 h 138"/>
                <a:gd name="T48" fmla="*/ 68 w 222"/>
                <a:gd name="T49" fmla="*/ 14 h 138"/>
                <a:gd name="T50" fmla="*/ 96 w 222"/>
                <a:gd name="T51" fmla="*/ 0 h 138"/>
                <a:gd name="T52" fmla="*/ 102 w 222"/>
                <a:gd name="T53" fmla="*/ 6 h 138"/>
                <a:gd name="T54" fmla="*/ 116 w 222"/>
                <a:gd name="T55" fmla="*/ 8 h 138"/>
                <a:gd name="T56" fmla="*/ 118 w 222"/>
                <a:gd name="T57" fmla="*/ 12 h 138"/>
                <a:gd name="T58" fmla="*/ 118 w 222"/>
                <a:gd name="T59" fmla="*/ 28 h 138"/>
                <a:gd name="T60" fmla="*/ 144 w 222"/>
                <a:gd name="T61" fmla="*/ 28 h 138"/>
                <a:gd name="T62" fmla="*/ 158 w 222"/>
                <a:gd name="T63" fmla="*/ 54 h 138"/>
                <a:gd name="T64" fmla="*/ 178 w 222"/>
                <a:gd name="T65" fmla="*/ 66 h 138"/>
                <a:gd name="T66" fmla="*/ 200 w 222"/>
                <a:gd name="T67" fmla="*/ 82 h 138"/>
                <a:gd name="T68" fmla="*/ 212 w 222"/>
                <a:gd name="T69" fmla="*/ 84 h 138"/>
                <a:gd name="T70" fmla="*/ 222 w 222"/>
                <a:gd name="T71" fmla="*/ 90 h 138"/>
                <a:gd name="T72" fmla="*/ 222 w 222"/>
                <a:gd name="T73" fmla="*/ 98 h 138"/>
                <a:gd name="T74" fmla="*/ 210 w 222"/>
                <a:gd name="T75" fmla="*/ 98 h 138"/>
                <a:gd name="T76" fmla="*/ 194 w 222"/>
                <a:gd name="T77" fmla="*/ 104 h 138"/>
                <a:gd name="T78" fmla="*/ 182 w 222"/>
                <a:gd name="T79" fmla="*/ 122 h 138"/>
                <a:gd name="T80" fmla="*/ 170 w 222"/>
                <a:gd name="T81" fmla="*/ 126 h 138"/>
                <a:gd name="T82" fmla="*/ 160 w 222"/>
                <a:gd name="T83" fmla="*/ 138 h 138"/>
                <a:gd name="T84" fmla="*/ 150 w 222"/>
                <a:gd name="T85" fmla="*/ 134 h 138"/>
                <a:gd name="T86" fmla="*/ 138 w 222"/>
                <a:gd name="T87" fmla="*/ 134 h 138"/>
                <a:gd name="T88" fmla="*/ 136 w 222"/>
                <a:gd name="T89" fmla="*/ 112 h 138"/>
                <a:gd name="T90" fmla="*/ 126 w 222"/>
                <a:gd name="T91" fmla="*/ 110 h 138"/>
                <a:gd name="T92" fmla="*/ 68 w 222"/>
                <a:gd name="T93" fmla="*/ 84 h 138"/>
                <a:gd name="T94" fmla="*/ 42 w 222"/>
                <a:gd name="T95" fmla="*/ 88 h 138"/>
                <a:gd name="T96" fmla="*/ 20 w 222"/>
                <a:gd name="T97" fmla="*/ 104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2" h="138">
                  <a:moveTo>
                    <a:pt x="20" y="104"/>
                  </a:moveTo>
                  <a:lnTo>
                    <a:pt x="18" y="80"/>
                  </a:lnTo>
                  <a:lnTo>
                    <a:pt x="24" y="72"/>
                  </a:lnTo>
                  <a:lnTo>
                    <a:pt x="12" y="56"/>
                  </a:lnTo>
                  <a:lnTo>
                    <a:pt x="8" y="50"/>
                  </a:lnTo>
                  <a:lnTo>
                    <a:pt x="0" y="52"/>
                  </a:lnTo>
                  <a:lnTo>
                    <a:pt x="0" y="44"/>
                  </a:lnTo>
                  <a:lnTo>
                    <a:pt x="6" y="36"/>
                  </a:lnTo>
                  <a:lnTo>
                    <a:pt x="12" y="40"/>
                  </a:lnTo>
                  <a:lnTo>
                    <a:pt x="28" y="40"/>
                  </a:lnTo>
                  <a:lnTo>
                    <a:pt x="34" y="32"/>
                  </a:lnTo>
                  <a:lnTo>
                    <a:pt x="26" y="24"/>
                  </a:lnTo>
                  <a:lnTo>
                    <a:pt x="20" y="16"/>
                  </a:lnTo>
                  <a:lnTo>
                    <a:pt x="14" y="10"/>
                  </a:lnTo>
                  <a:lnTo>
                    <a:pt x="4" y="14"/>
                  </a:lnTo>
                  <a:lnTo>
                    <a:pt x="2" y="28"/>
                  </a:lnTo>
                  <a:lnTo>
                    <a:pt x="0" y="22"/>
                  </a:lnTo>
                  <a:lnTo>
                    <a:pt x="0" y="12"/>
                  </a:lnTo>
                  <a:lnTo>
                    <a:pt x="10" y="6"/>
                  </a:lnTo>
                  <a:lnTo>
                    <a:pt x="24" y="4"/>
                  </a:lnTo>
                  <a:lnTo>
                    <a:pt x="36" y="12"/>
                  </a:lnTo>
                  <a:lnTo>
                    <a:pt x="44" y="26"/>
                  </a:lnTo>
                  <a:lnTo>
                    <a:pt x="54" y="28"/>
                  </a:lnTo>
                  <a:lnTo>
                    <a:pt x="68" y="26"/>
                  </a:lnTo>
                  <a:lnTo>
                    <a:pt x="68" y="14"/>
                  </a:lnTo>
                  <a:lnTo>
                    <a:pt x="96" y="0"/>
                  </a:lnTo>
                  <a:lnTo>
                    <a:pt x="102" y="6"/>
                  </a:lnTo>
                  <a:lnTo>
                    <a:pt x="116" y="8"/>
                  </a:lnTo>
                  <a:lnTo>
                    <a:pt x="118" y="12"/>
                  </a:lnTo>
                  <a:lnTo>
                    <a:pt x="118" y="28"/>
                  </a:lnTo>
                  <a:lnTo>
                    <a:pt x="144" y="28"/>
                  </a:lnTo>
                  <a:lnTo>
                    <a:pt x="158" y="54"/>
                  </a:lnTo>
                  <a:lnTo>
                    <a:pt x="178" y="66"/>
                  </a:lnTo>
                  <a:lnTo>
                    <a:pt x="200" y="82"/>
                  </a:lnTo>
                  <a:lnTo>
                    <a:pt x="212" y="84"/>
                  </a:lnTo>
                  <a:lnTo>
                    <a:pt x="222" y="90"/>
                  </a:lnTo>
                  <a:lnTo>
                    <a:pt x="222" y="98"/>
                  </a:lnTo>
                  <a:lnTo>
                    <a:pt x="210" y="98"/>
                  </a:lnTo>
                  <a:lnTo>
                    <a:pt x="194" y="104"/>
                  </a:lnTo>
                  <a:lnTo>
                    <a:pt x="182" y="122"/>
                  </a:lnTo>
                  <a:lnTo>
                    <a:pt x="170" y="126"/>
                  </a:lnTo>
                  <a:lnTo>
                    <a:pt x="160" y="138"/>
                  </a:lnTo>
                  <a:lnTo>
                    <a:pt x="150" y="134"/>
                  </a:lnTo>
                  <a:lnTo>
                    <a:pt x="138" y="134"/>
                  </a:lnTo>
                  <a:lnTo>
                    <a:pt x="136" y="112"/>
                  </a:lnTo>
                  <a:lnTo>
                    <a:pt x="126" y="110"/>
                  </a:lnTo>
                  <a:lnTo>
                    <a:pt x="68" y="84"/>
                  </a:lnTo>
                  <a:lnTo>
                    <a:pt x="42" y="88"/>
                  </a:lnTo>
                  <a:lnTo>
                    <a:pt x="20" y="10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06" name="Freeform 98">
              <a:extLst>
                <a:ext uri="{FF2B5EF4-FFF2-40B4-BE49-F238E27FC236}">
                  <a16:creationId xmlns:a16="http://schemas.microsoft.com/office/drawing/2014/main" id="{B0CE2371-3DCE-46B0-997E-EFA828271EFB}"/>
                </a:ext>
              </a:extLst>
            </p:cNvPr>
            <p:cNvSpPr>
              <a:spLocks/>
            </p:cNvSpPr>
            <p:nvPr/>
          </p:nvSpPr>
          <p:spPr bwMode="gray">
            <a:xfrm>
              <a:off x="7586653" y="3552713"/>
              <a:ext cx="194827" cy="126147"/>
            </a:xfrm>
            <a:custGeom>
              <a:avLst/>
              <a:gdLst>
                <a:gd name="T0" fmla="*/ 24 w 118"/>
                <a:gd name="T1" fmla="*/ 14 h 76"/>
                <a:gd name="T2" fmla="*/ 32 w 118"/>
                <a:gd name="T3" fmla="*/ 10 h 76"/>
                <a:gd name="T4" fmla="*/ 36 w 118"/>
                <a:gd name="T5" fmla="*/ 2 h 76"/>
                <a:gd name="T6" fmla="*/ 48 w 118"/>
                <a:gd name="T7" fmla="*/ 0 h 76"/>
                <a:gd name="T8" fmla="*/ 54 w 118"/>
                <a:gd name="T9" fmla="*/ 2 h 76"/>
                <a:gd name="T10" fmla="*/ 52 w 118"/>
                <a:gd name="T11" fmla="*/ 8 h 76"/>
                <a:gd name="T12" fmla="*/ 50 w 118"/>
                <a:gd name="T13" fmla="*/ 14 h 76"/>
                <a:gd name="T14" fmla="*/ 52 w 118"/>
                <a:gd name="T15" fmla="*/ 20 h 76"/>
                <a:gd name="T16" fmla="*/ 54 w 118"/>
                <a:gd name="T17" fmla="*/ 28 h 76"/>
                <a:gd name="T18" fmla="*/ 66 w 118"/>
                <a:gd name="T19" fmla="*/ 28 h 76"/>
                <a:gd name="T20" fmla="*/ 80 w 118"/>
                <a:gd name="T21" fmla="*/ 30 h 76"/>
                <a:gd name="T22" fmla="*/ 100 w 118"/>
                <a:gd name="T23" fmla="*/ 30 h 76"/>
                <a:gd name="T24" fmla="*/ 98 w 118"/>
                <a:gd name="T25" fmla="*/ 36 h 76"/>
                <a:gd name="T26" fmla="*/ 100 w 118"/>
                <a:gd name="T27" fmla="*/ 44 h 76"/>
                <a:gd name="T28" fmla="*/ 106 w 118"/>
                <a:gd name="T29" fmla="*/ 46 h 76"/>
                <a:gd name="T30" fmla="*/ 118 w 118"/>
                <a:gd name="T31" fmla="*/ 44 h 76"/>
                <a:gd name="T32" fmla="*/ 118 w 118"/>
                <a:gd name="T33" fmla="*/ 64 h 76"/>
                <a:gd name="T34" fmla="*/ 90 w 118"/>
                <a:gd name="T35" fmla="*/ 64 h 76"/>
                <a:gd name="T36" fmla="*/ 80 w 118"/>
                <a:gd name="T37" fmla="*/ 70 h 76"/>
                <a:gd name="T38" fmla="*/ 64 w 118"/>
                <a:gd name="T39" fmla="*/ 76 h 76"/>
                <a:gd name="T40" fmla="*/ 64 w 118"/>
                <a:gd name="T41" fmla="*/ 70 h 76"/>
                <a:gd name="T42" fmla="*/ 66 w 118"/>
                <a:gd name="T43" fmla="*/ 62 h 76"/>
                <a:gd name="T44" fmla="*/ 64 w 118"/>
                <a:gd name="T45" fmla="*/ 50 h 76"/>
                <a:gd name="T46" fmla="*/ 56 w 118"/>
                <a:gd name="T47" fmla="*/ 44 h 76"/>
                <a:gd name="T48" fmla="*/ 46 w 118"/>
                <a:gd name="T49" fmla="*/ 60 h 76"/>
                <a:gd name="T50" fmla="*/ 38 w 118"/>
                <a:gd name="T51" fmla="*/ 62 h 76"/>
                <a:gd name="T52" fmla="*/ 18 w 118"/>
                <a:gd name="T53" fmla="*/ 74 h 76"/>
                <a:gd name="T54" fmla="*/ 8 w 118"/>
                <a:gd name="T55" fmla="*/ 70 h 76"/>
                <a:gd name="T56" fmla="*/ 8 w 118"/>
                <a:gd name="T57" fmla="*/ 62 h 76"/>
                <a:gd name="T58" fmla="*/ 16 w 118"/>
                <a:gd name="T59" fmla="*/ 52 h 76"/>
                <a:gd name="T60" fmla="*/ 10 w 118"/>
                <a:gd name="T61" fmla="*/ 50 h 76"/>
                <a:gd name="T62" fmla="*/ 12 w 118"/>
                <a:gd name="T63" fmla="*/ 36 h 76"/>
                <a:gd name="T64" fmla="*/ 0 w 118"/>
                <a:gd name="T65" fmla="*/ 36 h 76"/>
                <a:gd name="T66" fmla="*/ 0 w 118"/>
                <a:gd name="T67" fmla="*/ 26 h 76"/>
                <a:gd name="T68" fmla="*/ 20 w 118"/>
                <a:gd name="T69" fmla="*/ 26 h 76"/>
                <a:gd name="T70" fmla="*/ 18 w 118"/>
                <a:gd name="T71" fmla="*/ 12 h 76"/>
                <a:gd name="T72" fmla="*/ 24 w 118"/>
                <a:gd name="T73" fmla="*/ 1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8" h="76">
                  <a:moveTo>
                    <a:pt x="24" y="14"/>
                  </a:moveTo>
                  <a:lnTo>
                    <a:pt x="32" y="10"/>
                  </a:lnTo>
                  <a:lnTo>
                    <a:pt x="36" y="2"/>
                  </a:lnTo>
                  <a:lnTo>
                    <a:pt x="48" y="0"/>
                  </a:lnTo>
                  <a:lnTo>
                    <a:pt x="54" y="2"/>
                  </a:lnTo>
                  <a:lnTo>
                    <a:pt x="52" y="8"/>
                  </a:lnTo>
                  <a:lnTo>
                    <a:pt x="50" y="14"/>
                  </a:lnTo>
                  <a:lnTo>
                    <a:pt x="52" y="20"/>
                  </a:lnTo>
                  <a:lnTo>
                    <a:pt x="54" y="28"/>
                  </a:lnTo>
                  <a:lnTo>
                    <a:pt x="66" y="28"/>
                  </a:lnTo>
                  <a:lnTo>
                    <a:pt x="80" y="30"/>
                  </a:lnTo>
                  <a:lnTo>
                    <a:pt x="100" y="30"/>
                  </a:lnTo>
                  <a:lnTo>
                    <a:pt x="98" y="36"/>
                  </a:lnTo>
                  <a:lnTo>
                    <a:pt x="100" y="44"/>
                  </a:lnTo>
                  <a:lnTo>
                    <a:pt x="106" y="46"/>
                  </a:lnTo>
                  <a:lnTo>
                    <a:pt x="118" y="44"/>
                  </a:lnTo>
                  <a:lnTo>
                    <a:pt x="118" y="64"/>
                  </a:lnTo>
                  <a:lnTo>
                    <a:pt x="90" y="64"/>
                  </a:lnTo>
                  <a:lnTo>
                    <a:pt x="80" y="70"/>
                  </a:lnTo>
                  <a:lnTo>
                    <a:pt x="64" y="76"/>
                  </a:lnTo>
                  <a:lnTo>
                    <a:pt x="64" y="70"/>
                  </a:lnTo>
                  <a:lnTo>
                    <a:pt x="66" y="62"/>
                  </a:lnTo>
                  <a:lnTo>
                    <a:pt x="64" y="50"/>
                  </a:lnTo>
                  <a:lnTo>
                    <a:pt x="56" y="44"/>
                  </a:lnTo>
                  <a:lnTo>
                    <a:pt x="46" y="60"/>
                  </a:lnTo>
                  <a:lnTo>
                    <a:pt x="38" y="62"/>
                  </a:lnTo>
                  <a:lnTo>
                    <a:pt x="18" y="74"/>
                  </a:lnTo>
                  <a:lnTo>
                    <a:pt x="8" y="70"/>
                  </a:lnTo>
                  <a:lnTo>
                    <a:pt x="8" y="62"/>
                  </a:lnTo>
                  <a:lnTo>
                    <a:pt x="16" y="52"/>
                  </a:lnTo>
                  <a:lnTo>
                    <a:pt x="10" y="50"/>
                  </a:lnTo>
                  <a:lnTo>
                    <a:pt x="12" y="36"/>
                  </a:lnTo>
                  <a:lnTo>
                    <a:pt x="0" y="36"/>
                  </a:lnTo>
                  <a:lnTo>
                    <a:pt x="0" y="26"/>
                  </a:lnTo>
                  <a:lnTo>
                    <a:pt x="20" y="26"/>
                  </a:lnTo>
                  <a:lnTo>
                    <a:pt x="18" y="12"/>
                  </a:lnTo>
                  <a:lnTo>
                    <a:pt x="24" y="1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07" name="Freeform 99">
              <a:extLst>
                <a:ext uri="{FF2B5EF4-FFF2-40B4-BE49-F238E27FC236}">
                  <a16:creationId xmlns:a16="http://schemas.microsoft.com/office/drawing/2014/main" id="{23070099-E881-430F-966D-C4B12F6D03F8}"/>
                </a:ext>
              </a:extLst>
            </p:cNvPr>
            <p:cNvSpPr>
              <a:spLocks/>
            </p:cNvSpPr>
            <p:nvPr/>
          </p:nvSpPr>
          <p:spPr bwMode="gray">
            <a:xfrm>
              <a:off x="7289461" y="3406648"/>
              <a:ext cx="439185" cy="262253"/>
            </a:xfrm>
            <a:custGeom>
              <a:avLst/>
              <a:gdLst>
                <a:gd name="T0" fmla="*/ 0 w 266"/>
                <a:gd name="T1" fmla="*/ 82 h 158"/>
                <a:gd name="T2" fmla="*/ 0 w 266"/>
                <a:gd name="T3" fmla="*/ 8 h 158"/>
                <a:gd name="T4" fmla="*/ 18 w 266"/>
                <a:gd name="T5" fmla="*/ 4 h 158"/>
                <a:gd name="T6" fmla="*/ 46 w 266"/>
                <a:gd name="T7" fmla="*/ 0 h 158"/>
                <a:gd name="T8" fmla="*/ 54 w 266"/>
                <a:gd name="T9" fmla="*/ 6 h 158"/>
                <a:gd name="T10" fmla="*/ 70 w 266"/>
                <a:gd name="T11" fmla="*/ 16 h 158"/>
                <a:gd name="T12" fmla="*/ 80 w 266"/>
                <a:gd name="T13" fmla="*/ 20 h 158"/>
                <a:gd name="T14" fmla="*/ 94 w 266"/>
                <a:gd name="T15" fmla="*/ 38 h 158"/>
                <a:gd name="T16" fmla="*/ 132 w 266"/>
                <a:gd name="T17" fmla="*/ 36 h 158"/>
                <a:gd name="T18" fmla="*/ 140 w 266"/>
                <a:gd name="T19" fmla="*/ 34 h 158"/>
                <a:gd name="T20" fmla="*/ 158 w 266"/>
                <a:gd name="T21" fmla="*/ 52 h 158"/>
                <a:gd name="T22" fmla="*/ 158 w 266"/>
                <a:gd name="T23" fmla="*/ 60 h 158"/>
                <a:gd name="T24" fmla="*/ 168 w 266"/>
                <a:gd name="T25" fmla="*/ 68 h 158"/>
                <a:gd name="T26" fmla="*/ 170 w 266"/>
                <a:gd name="T27" fmla="*/ 84 h 158"/>
                <a:gd name="T28" fmla="*/ 188 w 266"/>
                <a:gd name="T29" fmla="*/ 82 h 158"/>
                <a:gd name="T30" fmla="*/ 192 w 266"/>
                <a:gd name="T31" fmla="*/ 84 h 158"/>
                <a:gd name="T32" fmla="*/ 192 w 266"/>
                <a:gd name="T33" fmla="*/ 94 h 158"/>
                <a:gd name="T34" fmla="*/ 200 w 266"/>
                <a:gd name="T35" fmla="*/ 94 h 158"/>
                <a:gd name="T36" fmla="*/ 202 w 266"/>
                <a:gd name="T37" fmla="*/ 84 h 158"/>
                <a:gd name="T38" fmla="*/ 214 w 266"/>
                <a:gd name="T39" fmla="*/ 74 h 158"/>
                <a:gd name="T40" fmla="*/ 234 w 266"/>
                <a:gd name="T41" fmla="*/ 62 h 158"/>
                <a:gd name="T42" fmla="*/ 230 w 266"/>
                <a:gd name="T43" fmla="*/ 72 h 158"/>
                <a:gd name="T44" fmla="*/ 228 w 266"/>
                <a:gd name="T45" fmla="*/ 76 h 158"/>
                <a:gd name="T46" fmla="*/ 236 w 266"/>
                <a:gd name="T47" fmla="*/ 80 h 158"/>
                <a:gd name="T48" fmla="*/ 248 w 266"/>
                <a:gd name="T49" fmla="*/ 76 h 158"/>
                <a:gd name="T50" fmla="*/ 258 w 266"/>
                <a:gd name="T51" fmla="*/ 82 h 158"/>
                <a:gd name="T52" fmla="*/ 266 w 266"/>
                <a:gd name="T53" fmla="*/ 90 h 158"/>
                <a:gd name="T54" fmla="*/ 258 w 266"/>
                <a:gd name="T55" fmla="*/ 98 h 158"/>
                <a:gd name="T56" fmla="*/ 248 w 266"/>
                <a:gd name="T57" fmla="*/ 102 h 158"/>
                <a:gd name="T58" fmla="*/ 236 w 266"/>
                <a:gd name="T59" fmla="*/ 102 h 158"/>
                <a:gd name="T60" fmla="*/ 232 w 266"/>
                <a:gd name="T61" fmla="*/ 98 h 158"/>
                <a:gd name="T62" fmla="*/ 234 w 266"/>
                <a:gd name="T63" fmla="*/ 90 h 158"/>
                <a:gd name="T64" fmla="*/ 228 w 266"/>
                <a:gd name="T65" fmla="*/ 88 h 158"/>
                <a:gd name="T66" fmla="*/ 216 w 266"/>
                <a:gd name="T67" fmla="*/ 90 h 158"/>
                <a:gd name="T68" fmla="*/ 212 w 266"/>
                <a:gd name="T69" fmla="*/ 98 h 158"/>
                <a:gd name="T70" fmla="*/ 204 w 266"/>
                <a:gd name="T71" fmla="*/ 102 h 158"/>
                <a:gd name="T72" fmla="*/ 198 w 266"/>
                <a:gd name="T73" fmla="*/ 100 h 158"/>
                <a:gd name="T74" fmla="*/ 200 w 266"/>
                <a:gd name="T75" fmla="*/ 114 h 158"/>
                <a:gd name="T76" fmla="*/ 180 w 266"/>
                <a:gd name="T77" fmla="*/ 114 h 158"/>
                <a:gd name="T78" fmla="*/ 180 w 266"/>
                <a:gd name="T79" fmla="*/ 124 h 158"/>
                <a:gd name="T80" fmla="*/ 192 w 266"/>
                <a:gd name="T81" fmla="*/ 124 h 158"/>
                <a:gd name="T82" fmla="*/ 190 w 266"/>
                <a:gd name="T83" fmla="*/ 138 h 158"/>
                <a:gd name="T84" fmla="*/ 196 w 266"/>
                <a:gd name="T85" fmla="*/ 140 h 158"/>
                <a:gd name="T86" fmla="*/ 188 w 266"/>
                <a:gd name="T87" fmla="*/ 150 h 158"/>
                <a:gd name="T88" fmla="*/ 188 w 266"/>
                <a:gd name="T89" fmla="*/ 158 h 158"/>
                <a:gd name="T90" fmla="*/ 168 w 266"/>
                <a:gd name="T91" fmla="*/ 152 h 158"/>
                <a:gd name="T92" fmla="*/ 168 w 266"/>
                <a:gd name="T93" fmla="*/ 144 h 158"/>
                <a:gd name="T94" fmla="*/ 158 w 266"/>
                <a:gd name="T95" fmla="*/ 138 h 158"/>
                <a:gd name="T96" fmla="*/ 146 w 266"/>
                <a:gd name="T97" fmla="*/ 136 h 158"/>
                <a:gd name="T98" fmla="*/ 104 w 266"/>
                <a:gd name="T99" fmla="*/ 108 h 158"/>
                <a:gd name="T100" fmla="*/ 90 w 266"/>
                <a:gd name="T101" fmla="*/ 82 h 158"/>
                <a:gd name="T102" fmla="*/ 64 w 266"/>
                <a:gd name="T103" fmla="*/ 82 h 158"/>
                <a:gd name="T104" fmla="*/ 64 w 266"/>
                <a:gd name="T105" fmla="*/ 66 h 158"/>
                <a:gd name="T106" fmla="*/ 62 w 266"/>
                <a:gd name="T107" fmla="*/ 62 h 158"/>
                <a:gd name="T108" fmla="*/ 48 w 266"/>
                <a:gd name="T109" fmla="*/ 60 h 158"/>
                <a:gd name="T110" fmla="*/ 42 w 266"/>
                <a:gd name="T111" fmla="*/ 54 h 158"/>
                <a:gd name="T112" fmla="*/ 14 w 266"/>
                <a:gd name="T113" fmla="*/ 68 h 158"/>
                <a:gd name="T114" fmla="*/ 14 w 266"/>
                <a:gd name="T115" fmla="*/ 80 h 158"/>
                <a:gd name="T116" fmla="*/ 0 w 266"/>
                <a:gd name="T117" fmla="*/ 8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6" h="158">
                  <a:moveTo>
                    <a:pt x="0" y="82"/>
                  </a:moveTo>
                  <a:lnTo>
                    <a:pt x="0" y="8"/>
                  </a:lnTo>
                  <a:lnTo>
                    <a:pt x="18" y="4"/>
                  </a:lnTo>
                  <a:lnTo>
                    <a:pt x="46" y="0"/>
                  </a:lnTo>
                  <a:lnTo>
                    <a:pt x="54" y="6"/>
                  </a:lnTo>
                  <a:lnTo>
                    <a:pt x="70" y="16"/>
                  </a:lnTo>
                  <a:lnTo>
                    <a:pt x="80" y="20"/>
                  </a:lnTo>
                  <a:lnTo>
                    <a:pt x="94" y="38"/>
                  </a:lnTo>
                  <a:lnTo>
                    <a:pt x="132" y="36"/>
                  </a:lnTo>
                  <a:lnTo>
                    <a:pt x="140" y="34"/>
                  </a:lnTo>
                  <a:lnTo>
                    <a:pt x="158" y="52"/>
                  </a:lnTo>
                  <a:lnTo>
                    <a:pt x="158" y="60"/>
                  </a:lnTo>
                  <a:lnTo>
                    <a:pt x="168" y="68"/>
                  </a:lnTo>
                  <a:lnTo>
                    <a:pt x="170" y="84"/>
                  </a:lnTo>
                  <a:lnTo>
                    <a:pt x="188" y="82"/>
                  </a:lnTo>
                  <a:lnTo>
                    <a:pt x="192" y="84"/>
                  </a:lnTo>
                  <a:lnTo>
                    <a:pt x="192" y="94"/>
                  </a:lnTo>
                  <a:lnTo>
                    <a:pt x="200" y="94"/>
                  </a:lnTo>
                  <a:lnTo>
                    <a:pt x="202" y="84"/>
                  </a:lnTo>
                  <a:lnTo>
                    <a:pt x="214" y="74"/>
                  </a:lnTo>
                  <a:lnTo>
                    <a:pt x="234" y="62"/>
                  </a:lnTo>
                  <a:lnTo>
                    <a:pt x="230" y="72"/>
                  </a:lnTo>
                  <a:lnTo>
                    <a:pt x="228" y="76"/>
                  </a:lnTo>
                  <a:lnTo>
                    <a:pt x="236" y="80"/>
                  </a:lnTo>
                  <a:lnTo>
                    <a:pt x="248" y="76"/>
                  </a:lnTo>
                  <a:lnTo>
                    <a:pt x="258" y="82"/>
                  </a:lnTo>
                  <a:lnTo>
                    <a:pt x="266" y="90"/>
                  </a:lnTo>
                  <a:lnTo>
                    <a:pt x="258" y="98"/>
                  </a:lnTo>
                  <a:lnTo>
                    <a:pt x="248" y="102"/>
                  </a:lnTo>
                  <a:lnTo>
                    <a:pt x="236" y="102"/>
                  </a:lnTo>
                  <a:lnTo>
                    <a:pt x="232" y="98"/>
                  </a:lnTo>
                  <a:lnTo>
                    <a:pt x="234" y="90"/>
                  </a:lnTo>
                  <a:lnTo>
                    <a:pt x="228" y="88"/>
                  </a:lnTo>
                  <a:lnTo>
                    <a:pt x="216" y="90"/>
                  </a:lnTo>
                  <a:lnTo>
                    <a:pt x="212" y="98"/>
                  </a:lnTo>
                  <a:lnTo>
                    <a:pt x="204" y="102"/>
                  </a:lnTo>
                  <a:lnTo>
                    <a:pt x="198" y="100"/>
                  </a:lnTo>
                  <a:lnTo>
                    <a:pt x="200" y="114"/>
                  </a:lnTo>
                  <a:lnTo>
                    <a:pt x="180" y="114"/>
                  </a:lnTo>
                  <a:lnTo>
                    <a:pt x="180" y="124"/>
                  </a:lnTo>
                  <a:lnTo>
                    <a:pt x="192" y="124"/>
                  </a:lnTo>
                  <a:lnTo>
                    <a:pt x="190" y="138"/>
                  </a:lnTo>
                  <a:lnTo>
                    <a:pt x="196" y="140"/>
                  </a:lnTo>
                  <a:lnTo>
                    <a:pt x="188" y="150"/>
                  </a:lnTo>
                  <a:lnTo>
                    <a:pt x="188" y="158"/>
                  </a:lnTo>
                  <a:lnTo>
                    <a:pt x="168" y="152"/>
                  </a:lnTo>
                  <a:lnTo>
                    <a:pt x="168" y="144"/>
                  </a:lnTo>
                  <a:lnTo>
                    <a:pt x="158" y="138"/>
                  </a:lnTo>
                  <a:lnTo>
                    <a:pt x="146" y="136"/>
                  </a:lnTo>
                  <a:lnTo>
                    <a:pt x="104" y="108"/>
                  </a:lnTo>
                  <a:lnTo>
                    <a:pt x="90" y="82"/>
                  </a:lnTo>
                  <a:lnTo>
                    <a:pt x="64" y="82"/>
                  </a:lnTo>
                  <a:lnTo>
                    <a:pt x="64" y="66"/>
                  </a:lnTo>
                  <a:lnTo>
                    <a:pt x="62" y="62"/>
                  </a:lnTo>
                  <a:lnTo>
                    <a:pt x="48" y="60"/>
                  </a:lnTo>
                  <a:lnTo>
                    <a:pt x="42" y="54"/>
                  </a:lnTo>
                  <a:lnTo>
                    <a:pt x="14" y="68"/>
                  </a:lnTo>
                  <a:lnTo>
                    <a:pt x="14" y="80"/>
                  </a:lnTo>
                  <a:lnTo>
                    <a:pt x="0" y="8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08" name="Freeform 100">
              <a:extLst>
                <a:ext uri="{FF2B5EF4-FFF2-40B4-BE49-F238E27FC236}">
                  <a16:creationId xmlns:a16="http://schemas.microsoft.com/office/drawing/2014/main" id="{19387E4A-57F2-44E4-B0E6-6F292F95AEE9}"/>
                </a:ext>
              </a:extLst>
            </p:cNvPr>
            <p:cNvSpPr>
              <a:spLocks/>
            </p:cNvSpPr>
            <p:nvPr/>
          </p:nvSpPr>
          <p:spPr bwMode="gray">
            <a:xfrm>
              <a:off x="7665905" y="3476360"/>
              <a:ext cx="260870" cy="126147"/>
            </a:xfrm>
            <a:custGeom>
              <a:avLst/>
              <a:gdLst>
                <a:gd name="T0" fmla="*/ 6 w 158"/>
                <a:gd name="T1" fmla="*/ 20 h 76"/>
                <a:gd name="T2" fmla="*/ 16 w 158"/>
                <a:gd name="T3" fmla="*/ 8 h 76"/>
                <a:gd name="T4" fmla="*/ 28 w 158"/>
                <a:gd name="T5" fmla="*/ 8 h 76"/>
                <a:gd name="T6" fmla="*/ 32 w 158"/>
                <a:gd name="T7" fmla="*/ 12 h 76"/>
                <a:gd name="T8" fmla="*/ 50 w 158"/>
                <a:gd name="T9" fmla="*/ 10 h 76"/>
                <a:gd name="T10" fmla="*/ 52 w 158"/>
                <a:gd name="T11" fmla="*/ 4 h 76"/>
                <a:gd name="T12" fmla="*/ 60 w 158"/>
                <a:gd name="T13" fmla="*/ 0 h 76"/>
                <a:gd name="T14" fmla="*/ 72 w 158"/>
                <a:gd name="T15" fmla="*/ 2 h 76"/>
                <a:gd name="T16" fmla="*/ 74 w 158"/>
                <a:gd name="T17" fmla="*/ 10 h 76"/>
                <a:gd name="T18" fmla="*/ 134 w 158"/>
                <a:gd name="T19" fmla="*/ 8 h 76"/>
                <a:gd name="T20" fmla="*/ 140 w 158"/>
                <a:gd name="T21" fmla="*/ 14 h 76"/>
                <a:gd name="T22" fmla="*/ 148 w 158"/>
                <a:gd name="T23" fmla="*/ 16 h 76"/>
                <a:gd name="T24" fmla="*/ 158 w 158"/>
                <a:gd name="T25" fmla="*/ 20 h 76"/>
                <a:gd name="T26" fmla="*/ 152 w 158"/>
                <a:gd name="T27" fmla="*/ 24 h 76"/>
                <a:gd name="T28" fmla="*/ 138 w 158"/>
                <a:gd name="T29" fmla="*/ 32 h 76"/>
                <a:gd name="T30" fmla="*/ 126 w 158"/>
                <a:gd name="T31" fmla="*/ 36 h 76"/>
                <a:gd name="T32" fmla="*/ 122 w 158"/>
                <a:gd name="T33" fmla="*/ 44 h 76"/>
                <a:gd name="T34" fmla="*/ 102 w 158"/>
                <a:gd name="T35" fmla="*/ 44 h 76"/>
                <a:gd name="T36" fmla="*/ 98 w 158"/>
                <a:gd name="T37" fmla="*/ 54 h 76"/>
                <a:gd name="T38" fmla="*/ 82 w 158"/>
                <a:gd name="T39" fmla="*/ 58 h 76"/>
                <a:gd name="T40" fmla="*/ 82 w 158"/>
                <a:gd name="T41" fmla="*/ 52 h 76"/>
                <a:gd name="T42" fmla="*/ 68 w 158"/>
                <a:gd name="T43" fmla="*/ 52 h 76"/>
                <a:gd name="T44" fmla="*/ 66 w 158"/>
                <a:gd name="T45" fmla="*/ 58 h 76"/>
                <a:gd name="T46" fmla="*/ 58 w 158"/>
                <a:gd name="T47" fmla="*/ 62 h 76"/>
                <a:gd name="T48" fmla="*/ 54 w 158"/>
                <a:gd name="T49" fmla="*/ 66 h 76"/>
                <a:gd name="T50" fmla="*/ 52 w 158"/>
                <a:gd name="T51" fmla="*/ 76 h 76"/>
                <a:gd name="T52" fmla="*/ 32 w 158"/>
                <a:gd name="T53" fmla="*/ 76 h 76"/>
                <a:gd name="T54" fmla="*/ 18 w 158"/>
                <a:gd name="T55" fmla="*/ 74 h 76"/>
                <a:gd name="T56" fmla="*/ 6 w 158"/>
                <a:gd name="T57" fmla="*/ 74 h 76"/>
                <a:gd name="T58" fmla="*/ 4 w 158"/>
                <a:gd name="T59" fmla="*/ 66 h 76"/>
                <a:gd name="T60" fmla="*/ 2 w 158"/>
                <a:gd name="T61" fmla="*/ 60 h 76"/>
                <a:gd name="T62" fmla="*/ 4 w 158"/>
                <a:gd name="T63" fmla="*/ 56 h 76"/>
                <a:gd name="T64" fmla="*/ 8 w 158"/>
                <a:gd name="T65" fmla="*/ 60 h 76"/>
                <a:gd name="T66" fmla="*/ 20 w 158"/>
                <a:gd name="T67" fmla="*/ 60 h 76"/>
                <a:gd name="T68" fmla="*/ 30 w 158"/>
                <a:gd name="T69" fmla="*/ 56 h 76"/>
                <a:gd name="T70" fmla="*/ 38 w 158"/>
                <a:gd name="T71" fmla="*/ 48 h 76"/>
                <a:gd name="T72" fmla="*/ 30 w 158"/>
                <a:gd name="T73" fmla="*/ 40 h 76"/>
                <a:gd name="T74" fmla="*/ 20 w 158"/>
                <a:gd name="T75" fmla="*/ 34 h 76"/>
                <a:gd name="T76" fmla="*/ 8 w 158"/>
                <a:gd name="T77" fmla="*/ 38 h 76"/>
                <a:gd name="T78" fmla="*/ 0 w 158"/>
                <a:gd name="T79" fmla="*/ 34 h 76"/>
                <a:gd name="T80" fmla="*/ 2 w 158"/>
                <a:gd name="T81" fmla="*/ 30 h 76"/>
                <a:gd name="T82" fmla="*/ 6 w 158"/>
                <a:gd name="T83" fmla="*/ 2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8" h="76">
                  <a:moveTo>
                    <a:pt x="6" y="20"/>
                  </a:moveTo>
                  <a:lnTo>
                    <a:pt x="16" y="8"/>
                  </a:lnTo>
                  <a:lnTo>
                    <a:pt x="28" y="8"/>
                  </a:lnTo>
                  <a:lnTo>
                    <a:pt x="32" y="12"/>
                  </a:lnTo>
                  <a:lnTo>
                    <a:pt x="50" y="10"/>
                  </a:lnTo>
                  <a:lnTo>
                    <a:pt x="52" y="4"/>
                  </a:lnTo>
                  <a:lnTo>
                    <a:pt x="60" y="0"/>
                  </a:lnTo>
                  <a:lnTo>
                    <a:pt x="72" y="2"/>
                  </a:lnTo>
                  <a:lnTo>
                    <a:pt x="74" y="10"/>
                  </a:lnTo>
                  <a:lnTo>
                    <a:pt x="134" y="8"/>
                  </a:lnTo>
                  <a:lnTo>
                    <a:pt x="140" y="14"/>
                  </a:lnTo>
                  <a:lnTo>
                    <a:pt x="148" y="16"/>
                  </a:lnTo>
                  <a:lnTo>
                    <a:pt x="158" y="20"/>
                  </a:lnTo>
                  <a:lnTo>
                    <a:pt x="152" y="24"/>
                  </a:lnTo>
                  <a:lnTo>
                    <a:pt x="138" y="32"/>
                  </a:lnTo>
                  <a:lnTo>
                    <a:pt x="126" y="36"/>
                  </a:lnTo>
                  <a:lnTo>
                    <a:pt x="122" y="44"/>
                  </a:lnTo>
                  <a:lnTo>
                    <a:pt x="102" y="44"/>
                  </a:lnTo>
                  <a:lnTo>
                    <a:pt x="98" y="54"/>
                  </a:lnTo>
                  <a:lnTo>
                    <a:pt x="82" y="58"/>
                  </a:lnTo>
                  <a:lnTo>
                    <a:pt x="82" y="52"/>
                  </a:lnTo>
                  <a:lnTo>
                    <a:pt x="68" y="52"/>
                  </a:lnTo>
                  <a:lnTo>
                    <a:pt x="66" y="58"/>
                  </a:lnTo>
                  <a:lnTo>
                    <a:pt x="58" y="62"/>
                  </a:lnTo>
                  <a:lnTo>
                    <a:pt x="54" y="66"/>
                  </a:lnTo>
                  <a:lnTo>
                    <a:pt x="52" y="76"/>
                  </a:lnTo>
                  <a:lnTo>
                    <a:pt x="32" y="76"/>
                  </a:lnTo>
                  <a:lnTo>
                    <a:pt x="18" y="74"/>
                  </a:lnTo>
                  <a:lnTo>
                    <a:pt x="6" y="74"/>
                  </a:lnTo>
                  <a:lnTo>
                    <a:pt x="4" y="66"/>
                  </a:lnTo>
                  <a:lnTo>
                    <a:pt x="2" y="60"/>
                  </a:lnTo>
                  <a:lnTo>
                    <a:pt x="4" y="56"/>
                  </a:lnTo>
                  <a:lnTo>
                    <a:pt x="8" y="60"/>
                  </a:lnTo>
                  <a:lnTo>
                    <a:pt x="20" y="60"/>
                  </a:lnTo>
                  <a:lnTo>
                    <a:pt x="30" y="56"/>
                  </a:lnTo>
                  <a:lnTo>
                    <a:pt x="38" y="48"/>
                  </a:lnTo>
                  <a:lnTo>
                    <a:pt x="30" y="40"/>
                  </a:lnTo>
                  <a:lnTo>
                    <a:pt x="20" y="34"/>
                  </a:lnTo>
                  <a:lnTo>
                    <a:pt x="8" y="38"/>
                  </a:lnTo>
                  <a:lnTo>
                    <a:pt x="0" y="34"/>
                  </a:lnTo>
                  <a:lnTo>
                    <a:pt x="2" y="30"/>
                  </a:lnTo>
                  <a:lnTo>
                    <a:pt x="6" y="2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09" name="Freeform 101">
              <a:extLst>
                <a:ext uri="{FF2B5EF4-FFF2-40B4-BE49-F238E27FC236}">
                  <a16:creationId xmlns:a16="http://schemas.microsoft.com/office/drawing/2014/main" id="{E3A38454-E615-4FE2-A5D5-5D52119C1854}"/>
                </a:ext>
              </a:extLst>
            </p:cNvPr>
            <p:cNvSpPr>
              <a:spLocks/>
            </p:cNvSpPr>
            <p:nvPr/>
          </p:nvSpPr>
          <p:spPr bwMode="gray">
            <a:xfrm>
              <a:off x="7041800" y="3084641"/>
              <a:ext cx="1056686" cy="478031"/>
            </a:xfrm>
            <a:custGeom>
              <a:avLst/>
              <a:gdLst>
                <a:gd name="T0" fmla="*/ 94 w 640"/>
                <a:gd name="T1" fmla="*/ 260 h 298"/>
                <a:gd name="T2" fmla="*/ 66 w 640"/>
                <a:gd name="T3" fmla="*/ 234 h 298"/>
                <a:gd name="T4" fmla="*/ 64 w 640"/>
                <a:gd name="T5" fmla="*/ 220 h 298"/>
                <a:gd name="T6" fmla="*/ 76 w 640"/>
                <a:gd name="T7" fmla="*/ 210 h 298"/>
                <a:gd name="T8" fmla="*/ 94 w 640"/>
                <a:gd name="T9" fmla="*/ 208 h 298"/>
                <a:gd name="T10" fmla="*/ 108 w 640"/>
                <a:gd name="T11" fmla="*/ 196 h 298"/>
                <a:gd name="T12" fmla="*/ 82 w 640"/>
                <a:gd name="T13" fmla="*/ 176 h 298"/>
                <a:gd name="T14" fmla="*/ 40 w 640"/>
                <a:gd name="T15" fmla="*/ 188 h 298"/>
                <a:gd name="T16" fmla="*/ 24 w 640"/>
                <a:gd name="T17" fmla="*/ 158 h 298"/>
                <a:gd name="T18" fmla="*/ 0 w 640"/>
                <a:gd name="T19" fmla="*/ 140 h 298"/>
                <a:gd name="T20" fmla="*/ 18 w 640"/>
                <a:gd name="T21" fmla="*/ 102 h 298"/>
                <a:gd name="T22" fmla="*/ 34 w 640"/>
                <a:gd name="T23" fmla="*/ 114 h 298"/>
                <a:gd name="T24" fmla="*/ 60 w 640"/>
                <a:gd name="T25" fmla="*/ 84 h 298"/>
                <a:gd name="T26" fmla="*/ 112 w 640"/>
                <a:gd name="T27" fmla="*/ 84 h 298"/>
                <a:gd name="T28" fmla="*/ 150 w 640"/>
                <a:gd name="T29" fmla="*/ 100 h 298"/>
                <a:gd name="T30" fmla="*/ 190 w 640"/>
                <a:gd name="T31" fmla="*/ 90 h 298"/>
                <a:gd name="T32" fmla="*/ 226 w 640"/>
                <a:gd name="T33" fmla="*/ 98 h 298"/>
                <a:gd name="T34" fmla="*/ 228 w 640"/>
                <a:gd name="T35" fmla="*/ 80 h 298"/>
                <a:gd name="T36" fmla="*/ 220 w 640"/>
                <a:gd name="T37" fmla="*/ 68 h 298"/>
                <a:gd name="T38" fmla="*/ 228 w 640"/>
                <a:gd name="T39" fmla="*/ 52 h 298"/>
                <a:gd name="T40" fmla="*/ 236 w 640"/>
                <a:gd name="T41" fmla="*/ 40 h 298"/>
                <a:gd name="T42" fmla="*/ 254 w 640"/>
                <a:gd name="T43" fmla="*/ 28 h 298"/>
                <a:gd name="T44" fmla="*/ 316 w 640"/>
                <a:gd name="T45" fmla="*/ 10 h 298"/>
                <a:gd name="T46" fmla="*/ 364 w 640"/>
                <a:gd name="T47" fmla="*/ 0 h 298"/>
                <a:gd name="T48" fmla="*/ 388 w 640"/>
                <a:gd name="T49" fmla="*/ 16 h 298"/>
                <a:gd name="T50" fmla="*/ 418 w 640"/>
                <a:gd name="T51" fmla="*/ 28 h 298"/>
                <a:gd name="T52" fmla="*/ 456 w 640"/>
                <a:gd name="T53" fmla="*/ 28 h 298"/>
                <a:gd name="T54" fmla="*/ 480 w 640"/>
                <a:gd name="T55" fmla="*/ 32 h 298"/>
                <a:gd name="T56" fmla="*/ 510 w 640"/>
                <a:gd name="T57" fmla="*/ 60 h 298"/>
                <a:gd name="T58" fmla="*/ 528 w 640"/>
                <a:gd name="T59" fmla="*/ 92 h 298"/>
                <a:gd name="T60" fmla="*/ 540 w 640"/>
                <a:gd name="T61" fmla="*/ 84 h 298"/>
                <a:gd name="T62" fmla="*/ 562 w 640"/>
                <a:gd name="T63" fmla="*/ 96 h 298"/>
                <a:gd name="T64" fmla="*/ 590 w 640"/>
                <a:gd name="T65" fmla="*/ 92 h 298"/>
                <a:gd name="T66" fmla="*/ 614 w 640"/>
                <a:gd name="T67" fmla="*/ 116 h 298"/>
                <a:gd name="T68" fmla="*/ 640 w 640"/>
                <a:gd name="T69" fmla="*/ 132 h 298"/>
                <a:gd name="T70" fmla="*/ 626 w 640"/>
                <a:gd name="T71" fmla="*/ 142 h 298"/>
                <a:gd name="T72" fmla="*/ 622 w 640"/>
                <a:gd name="T73" fmla="*/ 170 h 298"/>
                <a:gd name="T74" fmla="*/ 596 w 640"/>
                <a:gd name="T75" fmla="*/ 172 h 298"/>
                <a:gd name="T76" fmla="*/ 570 w 640"/>
                <a:gd name="T77" fmla="*/ 194 h 298"/>
                <a:gd name="T78" fmla="*/ 548 w 640"/>
                <a:gd name="T79" fmla="*/ 208 h 298"/>
                <a:gd name="T80" fmla="*/ 538 w 640"/>
                <a:gd name="T81" fmla="*/ 232 h 298"/>
                <a:gd name="T82" fmla="*/ 536 w 640"/>
                <a:gd name="T83" fmla="*/ 256 h 298"/>
                <a:gd name="T84" fmla="*/ 526 w 640"/>
                <a:gd name="T85" fmla="*/ 262 h 298"/>
                <a:gd name="T86" fmla="*/ 512 w 640"/>
                <a:gd name="T87" fmla="*/ 254 h 298"/>
                <a:gd name="T88" fmla="*/ 450 w 640"/>
                <a:gd name="T89" fmla="*/ 248 h 298"/>
                <a:gd name="T90" fmla="*/ 430 w 640"/>
                <a:gd name="T91" fmla="*/ 250 h 298"/>
                <a:gd name="T92" fmla="*/ 410 w 640"/>
                <a:gd name="T93" fmla="*/ 258 h 298"/>
                <a:gd name="T94" fmla="*/ 394 w 640"/>
                <a:gd name="T95" fmla="*/ 254 h 298"/>
                <a:gd name="T96" fmla="*/ 376 w 640"/>
                <a:gd name="T97" fmla="*/ 270 h 298"/>
                <a:gd name="T98" fmla="*/ 350 w 640"/>
                <a:gd name="T99" fmla="*/ 298 h 298"/>
                <a:gd name="T100" fmla="*/ 342 w 640"/>
                <a:gd name="T101" fmla="*/ 288 h 298"/>
                <a:gd name="T102" fmla="*/ 320 w 640"/>
                <a:gd name="T103" fmla="*/ 288 h 298"/>
                <a:gd name="T104" fmla="*/ 308 w 640"/>
                <a:gd name="T105" fmla="*/ 264 h 298"/>
                <a:gd name="T106" fmla="*/ 290 w 640"/>
                <a:gd name="T107" fmla="*/ 238 h 298"/>
                <a:gd name="T108" fmla="*/ 244 w 640"/>
                <a:gd name="T109" fmla="*/ 242 h 298"/>
                <a:gd name="T110" fmla="*/ 204 w 640"/>
                <a:gd name="T111" fmla="*/ 210 h 298"/>
                <a:gd name="T112" fmla="*/ 168 w 640"/>
                <a:gd name="T113" fmla="*/ 208 h 298"/>
                <a:gd name="T114" fmla="*/ 150 w 640"/>
                <a:gd name="T115" fmla="*/ 286 h 298"/>
                <a:gd name="T116" fmla="*/ 132 w 640"/>
                <a:gd name="T117" fmla="*/ 270 h 298"/>
                <a:gd name="T118" fmla="*/ 114 w 640"/>
                <a:gd name="T119" fmla="*/ 264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40" h="298">
                  <a:moveTo>
                    <a:pt x="108" y="262"/>
                  </a:moveTo>
                  <a:lnTo>
                    <a:pt x="94" y="260"/>
                  </a:lnTo>
                  <a:lnTo>
                    <a:pt x="78" y="248"/>
                  </a:lnTo>
                  <a:lnTo>
                    <a:pt x="66" y="234"/>
                  </a:lnTo>
                  <a:lnTo>
                    <a:pt x="58" y="224"/>
                  </a:lnTo>
                  <a:lnTo>
                    <a:pt x="64" y="220"/>
                  </a:lnTo>
                  <a:lnTo>
                    <a:pt x="78" y="222"/>
                  </a:lnTo>
                  <a:lnTo>
                    <a:pt x="76" y="210"/>
                  </a:lnTo>
                  <a:lnTo>
                    <a:pt x="82" y="206"/>
                  </a:lnTo>
                  <a:lnTo>
                    <a:pt x="94" y="208"/>
                  </a:lnTo>
                  <a:lnTo>
                    <a:pt x="104" y="210"/>
                  </a:lnTo>
                  <a:lnTo>
                    <a:pt x="108" y="196"/>
                  </a:lnTo>
                  <a:lnTo>
                    <a:pt x="100" y="176"/>
                  </a:lnTo>
                  <a:lnTo>
                    <a:pt x="82" y="176"/>
                  </a:lnTo>
                  <a:lnTo>
                    <a:pt x="64" y="178"/>
                  </a:lnTo>
                  <a:lnTo>
                    <a:pt x="40" y="188"/>
                  </a:lnTo>
                  <a:lnTo>
                    <a:pt x="36" y="174"/>
                  </a:lnTo>
                  <a:lnTo>
                    <a:pt x="24" y="158"/>
                  </a:lnTo>
                  <a:lnTo>
                    <a:pt x="10" y="154"/>
                  </a:lnTo>
                  <a:lnTo>
                    <a:pt x="0" y="140"/>
                  </a:lnTo>
                  <a:lnTo>
                    <a:pt x="6" y="116"/>
                  </a:lnTo>
                  <a:lnTo>
                    <a:pt x="18" y="102"/>
                  </a:lnTo>
                  <a:lnTo>
                    <a:pt x="26" y="118"/>
                  </a:lnTo>
                  <a:lnTo>
                    <a:pt x="34" y="114"/>
                  </a:lnTo>
                  <a:lnTo>
                    <a:pt x="36" y="102"/>
                  </a:lnTo>
                  <a:lnTo>
                    <a:pt x="60" y="84"/>
                  </a:lnTo>
                  <a:lnTo>
                    <a:pt x="76" y="78"/>
                  </a:lnTo>
                  <a:lnTo>
                    <a:pt x="112" y="84"/>
                  </a:lnTo>
                  <a:lnTo>
                    <a:pt x="136" y="98"/>
                  </a:lnTo>
                  <a:lnTo>
                    <a:pt x="150" y="100"/>
                  </a:lnTo>
                  <a:lnTo>
                    <a:pt x="172" y="90"/>
                  </a:lnTo>
                  <a:lnTo>
                    <a:pt x="190" y="90"/>
                  </a:lnTo>
                  <a:lnTo>
                    <a:pt x="200" y="100"/>
                  </a:lnTo>
                  <a:lnTo>
                    <a:pt x="226" y="98"/>
                  </a:lnTo>
                  <a:lnTo>
                    <a:pt x="238" y="88"/>
                  </a:lnTo>
                  <a:lnTo>
                    <a:pt x="228" y="80"/>
                  </a:lnTo>
                  <a:lnTo>
                    <a:pt x="214" y="76"/>
                  </a:lnTo>
                  <a:lnTo>
                    <a:pt x="220" y="68"/>
                  </a:lnTo>
                  <a:lnTo>
                    <a:pt x="226" y="62"/>
                  </a:lnTo>
                  <a:lnTo>
                    <a:pt x="228" y="52"/>
                  </a:lnTo>
                  <a:lnTo>
                    <a:pt x="240" y="48"/>
                  </a:lnTo>
                  <a:lnTo>
                    <a:pt x="236" y="40"/>
                  </a:lnTo>
                  <a:lnTo>
                    <a:pt x="232" y="30"/>
                  </a:lnTo>
                  <a:lnTo>
                    <a:pt x="254" y="28"/>
                  </a:lnTo>
                  <a:lnTo>
                    <a:pt x="280" y="20"/>
                  </a:lnTo>
                  <a:lnTo>
                    <a:pt x="316" y="10"/>
                  </a:lnTo>
                  <a:lnTo>
                    <a:pt x="346" y="4"/>
                  </a:lnTo>
                  <a:lnTo>
                    <a:pt x="364" y="0"/>
                  </a:lnTo>
                  <a:lnTo>
                    <a:pt x="384" y="2"/>
                  </a:lnTo>
                  <a:lnTo>
                    <a:pt x="388" y="16"/>
                  </a:lnTo>
                  <a:lnTo>
                    <a:pt x="398" y="22"/>
                  </a:lnTo>
                  <a:lnTo>
                    <a:pt x="418" y="28"/>
                  </a:lnTo>
                  <a:lnTo>
                    <a:pt x="438" y="38"/>
                  </a:lnTo>
                  <a:lnTo>
                    <a:pt x="456" y="28"/>
                  </a:lnTo>
                  <a:lnTo>
                    <a:pt x="478" y="22"/>
                  </a:lnTo>
                  <a:lnTo>
                    <a:pt x="480" y="32"/>
                  </a:lnTo>
                  <a:lnTo>
                    <a:pt x="498" y="44"/>
                  </a:lnTo>
                  <a:lnTo>
                    <a:pt x="510" y="60"/>
                  </a:lnTo>
                  <a:lnTo>
                    <a:pt x="524" y="84"/>
                  </a:lnTo>
                  <a:lnTo>
                    <a:pt x="528" y="92"/>
                  </a:lnTo>
                  <a:lnTo>
                    <a:pt x="536" y="92"/>
                  </a:lnTo>
                  <a:lnTo>
                    <a:pt x="540" y="84"/>
                  </a:lnTo>
                  <a:lnTo>
                    <a:pt x="550" y="90"/>
                  </a:lnTo>
                  <a:lnTo>
                    <a:pt x="562" y="96"/>
                  </a:lnTo>
                  <a:lnTo>
                    <a:pt x="572" y="94"/>
                  </a:lnTo>
                  <a:lnTo>
                    <a:pt x="590" y="92"/>
                  </a:lnTo>
                  <a:lnTo>
                    <a:pt x="600" y="106"/>
                  </a:lnTo>
                  <a:lnTo>
                    <a:pt x="614" y="116"/>
                  </a:lnTo>
                  <a:lnTo>
                    <a:pt x="636" y="118"/>
                  </a:lnTo>
                  <a:lnTo>
                    <a:pt x="640" y="132"/>
                  </a:lnTo>
                  <a:lnTo>
                    <a:pt x="638" y="142"/>
                  </a:lnTo>
                  <a:lnTo>
                    <a:pt x="626" y="142"/>
                  </a:lnTo>
                  <a:lnTo>
                    <a:pt x="622" y="156"/>
                  </a:lnTo>
                  <a:lnTo>
                    <a:pt x="622" y="170"/>
                  </a:lnTo>
                  <a:lnTo>
                    <a:pt x="612" y="172"/>
                  </a:lnTo>
                  <a:lnTo>
                    <a:pt x="596" y="172"/>
                  </a:lnTo>
                  <a:lnTo>
                    <a:pt x="580" y="170"/>
                  </a:lnTo>
                  <a:lnTo>
                    <a:pt x="570" y="194"/>
                  </a:lnTo>
                  <a:lnTo>
                    <a:pt x="566" y="208"/>
                  </a:lnTo>
                  <a:lnTo>
                    <a:pt x="548" y="208"/>
                  </a:lnTo>
                  <a:lnTo>
                    <a:pt x="536" y="214"/>
                  </a:lnTo>
                  <a:lnTo>
                    <a:pt x="538" y="232"/>
                  </a:lnTo>
                  <a:lnTo>
                    <a:pt x="544" y="248"/>
                  </a:lnTo>
                  <a:lnTo>
                    <a:pt x="536" y="256"/>
                  </a:lnTo>
                  <a:lnTo>
                    <a:pt x="536" y="266"/>
                  </a:lnTo>
                  <a:lnTo>
                    <a:pt x="526" y="262"/>
                  </a:lnTo>
                  <a:lnTo>
                    <a:pt x="518" y="260"/>
                  </a:lnTo>
                  <a:lnTo>
                    <a:pt x="512" y="254"/>
                  </a:lnTo>
                  <a:lnTo>
                    <a:pt x="452" y="256"/>
                  </a:lnTo>
                  <a:lnTo>
                    <a:pt x="450" y="248"/>
                  </a:lnTo>
                  <a:lnTo>
                    <a:pt x="438" y="246"/>
                  </a:lnTo>
                  <a:lnTo>
                    <a:pt x="430" y="250"/>
                  </a:lnTo>
                  <a:lnTo>
                    <a:pt x="428" y="256"/>
                  </a:lnTo>
                  <a:lnTo>
                    <a:pt x="410" y="258"/>
                  </a:lnTo>
                  <a:lnTo>
                    <a:pt x="406" y="254"/>
                  </a:lnTo>
                  <a:lnTo>
                    <a:pt x="394" y="254"/>
                  </a:lnTo>
                  <a:lnTo>
                    <a:pt x="384" y="266"/>
                  </a:lnTo>
                  <a:lnTo>
                    <a:pt x="376" y="270"/>
                  </a:lnTo>
                  <a:lnTo>
                    <a:pt x="352" y="288"/>
                  </a:lnTo>
                  <a:lnTo>
                    <a:pt x="350" y="298"/>
                  </a:lnTo>
                  <a:lnTo>
                    <a:pt x="342" y="298"/>
                  </a:lnTo>
                  <a:lnTo>
                    <a:pt x="342" y="288"/>
                  </a:lnTo>
                  <a:lnTo>
                    <a:pt x="338" y="286"/>
                  </a:lnTo>
                  <a:lnTo>
                    <a:pt x="320" y="288"/>
                  </a:lnTo>
                  <a:lnTo>
                    <a:pt x="318" y="272"/>
                  </a:lnTo>
                  <a:lnTo>
                    <a:pt x="308" y="264"/>
                  </a:lnTo>
                  <a:lnTo>
                    <a:pt x="308" y="256"/>
                  </a:lnTo>
                  <a:lnTo>
                    <a:pt x="290" y="238"/>
                  </a:lnTo>
                  <a:lnTo>
                    <a:pt x="282" y="240"/>
                  </a:lnTo>
                  <a:lnTo>
                    <a:pt x="244" y="242"/>
                  </a:lnTo>
                  <a:lnTo>
                    <a:pt x="230" y="224"/>
                  </a:lnTo>
                  <a:lnTo>
                    <a:pt x="204" y="210"/>
                  </a:lnTo>
                  <a:lnTo>
                    <a:pt x="196" y="204"/>
                  </a:lnTo>
                  <a:lnTo>
                    <a:pt x="168" y="208"/>
                  </a:lnTo>
                  <a:lnTo>
                    <a:pt x="150" y="212"/>
                  </a:lnTo>
                  <a:lnTo>
                    <a:pt x="150" y="286"/>
                  </a:lnTo>
                  <a:lnTo>
                    <a:pt x="140" y="284"/>
                  </a:lnTo>
                  <a:lnTo>
                    <a:pt x="132" y="270"/>
                  </a:lnTo>
                  <a:lnTo>
                    <a:pt x="120" y="262"/>
                  </a:lnTo>
                  <a:lnTo>
                    <a:pt x="114" y="264"/>
                  </a:lnTo>
                  <a:lnTo>
                    <a:pt x="108" y="26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10" name="Freeform 102">
              <a:extLst>
                <a:ext uri="{FF2B5EF4-FFF2-40B4-BE49-F238E27FC236}">
                  <a16:creationId xmlns:a16="http://schemas.microsoft.com/office/drawing/2014/main" id="{990B8087-EA27-4506-80D5-B9E62C362DC5}"/>
                </a:ext>
              </a:extLst>
            </p:cNvPr>
            <p:cNvSpPr>
              <a:spLocks/>
            </p:cNvSpPr>
            <p:nvPr/>
          </p:nvSpPr>
          <p:spPr bwMode="gray">
            <a:xfrm>
              <a:off x="6539956" y="2078783"/>
              <a:ext cx="4259765" cy="1477248"/>
            </a:xfrm>
            <a:custGeom>
              <a:avLst/>
              <a:gdLst>
                <a:gd name="T0" fmla="*/ 336 w 2580"/>
                <a:gd name="T1" fmla="*/ 878 h 890"/>
                <a:gd name="T2" fmla="*/ 254 w 2580"/>
                <a:gd name="T3" fmla="*/ 858 h 890"/>
                <a:gd name="T4" fmla="*/ 174 w 2580"/>
                <a:gd name="T5" fmla="*/ 796 h 890"/>
                <a:gd name="T6" fmla="*/ 164 w 2580"/>
                <a:gd name="T7" fmla="*/ 716 h 890"/>
                <a:gd name="T8" fmla="*/ 72 w 2580"/>
                <a:gd name="T9" fmla="*/ 674 h 890"/>
                <a:gd name="T10" fmla="*/ 14 w 2580"/>
                <a:gd name="T11" fmla="*/ 584 h 890"/>
                <a:gd name="T12" fmla="*/ 22 w 2580"/>
                <a:gd name="T13" fmla="*/ 486 h 890"/>
                <a:gd name="T14" fmla="*/ 34 w 2580"/>
                <a:gd name="T15" fmla="*/ 336 h 890"/>
                <a:gd name="T16" fmla="*/ 80 w 2580"/>
                <a:gd name="T17" fmla="*/ 244 h 890"/>
                <a:gd name="T18" fmla="*/ 172 w 2580"/>
                <a:gd name="T19" fmla="*/ 348 h 890"/>
                <a:gd name="T20" fmla="*/ 122 w 2580"/>
                <a:gd name="T21" fmla="*/ 386 h 890"/>
                <a:gd name="T22" fmla="*/ 180 w 2580"/>
                <a:gd name="T23" fmla="*/ 380 h 890"/>
                <a:gd name="T24" fmla="*/ 262 w 2580"/>
                <a:gd name="T25" fmla="*/ 310 h 890"/>
                <a:gd name="T26" fmla="*/ 318 w 2580"/>
                <a:gd name="T27" fmla="*/ 326 h 890"/>
                <a:gd name="T28" fmla="*/ 476 w 2580"/>
                <a:gd name="T29" fmla="*/ 278 h 890"/>
                <a:gd name="T30" fmla="*/ 498 w 2580"/>
                <a:gd name="T31" fmla="*/ 226 h 890"/>
                <a:gd name="T32" fmla="*/ 626 w 2580"/>
                <a:gd name="T33" fmla="*/ 246 h 890"/>
                <a:gd name="T34" fmla="*/ 716 w 2580"/>
                <a:gd name="T35" fmla="*/ 182 h 890"/>
                <a:gd name="T36" fmla="*/ 666 w 2580"/>
                <a:gd name="T37" fmla="*/ 324 h 890"/>
                <a:gd name="T38" fmla="*/ 778 w 2580"/>
                <a:gd name="T39" fmla="*/ 270 h 890"/>
                <a:gd name="T40" fmla="*/ 734 w 2580"/>
                <a:gd name="T41" fmla="*/ 204 h 890"/>
                <a:gd name="T42" fmla="*/ 780 w 2580"/>
                <a:gd name="T43" fmla="*/ 204 h 890"/>
                <a:gd name="T44" fmla="*/ 798 w 2580"/>
                <a:gd name="T45" fmla="*/ 162 h 890"/>
                <a:gd name="T46" fmla="*/ 946 w 2580"/>
                <a:gd name="T47" fmla="*/ 120 h 890"/>
                <a:gd name="T48" fmla="*/ 1230 w 2580"/>
                <a:gd name="T49" fmla="*/ 2 h 890"/>
                <a:gd name="T50" fmla="*/ 1326 w 2580"/>
                <a:gd name="T51" fmla="*/ 102 h 890"/>
                <a:gd name="T52" fmla="*/ 1336 w 2580"/>
                <a:gd name="T53" fmla="*/ 122 h 890"/>
                <a:gd name="T54" fmla="*/ 1564 w 2580"/>
                <a:gd name="T55" fmla="*/ 138 h 890"/>
                <a:gd name="T56" fmla="*/ 1720 w 2580"/>
                <a:gd name="T57" fmla="*/ 190 h 890"/>
                <a:gd name="T58" fmla="*/ 1926 w 2580"/>
                <a:gd name="T59" fmla="*/ 172 h 890"/>
                <a:gd name="T60" fmla="*/ 2108 w 2580"/>
                <a:gd name="T61" fmla="*/ 246 h 890"/>
                <a:gd name="T62" fmla="*/ 2274 w 2580"/>
                <a:gd name="T63" fmla="*/ 272 h 890"/>
                <a:gd name="T64" fmla="*/ 2442 w 2580"/>
                <a:gd name="T65" fmla="*/ 276 h 890"/>
                <a:gd name="T66" fmla="*/ 2568 w 2580"/>
                <a:gd name="T67" fmla="*/ 332 h 890"/>
                <a:gd name="T68" fmla="*/ 2446 w 2580"/>
                <a:gd name="T69" fmla="*/ 360 h 890"/>
                <a:gd name="T70" fmla="*/ 2368 w 2580"/>
                <a:gd name="T71" fmla="*/ 380 h 890"/>
                <a:gd name="T72" fmla="*/ 2306 w 2580"/>
                <a:gd name="T73" fmla="*/ 464 h 890"/>
                <a:gd name="T74" fmla="*/ 2136 w 2580"/>
                <a:gd name="T75" fmla="*/ 534 h 890"/>
                <a:gd name="T76" fmla="*/ 2104 w 2580"/>
                <a:gd name="T77" fmla="*/ 634 h 890"/>
                <a:gd name="T78" fmla="*/ 2034 w 2580"/>
                <a:gd name="T79" fmla="*/ 582 h 890"/>
                <a:gd name="T80" fmla="*/ 2166 w 2580"/>
                <a:gd name="T81" fmla="*/ 430 h 890"/>
                <a:gd name="T82" fmla="*/ 2058 w 2580"/>
                <a:gd name="T83" fmla="*/ 456 h 890"/>
                <a:gd name="T84" fmla="*/ 1966 w 2580"/>
                <a:gd name="T85" fmla="*/ 504 h 890"/>
                <a:gd name="T86" fmla="*/ 1734 w 2580"/>
                <a:gd name="T87" fmla="*/ 620 h 890"/>
                <a:gd name="T88" fmla="*/ 1794 w 2580"/>
                <a:gd name="T89" fmla="*/ 728 h 890"/>
                <a:gd name="T90" fmla="*/ 1660 w 2580"/>
                <a:gd name="T91" fmla="*/ 810 h 890"/>
                <a:gd name="T92" fmla="*/ 1666 w 2580"/>
                <a:gd name="T93" fmla="*/ 764 h 890"/>
                <a:gd name="T94" fmla="*/ 1472 w 2580"/>
                <a:gd name="T95" fmla="*/ 652 h 890"/>
                <a:gd name="T96" fmla="*/ 1418 w 2580"/>
                <a:gd name="T97" fmla="*/ 718 h 890"/>
                <a:gd name="T98" fmla="*/ 1276 w 2580"/>
                <a:gd name="T99" fmla="*/ 718 h 890"/>
                <a:gd name="T100" fmla="*/ 1132 w 2580"/>
                <a:gd name="T101" fmla="*/ 674 h 890"/>
                <a:gd name="T102" fmla="*/ 1024 w 2580"/>
                <a:gd name="T103" fmla="*/ 700 h 890"/>
                <a:gd name="T104" fmla="*/ 894 w 2580"/>
                <a:gd name="T105" fmla="*/ 696 h 890"/>
                <a:gd name="T106" fmla="*/ 760 w 2580"/>
                <a:gd name="T107" fmla="*/ 632 h 890"/>
                <a:gd name="T108" fmla="*/ 536 w 2580"/>
                <a:gd name="T109" fmla="*/ 634 h 890"/>
                <a:gd name="T110" fmla="*/ 530 w 2580"/>
                <a:gd name="T111" fmla="*/ 702 h 890"/>
                <a:gd name="T112" fmla="*/ 340 w 2580"/>
                <a:gd name="T113" fmla="*/ 706 h 890"/>
                <a:gd name="T114" fmla="*/ 344 w 2580"/>
                <a:gd name="T115" fmla="*/ 792 h 890"/>
                <a:gd name="connsiteX0" fmla="*/ 1333 w 10000"/>
                <a:gd name="connsiteY0" fmla="*/ 8899 h 10000"/>
                <a:gd name="connsiteX1" fmla="*/ 1271 w 10000"/>
                <a:gd name="connsiteY1" fmla="*/ 9034 h 10000"/>
                <a:gd name="connsiteX2" fmla="*/ 1233 w 10000"/>
                <a:gd name="connsiteY2" fmla="*/ 9101 h 10000"/>
                <a:gd name="connsiteX3" fmla="*/ 1217 w 10000"/>
                <a:gd name="connsiteY3" fmla="*/ 9191 h 10000"/>
                <a:gd name="connsiteX4" fmla="*/ 1186 w 10000"/>
                <a:gd name="connsiteY4" fmla="*/ 9303 h 10000"/>
                <a:gd name="connsiteX5" fmla="*/ 1217 w 10000"/>
                <a:gd name="connsiteY5" fmla="*/ 9371 h 10000"/>
                <a:gd name="connsiteX6" fmla="*/ 1240 w 10000"/>
                <a:gd name="connsiteY6" fmla="*/ 9483 h 10000"/>
                <a:gd name="connsiteX7" fmla="*/ 1248 w 10000"/>
                <a:gd name="connsiteY7" fmla="*/ 9685 h 10000"/>
                <a:gd name="connsiteX8" fmla="*/ 1302 w 10000"/>
                <a:gd name="connsiteY8" fmla="*/ 9865 h 10000"/>
                <a:gd name="connsiteX9" fmla="*/ 1264 w 10000"/>
                <a:gd name="connsiteY9" fmla="*/ 9978 h 10000"/>
                <a:gd name="connsiteX10" fmla="*/ 1248 w 10000"/>
                <a:gd name="connsiteY10" fmla="*/ 10000 h 10000"/>
                <a:gd name="connsiteX11" fmla="*/ 1186 w 10000"/>
                <a:gd name="connsiteY11" fmla="*/ 9865 h 10000"/>
                <a:gd name="connsiteX12" fmla="*/ 1163 w 10000"/>
                <a:gd name="connsiteY12" fmla="*/ 9843 h 10000"/>
                <a:gd name="connsiteX13" fmla="*/ 1124 w 10000"/>
                <a:gd name="connsiteY13" fmla="*/ 9730 h 10000"/>
                <a:gd name="connsiteX14" fmla="*/ 1085 w 10000"/>
                <a:gd name="connsiteY14" fmla="*/ 9663 h 10000"/>
                <a:gd name="connsiteX15" fmla="*/ 1047 w 10000"/>
                <a:gd name="connsiteY15" fmla="*/ 9685 h 10000"/>
                <a:gd name="connsiteX16" fmla="*/ 1023 w 10000"/>
                <a:gd name="connsiteY16" fmla="*/ 9685 h 10000"/>
                <a:gd name="connsiteX17" fmla="*/ 984 w 10000"/>
                <a:gd name="connsiteY17" fmla="*/ 9640 h 10000"/>
                <a:gd name="connsiteX18" fmla="*/ 930 w 10000"/>
                <a:gd name="connsiteY18" fmla="*/ 9551 h 10000"/>
                <a:gd name="connsiteX19" fmla="*/ 899 w 10000"/>
                <a:gd name="connsiteY19" fmla="*/ 9551 h 10000"/>
                <a:gd name="connsiteX20" fmla="*/ 860 w 10000"/>
                <a:gd name="connsiteY20" fmla="*/ 9573 h 10000"/>
                <a:gd name="connsiteX21" fmla="*/ 814 w 10000"/>
                <a:gd name="connsiteY21" fmla="*/ 9483 h 10000"/>
                <a:gd name="connsiteX22" fmla="*/ 767 w 10000"/>
                <a:gd name="connsiteY22" fmla="*/ 9506 h 10000"/>
                <a:gd name="connsiteX23" fmla="*/ 667 w 10000"/>
                <a:gd name="connsiteY23" fmla="*/ 9303 h 10000"/>
                <a:gd name="connsiteX24" fmla="*/ 612 w 10000"/>
                <a:gd name="connsiteY24" fmla="*/ 9236 h 10000"/>
                <a:gd name="connsiteX25" fmla="*/ 628 w 10000"/>
                <a:gd name="connsiteY25" fmla="*/ 9079 h 10000"/>
                <a:gd name="connsiteX26" fmla="*/ 674 w 10000"/>
                <a:gd name="connsiteY26" fmla="*/ 8944 h 10000"/>
                <a:gd name="connsiteX27" fmla="*/ 667 w 10000"/>
                <a:gd name="connsiteY27" fmla="*/ 8831 h 10000"/>
                <a:gd name="connsiteX28" fmla="*/ 729 w 10000"/>
                <a:gd name="connsiteY28" fmla="*/ 8719 h 10000"/>
                <a:gd name="connsiteX29" fmla="*/ 659 w 10000"/>
                <a:gd name="connsiteY29" fmla="*/ 8697 h 10000"/>
                <a:gd name="connsiteX30" fmla="*/ 667 w 10000"/>
                <a:gd name="connsiteY30" fmla="*/ 8607 h 10000"/>
                <a:gd name="connsiteX31" fmla="*/ 705 w 10000"/>
                <a:gd name="connsiteY31" fmla="*/ 8562 h 10000"/>
                <a:gd name="connsiteX32" fmla="*/ 767 w 10000"/>
                <a:gd name="connsiteY32" fmla="*/ 8517 h 10000"/>
                <a:gd name="connsiteX33" fmla="*/ 775 w 10000"/>
                <a:gd name="connsiteY33" fmla="*/ 8157 h 10000"/>
                <a:gd name="connsiteX34" fmla="*/ 713 w 10000"/>
                <a:gd name="connsiteY34" fmla="*/ 8045 h 10000"/>
                <a:gd name="connsiteX35" fmla="*/ 636 w 10000"/>
                <a:gd name="connsiteY35" fmla="*/ 8045 h 10000"/>
                <a:gd name="connsiteX36" fmla="*/ 628 w 10000"/>
                <a:gd name="connsiteY36" fmla="*/ 7978 h 10000"/>
                <a:gd name="connsiteX37" fmla="*/ 504 w 10000"/>
                <a:gd name="connsiteY37" fmla="*/ 7955 h 10000"/>
                <a:gd name="connsiteX38" fmla="*/ 488 w 10000"/>
                <a:gd name="connsiteY38" fmla="*/ 7798 h 10000"/>
                <a:gd name="connsiteX39" fmla="*/ 419 w 10000"/>
                <a:gd name="connsiteY39" fmla="*/ 7753 h 10000"/>
                <a:gd name="connsiteX40" fmla="*/ 426 w 10000"/>
                <a:gd name="connsiteY40" fmla="*/ 7618 h 10000"/>
                <a:gd name="connsiteX41" fmla="*/ 411 w 10000"/>
                <a:gd name="connsiteY41" fmla="*/ 7506 h 10000"/>
                <a:gd name="connsiteX42" fmla="*/ 318 w 10000"/>
                <a:gd name="connsiteY42" fmla="*/ 7506 h 10000"/>
                <a:gd name="connsiteX43" fmla="*/ 302 w 10000"/>
                <a:gd name="connsiteY43" fmla="*/ 7551 h 10000"/>
                <a:gd name="connsiteX44" fmla="*/ 279 w 10000"/>
                <a:gd name="connsiteY44" fmla="*/ 7573 h 10000"/>
                <a:gd name="connsiteX45" fmla="*/ 248 w 10000"/>
                <a:gd name="connsiteY45" fmla="*/ 7528 h 10000"/>
                <a:gd name="connsiteX46" fmla="*/ 248 w 10000"/>
                <a:gd name="connsiteY46" fmla="*/ 7303 h 10000"/>
                <a:gd name="connsiteX47" fmla="*/ 318 w 10000"/>
                <a:gd name="connsiteY47" fmla="*/ 7303 h 10000"/>
                <a:gd name="connsiteX48" fmla="*/ 326 w 10000"/>
                <a:gd name="connsiteY48" fmla="*/ 7281 h 10000"/>
                <a:gd name="connsiteX49" fmla="*/ 217 w 10000"/>
                <a:gd name="connsiteY49" fmla="*/ 6944 h 10000"/>
                <a:gd name="connsiteX50" fmla="*/ 202 w 10000"/>
                <a:gd name="connsiteY50" fmla="*/ 6697 h 10000"/>
                <a:gd name="connsiteX51" fmla="*/ 124 w 10000"/>
                <a:gd name="connsiteY51" fmla="*/ 6674 h 10000"/>
                <a:gd name="connsiteX52" fmla="*/ 124 w 10000"/>
                <a:gd name="connsiteY52" fmla="*/ 6607 h 10000"/>
                <a:gd name="connsiteX53" fmla="*/ 54 w 10000"/>
                <a:gd name="connsiteY53" fmla="*/ 6562 h 10000"/>
                <a:gd name="connsiteX54" fmla="*/ 39 w 10000"/>
                <a:gd name="connsiteY54" fmla="*/ 6494 h 10000"/>
                <a:gd name="connsiteX55" fmla="*/ 23 w 10000"/>
                <a:gd name="connsiteY55" fmla="*/ 6315 h 10000"/>
                <a:gd name="connsiteX56" fmla="*/ 0 w 10000"/>
                <a:gd name="connsiteY56" fmla="*/ 6180 h 10000"/>
                <a:gd name="connsiteX57" fmla="*/ 8 w 10000"/>
                <a:gd name="connsiteY57" fmla="*/ 6045 h 10000"/>
                <a:gd name="connsiteX58" fmla="*/ 8 w 10000"/>
                <a:gd name="connsiteY58" fmla="*/ 5865 h 10000"/>
                <a:gd name="connsiteX59" fmla="*/ 31 w 10000"/>
                <a:gd name="connsiteY59" fmla="*/ 5730 h 10000"/>
                <a:gd name="connsiteX60" fmla="*/ 101 w 10000"/>
                <a:gd name="connsiteY60" fmla="*/ 5573 h 10000"/>
                <a:gd name="connsiteX61" fmla="*/ 155 w 10000"/>
                <a:gd name="connsiteY61" fmla="*/ 5551 h 10000"/>
                <a:gd name="connsiteX62" fmla="*/ 85 w 10000"/>
                <a:gd name="connsiteY62" fmla="*/ 5461 h 10000"/>
                <a:gd name="connsiteX63" fmla="*/ 47 w 10000"/>
                <a:gd name="connsiteY63" fmla="*/ 5326 h 10000"/>
                <a:gd name="connsiteX64" fmla="*/ 180 w 10000"/>
                <a:gd name="connsiteY64" fmla="*/ 4975 h 10000"/>
                <a:gd name="connsiteX65" fmla="*/ 248 w 10000"/>
                <a:gd name="connsiteY65" fmla="*/ 4764 h 10000"/>
                <a:gd name="connsiteX66" fmla="*/ 155 w 10000"/>
                <a:gd name="connsiteY66" fmla="*/ 4562 h 10000"/>
                <a:gd name="connsiteX67" fmla="*/ 194 w 10000"/>
                <a:gd name="connsiteY67" fmla="*/ 4449 h 10000"/>
                <a:gd name="connsiteX68" fmla="*/ 163 w 10000"/>
                <a:gd name="connsiteY68" fmla="*/ 4292 h 10000"/>
                <a:gd name="connsiteX69" fmla="*/ 124 w 10000"/>
                <a:gd name="connsiteY69" fmla="*/ 4180 h 10000"/>
                <a:gd name="connsiteX70" fmla="*/ 155 w 10000"/>
                <a:gd name="connsiteY70" fmla="*/ 3955 h 10000"/>
                <a:gd name="connsiteX71" fmla="*/ 132 w 10000"/>
                <a:gd name="connsiteY71" fmla="*/ 3775 h 10000"/>
                <a:gd name="connsiteX72" fmla="*/ 93 w 10000"/>
                <a:gd name="connsiteY72" fmla="*/ 3573 h 10000"/>
                <a:gd name="connsiteX73" fmla="*/ 155 w 10000"/>
                <a:gd name="connsiteY73" fmla="*/ 3393 h 10000"/>
                <a:gd name="connsiteX74" fmla="*/ 62 w 10000"/>
                <a:gd name="connsiteY74" fmla="*/ 3236 h 10000"/>
                <a:gd name="connsiteX75" fmla="*/ 78 w 10000"/>
                <a:gd name="connsiteY75" fmla="*/ 2989 h 10000"/>
                <a:gd name="connsiteX76" fmla="*/ 116 w 10000"/>
                <a:gd name="connsiteY76" fmla="*/ 2876 h 10000"/>
                <a:gd name="connsiteX77" fmla="*/ 155 w 10000"/>
                <a:gd name="connsiteY77" fmla="*/ 2854 h 10000"/>
                <a:gd name="connsiteX78" fmla="*/ 155 w 10000"/>
                <a:gd name="connsiteY78" fmla="*/ 2787 h 10000"/>
                <a:gd name="connsiteX79" fmla="*/ 240 w 10000"/>
                <a:gd name="connsiteY79" fmla="*/ 2742 h 10000"/>
                <a:gd name="connsiteX80" fmla="*/ 310 w 10000"/>
                <a:gd name="connsiteY80" fmla="*/ 2742 h 10000"/>
                <a:gd name="connsiteX81" fmla="*/ 333 w 10000"/>
                <a:gd name="connsiteY81" fmla="*/ 2854 h 10000"/>
                <a:gd name="connsiteX82" fmla="*/ 372 w 10000"/>
                <a:gd name="connsiteY82" fmla="*/ 2899 h 10000"/>
                <a:gd name="connsiteX83" fmla="*/ 519 w 10000"/>
                <a:gd name="connsiteY83" fmla="*/ 2921 h 10000"/>
                <a:gd name="connsiteX84" fmla="*/ 628 w 10000"/>
                <a:gd name="connsiteY84" fmla="*/ 3079 h 10000"/>
                <a:gd name="connsiteX85" fmla="*/ 729 w 10000"/>
                <a:gd name="connsiteY85" fmla="*/ 3258 h 10000"/>
                <a:gd name="connsiteX86" fmla="*/ 845 w 10000"/>
                <a:gd name="connsiteY86" fmla="*/ 3438 h 10000"/>
                <a:gd name="connsiteX87" fmla="*/ 853 w 10000"/>
                <a:gd name="connsiteY87" fmla="*/ 3640 h 10000"/>
                <a:gd name="connsiteX88" fmla="*/ 783 w 10000"/>
                <a:gd name="connsiteY88" fmla="*/ 3820 h 10000"/>
                <a:gd name="connsiteX89" fmla="*/ 667 w 10000"/>
                <a:gd name="connsiteY89" fmla="*/ 3910 h 10000"/>
                <a:gd name="connsiteX90" fmla="*/ 566 w 10000"/>
                <a:gd name="connsiteY90" fmla="*/ 3798 h 10000"/>
                <a:gd name="connsiteX91" fmla="*/ 450 w 10000"/>
                <a:gd name="connsiteY91" fmla="*/ 3730 h 10000"/>
                <a:gd name="connsiteX92" fmla="*/ 364 w 10000"/>
                <a:gd name="connsiteY92" fmla="*/ 3640 h 10000"/>
                <a:gd name="connsiteX93" fmla="*/ 295 w 10000"/>
                <a:gd name="connsiteY93" fmla="*/ 3551 h 10000"/>
                <a:gd name="connsiteX94" fmla="*/ 349 w 10000"/>
                <a:gd name="connsiteY94" fmla="*/ 3753 h 10000"/>
                <a:gd name="connsiteX95" fmla="*/ 411 w 10000"/>
                <a:gd name="connsiteY95" fmla="*/ 3843 h 10000"/>
                <a:gd name="connsiteX96" fmla="*/ 442 w 10000"/>
                <a:gd name="connsiteY96" fmla="*/ 3910 h 10000"/>
                <a:gd name="connsiteX97" fmla="*/ 450 w 10000"/>
                <a:gd name="connsiteY97" fmla="*/ 4045 h 10000"/>
                <a:gd name="connsiteX98" fmla="*/ 473 w 10000"/>
                <a:gd name="connsiteY98" fmla="*/ 4337 h 10000"/>
                <a:gd name="connsiteX99" fmla="*/ 512 w 10000"/>
                <a:gd name="connsiteY99" fmla="*/ 4360 h 10000"/>
                <a:gd name="connsiteX100" fmla="*/ 574 w 10000"/>
                <a:gd name="connsiteY100" fmla="*/ 4517 h 10000"/>
                <a:gd name="connsiteX101" fmla="*/ 651 w 10000"/>
                <a:gd name="connsiteY101" fmla="*/ 4517 h 10000"/>
                <a:gd name="connsiteX102" fmla="*/ 659 w 10000"/>
                <a:gd name="connsiteY102" fmla="*/ 4404 h 10000"/>
                <a:gd name="connsiteX103" fmla="*/ 612 w 10000"/>
                <a:gd name="connsiteY103" fmla="*/ 4360 h 10000"/>
                <a:gd name="connsiteX104" fmla="*/ 574 w 10000"/>
                <a:gd name="connsiteY104" fmla="*/ 4225 h 10000"/>
                <a:gd name="connsiteX105" fmla="*/ 605 w 10000"/>
                <a:gd name="connsiteY105" fmla="*/ 4112 h 10000"/>
                <a:gd name="connsiteX106" fmla="*/ 651 w 10000"/>
                <a:gd name="connsiteY106" fmla="*/ 4225 h 10000"/>
                <a:gd name="connsiteX107" fmla="*/ 698 w 10000"/>
                <a:gd name="connsiteY107" fmla="*/ 4270 h 10000"/>
                <a:gd name="connsiteX108" fmla="*/ 798 w 10000"/>
                <a:gd name="connsiteY108" fmla="*/ 4337 h 10000"/>
                <a:gd name="connsiteX109" fmla="*/ 798 w 10000"/>
                <a:gd name="connsiteY109" fmla="*/ 4225 h 10000"/>
                <a:gd name="connsiteX110" fmla="*/ 760 w 10000"/>
                <a:gd name="connsiteY110" fmla="*/ 4090 h 10000"/>
                <a:gd name="connsiteX111" fmla="*/ 806 w 10000"/>
                <a:gd name="connsiteY111" fmla="*/ 3955 h 10000"/>
                <a:gd name="connsiteX112" fmla="*/ 876 w 10000"/>
                <a:gd name="connsiteY112" fmla="*/ 3843 h 10000"/>
                <a:gd name="connsiteX113" fmla="*/ 915 w 10000"/>
                <a:gd name="connsiteY113" fmla="*/ 3753 h 10000"/>
                <a:gd name="connsiteX114" fmla="*/ 1023 w 10000"/>
                <a:gd name="connsiteY114" fmla="*/ 3843 h 10000"/>
                <a:gd name="connsiteX115" fmla="*/ 1047 w 10000"/>
                <a:gd name="connsiteY115" fmla="*/ 3573 h 10000"/>
                <a:gd name="connsiteX116" fmla="*/ 1016 w 10000"/>
                <a:gd name="connsiteY116" fmla="*/ 3483 h 10000"/>
                <a:gd name="connsiteX117" fmla="*/ 1031 w 10000"/>
                <a:gd name="connsiteY117" fmla="*/ 3236 h 10000"/>
                <a:gd name="connsiteX118" fmla="*/ 1000 w 10000"/>
                <a:gd name="connsiteY118" fmla="*/ 3146 h 10000"/>
                <a:gd name="connsiteX119" fmla="*/ 1132 w 10000"/>
                <a:gd name="connsiteY119" fmla="*/ 3124 h 10000"/>
                <a:gd name="connsiteX120" fmla="*/ 1178 w 10000"/>
                <a:gd name="connsiteY120" fmla="*/ 3281 h 10000"/>
                <a:gd name="connsiteX121" fmla="*/ 1178 w 10000"/>
                <a:gd name="connsiteY121" fmla="*/ 3371 h 10000"/>
                <a:gd name="connsiteX122" fmla="*/ 1116 w 10000"/>
                <a:gd name="connsiteY122" fmla="*/ 3371 h 10000"/>
                <a:gd name="connsiteX123" fmla="*/ 1078 w 10000"/>
                <a:gd name="connsiteY123" fmla="*/ 3483 h 10000"/>
                <a:gd name="connsiteX124" fmla="*/ 1140 w 10000"/>
                <a:gd name="connsiteY124" fmla="*/ 3640 h 10000"/>
                <a:gd name="connsiteX125" fmla="*/ 1233 w 10000"/>
                <a:gd name="connsiteY125" fmla="*/ 3663 h 10000"/>
                <a:gd name="connsiteX126" fmla="*/ 1271 w 10000"/>
                <a:gd name="connsiteY126" fmla="*/ 3393 h 10000"/>
                <a:gd name="connsiteX127" fmla="*/ 1496 w 10000"/>
                <a:gd name="connsiteY127" fmla="*/ 3146 h 10000"/>
                <a:gd name="connsiteX128" fmla="*/ 1535 w 10000"/>
                <a:gd name="connsiteY128" fmla="*/ 3169 h 10000"/>
                <a:gd name="connsiteX129" fmla="*/ 1581 w 10000"/>
                <a:gd name="connsiteY129" fmla="*/ 3034 h 10000"/>
                <a:gd name="connsiteX130" fmla="*/ 1628 w 10000"/>
                <a:gd name="connsiteY130" fmla="*/ 2989 h 10000"/>
                <a:gd name="connsiteX131" fmla="*/ 1612 w 10000"/>
                <a:gd name="connsiteY131" fmla="*/ 3191 h 10000"/>
                <a:gd name="connsiteX132" fmla="*/ 1690 w 10000"/>
                <a:gd name="connsiteY132" fmla="*/ 3191 h 10000"/>
                <a:gd name="connsiteX133" fmla="*/ 1705 w 10000"/>
                <a:gd name="connsiteY133" fmla="*/ 3101 h 10000"/>
                <a:gd name="connsiteX134" fmla="*/ 1845 w 10000"/>
                <a:gd name="connsiteY134" fmla="*/ 3124 h 10000"/>
                <a:gd name="connsiteX135" fmla="*/ 1938 w 10000"/>
                <a:gd name="connsiteY135" fmla="*/ 2966 h 10000"/>
                <a:gd name="connsiteX136" fmla="*/ 1953 w 10000"/>
                <a:gd name="connsiteY136" fmla="*/ 3079 h 10000"/>
                <a:gd name="connsiteX137" fmla="*/ 1946 w 10000"/>
                <a:gd name="connsiteY137" fmla="*/ 3169 h 10000"/>
                <a:gd name="connsiteX138" fmla="*/ 1984 w 10000"/>
                <a:gd name="connsiteY138" fmla="*/ 3169 h 10000"/>
                <a:gd name="connsiteX139" fmla="*/ 2000 w 10000"/>
                <a:gd name="connsiteY139" fmla="*/ 3079 h 10000"/>
                <a:gd name="connsiteX140" fmla="*/ 2062 w 10000"/>
                <a:gd name="connsiteY140" fmla="*/ 2966 h 10000"/>
                <a:gd name="connsiteX141" fmla="*/ 2016 w 10000"/>
                <a:gd name="connsiteY141" fmla="*/ 2787 h 10000"/>
                <a:gd name="connsiteX142" fmla="*/ 1930 w 10000"/>
                <a:gd name="connsiteY142" fmla="*/ 2697 h 10000"/>
                <a:gd name="connsiteX143" fmla="*/ 1930 w 10000"/>
                <a:gd name="connsiteY143" fmla="*/ 2539 h 10000"/>
                <a:gd name="connsiteX144" fmla="*/ 1961 w 10000"/>
                <a:gd name="connsiteY144" fmla="*/ 2517 h 10000"/>
                <a:gd name="connsiteX145" fmla="*/ 2039 w 10000"/>
                <a:gd name="connsiteY145" fmla="*/ 2719 h 10000"/>
                <a:gd name="connsiteX146" fmla="*/ 2163 w 10000"/>
                <a:gd name="connsiteY146" fmla="*/ 2742 h 10000"/>
                <a:gd name="connsiteX147" fmla="*/ 2295 w 10000"/>
                <a:gd name="connsiteY147" fmla="*/ 2876 h 10000"/>
                <a:gd name="connsiteX148" fmla="*/ 2403 w 10000"/>
                <a:gd name="connsiteY148" fmla="*/ 3011 h 10000"/>
                <a:gd name="connsiteX149" fmla="*/ 2519 w 10000"/>
                <a:gd name="connsiteY149" fmla="*/ 3191 h 10000"/>
                <a:gd name="connsiteX150" fmla="*/ 2550 w 10000"/>
                <a:gd name="connsiteY150" fmla="*/ 3034 h 10000"/>
                <a:gd name="connsiteX151" fmla="*/ 2496 w 10000"/>
                <a:gd name="connsiteY151" fmla="*/ 2876 h 10000"/>
                <a:gd name="connsiteX152" fmla="*/ 2426 w 10000"/>
                <a:gd name="connsiteY152" fmla="*/ 2764 h 10000"/>
                <a:gd name="connsiteX153" fmla="*/ 2426 w 10000"/>
                <a:gd name="connsiteY153" fmla="*/ 2652 h 10000"/>
                <a:gd name="connsiteX154" fmla="*/ 2457 w 10000"/>
                <a:gd name="connsiteY154" fmla="*/ 2427 h 10000"/>
                <a:gd name="connsiteX155" fmla="*/ 2419 w 10000"/>
                <a:gd name="connsiteY155" fmla="*/ 2360 h 10000"/>
                <a:gd name="connsiteX156" fmla="*/ 2426 w 10000"/>
                <a:gd name="connsiteY156" fmla="*/ 2292 h 10000"/>
                <a:gd name="connsiteX157" fmla="*/ 2519 w 10000"/>
                <a:gd name="connsiteY157" fmla="*/ 2090 h 10000"/>
                <a:gd name="connsiteX158" fmla="*/ 2581 w 10000"/>
                <a:gd name="connsiteY158" fmla="*/ 1730 h 10000"/>
                <a:gd name="connsiteX159" fmla="*/ 2775 w 10000"/>
                <a:gd name="connsiteY159" fmla="*/ 1775 h 10000"/>
                <a:gd name="connsiteX160" fmla="*/ 2791 w 10000"/>
                <a:gd name="connsiteY160" fmla="*/ 1843 h 10000"/>
                <a:gd name="connsiteX161" fmla="*/ 2775 w 10000"/>
                <a:gd name="connsiteY161" fmla="*/ 2045 h 10000"/>
                <a:gd name="connsiteX162" fmla="*/ 2736 w 10000"/>
                <a:gd name="connsiteY162" fmla="*/ 2225 h 10000"/>
                <a:gd name="connsiteX163" fmla="*/ 2775 w 10000"/>
                <a:gd name="connsiteY163" fmla="*/ 2315 h 10000"/>
                <a:gd name="connsiteX164" fmla="*/ 2791 w 10000"/>
                <a:gd name="connsiteY164" fmla="*/ 2517 h 10000"/>
                <a:gd name="connsiteX165" fmla="*/ 2775 w 10000"/>
                <a:gd name="connsiteY165" fmla="*/ 3011 h 10000"/>
                <a:gd name="connsiteX166" fmla="*/ 2837 w 10000"/>
                <a:gd name="connsiteY166" fmla="*/ 3146 h 10000"/>
                <a:gd name="connsiteX167" fmla="*/ 2806 w 10000"/>
                <a:gd name="connsiteY167" fmla="*/ 3348 h 10000"/>
                <a:gd name="connsiteX168" fmla="*/ 2698 w 10000"/>
                <a:gd name="connsiteY168" fmla="*/ 3618 h 10000"/>
                <a:gd name="connsiteX169" fmla="*/ 2643 w 10000"/>
                <a:gd name="connsiteY169" fmla="*/ 3685 h 10000"/>
                <a:gd name="connsiteX170" fmla="*/ 2581 w 10000"/>
                <a:gd name="connsiteY170" fmla="*/ 3640 h 10000"/>
                <a:gd name="connsiteX171" fmla="*/ 2550 w 10000"/>
                <a:gd name="connsiteY171" fmla="*/ 3685 h 10000"/>
                <a:gd name="connsiteX172" fmla="*/ 2597 w 10000"/>
                <a:gd name="connsiteY172" fmla="*/ 3775 h 10000"/>
                <a:gd name="connsiteX173" fmla="*/ 2667 w 10000"/>
                <a:gd name="connsiteY173" fmla="*/ 3820 h 10000"/>
                <a:gd name="connsiteX174" fmla="*/ 2736 w 10000"/>
                <a:gd name="connsiteY174" fmla="*/ 3843 h 10000"/>
                <a:gd name="connsiteX175" fmla="*/ 2814 w 10000"/>
                <a:gd name="connsiteY175" fmla="*/ 3663 h 10000"/>
                <a:gd name="connsiteX176" fmla="*/ 2922 w 10000"/>
                <a:gd name="connsiteY176" fmla="*/ 3348 h 10000"/>
                <a:gd name="connsiteX177" fmla="*/ 2891 w 10000"/>
                <a:gd name="connsiteY177" fmla="*/ 3169 h 10000"/>
                <a:gd name="connsiteX178" fmla="*/ 2930 w 10000"/>
                <a:gd name="connsiteY178" fmla="*/ 2989 h 10000"/>
                <a:gd name="connsiteX179" fmla="*/ 3016 w 10000"/>
                <a:gd name="connsiteY179" fmla="*/ 3034 h 10000"/>
                <a:gd name="connsiteX180" fmla="*/ 3054 w 10000"/>
                <a:gd name="connsiteY180" fmla="*/ 3146 h 10000"/>
                <a:gd name="connsiteX181" fmla="*/ 3070 w 10000"/>
                <a:gd name="connsiteY181" fmla="*/ 3326 h 10000"/>
                <a:gd name="connsiteX182" fmla="*/ 3124 w 10000"/>
                <a:gd name="connsiteY182" fmla="*/ 3191 h 10000"/>
                <a:gd name="connsiteX183" fmla="*/ 3093 w 10000"/>
                <a:gd name="connsiteY183" fmla="*/ 3011 h 10000"/>
                <a:gd name="connsiteX184" fmla="*/ 3016 w 10000"/>
                <a:gd name="connsiteY184" fmla="*/ 2944 h 10000"/>
                <a:gd name="connsiteX185" fmla="*/ 2853 w 10000"/>
                <a:gd name="connsiteY185" fmla="*/ 2921 h 10000"/>
                <a:gd name="connsiteX186" fmla="*/ 2853 w 10000"/>
                <a:gd name="connsiteY186" fmla="*/ 2697 h 10000"/>
                <a:gd name="connsiteX187" fmla="*/ 2884 w 10000"/>
                <a:gd name="connsiteY187" fmla="*/ 2472 h 10000"/>
                <a:gd name="connsiteX188" fmla="*/ 2845 w 10000"/>
                <a:gd name="connsiteY188" fmla="*/ 2292 h 10000"/>
                <a:gd name="connsiteX189" fmla="*/ 2822 w 10000"/>
                <a:gd name="connsiteY189" fmla="*/ 2157 h 10000"/>
                <a:gd name="connsiteX190" fmla="*/ 2868 w 10000"/>
                <a:gd name="connsiteY190" fmla="*/ 2022 h 10000"/>
                <a:gd name="connsiteX191" fmla="*/ 2922 w 10000"/>
                <a:gd name="connsiteY191" fmla="*/ 1955 h 10000"/>
                <a:gd name="connsiteX192" fmla="*/ 2930 w 10000"/>
                <a:gd name="connsiteY192" fmla="*/ 1775 h 10000"/>
                <a:gd name="connsiteX193" fmla="*/ 2961 w 10000"/>
                <a:gd name="connsiteY193" fmla="*/ 1775 h 10000"/>
                <a:gd name="connsiteX194" fmla="*/ 2969 w 10000"/>
                <a:gd name="connsiteY194" fmla="*/ 1978 h 10000"/>
                <a:gd name="connsiteX195" fmla="*/ 2946 w 10000"/>
                <a:gd name="connsiteY195" fmla="*/ 2135 h 10000"/>
                <a:gd name="connsiteX196" fmla="*/ 2961 w 10000"/>
                <a:gd name="connsiteY196" fmla="*/ 2247 h 10000"/>
                <a:gd name="connsiteX197" fmla="*/ 3023 w 10000"/>
                <a:gd name="connsiteY197" fmla="*/ 2292 h 10000"/>
                <a:gd name="connsiteX198" fmla="*/ 3116 w 10000"/>
                <a:gd name="connsiteY198" fmla="*/ 2360 h 10000"/>
                <a:gd name="connsiteX199" fmla="*/ 3163 w 10000"/>
                <a:gd name="connsiteY199" fmla="*/ 2360 h 10000"/>
                <a:gd name="connsiteX200" fmla="*/ 3109 w 10000"/>
                <a:gd name="connsiteY200" fmla="*/ 2247 h 10000"/>
                <a:gd name="connsiteX201" fmla="*/ 3031 w 10000"/>
                <a:gd name="connsiteY201" fmla="*/ 2180 h 10000"/>
                <a:gd name="connsiteX202" fmla="*/ 3000 w 10000"/>
                <a:gd name="connsiteY202" fmla="*/ 2045 h 10000"/>
                <a:gd name="connsiteX203" fmla="*/ 3047 w 10000"/>
                <a:gd name="connsiteY203" fmla="*/ 2000 h 10000"/>
                <a:gd name="connsiteX204" fmla="*/ 3124 w 10000"/>
                <a:gd name="connsiteY204" fmla="*/ 2045 h 10000"/>
                <a:gd name="connsiteX205" fmla="*/ 3070 w 10000"/>
                <a:gd name="connsiteY205" fmla="*/ 1865 h 10000"/>
                <a:gd name="connsiteX206" fmla="*/ 3093 w 10000"/>
                <a:gd name="connsiteY206" fmla="*/ 1820 h 10000"/>
                <a:gd name="connsiteX207" fmla="*/ 3225 w 10000"/>
                <a:gd name="connsiteY207" fmla="*/ 1933 h 10000"/>
                <a:gd name="connsiteX208" fmla="*/ 3302 w 10000"/>
                <a:gd name="connsiteY208" fmla="*/ 2112 h 10000"/>
                <a:gd name="connsiteX209" fmla="*/ 3411 w 10000"/>
                <a:gd name="connsiteY209" fmla="*/ 2112 h 10000"/>
                <a:gd name="connsiteX210" fmla="*/ 3357 w 10000"/>
                <a:gd name="connsiteY210" fmla="*/ 1955 h 10000"/>
                <a:gd name="connsiteX211" fmla="*/ 3287 w 10000"/>
                <a:gd name="connsiteY211" fmla="*/ 1798 h 10000"/>
                <a:gd name="connsiteX212" fmla="*/ 3264 w 10000"/>
                <a:gd name="connsiteY212" fmla="*/ 1551 h 10000"/>
                <a:gd name="connsiteX213" fmla="*/ 3310 w 10000"/>
                <a:gd name="connsiteY213" fmla="*/ 1461 h 10000"/>
                <a:gd name="connsiteX214" fmla="*/ 3488 w 10000"/>
                <a:gd name="connsiteY214" fmla="*/ 1438 h 10000"/>
                <a:gd name="connsiteX215" fmla="*/ 3667 w 10000"/>
                <a:gd name="connsiteY215" fmla="*/ 1348 h 10000"/>
                <a:gd name="connsiteX216" fmla="*/ 3620 w 10000"/>
                <a:gd name="connsiteY216" fmla="*/ 1101 h 10000"/>
                <a:gd name="connsiteX217" fmla="*/ 3767 w 10000"/>
                <a:gd name="connsiteY217" fmla="*/ 899 h 10000"/>
                <a:gd name="connsiteX218" fmla="*/ 4093 w 10000"/>
                <a:gd name="connsiteY218" fmla="*/ 584 h 10000"/>
                <a:gd name="connsiteX219" fmla="*/ 4233 w 10000"/>
                <a:gd name="connsiteY219" fmla="*/ 539 h 10000"/>
                <a:gd name="connsiteX220" fmla="*/ 4364 w 10000"/>
                <a:gd name="connsiteY220" fmla="*/ 584 h 10000"/>
                <a:gd name="connsiteX221" fmla="*/ 4558 w 10000"/>
                <a:gd name="connsiteY221" fmla="*/ 404 h 10000"/>
                <a:gd name="connsiteX222" fmla="*/ 4543 w 10000"/>
                <a:gd name="connsiteY222" fmla="*/ 225 h 10000"/>
                <a:gd name="connsiteX223" fmla="*/ 4636 w 10000"/>
                <a:gd name="connsiteY223" fmla="*/ 0 h 10000"/>
                <a:gd name="connsiteX224" fmla="*/ 4767 w 10000"/>
                <a:gd name="connsiteY224" fmla="*/ 22 h 10000"/>
                <a:gd name="connsiteX225" fmla="*/ 4837 w 10000"/>
                <a:gd name="connsiteY225" fmla="*/ 90 h 10000"/>
                <a:gd name="connsiteX226" fmla="*/ 4752 w 10000"/>
                <a:gd name="connsiteY226" fmla="*/ 225 h 10000"/>
                <a:gd name="connsiteX227" fmla="*/ 4915 w 10000"/>
                <a:gd name="connsiteY227" fmla="*/ 247 h 10000"/>
                <a:gd name="connsiteX228" fmla="*/ 4884 w 10000"/>
                <a:gd name="connsiteY228" fmla="*/ 404 h 10000"/>
                <a:gd name="connsiteX229" fmla="*/ 5178 w 10000"/>
                <a:gd name="connsiteY229" fmla="*/ 382 h 10000"/>
                <a:gd name="connsiteX230" fmla="*/ 5287 w 10000"/>
                <a:gd name="connsiteY230" fmla="*/ 584 h 10000"/>
                <a:gd name="connsiteX231" fmla="*/ 5302 w 10000"/>
                <a:gd name="connsiteY231" fmla="*/ 719 h 10000"/>
                <a:gd name="connsiteX232" fmla="*/ 5271 w 10000"/>
                <a:gd name="connsiteY232" fmla="*/ 944 h 10000"/>
                <a:gd name="connsiteX233" fmla="*/ 5140 w 10000"/>
                <a:gd name="connsiteY233" fmla="*/ 1146 h 10000"/>
                <a:gd name="connsiteX234" fmla="*/ 5000 w 10000"/>
                <a:gd name="connsiteY234" fmla="*/ 1371 h 10000"/>
                <a:gd name="connsiteX235" fmla="*/ 4806 w 10000"/>
                <a:gd name="connsiteY235" fmla="*/ 1685 h 10000"/>
                <a:gd name="connsiteX236" fmla="*/ 4822 w 10000"/>
                <a:gd name="connsiteY236" fmla="*/ 1730 h 10000"/>
                <a:gd name="connsiteX237" fmla="*/ 4907 w 10000"/>
                <a:gd name="connsiteY237" fmla="*/ 1640 h 10000"/>
                <a:gd name="connsiteX238" fmla="*/ 5070 w 10000"/>
                <a:gd name="connsiteY238" fmla="*/ 1506 h 10000"/>
                <a:gd name="connsiteX239" fmla="*/ 5062 w 10000"/>
                <a:gd name="connsiteY239" fmla="*/ 1416 h 10000"/>
                <a:gd name="connsiteX240" fmla="*/ 5101 w 10000"/>
                <a:gd name="connsiteY240" fmla="*/ 1303 h 10000"/>
                <a:gd name="connsiteX241" fmla="*/ 5163 w 10000"/>
                <a:gd name="connsiteY241" fmla="*/ 1258 h 10000"/>
                <a:gd name="connsiteX242" fmla="*/ 5178 w 10000"/>
                <a:gd name="connsiteY242" fmla="*/ 1371 h 10000"/>
                <a:gd name="connsiteX243" fmla="*/ 5225 w 10000"/>
                <a:gd name="connsiteY243" fmla="*/ 1416 h 10000"/>
                <a:gd name="connsiteX244" fmla="*/ 5295 w 10000"/>
                <a:gd name="connsiteY244" fmla="*/ 1551 h 10000"/>
                <a:gd name="connsiteX245" fmla="*/ 5333 w 10000"/>
                <a:gd name="connsiteY245" fmla="*/ 1483 h 10000"/>
                <a:gd name="connsiteX246" fmla="*/ 5620 w 10000"/>
                <a:gd name="connsiteY246" fmla="*/ 1506 h 10000"/>
                <a:gd name="connsiteX247" fmla="*/ 5620 w 10000"/>
                <a:gd name="connsiteY247" fmla="*/ 1618 h 10000"/>
                <a:gd name="connsiteX248" fmla="*/ 5899 w 10000"/>
                <a:gd name="connsiteY248" fmla="*/ 1708 h 10000"/>
                <a:gd name="connsiteX249" fmla="*/ 5930 w 10000"/>
                <a:gd name="connsiteY249" fmla="*/ 1416 h 10000"/>
                <a:gd name="connsiteX250" fmla="*/ 5984 w 10000"/>
                <a:gd name="connsiteY250" fmla="*/ 1438 h 10000"/>
                <a:gd name="connsiteX251" fmla="*/ 6062 w 10000"/>
                <a:gd name="connsiteY251" fmla="*/ 1551 h 10000"/>
                <a:gd name="connsiteX252" fmla="*/ 6186 w 10000"/>
                <a:gd name="connsiteY252" fmla="*/ 1528 h 10000"/>
                <a:gd name="connsiteX253" fmla="*/ 6256 w 10000"/>
                <a:gd name="connsiteY253" fmla="*/ 1753 h 10000"/>
                <a:gd name="connsiteX254" fmla="*/ 6271 w 10000"/>
                <a:gd name="connsiteY254" fmla="*/ 1955 h 10000"/>
                <a:gd name="connsiteX255" fmla="*/ 6225 w 10000"/>
                <a:gd name="connsiteY255" fmla="*/ 2045 h 10000"/>
                <a:gd name="connsiteX256" fmla="*/ 6310 w 10000"/>
                <a:gd name="connsiteY256" fmla="*/ 2337 h 10000"/>
                <a:gd name="connsiteX257" fmla="*/ 6395 w 10000"/>
                <a:gd name="connsiteY257" fmla="*/ 2404 h 10000"/>
                <a:gd name="connsiteX258" fmla="*/ 6473 w 10000"/>
                <a:gd name="connsiteY258" fmla="*/ 2067 h 10000"/>
                <a:gd name="connsiteX259" fmla="*/ 6574 w 10000"/>
                <a:gd name="connsiteY259" fmla="*/ 2225 h 10000"/>
                <a:gd name="connsiteX260" fmla="*/ 6667 w 10000"/>
                <a:gd name="connsiteY260" fmla="*/ 2135 h 10000"/>
                <a:gd name="connsiteX261" fmla="*/ 6767 w 10000"/>
                <a:gd name="connsiteY261" fmla="*/ 2247 h 10000"/>
                <a:gd name="connsiteX262" fmla="*/ 6853 w 10000"/>
                <a:gd name="connsiteY262" fmla="*/ 2157 h 10000"/>
                <a:gd name="connsiteX263" fmla="*/ 6915 w 10000"/>
                <a:gd name="connsiteY263" fmla="*/ 2067 h 10000"/>
                <a:gd name="connsiteX264" fmla="*/ 6907 w 10000"/>
                <a:gd name="connsiteY264" fmla="*/ 1865 h 10000"/>
                <a:gd name="connsiteX265" fmla="*/ 6992 w 10000"/>
                <a:gd name="connsiteY265" fmla="*/ 1775 h 10000"/>
                <a:gd name="connsiteX266" fmla="*/ 7256 w 10000"/>
                <a:gd name="connsiteY266" fmla="*/ 1820 h 10000"/>
                <a:gd name="connsiteX267" fmla="*/ 7302 w 10000"/>
                <a:gd name="connsiteY267" fmla="*/ 1933 h 10000"/>
                <a:gd name="connsiteX268" fmla="*/ 7326 w 10000"/>
                <a:gd name="connsiteY268" fmla="*/ 1978 h 10000"/>
                <a:gd name="connsiteX269" fmla="*/ 7465 w 10000"/>
                <a:gd name="connsiteY269" fmla="*/ 1933 h 10000"/>
                <a:gd name="connsiteX270" fmla="*/ 7527 w 10000"/>
                <a:gd name="connsiteY270" fmla="*/ 2022 h 10000"/>
                <a:gd name="connsiteX271" fmla="*/ 7496 w 10000"/>
                <a:gd name="connsiteY271" fmla="*/ 2135 h 10000"/>
                <a:gd name="connsiteX272" fmla="*/ 7550 w 10000"/>
                <a:gd name="connsiteY272" fmla="*/ 2202 h 10000"/>
                <a:gd name="connsiteX273" fmla="*/ 7667 w 10000"/>
                <a:gd name="connsiteY273" fmla="*/ 2337 h 10000"/>
                <a:gd name="connsiteX274" fmla="*/ 7868 w 10000"/>
                <a:gd name="connsiteY274" fmla="*/ 2360 h 10000"/>
                <a:gd name="connsiteX275" fmla="*/ 8078 w 10000"/>
                <a:gd name="connsiteY275" fmla="*/ 2382 h 10000"/>
                <a:gd name="connsiteX276" fmla="*/ 8163 w 10000"/>
                <a:gd name="connsiteY276" fmla="*/ 2517 h 10000"/>
                <a:gd name="connsiteX277" fmla="*/ 8155 w 10000"/>
                <a:gd name="connsiteY277" fmla="*/ 2674 h 10000"/>
                <a:gd name="connsiteX278" fmla="*/ 8171 w 10000"/>
                <a:gd name="connsiteY278" fmla="*/ 2764 h 10000"/>
                <a:gd name="connsiteX279" fmla="*/ 8240 w 10000"/>
                <a:gd name="connsiteY279" fmla="*/ 2831 h 10000"/>
                <a:gd name="connsiteX280" fmla="*/ 8295 w 10000"/>
                <a:gd name="connsiteY280" fmla="*/ 2764 h 10000"/>
                <a:gd name="connsiteX281" fmla="*/ 8550 w 10000"/>
                <a:gd name="connsiteY281" fmla="*/ 2809 h 10000"/>
                <a:gd name="connsiteX282" fmla="*/ 8581 w 10000"/>
                <a:gd name="connsiteY282" fmla="*/ 2809 h 10000"/>
                <a:gd name="connsiteX283" fmla="*/ 8643 w 10000"/>
                <a:gd name="connsiteY283" fmla="*/ 2719 h 10000"/>
                <a:gd name="connsiteX284" fmla="*/ 8667 w 10000"/>
                <a:gd name="connsiteY284" fmla="*/ 2742 h 10000"/>
                <a:gd name="connsiteX285" fmla="*/ 8667 w 10000"/>
                <a:gd name="connsiteY285" fmla="*/ 2876 h 10000"/>
                <a:gd name="connsiteX286" fmla="*/ 8736 w 10000"/>
                <a:gd name="connsiteY286" fmla="*/ 3034 h 10000"/>
                <a:gd name="connsiteX287" fmla="*/ 8814 w 10000"/>
                <a:gd name="connsiteY287" fmla="*/ 3056 h 10000"/>
                <a:gd name="connsiteX288" fmla="*/ 8837 w 10000"/>
                <a:gd name="connsiteY288" fmla="*/ 2966 h 10000"/>
                <a:gd name="connsiteX289" fmla="*/ 8814 w 10000"/>
                <a:gd name="connsiteY289" fmla="*/ 2831 h 10000"/>
                <a:gd name="connsiteX290" fmla="*/ 8806 w 10000"/>
                <a:gd name="connsiteY290" fmla="*/ 2629 h 10000"/>
                <a:gd name="connsiteX291" fmla="*/ 8853 w 10000"/>
                <a:gd name="connsiteY291" fmla="*/ 2607 h 10000"/>
                <a:gd name="connsiteX292" fmla="*/ 8922 w 10000"/>
                <a:gd name="connsiteY292" fmla="*/ 2697 h 10000"/>
                <a:gd name="connsiteX293" fmla="*/ 9047 w 10000"/>
                <a:gd name="connsiteY293" fmla="*/ 2697 h 10000"/>
                <a:gd name="connsiteX294" fmla="*/ 9194 w 10000"/>
                <a:gd name="connsiteY294" fmla="*/ 2764 h 10000"/>
                <a:gd name="connsiteX295" fmla="*/ 9364 w 10000"/>
                <a:gd name="connsiteY295" fmla="*/ 2944 h 10000"/>
                <a:gd name="connsiteX296" fmla="*/ 9465 w 10000"/>
                <a:gd name="connsiteY296" fmla="*/ 3101 h 10000"/>
                <a:gd name="connsiteX297" fmla="*/ 9643 w 10000"/>
                <a:gd name="connsiteY297" fmla="*/ 3326 h 10000"/>
                <a:gd name="connsiteX298" fmla="*/ 9674 w 10000"/>
                <a:gd name="connsiteY298" fmla="*/ 3461 h 10000"/>
                <a:gd name="connsiteX299" fmla="*/ 9698 w 10000"/>
                <a:gd name="connsiteY299" fmla="*/ 3596 h 10000"/>
                <a:gd name="connsiteX300" fmla="*/ 9736 w 10000"/>
                <a:gd name="connsiteY300" fmla="*/ 3775 h 10000"/>
                <a:gd name="connsiteX301" fmla="*/ 9767 w 10000"/>
                <a:gd name="connsiteY301" fmla="*/ 3730 h 10000"/>
                <a:gd name="connsiteX302" fmla="*/ 9744 w 10000"/>
                <a:gd name="connsiteY302" fmla="*/ 3528 h 10000"/>
                <a:gd name="connsiteX303" fmla="*/ 9806 w 10000"/>
                <a:gd name="connsiteY303" fmla="*/ 3551 h 10000"/>
                <a:gd name="connsiteX304" fmla="*/ 9884 w 10000"/>
                <a:gd name="connsiteY304" fmla="*/ 3596 h 10000"/>
                <a:gd name="connsiteX305" fmla="*/ 9953 w 10000"/>
                <a:gd name="connsiteY305" fmla="*/ 3730 h 10000"/>
                <a:gd name="connsiteX306" fmla="*/ 10000 w 10000"/>
                <a:gd name="connsiteY306" fmla="*/ 3865 h 10000"/>
                <a:gd name="connsiteX307" fmla="*/ 9953 w 10000"/>
                <a:gd name="connsiteY307" fmla="*/ 4000 h 10000"/>
                <a:gd name="connsiteX308" fmla="*/ 9853 w 10000"/>
                <a:gd name="connsiteY308" fmla="*/ 4067 h 10000"/>
                <a:gd name="connsiteX309" fmla="*/ 9837 w 10000"/>
                <a:gd name="connsiteY309" fmla="*/ 4225 h 10000"/>
                <a:gd name="connsiteX310" fmla="*/ 9806 w 10000"/>
                <a:gd name="connsiteY310" fmla="*/ 4427 h 10000"/>
                <a:gd name="connsiteX311" fmla="*/ 9698 w 10000"/>
                <a:gd name="connsiteY311" fmla="*/ 4270 h 10000"/>
                <a:gd name="connsiteX312" fmla="*/ 9636 w 10000"/>
                <a:gd name="connsiteY312" fmla="*/ 4202 h 10000"/>
                <a:gd name="connsiteX313" fmla="*/ 9643 w 10000"/>
                <a:gd name="connsiteY313" fmla="*/ 4022 h 10000"/>
                <a:gd name="connsiteX314" fmla="*/ 9481 w 10000"/>
                <a:gd name="connsiteY314" fmla="*/ 4045 h 10000"/>
                <a:gd name="connsiteX315" fmla="*/ 9457 w 10000"/>
                <a:gd name="connsiteY315" fmla="*/ 3820 h 10000"/>
                <a:gd name="connsiteX316" fmla="*/ 9403 w 10000"/>
                <a:gd name="connsiteY316" fmla="*/ 3843 h 10000"/>
                <a:gd name="connsiteX317" fmla="*/ 9395 w 10000"/>
                <a:gd name="connsiteY317" fmla="*/ 4000 h 10000"/>
                <a:gd name="connsiteX318" fmla="*/ 9419 w 10000"/>
                <a:gd name="connsiteY318" fmla="*/ 4067 h 10000"/>
                <a:gd name="connsiteX319" fmla="*/ 9349 w 10000"/>
                <a:gd name="connsiteY319" fmla="*/ 4247 h 10000"/>
                <a:gd name="connsiteX320" fmla="*/ 9271 w 10000"/>
                <a:gd name="connsiteY320" fmla="*/ 4270 h 10000"/>
                <a:gd name="connsiteX321" fmla="*/ 9217 w 10000"/>
                <a:gd name="connsiteY321" fmla="*/ 4247 h 10000"/>
                <a:gd name="connsiteX322" fmla="*/ 9186 w 10000"/>
                <a:gd name="connsiteY322" fmla="*/ 4180 h 10000"/>
                <a:gd name="connsiteX323" fmla="*/ 9178 w 10000"/>
                <a:gd name="connsiteY323" fmla="*/ 4270 h 10000"/>
                <a:gd name="connsiteX324" fmla="*/ 9233 w 10000"/>
                <a:gd name="connsiteY324" fmla="*/ 4337 h 10000"/>
                <a:gd name="connsiteX325" fmla="*/ 9287 w 10000"/>
                <a:gd name="connsiteY325" fmla="*/ 4427 h 10000"/>
                <a:gd name="connsiteX326" fmla="*/ 9310 w 10000"/>
                <a:gd name="connsiteY326" fmla="*/ 4629 h 10000"/>
                <a:gd name="connsiteX327" fmla="*/ 9357 w 10000"/>
                <a:gd name="connsiteY327" fmla="*/ 4831 h 10000"/>
                <a:gd name="connsiteX328" fmla="*/ 9302 w 10000"/>
                <a:gd name="connsiteY328" fmla="*/ 4921 h 10000"/>
                <a:gd name="connsiteX329" fmla="*/ 9202 w 10000"/>
                <a:gd name="connsiteY329" fmla="*/ 4809 h 10000"/>
                <a:gd name="connsiteX330" fmla="*/ 9155 w 10000"/>
                <a:gd name="connsiteY330" fmla="*/ 4921 h 10000"/>
                <a:gd name="connsiteX331" fmla="*/ 9016 w 10000"/>
                <a:gd name="connsiteY331" fmla="*/ 5101 h 10000"/>
                <a:gd name="connsiteX332" fmla="*/ 8938 w 10000"/>
                <a:gd name="connsiteY332" fmla="*/ 5213 h 10000"/>
                <a:gd name="connsiteX333" fmla="*/ 8783 w 10000"/>
                <a:gd name="connsiteY333" fmla="*/ 5573 h 10000"/>
                <a:gd name="connsiteX334" fmla="*/ 8729 w 10000"/>
                <a:gd name="connsiteY334" fmla="*/ 5438 h 10000"/>
                <a:gd name="connsiteX335" fmla="*/ 8612 w 10000"/>
                <a:gd name="connsiteY335" fmla="*/ 5438 h 10000"/>
                <a:gd name="connsiteX336" fmla="*/ 8550 w 10000"/>
                <a:gd name="connsiteY336" fmla="*/ 5618 h 10000"/>
                <a:gd name="connsiteX337" fmla="*/ 8535 w 10000"/>
                <a:gd name="connsiteY337" fmla="*/ 5438 h 10000"/>
                <a:gd name="connsiteX338" fmla="*/ 8496 w 10000"/>
                <a:gd name="connsiteY338" fmla="*/ 5438 h 10000"/>
                <a:gd name="connsiteX339" fmla="*/ 8481 w 10000"/>
                <a:gd name="connsiteY339" fmla="*/ 5573 h 10000"/>
                <a:gd name="connsiteX340" fmla="*/ 8372 w 10000"/>
                <a:gd name="connsiteY340" fmla="*/ 5573 h 10000"/>
                <a:gd name="connsiteX341" fmla="*/ 8279 w 10000"/>
                <a:gd name="connsiteY341" fmla="*/ 6000 h 10000"/>
                <a:gd name="connsiteX342" fmla="*/ 8279 w 10000"/>
                <a:gd name="connsiteY342" fmla="*/ 6135 h 10000"/>
                <a:gd name="connsiteX343" fmla="*/ 8341 w 10000"/>
                <a:gd name="connsiteY343" fmla="*/ 6135 h 10000"/>
                <a:gd name="connsiteX344" fmla="*/ 8326 w 10000"/>
                <a:gd name="connsiteY344" fmla="*/ 6337 h 10000"/>
                <a:gd name="connsiteX345" fmla="*/ 8349 w 10000"/>
                <a:gd name="connsiteY345" fmla="*/ 6517 h 10000"/>
                <a:gd name="connsiteX346" fmla="*/ 8279 w 10000"/>
                <a:gd name="connsiteY346" fmla="*/ 6584 h 10000"/>
                <a:gd name="connsiteX347" fmla="*/ 8256 w 10000"/>
                <a:gd name="connsiteY347" fmla="*/ 6742 h 10000"/>
                <a:gd name="connsiteX348" fmla="*/ 8279 w 10000"/>
                <a:gd name="connsiteY348" fmla="*/ 6944 h 10000"/>
                <a:gd name="connsiteX349" fmla="*/ 8186 w 10000"/>
                <a:gd name="connsiteY349" fmla="*/ 7034 h 10000"/>
                <a:gd name="connsiteX350" fmla="*/ 8155 w 10000"/>
                <a:gd name="connsiteY350" fmla="*/ 7124 h 10000"/>
                <a:gd name="connsiteX351" fmla="*/ 8155 w 10000"/>
                <a:gd name="connsiteY351" fmla="*/ 7191 h 10000"/>
                <a:gd name="connsiteX352" fmla="*/ 8163 w 10000"/>
                <a:gd name="connsiteY352" fmla="*/ 7236 h 10000"/>
                <a:gd name="connsiteX353" fmla="*/ 8155 w 10000"/>
                <a:gd name="connsiteY353" fmla="*/ 7281 h 10000"/>
                <a:gd name="connsiteX354" fmla="*/ 8062 w 10000"/>
                <a:gd name="connsiteY354" fmla="*/ 7371 h 10000"/>
                <a:gd name="connsiteX355" fmla="*/ 8062 w 10000"/>
                <a:gd name="connsiteY355" fmla="*/ 7528 h 10000"/>
                <a:gd name="connsiteX356" fmla="*/ 7946 w 10000"/>
                <a:gd name="connsiteY356" fmla="*/ 7865 h 10000"/>
                <a:gd name="connsiteX357" fmla="*/ 7930 w 10000"/>
                <a:gd name="connsiteY357" fmla="*/ 7506 h 10000"/>
                <a:gd name="connsiteX358" fmla="*/ 7884 w 10000"/>
                <a:gd name="connsiteY358" fmla="*/ 6944 h 10000"/>
                <a:gd name="connsiteX359" fmla="*/ 7884 w 10000"/>
                <a:gd name="connsiteY359" fmla="*/ 6539 h 10000"/>
                <a:gd name="connsiteX360" fmla="*/ 7930 w 10000"/>
                <a:gd name="connsiteY360" fmla="*/ 6382 h 10000"/>
                <a:gd name="connsiteX361" fmla="*/ 7977 w 10000"/>
                <a:gd name="connsiteY361" fmla="*/ 6135 h 10000"/>
                <a:gd name="connsiteX362" fmla="*/ 8039 w 10000"/>
                <a:gd name="connsiteY362" fmla="*/ 6090 h 10000"/>
                <a:gd name="connsiteX363" fmla="*/ 8202 w 10000"/>
                <a:gd name="connsiteY363" fmla="*/ 5640 h 10000"/>
                <a:gd name="connsiteX364" fmla="*/ 8326 w 10000"/>
                <a:gd name="connsiteY364" fmla="*/ 5393 h 10000"/>
                <a:gd name="connsiteX365" fmla="*/ 8364 w 10000"/>
                <a:gd name="connsiteY365" fmla="*/ 5348 h 10000"/>
                <a:gd name="connsiteX366" fmla="*/ 8426 w 10000"/>
                <a:gd name="connsiteY366" fmla="*/ 4944 h 10000"/>
                <a:gd name="connsiteX367" fmla="*/ 8457 w 10000"/>
                <a:gd name="connsiteY367" fmla="*/ 4899 h 10000"/>
                <a:gd name="connsiteX368" fmla="*/ 8395 w 10000"/>
                <a:gd name="connsiteY368" fmla="*/ 4831 h 10000"/>
                <a:gd name="connsiteX369" fmla="*/ 8372 w 10000"/>
                <a:gd name="connsiteY369" fmla="*/ 4854 h 10000"/>
                <a:gd name="connsiteX370" fmla="*/ 8349 w 10000"/>
                <a:gd name="connsiteY370" fmla="*/ 4921 h 10000"/>
                <a:gd name="connsiteX371" fmla="*/ 8349 w 10000"/>
                <a:gd name="connsiteY371" fmla="*/ 5124 h 10000"/>
                <a:gd name="connsiteX372" fmla="*/ 8295 w 10000"/>
                <a:gd name="connsiteY372" fmla="*/ 5124 h 10000"/>
                <a:gd name="connsiteX373" fmla="*/ 8171 w 10000"/>
                <a:gd name="connsiteY373" fmla="*/ 5348 h 10000"/>
                <a:gd name="connsiteX374" fmla="*/ 8140 w 10000"/>
                <a:gd name="connsiteY374" fmla="*/ 5258 h 10000"/>
                <a:gd name="connsiteX375" fmla="*/ 8171 w 10000"/>
                <a:gd name="connsiteY375" fmla="*/ 5079 h 10000"/>
                <a:gd name="connsiteX376" fmla="*/ 8132 w 10000"/>
                <a:gd name="connsiteY376" fmla="*/ 5124 h 10000"/>
                <a:gd name="connsiteX377" fmla="*/ 7977 w 10000"/>
                <a:gd name="connsiteY377" fmla="*/ 5124 h 10000"/>
                <a:gd name="connsiteX378" fmla="*/ 7829 w 10000"/>
                <a:gd name="connsiteY378" fmla="*/ 5461 h 10000"/>
                <a:gd name="connsiteX379" fmla="*/ 7798 w 10000"/>
                <a:gd name="connsiteY379" fmla="*/ 5640 h 10000"/>
                <a:gd name="connsiteX380" fmla="*/ 7814 w 10000"/>
                <a:gd name="connsiteY380" fmla="*/ 5685 h 10000"/>
                <a:gd name="connsiteX381" fmla="*/ 7853 w 10000"/>
                <a:gd name="connsiteY381" fmla="*/ 5798 h 10000"/>
                <a:gd name="connsiteX382" fmla="*/ 7791 w 10000"/>
                <a:gd name="connsiteY382" fmla="*/ 5798 h 10000"/>
                <a:gd name="connsiteX383" fmla="*/ 7729 w 10000"/>
                <a:gd name="connsiteY383" fmla="*/ 5820 h 10000"/>
                <a:gd name="connsiteX384" fmla="*/ 7612 w 10000"/>
                <a:gd name="connsiteY384" fmla="*/ 5843 h 10000"/>
                <a:gd name="connsiteX385" fmla="*/ 7643 w 10000"/>
                <a:gd name="connsiteY385" fmla="*/ 5753 h 10000"/>
                <a:gd name="connsiteX386" fmla="*/ 7620 w 10000"/>
                <a:gd name="connsiteY386" fmla="*/ 5663 h 10000"/>
                <a:gd name="connsiteX387" fmla="*/ 7535 w 10000"/>
                <a:gd name="connsiteY387" fmla="*/ 5640 h 10000"/>
                <a:gd name="connsiteX388" fmla="*/ 7481 w 10000"/>
                <a:gd name="connsiteY388" fmla="*/ 5663 h 10000"/>
                <a:gd name="connsiteX389" fmla="*/ 7457 w 10000"/>
                <a:gd name="connsiteY389" fmla="*/ 5753 h 10000"/>
                <a:gd name="connsiteX390" fmla="*/ 7341 w 10000"/>
                <a:gd name="connsiteY390" fmla="*/ 5730 h 10000"/>
                <a:gd name="connsiteX391" fmla="*/ 7287 w 10000"/>
                <a:gd name="connsiteY391" fmla="*/ 5753 h 10000"/>
                <a:gd name="connsiteX392" fmla="*/ 7085 w 10000"/>
                <a:gd name="connsiteY392" fmla="*/ 5753 h 10000"/>
                <a:gd name="connsiteX393" fmla="*/ 6636 w 10000"/>
                <a:gd name="connsiteY393" fmla="*/ 6876 h 10000"/>
                <a:gd name="connsiteX394" fmla="*/ 6643 w 10000"/>
                <a:gd name="connsiteY394" fmla="*/ 6989 h 10000"/>
                <a:gd name="connsiteX395" fmla="*/ 6721 w 10000"/>
                <a:gd name="connsiteY395" fmla="*/ 6966 h 10000"/>
                <a:gd name="connsiteX396" fmla="*/ 6729 w 10000"/>
                <a:gd name="connsiteY396" fmla="*/ 7146 h 10000"/>
                <a:gd name="connsiteX397" fmla="*/ 6767 w 10000"/>
                <a:gd name="connsiteY397" fmla="*/ 7011 h 10000"/>
                <a:gd name="connsiteX398" fmla="*/ 6806 w 10000"/>
                <a:gd name="connsiteY398" fmla="*/ 7191 h 10000"/>
                <a:gd name="connsiteX399" fmla="*/ 6860 w 10000"/>
                <a:gd name="connsiteY399" fmla="*/ 7056 h 10000"/>
                <a:gd name="connsiteX400" fmla="*/ 6946 w 10000"/>
                <a:gd name="connsiteY400" fmla="*/ 7101 h 10000"/>
                <a:gd name="connsiteX401" fmla="*/ 7008 w 10000"/>
                <a:gd name="connsiteY401" fmla="*/ 7326 h 10000"/>
                <a:gd name="connsiteX402" fmla="*/ 6992 w 10000"/>
                <a:gd name="connsiteY402" fmla="*/ 7573 h 10000"/>
                <a:gd name="connsiteX403" fmla="*/ 6961 w 10000"/>
                <a:gd name="connsiteY403" fmla="*/ 7820 h 10000"/>
                <a:gd name="connsiteX404" fmla="*/ 6953 w 10000"/>
                <a:gd name="connsiteY404" fmla="*/ 8180 h 10000"/>
                <a:gd name="connsiteX405" fmla="*/ 6930 w 10000"/>
                <a:gd name="connsiteY405" fmla="*/ 8382 h 10000"/>
                <a:gd name="connsiteX406" fmla="*/ 6698 w 10000"/>
                <a:gd name="connsiteY406" fmla="*/ 9213 h 10000"/>
                <a:gd name="connsiteX407" fmla="*/ 6628 w 10000"/>
                <a:gd name="connsiteY407" fmla="*/ 9461 h 10000"/>
                <a:gd name="connsiteX408" fmla="*/ 6574 w 10000"/>
                <a:gd name="connsiteY408" fmla="*/ 9573 h 10000"/>
                <a:gd name="connsiteX409" fmla="*/ 6504 w 10000"/>
                <a:gd name="connsiteY409" fmla="*/ 9663 h 10000"/>
                <a:gd name="connsiteX410" fmla="*/ 6450 w 10000"/>
                <a:gd name="connsiteY410" fmla="*/ 9573 h 10000"/>
                <a:gd name="connsiteX411" fmla="*/ 6380 w 10000"/>
                <a:gd name="connsiteY411" fmla="*/ 9618 h 10000"/>
                <a:gd name="connsiteX412" fmla="*/ 6380 w 10000"/>
                <a:gd name="connsiteY412" fmla="*/ 9213 h 10000"/>
                <a:gd name="connsiteX413" fmla="*/ 6434 w 10000"/>
                <a:gd name="connsiteY413" fmla="*/ 9101 h 10000"/>
                <a:gd name="connsiteX414" fmla="*/ 6457 w 10000"/>
                <a:gd name="connsiteY414" fmla="*/ 9169 h 10000"/>
                <a:gd name="connsiteX415" fmla="*/ 6504 w 10000"/>
                <a:gd name="connsiteY415" fmla="*/ 9146 h 10000"/>
                <a:gd name="connsiteX416" fmla="*/ 6550 w 10000"/>
                <a:gd name="connsiteY416" fmla="*/ 8899 h 10000"/>
                <a:gd name="connsiteX417" fmla="*/ 6574 w 10000"/>
                <a:gd name="connsiteY417" fmla="*/ 8652 h 10000"/>
                <a:gd name="connsiteX418" fmla="*/ 6605 w 10000"/>
                <a:gd name="connsiteY418" fmla="*/ 8607 h 10000"/>
                <a:gd name="connsiteX419" fmla="*/ 6597 w 10000"/>
                <a:gd name="connsiteY419" fmla="*/ 8449 h 10000"/>
                <a:gd name="connsiteX420" fmla="*/ 6535 w 10000"/>
                <a:gd name="connsiteY420" fmla="*/ 8472 h 10000"/>
                <a:gd name="connsiteX421" fmla="*/ 6481 w 10000"/>
                <a:gd name="connsiteY421" fmla="*/ 8494 h 10000"/>
                <a:gd name="connsiteX422" fmla="*/ 6457 w 10000"/>
                <a:gd name="connsiteY422" fmla="*/ 8584 h 10000"/>
                <a:gd name="connsiteX423" fmla="*/ 6372 w 10000"/>
                <a:gd name="connsiteY423" fmla="*/ 8562 h 10000"/>
                <a:gd name="connsiteX424" fmla="*/ 6357 w 10000"/>
                <a:gd name="connsiteY424" fmla="*/ 8337 h 10000"/>
                <a:gd name="connsiteX425" fmla="*/ 6240 w 10000"/>
                <a:gd name="connsiteY425" fmla="*/ 8157 h 10000"/>
                <a:gd name="connsiteX426" fmla="*/ 6178 w 10000"/>
                <a:gd name="connsiteY426" fmla="*/ 8157 h 10000"/>
                <a:gd name="connsiteX427" fmla="*/ 6093 w 10000"/>
                <a:gd name="connsiteY427" fmla="*/ 7573 h 10000"/>
                <a:gd name="connsiteX428" fmla="*/ 6047 w 10000"/>
                <a:gd name="connsiteY428" fmla="*/ 7348 h 10000"/>
                <a:gd name="connsiteX429" fmla="*/ 5930 w 10000"/>
                <a:gd name="connsiteY429" fmla="*/ 7213 h 10000"/>
                <a:gd name="connsiteX430" fmla="*/ 5760 w 10000"/>
                <a:gd name="connsiteY430" fmla="*/ 7258 h 10000"/>
                <a:gd name="connsiteX431" fmla="*/ 5705 w 10000"/>
                <a:gd name="connsiteY431" fmla="*/ 7326 h 10000"/>
                <a:gd name="connsiteX432" fmla="*/ 5698 w 10000"/>
                <a:gd name="connsiteY432" fmla="*/ 7416 h 10000"/>
                <a:gd name="connsiteX433" fmla="*/ 5744 w 10000"/>
                <a:gd name="connsiteY433" fmla="*/ 7438 h 10000"/>
                <a:gd name="connsiteX434" fmla="*/ 5744 w 10000"/>
                <a:gd name="connsiteY434" fmla="*/ 7596 h 10000"/>
                <a:gd name="connsiteX435" fmla="*/ 5705 w 10000"/>
                <a:gd name="connsiteY435" fmla="*/ 7663 h 10000"/>
                <a:gd name="connsiteX436" fmla="*/ 5667 w 10000"/>
                <a:gd name="connsiteY436" fmla="*/ 7865 h 10000"/>
                <a:gd name="connsiteX437" fmla="*/ 5651 w 10000"/>
                <a:gd name="connsiteY437" fmla="*/ 8045 h 10000"/>
                <a:gd name="connsiteX438" fmla="*/ 5605 w 10000"/>
                <a:gd name="connsiteY438" fmla="*/ 8067 h 10000"/>
                <a:gd name="connsiteX439" fmla="*/ 5566 w 10000"/>
                <a:gd name="connsiteY439" fmla="*/ 8180 h 10000"/>
                <a:gd name="connsiteX440" fmla="*/ 5496 w 10000"/>
                <a:gd name="connsiteY440" fmla="*/ 8067 h 10000"/>
                <a:gd name="connsiteX441" fmla="*/ 5403 w 10000"/>
                <a:gd name="connsiteY441" fmla="*/ 8045 h 10000"/>
                <a:gd name="connsiteX442" fmla="*/ 5372 w 10000"/>
                <a:gd name="connsiteY442" fmla="*/ 7978 h 10000"/>
                <a:gd name="connsiteX443" fmla="*/ 5333 w 10000"/>
                <a:gd name="connsiteY443" fmla="*/ 8000 h 10000"/>
                <a:gd name="connsiteX444" fmla="*/ 5264 w 10000"/>
                <a:gd name="connsiteY444" fmla="*/ 8157 h 10000"/>
                <a:gd name="connsiteX445" fmla="*/ 5147 w 10000"/>
                <a:gd name="connsiteY445" fmla="*/ 8225 h 10000"/>
                <a:gd name="connsiteX446" fmla="*/ 5078 w 10000"/>
                <a:gd name="connsiteY446" fmla="*/ 8247 h 10000"/>
                <a:gd name="connsiteX447" fmla="*/ 4992 w 10000"/>
                <a:gd name="connsiteY447" fmla="*/ 8225 h 10000"/>
                <a:gd name="connsiteX448" fmla="*/ 4969 w 10000"/>
                <a:gd name="connsiteY448" fmla="*/ 8157 h 10000"/>
                <a:gd name="connsiteX449" fmla="*/ 4946 w 10000"/>
                <a:gd name="connsiteY449" fmla="*/ 8067 h 10000"/>
                <a:gd name="connsiteX450" fmla="*/ 4907 w 10000"/>
                <a:gd name="connsiteY450" fmla="*/ 8045 h 10000"/>
                <a:gd name="connsiteX451" fmla="*/ 4884 w 10000"/>
                <a:gd name="connsiteY451" fmla="*/ 7978 h 10000"/>
                <a:gd name="connsiteX452" fmla="*/ 4791 w 10000"/>
                <a:gd name="connsiteY452" fmla="*/ 7933 h 10000"/>
                <a:gd name="connsiteX453" fmla="*/ 4736 w 10000"/>
                <a:gd name="connsiteY453" fmla="*/ 8022 h 10000"/>
                <a:gd name="connsiteX454" fmla="*/ 4636 w 10000"/>
                <a:gd name="connsiteY454" fmla="*/ 7978 h 10000"/>
                <a:gd name="connsiteX455" fmla="*/ 4597 w 10000"/>
                <a:gd name="connsiteY455" fmla="*/ 7843 h 10000"/>
                <a:gd name="connsiteX456" fmla="*/ 4589 w 10000"/>
                <a:gd name="connsiteY456" fmla="*/ 7730 h 10000"/>
                <a:gd name="connsiteX457" fmla="*/ 4496 w 10000"/>
                <a:gd name="connsiteY457" fmla="*/ 7640 h 10000"/>
                <a:gd name="connsiteX458" fmla="*/ 4388 w 10000"/>
                <a:gd name="connsiteY458" fmla="*/ 7573 h 10000"/>
                <a:gd name="connsiteX459" fmla="*/ 4318 w 10000"/>
                <a:gd name="connsiteY459" fmla="*/ 7775 h 10000"/>
                <a:gd name="connsiteX460" fmla="*/ 4364 w 10000"/>
                <a:gd name="connsiteY460" fmla="*/ 7933 h 10000"/>
                <a:gd name="connsiteX461" fmla="*/ 4357 w 10000"/>
                <a:gd name="connsiteY461" fmla="*/ 8022 h 10000"/>
                <a:gd name="connsiteX462" fmla="*/ 4310 w 10000"/>
                <a:gd name="connsiteY462" fmla="*/ 8135 h 10000"/>
                <a:gd name="connsiteX463" fmla="*/ 4279 w 10000"/>
                <a:gd name="connsiteY463" fmla="*/ 8067 h 10000"/>
                <a:gd name="connsiteX464" fmla="*/ 4155 w 10000"/>
                <a:gd name="connsiteY464" fmla="*/ 8067 h 10000"/>
                <a:gd name="connsiteX465" fmla="*/ 4116 w 10000"/>
                <a:gd name="connsiteY465" fmla="*/ 7933 h 10000"/>
                <a:gd name="connsiteX466" fmla="*/ 4039 w 10000"/>
                <a:gd name="connsiteY466" fmla="*/ 7888 h 10000"/>
                <a:gd name="connsiteX467" fmla="*/ 3969 w 10000"/>
                <a:gd name="connsiteY467" fmla="*/ 7865 h 10000"/>
                <a:gd name="connsiteX468" fmla="*/ 3837 w 10000"/>
                <a:gd name="connsiteY468" fmla="*/ 8067 h 10000"/>
                <a:gd name="connsiteX469" fmla="*/ 3806 w 10000"/>
                <a:gd name="connsiteY469" fmla="*/ 8157 h 10000"/>
                <a:gd name="connsiteX470" fmla="*/ 3752 w 10000"/>
                <a:gd name="connsiteY470" fmla="*/ 8180 h 10000"/>
                <a:gd name="connsiteX471" fmla="*/ 3721 w 10000"/>
                <a:gd name="connsiteY471" fmla="*/ 8270 h 10000"/>
                <a:gd name="connsiteX472" fmla="*/ 3659 w 10000"/>
                <a:gd name="connsiteY472" fmla="*/ 8270 h 10000"/>
                <a:gd name="connsiteX473" fmla="*/ 3643 w 10000"/>
                <a:gd name="connsiteY473" fmla="*/ 8112 h 10000"/>
                <a:gd name="connsiteX474" fmla="*/ 3558 w 10000"/>
                <a:gd name="connsiteY474" fmla="*/ 8090 h 10000"/>
                <a:gd name="connsiteX475" fmla="*/ 3504 w 10000"/>
                <a:gd name="connsiteY475" fmla="*/ 7978 h 10000"/>
                <a:gd name="connsiteX476" fmla="*/ 3465 w 10000"/>
                <a:gd name="connsiteY476" fmla="*/ 7820 h 10000"/>
                <a:gd name="connsiteX477" fmla="*/ 3357 w 10000"/>
                <a:gd name="connsiteY477" fmla="*/ 7865 h 10000"/>
                <a:gd name="connsiteX478" fmla="*/ 3271 w 10000"/>
                <a:gd name="connsiteY478" fmla="*/ 7730 h 10000"/>
                <a:gd name="connsiteX479" fmla="*/ 3256 w 10000"/>
                <a:gd name="connsiteY479" fmla="*/ 7820 h 10000"/>
                <a:gd name="connsiteX480" fmla="*/ 3225 w 10000"/>
                <a:gd name="connsiteY480" fmla="*/ 7820 h 10000"/>
                <a:gd name="connsiteX481" fmla="*/ 3171 w 10000"/>
                <a:gd name="connsiteY481" fmla="*/ 7551 h 10000"/>
                <a:gd name="connsiteX482" fmla="*/ 3109 w 10000"/>
                <a:gd name="connsiteY482" fmla="*/ 7281 h 10000"/>
                <a:gd name="connsiteX483" fmla="*/ 3039 w 10000"/>
                <a:gd name="connsiteY483" fmla="*/ 7146 h 10000"/>
                <a:gd name="connsiteX484" fmla="*/ 3031 w 10000"/>
                <a:gd name="connsiteY484" fmla="*/ 7034 h 10000"/>
                <a:gd name="connsiteX485" fmla="*/ 2946 w 10000"/>
                <a:gd name="connsiteY485" fmla="*/ 7101 h 10000"/>
                <a:gd name="connsiteX486" fmla="*/ 2876 w 10000"/>
                <a:gd name="connsiteY486" fmla="*/ 7213 h 10000"/>
                <a:gd name="connsiteX487" fmla="*/ 2798 w 10000"/>
                <a:gd name="connsiteY487" fmla="*/ 7101 h 10000"/>
                <a:gd name="connsiteX488" fmla="*/ 2721 w 10000"/>
                <a:gd name="connsiteY488" fmla="*/ 7034 h 10000"/>
                <a:gd name="connsiteX489" fmla="*/ 2682 w 10000"/>
                <a:gd name="connsiteY489" fmla="*/ 6966 h 10000"/>
                <a:gd name="connsiteX490" fmla="*/ 2667 w 10000"/>
                <a:gd name="connsiteY490" fmla="*/ 6809 h 10000"/>
                <a:gd name="connsiteX491" fmla="*/ 2589 w 10000"/>
                <a:gd name="connsiteY491" fmla="*/ 6787 h 10000"/>
                <a:gd name="connsiteX492" fmla="*/ 2504 w 10000"/>
                <a:gd name="connsiteY492" fmla="*/ 6831 h 10000"/>
                <a:gd name="connsiteX493" fmla="*/ 2163 w 10000"/>
                <a:gd name="connsiteY493" fmla="*/ 7101 h 10000"/>
                <a:gd name="connsiteX494" fmla="*/ 2078 w 10000"/>
                <a:gd name="connsiteY494" fmla="*/ 7124 h 10000"/>
                <a:gd name="connsiteX495" fmla="*/ 2093 w 10000"/>
                <a:gd name="connsiteY495" fmla="*/ 7236 h 10000"/>
                <a:gd name="connsiteX496" fmla="*/ 2109 w 10000"/>
                <a:gd name="connsiteY496" fmla="*/ 7326 h 10000"/>
                <a:gd name="connsiteX497" fmla="*/ 2062 w 10000"/>
                <a:gd name="connsiteY497" fmla="*/ 7371 h 10000"/>
                <a:gd name="connsiteX498" fmla="*/ 2054 w 10000"/>
                <a:gd name="connsiteY498" fmla="*/ 7483 h 10000"/>
                <a:gd name="connsiteX499" fmla="*/ 2031 w 10000"/>
                <a:gd name="connsiteY499" fmla="*/ 7551 h 10000"/>
                <a:gd name="connsiteX500" fmla="*/ 2008 w 10000"/>
                <a:gd name="connsiteY500" fmla="*/ 7640 h 10000"/>
                <a:gd name="connsiteX501" fmla="*/ 2062 w 10000"/>
                <a:gd name="connsiteY501" fmla="*/ 7685 h 10000"/>
                <a:gd name="connsiteX502" fmla="*/ 2093 w 10000"/>
                <a:gd name="connsiteY502" fmla="*/ 7775 h 10000"/>
                <a:gd name="connsiteX503" fmla="*/ 2054 w 10000"/>
                <a:gd name="connsiteY503" fmla="*/ 7888 h 10000"/>
                <a:gd name="connsiteX504" fmla="*/ 1953 w 10000"/>
                <a:gd name="connsiteY504" fmla="*/ 7910 h 10000"/>
                <a:gd name="connsiteX505" fmla="*/ 1915 w 10000"/>
                <a:gd name="connsiteY505" fmla="*/ 7798 h 10000"/>
                <a:gd name="connsiteX506" fmla="*/ 1845 w 10000"/>
                <a:gd name="connsiteY506" fmla="*/ 7798 h 10000"/>
                <a:gd name="connsiteX507" fmla="*/ 1760 w 10000"/>
                <a:gd name="connsiteY507" fmla="*/ 7910 h 10000"/>
                <a:gd name="connsiteX508" fmla="*/ 1698 w 10000"/>
                <a:gd name="connsiteY508" fmla="*/ 7888 h 10000"/>
                <a:gd name="connsiteX509" fmla="*/ 1612 w 10000"/>
                <a:gd name="connsiteY509" fmla="*/ 7730 h 10000"/>
                <a:gd name="connsiteX510" fmla="*/ 1473 w 10000"/>
                <a:gd name="connsiteY510" fmla="*/ 7663 h 10000"/>
                <a:gd name="connsiteX511" fmla="*/ 1411 w 10000"/>
                <a:gd name="connsiteY511" fmla="*/ 7730 h 10000"/>
                <a:gd name="connsiteX512" fmla="*/ 1318 w 10000"/>
                <a:gd name="connsiteY512" fmla="*/ 7933 h 10000"/>
                <a:gd name="connsiteX513" fmla="*/ 1310 w 10000"/>
                <a:gd name="connsiteY513" fmla="*/ 8067 h 10000"/>
                <a:gd name="connsiteX514" fmla="*/ 1279 w 10000"/>
                <a:gd name="connsiteY514" fmla="*/ 8112 h 10000"/>
                <a:gd name="connsiteX515" fmla="*/ 1248 w 10000"/>
                <a:gd name="connsiteY515" fmla="*/ 7933 h 10000"/>
                <a:gd name="connsiteX516" fmla="*/ 1202 w 10000"/>
                <a:gd name="connsiteY516" fmla="*/ 8090 h 10000"/>
                <a:gd name="connsiteX517" fmla="*/ 1178 w 10000"/>
                <a:gd name="connsiteY517" fmla="*/ 8360 h 10000"/>
                <a:gd name="connsiteX518" fmla="*/ 1217 w 10000"/>
                <a:gd name="connsiteY518" fmla="*/ 8517 h 10000"/>
                <a:gd name="connsiteX519" fmla="*/ 1271 w 10000"/>
                <a:gd name="connsiteY519" fmla="*/ 8562 h 10000"/>
                <a:gd name="connsiteX520" fmla="*/ 1318 w 10000"/>
                <a:gd name="connsiteY520" fmla="*/ 8742 h 10000"/>
                <a:gd name="connsiteX521" fmla="*/ 1333 w 10000"/>
                <a:gd name="connsiteY521" fmla="*/ 8899 h 10000"/>
                <a:gd name="connsiteX0" fmla="*/ 1333 w 10000"/>
                <a:gd name="connsiteY0" fmla="*/ 8899 h 10000"/>
                <a:gd name="connsiteX1" fmla="*/ 1271 w 10000"/>
                <a:gd name="connsiteY1" fmla="*/ 9034 h 10000"/>
                <a:gd name="connsiteX2" fmla="*/ 1233 w 10000"/>
                <a:gd name="connsiteY2" fmla="*/ 9101 h 10000"/>
                <a:gd name="connsiteX3" fmla="*/ 1217 w 10000"/>
                <a:gd name="connsiteY3" fmla="*/ 9191 h 10000"/>
                <a:gd name="connsiteX4" fmla="*/ 1186 w 10000"/>
                <a:gd name="connsiteY4" fmla="*/ 9303 h 10000"/>
                <a:gd name="connsiteX5" fmla="*/ 1217 w 10000"/>
                <a:gd name="connsiteY5" fmla="*/ 9371 h 10000"/>
                <a:gd name="connsiteX6" fmla="*/ 1240 w 10000"/>
                <a:gd name="connsiteY6" fmla="*/ 9483 h 10000"/>
                <a:gd name="connsiteX7" fmla="*/ 1248 w 10000"/>
                <a:gd name="connsiteY7" fmla="*/ 9685 h 10000"/>
                <a:gd name="connsiteX8" fmla="*/ 1302 w 10000"/>
                <a:gd name="connsiteY8" fmla="*/ 9865 h 10000"/>
                <a:gd name="connsiteX9" fmla="*/ 1264 w 10000"/>
                <a:gd name="connsiteY9" fmla="*/ 9978 h 10000"/>
                <a:gd name="connsiteX10" fmla="*/ 1248 w 10000"/>
                <a:gd name="connsiteY10" fmla="*/ 10000 h 10000"/>
                <a:gd name="connsiteX11" fmla="*/ 1186 w 10000"/>
                <a:gd name="connsiteY11" fmla="*/ 9865 h 10000"/>
                <a:gd name="connsiteX12" fmla="*/ 1163 w 10000"/>
                <a:gd name="connsiteY12" fmla="*/ 9843 h 10000"/>
                <a:gd name="connsiteX13" fmla="*/ 1124 w 10000"/>
                <a:gd name="connsiteY13" fmla="*/ 9730 h 10000"/>
                <a:gd name="connsiteX14" fmla="*/ 1085 w 10000"/>
                <a:gd name="connsiteY14" fmla="*/ 9663 h 10000"/>
                <a:gd name="connsiteX15" fmla="*/ 1047 w 10000"/>
                <a:gd name="connsiteY15" fmla="*/ 9685 h 10000"/>
                <a:gd name="connsiteX16" fmla="*/ 1023 w 10000"/>
                <a:gd name="connsiteY16" fmla="*/ 9685 h 10000"/>
                <a:gd name="connsiteX17" fmla="*/ 984 w 10000"/>
                <a:gd name="connsiteY17" fmla="*/ 9640 h 10000"/>
                <a:gd name="connsiteX18" fmla="*/ 930 w 10000"/>
                <a:gd name="connsiteY18" fmla="*/ 9551 h 10000"/>
                <a:gd name="connsiteX19" fmla="*/ 899 w 10000"/>
                <a:gd name="connsiteY19" fmla="*/ 9551 h 10000"/>
                <a:gd name="connsiteX20" fmla="*/ 860 w 10000"/>
                <a:gd name="connsiteY20" fmla="*/ 9573 h 10000"/>
                <a:gd name="connsiteX21" fmla="*/ 814 w 10000"/>
                <a:gd name="connsiteY21" fmla="*/ 9483 h 10000"/>
                <a:gd name="connsiteX22" fmla="*/ 767 w 10000"/>
                <a:gd name="connsiteY22" fmla="*/ 9506 h 10000"/>
                <a:gd name="connsiteX23" fmla="*/ 667 w 10000"/>
                <a:gd name="connsiteY23" fmla="*/ 9303 h 10000"/>
                <a:gd name="connsiteX24" fmla="*/ 612 w 10000"/>
                <a:gd name="connsiteY24" fmla="*/ 9236 h 10000"/>
                <a:gd name="connsiteX25" fmla="*/ 628 w 10000"/>
                <a:gd name="connsiteY25" fmla="*/ 9079 h 10000"/>
                <a:gd name="connsiteX26" fmla="*/ 674 w 10000"/>
                <a:gd name="connsiteY26" fmla="*/ 8944 h 10000"/>
                <a:gd name="connsiteX27" fmla="*/ 667 w 10000"/>
                <a:gd name="connsiteY27" fmla="*/ 8831 h 10000"/>
                <a:gd name="connsiteX28" fmla="*/ 729 w 10000"/>
                <a:gd name="connsiteY28" fmla="*/ 8719 h 10000"/>
                <a:gd name="connsiteX29" fmla="*/ 659 w 10000"/>
                <a:gd name="connsiteY29" fmla="*/ 8697 h 10000"/>
                <a:gd name="connsiteX30" fmla="*/ 667 w 10000"/>
                <a:gd name="connsiteY30" fmla="*/ 8607 h 10000"/>
                <a:gd name="connsiteX31" fmla="*/ 705 w 10000"/>
                <a:gd name="connsiteY31" fmla="*/ 8562 h 10000"/>
                <a:gd name="connsiteX32" fmla="*/ 767 w 10000"/>
                <a:gd name="connsiteY32" fmla="*/ 8517 h 10000"/>
                <a:gd name="connsiteX33" fmla="*/ 775 w 10000"/>
                <a:gd name="connsiteY33" fmla="*/ 8157 h 10000"/>
                <a:gd name="connsiteX34" fmla="*/ 713 w 10000"/>
                <a:gd name="connsiteY34" fmla="*/ 8045 h 10000"/>
                <a:gd name="connsiteX35" fmla="*/ 636 w 10000"/>
                <a:gd name="connsiteY35" fmla="*/ 8045 h 10000"/>
                <a:gd name="connsiteX36" fmla="*/ 628 w 10000"/>
                <a:gd name="connsiteY36" fmla="*/ 7978 h 10000"/>
                <a:gd name="connsiteX37" fmla="*/ 504 w 10000"/>
                <a:gd name="connsiteY37" fmla="*/ 7955 h 10000"/>
                <a:gd name="connsiteX38" fmla="*/ 488 w 10000"/>
                <a:gd name="connsiteY38" fmla="*/ 7798 h 10000"/>
                <a:gd name="connsiteX39" fmla="*/ 419 w 10000"/>
                <a:gd name="connsiteY39" fmla="*/ 7753 h 10000"/>
                <a:gd name="connsiteX40" fmla="*/ 426 w 10000"/>
                <a:gd name="connsiteY40" fmla="*/ 7618 h 10000"/>
                <a:gd name="connsiteX41" fmla="*/ 411 w 10000"/>
                <a:gd name="connsiteY41" fmla="*/ 7506 h 10000"/>
                <a:gd name="connsiteX42" fmla="*/ 318 w 10000"/>
                <a:gd name="connsiteY42" fmla="*/ 7506 h 10000"/>
                <a:gd name="connsiteX43" fmla="*/ 302 w 10000"/>
                <a:gd name="connsiteY43" fmla="*/ 7551 h 10000"/>
                <a:gd name="connsiteX44" fmla="*/ 279 w 10000"/>
                <a:gd name="connsiteY44" fmla="*/ 7573 h 10000"/>
                <a:gd name="connsiteX45" fmla="*/ 248 w 10000"/>
                <a:gd name="connsiteY45" fmla="*/ 7528 h 10000"/>
                <a:gd name="connsiteX46" fmla="*/ 248 w 10000"/>
                <a:gd name="connsiteY46" fmla="*/ 7303 h 10000"/>
                <a:gd name="connsiteX47" fmla="*/ 318 w 10000"/>
                <a:gd name="connsiteY47" fmla="*/ 7303 h 10000"/>
                <a:gd name="connsiteX48" fmla="*/ 326 w 10000"/>
                <a:gd name="connsiteY48" fmla="*/ 7281 h 10000"/>
                <a:gd name="connsiteX49" fmla="*/ 217 w 10000"/>
                <a:gd name="connsiteY49" fmla="*/ 6944 h 10000"/>
                <a:gd name="connsiteX50" fmla="*/ 202 w 10000"/>
                <a:gd name="connsiteY50" fmla="*/ 6697 h 10000"/>
                <a:gd name="connsiteX51" fmla="*/ 124 w 10000"/>
                <a:gd name="connsiteY51" fmla="*/ 6674 h 10000"/>
                <a:gd name="connsiteX52" fmla="*/ 124 w 10000"/>
                <a:gd name="connsiteY52" fmla="*/ 6607 h 10000"/>
                <a:gd name="connsiteX53" fmla="*/ 54 w 10000"/>
                <a:gd name="connsiteY53" fmla="*/ 6562 h 10000"/>
                <a:gd name="connsiteX54" fmla="*/ 39 w 10000"/>
                <a:gd name="connsiteY54" fmla="*/ 6494 h 10000"/>
                <a:gd name="connsiteX55" fmla="*/ 23 w 10000"/>
                <a:gd name="connsiteY55" fmla="*/ 6315 h 10000"/>
                <a:gd name="connsiteX56" fmla="*/ 0 w 10000"/>
                <a:gd name="connsiteY56" fmla="*/ 6180 h 10000"/>
                <a:gd name="connsiteX57" fmla="*/ 8 w 10000"/>
                <a:gd name="connsiteY57" fmla="*/ 6045 h 10000"/>
                <a:gd name="connsiteX58" fmla="*/ 8 w 10000"/>
                <a:gd name="connsiteY58" fmla="*/ 5865 h 10000"/>
                <a:gd name="connsiteX59" fmla="*/ 31 w 10000"/>
                <a:gd name="connsiteY59" fmla="*/ 5730 h 10000"/>
                <a:gd name="connsiteX60" fmla="*/ 101 w 10000"/>
                <a:gd name="connsiteY60" fmla="*/ 5573 h 10000"/>
                <a:gd name="connsiteX61" fmla="*/ 155 w 10000"/>
                <a:gd name="connsiteY61" fmla="*/ 5551 h 10000"/>
                <a:gd name="connsiteX62" fmla="*/ 85 w 10000"/>
                <a:gd name="connsiteY62" fmla="*/ 5461 h 10000"/>
                <a:gd name="connsiteX63" fmla="*/ 47 w 10000"/>
                <a:gd name="connsiteY63" fmla="*/ 5326 h 10000"/>
                <a:gd name="connsiteX64" fmla="*/ 180 w 10000"/>
                <a:gd name="connsiteY64" fmla="*/ 4975 h 10000"/>
                <a:gd name="connsiteX65" fmla="*/ 248 w 10000"/>
                <a:gd name="connsiteY65" fmla="*/ 4764 h 10000"/>
                <a:gd name="connsiteX66" fmla="*/ 155 w 10000"/>
                <a:gd name="connsiteY66" fmla="*/ 4562 h 10000"/>
                <a:gd name="connsiteX67" fmla="*/ 194 w 10000"/>
                <a:gd name="connsiteY67" fmla="*/ 4449 h 10000"/>
                <a:gd name="connsiteX68" fmla="*/ 290 w 10000"/>
                <a:gd name="connsiteY68" fmla="*/ 4195 h 10000"/>
                <a:gd name="connsiteX69" fmla="*/ 124 w 10000"/>
                <a:gd name="connsiteY69" fmla="*/ 4180 h 10000"/>
                <a:gd name="connsiteX70" fmla="*/ 155 w 10000"/>
                <a:gd name="connsiteY70" fmla="*/ 3955 h 10000"/>
                <a:gd name="connsiteX71" fmla="*/ 132 w 10000"/>
                <a:gd name="connsiteY71" fmla="*/ 3775 h 10000"/>
                <a:gd name="connsiteX72" fmla="*/ 93 w 10000"/>
                <a:gd name="connsiteY72" fmla="*/ 3573 h 10000"/>
                <a:gd name="connsiteX73" fmla="*/ 155 w 10000"/>
                <a:gd name="connsiteY73" fmla="*/ 3393 h 10000"/>
                <a:gd name="connsiteX74" fmla="*/ 62 w 10000"/>
                <a:gd name="connsiteY74" fmla="*/ 3236 h 10000"/>
                <a:gd name="connsiteX75" fmla="*/ 78 w 10000"/>
                <a:gd name="connsiteY75" fmla="*/ 2989 h 10000"/>
                <a:gd name="connsiteX76" fmla="*/ 116 w 10000"/>
                <a:gd name="connsiteY76" fmla="*/ 2876 h 10000"/>
                <a:gd name="connsiteX77" fmla="*/ 155 w 10000"/>
                <a:gd name="connsiteY77" fmla="*/ 2854 h 10000"/>
                <a:gd name="connsiteX78" fmla="*/ 155 w 10000"/>
                <a:gd name="connsiteY78" fmla="*/ 2787 h 10000"/>
                <a:gd name="connsiteX79" fmla="*/ 240 w 10000"/>
                <a:gd name="connsiteY79" fmla="*/ 2742 h 10000"/>
                <a:gd name="connsiteX80" fmla="*/ 310 w 10000"/>
                <a:gd name="connsiteY80" fmla="*/ 2742 h 10000"/>
                <a:gd name="connsiteX81" fmla="*/ 333 w 10000"/>
                <a:gd name="connsiteY81" fmla="*/ 2854 h 10000"/>
                <a:gd name="connsiteX82" fmla="*/ 372 w 10000"/>
                <a:gd name="connsiteY82" fmla="*/ 2899 h 10000"/>
                <a:gd name="connsiteX83" fmla="*/ 519 w 10000"/>
                <a:gd name="connsiteY83" fmla="*/ 2921 h 10000"/>
                <a:gd name="connsiteX84" fmla="*/ 628 w 10000"/>
                <a:gd name="connsiteY84" fmla="*/ 3079 h 10000"/>
                <a:gd name="connsiteX85" fmla="*/ 729 w 10000"/>
                <a:gd name="connsiteY85" fmla="*/ 3258 h 10000"/>
                <a:gd name="connsiteX86" fmla="*/ 845 w 10000"/>
                <a:gd name="connsiteY86" fmla="*/ 3438 h 10000"/>
                <a:gd name="connsiteX87" fmla="*/ 853 w 10000"/>
                <a:gd name="connsiteY87" fmla="*/ 3640 h 10000"/>
                <a:gd name="connsiteX88" fmla="*/ 783 w 10000"/>
                <a:gd name="connsiteY88" fmla="*/ 3820 h 10000"/>
                <a:gd name="connsiteX89" fmla="*/ 667 w 10000"/>
                <a:gd name="connsiteY89" fmla="*/ 3910 h 10000"/>
                <a:gd name="connsiteX90" fmla="*/ 566 w 10000"/>
                <a:gd name="connsiteY90" fmla="*/ 3798 h 10000"/>
                <a:gd name="connsiteX91" fmla="*/ 450 w 10000"/>
                <a:gd name="connsiteY91" fmla="*/ 3730 h 10000"/>
                <a:gd name="connsiteX92" fmla="*/ 364 w 10000"/>
                <a:gd name="connsiteY92" fmla="*/ 3640 h 10000"/>
                <a:gd name="connsiteX93" fmla="*/ 295 w 10000"/>
                <a:gd name="connsiteY93" fmla="*/ 3551 h 10000"/>
                <a:gd name="connsiteX94" fmla="*/ 349 w 10000"/>
                <a:gd name="connsiteY94" fmla="*/ 3753 h 10000"/>
                <a:gd name="connsiteX95" fmla="*/ 411 w 10000"/>
                <a:gd name="connsiteY95" fmla="*/ 3843 h 10000"/>
                <a:gd name="connsiteX96" fmla="*/ 442 w 10000"/>
                <a:gd name="connsiteY96" fmla="*/ 3910 h 10000"/>
                <a:gd name="connsiteX97" fmla="*/ 450 w 10000"/>
                <a:gd name="connsiteY97" fmla="*/ 4045 h 10000"/>
                <a:gd name="connsiteX98" fmla="*/ 473 w 10000"/>
                <a:gd name="connsiteY98" fmla="*/ 4337 h 10000"/>
                <a:gd name="connsiteX99" fmla="*/ 512 w 10000"/>
                <a:gd name="connsiteY99" fmla="*/ 4360 h 10000"/>
                <a:gd name="connsiteX100" fmla="*/ 574 w 10000"/>
                <a:gd name="connsiteY100" fmla="*/ 4517 h 10000"/>
                <a:gd name="connsiteX101" fmla="*/ 651 w 10000"/>
                <a:gd name="connsiteY101" fmla="*/ 4517 h 10000"/>
                <a:gd name="connsiteX102" fmla="*/ 659 w 10000"/>
                <a:gd name="connsiteY102" fmla="*/ 4404 h 10000"/>
                <a:gd name="connsiteX103" fmla="*/ 612 w 10000"/>
                <a:gd name="connsiteY103" fmla="*/ 4360 h 10000"/>
                <a:gd name="connsiteX104" fmla="*/ 574 w 10000"/>
                <a:gd name="connsiteY104" fmla="*/ 4225 h 10000"/>
                <a:gd name="connsiteX105" fmla="*/ 605 w 10000"/>
                <a:gd name="connsiteY105" fmla="*/ 4112 h 10000"/>
                <a:gd name="connsiteX106" fmla="*/ 651 w 10000"/>
                <a:gd name="connsiteY106" fmla="*/ 4225 h 10000"/>
                <a:gd name="connsiteX107" fmla="*/ 698 w 10000"/>
                <a:gd name="connsiteY107" fmla="*/ 4270 h 10000"/>
                <a:gd name="connsiteX108" fmla="*/ 798 w 10000"/>
                <a:gd name="connsiteY108" fmla="*/ 4337 h 10000"/>
                <a:gd name="connsiteX109" fmla="*/ 798 w 10000"/>
                <a:gd name="connsiteY109" fmla="*/ 4225 h 10000"/>
                <a:gd name="connsiteX110" fmla="*/ 760 w 10000"/>
                <a:gd name="connsiteY110" fmla="*/ 4090 h 10000"/>
                <a:gd name="connsiteX111" fmla="*/ 806 w 10000"/>
                <a:gd name="connsiteY111" fmla="*/ 3955 h 10000"/>
                <a:gd name="connsiteX112" fmla="*/ 876 w 10000"/>
                <a:gd name="connsiteY112" fmla="*/ 3843 h 10000"/>
                <a:gd name="connsiteX113" fmla="*/ 915 w 10000"/>
                <a:gd name="connsiteY113" fmla="*/ 3753 h 10000"/>
                <a:gd name="connsiteX114" fmla="*/ 1023 w 10000"/>
                <a:gd name="connsiteY114" fmla="*/ 3843 h 10000"/>
                <a:gd name="connsiteX115" fmla="*/ 1047 w 10000"/>
                <a:gd name="connsiteY115" fmla="*/ 3573 h 10000"/>
                <a:gd name="connsiteX116" fmla="*/ 1016 w 10000"/>
                <a:gd name="connsiteY116" fmla="*/ 3483 h 10000"/>
                <a:gd name="connsiteX117" fmla="*/ 1031 w 10000"/>
                <a:gd name="connsiteY117" fmla="*/ 3236 h 10000"/>
                <a:gd name="connsiteX118" fmla="*/ 1000 w 10000"/>
                <a:gd name="connsiteY118" fmla="*/ 3146 h 10000"/>
                <a:gd name="connsiteX119" fmla="*/ 1132 w 10000"/>
                <a:gd name="connsiteY119" fmla="*/ 3124 h 10000"/>
                <a:gd name="connsiteX120" fmla="*/ 1178 w 10000"/>
                <a:gd name="connsiteY120" fmla="*/ 3281 h 10000"/>
                <a:gd name="connsiteX121" fmla="*/ 1178 w 10000"/>
                <a:gd name="connsiteY121" fmla="*/ 3371 h 10000"/>
                <a:gd name="connsiteX122" fmla="*/ 1116 w 10000"/>
                <a:gd name="connsiteY122" fmla="*/ 3371 h 10000"/>
                <a:gd name="connsiteX123" fmla="*/ 1078 w 10000"/>
                <a:gd name="connsiteY123" fmla="*/ 3483 h 10000"/>
                <a:gd name="connsiteX124" fmla="*/ 1140 w 10000"/>
                <a:gd name="connsiteY124" fmla="*/ 3640 h 10000"/>
                <a:gd name="connsiteX125" fmla="*/ 1233 w 10000"/>
                <a:gd name="connsiteY125" fmla="*/ 3663 h 10000"/>
                <a:gd name="connsiteX126" fmla="*/ 1271 w 10000"/>
                <a:gd name="connsiteY126" fmla="*/ 3393 h 10000"/>
                <a:gd name="connsiteX127" fmla="*/ 1496 w 10000"/>
                <a:gd name="connsiteY127" fmla="*/ 3146 h 10000"/>
                <a:gd name="connsiteX128" fmla="*/ 1535 w 10000"/>
                <a:gd name="connsiteY128" fmla="*/ 3169 h 10000"/>
                <a:gd name="connsiteX129" fmla="*/ 1581 w 10000"/>
                <a:gd name="connsiteY129" fmla="*/ 3034 h 10000"/>
                <a:gd name="connsiteX130" fmla="*/ 1628 w 10000"/>
                <a:gd name="connsiteY130" fmla="*/ 2989 h 10000"/>
                <a:gd name="connsiteX131" fmla="*/ 1612 w 10000"/>
                <a:gd name="connsiteY131" fmla="*/ 3191 h 10000"/>
                <a:gd name="connsiteX132" fmla="*/ 1690 w 10000"/>
                <a:gd name="connsiteY132" fmla="*/ 3191 h 10000"/>
                <a:gd name="connsiteX133" fmla="*/ 1705 w 10000"/>
                <a:gd name="connsiteY133" fmla="*/ 3101 h 10000"/>
                <a:gd name="connsiteX134" fmla="*/ 1845 w 10000"/>
                <a:gd name="connsiteY134" fmla="*/ 3124 h 10000"/>
                <a:gd name="connsiteX135" fmla="*/ 1938 w 10000"/>
                <a:gd name="connsiteY135" fmla="*/ 2966 h 10000"/>
                <a:gd name="connsiteX136" fmla="*/ 1953 w 10000"/>
                <a:gd name="connsiteY136" fmla="*/ 3079 h 10000"/>
                <a:gd name="connsiteX137" fmla="*/ 1946 w 10000"/>
                <a:gd name="connsiteY137" fmla="*/ 3169 h 10000"/>
                <a:gd name="connsiteX138" fmla="*/ 1984 w 10000"/>
                <a:gd name="connsiteY138" fmla="*/ 3169 h 10000"/>
                <a:gd name="connsiteX139" fmla="*/ 2000 w 10000"/>
                <a:gd name="connsiteY139" fmla="*/ 3079 h 10000"/>
                <a:gd name="connsiteX140" fmla="*/ 2062 w 10000"/>
                <a:gd name="connsiteY140" fmla="*/ 2966 h 10000"/>
                <a:gd name="connsiteX141" fmla="*/ 2016 w 10000"/>
                <a:gd name="connsiteY141" fmla="*/ 2787 h 10000"/>
                <a:gd name="connsiteX142" fmla="*/ 1930 w 10000"/>
                <a:gd name="connsiteY142" fmla="*/ 2697 h 10000"/>
                <a:gd name="connsiteX143" fmla="*/ 1930 w 10000"/>
                <a:gd name="connsiteY143" fmla="*/ 2539 h 10000"/>
                <a:gd name="connsiteX144" fmla="*/ 1961 w 10000"/>
                <a:gd name="connsiteY144" fmla="*/ 2517 h 10000"/>
                <a:gd name="connsiteX145" fmla="*/ 2039 w 10000"/>
                <a:gd name="connsiteY145" fmla="*/ 2719 h 10000"/>
                <a:gd name="connsiteX146" fmla="*/ 2163 w 10000"/>
                <a:gd name="connsiteY146" fmla="*/ 2742 h 10000"/>
                <a:gd name="connsiteX147" fmla="*/ 2295 w 10000"/>
                <a:gd name="connsiteY147" fmla="*/ 2876 h 10000"/>
                <a:gd name="connsiteX148" fmla="*/ 2403 w 10000"/>
                <a:gd name="connsiteY148" fmla="*/ 3011 h 10000"/>
                <a:gd name="connsiteX149" fmla="*/ 2519 w 10000"/>
                <a:gd name="connsiteY149" fmla="*/ 3191 h 10000"/>
                <a:gd name="connsiteX150" fmla="*/ 2550 w 10000"/>
                <a:gd name="connsiteY150" fmla="*/ 3034 h 10000"/>
                <a:gd name="connsiteX151" fmla="*/ 2496 w 10000"/>
                <a:gd name="connsiteY151" fmla="*/ 2876 h 10000"/>
                <a:gd name="connsiteX152" fmla="*/ 2426 w 10000"/>
                <a:gd name="connsiteY152" fmla="*/ 2764 h 10000"/>
                <a:gd name="connsiteX153" fmla="*/ 2426 w 10000"/>
                <a:gd name="connsiteY153" fmla="*/ 2652 h 10000"/>
                <a:gd name="connsiteX154" fmla="*/ 2457 w 10000"/>
                <a:gd name="connsiteY154" fmla="*/ 2427 h 10000"/>
                <a:gd name="connsiteX155" fmla="*/ 2419 w 10000"/>
                <a:gd name="connsiteY155" fmla="*/ 2360 h 10000"/>
                <a:gd name="connsiteX156" fmla="*/ 2426 w 10000"/>
                <a:gd name="connsiteY156" fmla="*/ 2292 h 10000"/>
                <a:gd name="connsiteX157" fmla="*/ 2519 w 10000"/>
                <a:gd name="connsiteY157" fmla="*/ 2090 h 10000"/>
                <a:gd name="connsiteX158" fmla="*/ 2581 w 10000"/>
                <a:gd name="connsiteY158" fmla="*/ 1730 h 10000"/>
                <a:gd name="connsiteX159" fmla="*/ 2775 w 10000"/>
                <a:gd name="connsiteY159" fmla="*/ 1775 h 10000"/>
                <a:gd name="connsiteX160" fmla="*/ 2791 w 10000"/>
                <a:gd name="connsiteY160" fmla="*/ 1843 h 10000"/>
                <a:gd name="connsiteX161" fmla="*/ 2775 w 10000"/>
                <a:gd name="connsiteY161" fmla="*/ 2045 h 10000"/>
                <a:gd name="connsiteX162" fmla="*/ 2736 w 10000"/>
                <a:gd name="connsiteY162" fmla="*/ 2225 h 10000"/>
                <a:gd name="connsiteX163" fmla="*/ 2775 w 10000"/>
                <a:gd name="connsiteY163" fmla="*/ 2315 h 10000"/>
                <a:gd name="connsiteX164" fmla="*/ 2791 w 10000"/>
                <a:gd name="connsiteY164" fmla="*/ 2517 h 10000"/>
                <a:gd name="connsiteX165" fmla="*/ 2775 w 10000"/>
                <a:gd name="connsiteY165" fmla="*/ 3011 h 10000"/>
                <a:gd name="connsiteX166" fmla="*/ 2837 w 10000"/>
                <a:gd name="connsiteY166" fmla="*/ 3146 h 10000"/>
                <a:gd name="connsiteX167" fmla="*/ 2806 w 10000"/>
                <a:gd name="connsiteY167" fmla="*/ 3348 h 10000"/>
                <a:gd name="connsiteX168" fmla="*/ 2698 w 10000"/>
                <a:gd name="connsiteY168" fmla="*/ 3618 h 10000"/>
                <a:gd name="connsiteX169" fmla="*/ 2643 w 10000"/>
                <a:gd name="connsiteY169" fmla="*/ 3685 h 10000"/>
                <a:gd name="connsiteX170" fmla="*/ 2581 w 10000"/>
                <a:gd name="connsiteY170" fmla="*/ 3640 h 10000"/>
                <a:gd name="connsiteX171" fmla="*/ 2550 w 10000"/>
                <a:gd name="connsiteY171" fmla="*/ 3685 h 10000"/>
                <a:gd name="connsiteX172" fmla="*/ 2597 w 10000"/>
                <a:gd name="connsiteY172" fmla="*/ 3775 h 10000"/>
                <a:gd name="connsiteX173" fmla="*/ 2667 w 10000"/>
                <a:gd name="connsiteY173" fmla="*/ 3820 h 10000"/>
                <a:gd name="connsiteX174" fmla="*/ 2736 w 10000"/>
                <a:gd name="connsiteY174" fmla="*/ 3843 h 10000"/>
                <a:gd name="connsiteX175" fmla="*/ 2814 w 10000"/>
                <a:gd name="connsiteY175" fmla="*/ 3663 h 10000"/>
                <a:gd name="connsiteX176" fmla="*/ 2922 w 10000"/>
                <a:gd name="connsiteY176" fmla="*/ 3348 h 10000"/>
                <a:gd name="connsiteX177" fmla="*/ 2891 w 10000"/>
                <a:gd name="connsiteY177" fmla="*/ 3169 h 10000"/>
                <a:gd name="connsiteX178" fmla="*/ 2930 w 10000"/>
                <a:gd name="connsiteY178" fmla="*/ 2989 h 10000"/>
                <a:gd name="connsiteX179" fmla="*/ 3016 w 10000"/>
                <a:gd name="connsiteY179" fmla="*/ 3034 h 10000"/>
                <a:gd name="connsiteX180" fmla="*/ 3054 w 10000"/>
                <a:gd name="connsiteY180" fmla="*/ 3146 h 10000"/>
                <a:gd name="connsiteX181" fmla="*/ 3070 w 10000"/>
                <a:gd name="connsiteY181" fmla="*/ 3326 h 10000"/>
                <a:gd name="connsiteX182" fmla="*/ 3124 w 10000"/>
                <a:gd name="connsiteY182" fmla="*/ 3191 h 10000"/>
                <a:gd name="connsiteX183" fmla="*/ 3093 w 10000"/>
                <a:gd name="connsiteY183" fmla="*/ 3011 h 10000"/>
                <a:gd name="connsiteX184" fmla="*/ 3016 w 10000"/>
                <a:gd name="connsiteY184" fmla="*/ 2944 h 10000"/>
                <a:gd name="connsiteX185" fmla="*/ 2853 w 10000"/>
                <a:gd name="connsiteY185" fmla="*/ 2921 h 10000"/>
                <a:gd name="connsiteX186" fmla="*/ 2853 w 10000"/>
                <a:gd name="connsiteY186" fmla="*/ 2697 h 10000"/>
                <a:gd name="connsiteX187" fmla="*/ 2884 w 10000"/>
                <a:gd name="connsiteY187" fmla="*/ 2472 h 10000"/>
                <a:gd name="connsiteX188" fmla="*/ 2845 w 10000"/>
                <a:gd name="connsiteY188" fmla="*/ 2292 h 10000"/>
                <a:gd name="connsiteX189" fmla="*/ 2822 w 10000"/>
                <a:gd name="connsiteY189" fmla="*/ 2157 h 10000"/>
                <a:gd name="connsiteX190" fmla="*/ 2868 w 10000"/>
                <a:gd name="connsiteY190" fmla="*/ 2022 h 10000"/>
                <a:gd name="connsiteX191" fmla="*/ 2922 w 10000"/>
                <a:gd name="connsiteY191" fmla="*/ 1955 h 10000"/>
                <a:gd name="connsiteX192" fmla="*/ 2930 w 10000"/>
                <a:gd name="connsiteY192" fmla="*/ 1775 h 10000"/>
                <a:gd name="connsiteX193" fmla="*/ 2961 w 10000"/>
                <a:gd name="connsiteY193" fmla="*/ 1775 h 10000"/>
                <a:gd name="connsiteX194" fmla="*/ 2969 w 10000"/>
                <a:gd name="connsiteY194" fmla="*/ 1978 h 10000"/>
                <a:gd name="connsiteX195" fmla="*/ 2946 w 10000"/>
                <a:gd name="connsiteY195" fmla="*/ 2135 h 10000"/>
                <a:gd name="connsiteX196" fmla="*/ 2961 w 10000"/>
                <a:gd name="connsiteY196" fmla="*/ 2247 h 10000"/>
                <a:gd name="connsiteX197" fmla="*/ 3023 w 10000"/>
                <a:gd name="connsiteY197" fmla="*/ 2292 h 10000"/>
                <a:gd name="connsiteX198" fmla="*/ 3116 w 10000"/>
                <a:gd name="connsiteY198" fmla="*/ 2360 h 10000"/>
                <a:gd name="connsiteX199" fmla="*/ 3163 w 10000"/>
                <a:gd name="connsiteY199" fmla="*/ 2360 h 10000"/>
                <a:gd name="connsiteX200" fmla="*/ 3109 w 10000"/>
                <a:gd name="connsiteY200" fmla="*/ 2247 h 10000"/>
                <a:gd name="connsiteX201" fmla="*/ 3031 w 10000"/>
                <a:gd name="connsiteY201" fmla="*/ 2180 h 10000"/>
                <a:gd name="connsiteX202" fmla="*/ 3000 w 10000"/>
                <a:gd name="connsiteY202" fmla="*/ 2045 h 10000"/>
                <a:gd name="connsiteX203" fmla="*/ 3047 w 10000"/>
                <a:gd name="connsiteY203" fmla="*/ 2000 h 10000"/>
                <a:gd name="connsiteX204" fmla="*/ 3124 w 10000"/>
                <a:gd name="connsiteY204" fmla="*/ 2045 h 10000"/>
                <a:gd name="connsiteX205" fmla="*/ 3070 w 10000"/>
                <a:gd name="connsiteY205" fmla="*/ 1865 h 10000"/>
                <a:gd name="connsiteX206" fmla="*/ 3093 w 10000"/>
                <a:gd name="connsiteY206" fmla="*/ 1820 h 10000"/>
                <a:gd name="connsiteX207" fmla="*/ 3225 w 10000"/>
                <a:gd name="connsiteY207" fmla="*/ 1933 h 10000"/>
                <a:gd name="connsiteX208" fmla="*/ 3302 w 10000"/>
                <a:gd name="connsiteY208" fmla="*/ 2112 h 10000"/>
                <a:gd name="connsiteX209" fmla="*/ 3411 w 10000"/>
                <a:gd name="connsiteY209" fmla="*/ 2112 h 10000"/>
                <a:gd name="connsiteX210" fmla="*/ 3357 w 10000"/>
                <a:gd name="connsiteY210" fmla="*/ 1955 h 10000"/>
                <a:gd name="connsiteX211" fmla="*/ 3287 w 10000"/>
                <a:gd name="connsiteY211" fmla="*/ 1798 h 10000"/>
                <a:gd name="connsiteX212" fmla="*/ 3264 w 10000"/>
                <a:gd name="connsiteY212" fmla="*/ 1551 h 10000"/>
                <a:gd name="connsiteX213" fmla="*/ 3310 w 10000"/>
                <a:gd name="connsiteY213" fmla="*/ 1461 h 10000"/>
                <a:gd name="connsiteX214" fmla="*/ 3488 w 10000"/>
                <a:gd name="connsiteY214" fmla="*/ 1438 h 10000"/>
                <a:gd name="connsiteX215" fmla="*/ 3667 w 10000"/>
                <a:gd name="connsiteY215" fmla="*/ 1348 h 10000"/>
                <a:gd name="connsiteX216" fmla="*/ 3620 w 10000"/>
                <a:gd name="connsiteY216" fmla="*/ 1101 h 10000"/>
                <a:gd name="connsiteX217" fmla="*/ 3767 w 10000"/>
                <a:gd name="connsiteY217" fmla="*/ 899 h 10000"/>
                <a:gd name="connsiteX218" fmla="*/ 4093 w 10000"/>
                <a:gd name="connsiteY218" fmla="*/ 584 h 10000"/>
                <a:gd name="connsiteX219" fmla="*/ 4233 w 10000"/>
                <a:gd name="connsiteY219" fmla="*/ 539 h 10000"/>
                <a:gd name="connsiteX220" fmla="*/ 4364 w 10000"/>
                <a:gd name="connsiteY220" fmla="*/ 584 h 10000"/>
                <a:gd name="connsiteX221" fmla="*/ 4558 w 10000"/>
                <a:gd name="connsiteY221" fmla="*/ 404 h 10000"/>
                <a:gd name="connsiteX222" fmla="*/ 4543 w 10000"/>
                <a:gd name="connsiteY222" fmla="*/ 225 h 10000"/>
                <a:gd name="connsiteX223" fmla="*/ 4636 w 10000"/>
                <a:gd name="connsiteY223" fmla="*/ 0 h 10000"/>
                <a:gd name="connsiteX224" fmla="*/ 4767 w 10000"/>
                <a:gd name="connsiteY224" fmla="*/ 22 h 10000"/>
                <a:gd name="connsiteX225" fmla="*/ 4837 w 10000"/>
                <a:gd name="connsiteY225" fmla="*/ 90 h 10000"/>
                <a:gd name="connsiteX226" fmla="*/ 4752 w 10000"/>
                <a:gd name="connsiteY226" fmla="*/ 225 h 10000"/>
                <a:gd name="connsiteX227" fmla="*/ 4915 w 10000"/>
                <a:gd name="connsiteY227" fmla="*/ 247 h 10000"/>
                <a:gd name="connsiteX228" fmla="*/ 4884 w 10000"/>
                <a:gd name="connsiteY228" fmla="*/ 404 h 10000"/>
                <a:gd name="connsiteX229" fmla="*/ 5178 w 10000"/>
                <a:gd name="connsiteY229" fmla="*/ 382 h 10000"/>
                <a:gd name="connsiteX230" fmla="*/ 5287 w 10000"/>
                <a:gd name="connsiteY230" fmla="*/ 584 h 10000"/>
                <a:gd name="connsiteX231" fmla="*/ 5302 w 10000"/>
                <a:gd name="connsiteY231" fmla="*/ 719 h 10000"/>
                <a:gd name="connsiteX232" fmla="*/ 5271 w 10000"/>
                <a:gd name="connsiteY232" fmla="*/ 944 h 10000"/>
                <a:gd name="connsiteX233" fmla="*/ 5140 w 10000"/>
                <a:gd name="connsiteY233" fmla="*/ 1146 h 10000"/>
                <a:gd name="connsiteX234" fmla="*/ 5000 w 10000"/>
                <a:gd name="connsiteY234" fmla="*/ 1371 h 10000"/>
                <a:gd name="connsiteX235" fmla="*/ 4806 w 10000"/>
                <a:gd name="connsiteY235" fmla="*/ 1685 h 10000"/>
                <a:gd name="connsiteX236" fmla="*/ 4822 w 10000"/>
                <a:gd name="connsiteY236" fmla="*/ 1730 h 10000"/>
                <a:gd name="connsiteX237" fmla="*/ 4907 w 10000"/>
                <a:gd name="connsiteY237" fmla="*/ 1640 h 10000"/>
                <a:gd name="connsiteX238" fmla="*/ 5070 w 10000"/>
                <a:gd name="connsiteY238" fmla="*/ 1506 h 10000"/>
                <a:gd name="connsiteX239" fmla="*/ 5062 w 10000"/>
                <a:gd name="connsiteY239" fmla="*/ 1416 h 10000"/>
                <a:gd name="connsiteX240" fmla="*/ 5101 w 10000"/>
                <a:gd name="connsiteY240" fmla="*/ 1303 h 10000"/>
                <a:gd name="connsiteX241" fmla="*/ 5163 w 10000"/>
                <a:gd name="connsiteY241" fmla="*/ 1258 h 10000"/>
                <a:gd name="connsiteX242" fmla="*/ 5178 w 10000"/>
                <a:gd name="connsiteY242" fmla="*/ 1371 h 10000"/>
                <a:gd name="connsiteX243" fmla="*/ 5225 w 10000"/>
                <a:gd name="connsiteY243" fmla="*/ 1416 h 10000"/>
                <a:gd name="connsiteX244" fmla="*/ 5295 w 10000"/>
                <a:gd name="connsiteY244" fmla="*/ 1551 h 10000"/>
                <a:gd name="connsiteX245" fmla="*/ 5333 w 10000"/>
                <a:gd name="connsiteY245" fmla="*/ 1483 h 10000"/>
                <a:gd name="connsiteX246" fmla="*/ 5620 w 10000"/>
                <a:gd name="connsiteY246" fmla="*/ 1506 h 10000"/>
                <a:gd name="connsiteX247" fmla="*/ 5620 w 10000"/>
                <a:gd name="connsiteY247" fmla="*/ 1618 h 10000"/>
                <a:gd name="connsiteX248" fmla="*/ 5899 w 10000"/>
                <a:gd name="connsiteY248" fmla="*/ 1708 h 10000"/>
                <a:gd name="connsiteX249" fmla="*/ 5930 w 10000"/>
                <a:gd name="connsiteY249" fmla="*/ 1416 h 10000"/>
                <a:gd name="connsiteX250" fmla="*/ 5984 w 10000"/>
                <a:gd name="connsiteY250" fmla="*/ 1438 h 10000"/>
                <a:gd name="connsiteX251" fmla="*/ 6062 w 10000"/>
                <a:gd name="connsiteY251" fmla="*/ 1551 h 10000"/>
                <a:gd name="connsiteX252" fmla="*/ 6186 w 10000"/>
                <a:gd name="connsiteY252" fmla="*/ 1528 h 10000"/>
                <a:gd name="connsiteX253" fmla="*/ 6256 w 10000"/>
                <a:gd name="connsiteY253" fmla="*/ 1753 h 10000"/>
                <a:gd name="connsiteX254" fmla="*/ 6271 w 10000"/>
                <a:gd name="connsiteY254" fmla="*/ 1955 h 10000"/>
                <a:gd name="connsiteX255" fmla="*/ 6225 w 10000"/>
                <a:gd name="connsiteY255" fmla="*/ 2045 h 10000"/>
                <a:gd name="connsiteX256" fmla="*/ 6310 w 10000"/>
                <a:gd name="connsiteY256" fmla="*/ 2337 h 10000"/>
                <a:gd name="connsiteX257" fmla="*/ 6395 w 10000"/>
                <a:gd name="connsiteY257" fmla="*/ 2404 h 10000"/>
                <a:gd name="connsiteX258" fmla="*/ 6473 w 10000"/>
                <a:gd name="connsiteY258" fmla="*/ 2067 h 10000"/>
                <a:gd name="connsiteX259" fmla="*/ 6574 w 10000"/>
                <a:gd name="connsiteY259" fmla="*/ 2225 h 10000"/>
                <a:gd name="connsiteX260" fmla="*/ 6667 w 10000"/>
                <a:gd name="connsiteY260" fmla="*/ 2135 h 10000"/>
                <a:gd name="connsiteX261" fmla="*/ 6767 w 10000"/>
                <a:gd name="connsiteY261" fmla="*/ 2247 h 10000"/>
                <a:gd name="connsiteX262" fmla="*/ 6853 w 10000"/>
                <a:gd name="connsiteY262" fmla="*/ 2157 h 10000"/>
                <a:gd name="connsiteX263" fmla="*/ 6915 w 10000"/>
                <a:gd name="connsiteY263" fmla="*/ 2067 h 10000"/>
                <a:gd name="connsiteX264" fmla="*/ 6907 w 10000"/>
                <a:gd name="connsiteY264" fmla="*/ 1865 h 10000"/>
                <a:gd name="connsiteX265" fmla="*/ 6992 w 10000"/>
                <a:gd name="connsiteY265" fmla="*/ 1775 h 10000"/>
                <a:gd name="connsiteX266" fmla="*/ 7256 w 10000"/>
                <a:gd name="connsiteY266" fmla="*/ 1820 h 10000"/>
                <a:gd name="connsiteX267" fmla="*/ 7302 w 10000"/>
                <a:gd name="connsiteY267" fmla="*/ 1933 h 10000"/>
                <a:gd name="connsiteX268" fmla="*/ 7326 w 10000"/>
                <a:gd name="connsiteY268" fmla="*/ 1978 h 10000"/>
                <a:gd name="connsiteX269" fmla="*/ 7465 w 10000"/>
                <a:gd name="connsiteY269" fmla="*/ 1933 h 10000"/>
                <a:gd name="connsiteX270" fmla="*/ 7527 w 10000"/>
                <a:gd name="connsiteY270" fmla="*/ 2022 h 10000"/>
                <a:gd name="connsiteX271" fmla="*/ 7496 w 10000"/>
                <a:gd name="connsiteY271" fmla="*/ 2135 h 10000"/>
                <a:gd name="connsiteX272" fmla="*/ 7550 w 10000"/>
                <a:gd name="connsiteY272" fmla="*/ 2202 h 10000"/>
                <a:gd name="connsiteX273" fmla="*/ 7667 w 10000"/>
                <a:gd name="connsiteY273" fmla="*/ 2337 h 10000"/>
                <a:gd name="connsiteX274" fmla="*/ 7868 w 10000"/>
                <a:gd name="connsiteY274" fmla="*/ 2360 h 10000"/>
                <a:gd name="connsiteX275" fmla="*/ 8078 w 10000"/>
                <a:gd name="connsiteY275" fmla="*/ 2382 h 10000"/>
                <a:gd name="connsiteX276" fmla="*/ 8163 w 10000"/>
                <a:gd name="connsiteY276" fmla="*/ 2517 h 10000"/>
                <a:gd name="connsiteX277" fmla="*/ 8155 w 10000"/>
                <a:gd name="connsiteY277" fmla="*/ 2674 h 10000"/>
                <a:gd name="connsiteX278" fmla="*/ 8171 w 10000"/>
                <a:gd name="connsiteY278" fmla="*/ 2764 h 10000"/>
                <a:gd name="connsiteX279" fmla="*/ 8240 w 10000"/>
                <a:gd name="connsiteY279" fmla="*/ 2831 h 10000"/>
                <a:gd name="connsiteX280" fmla="*/ 8295 w 10000"/>
                <a:gd name="connsiteY280" fmla="*/ 2764 h 10000"/>
                <a:gd name="connsiteX281" fmla="*/ 8550 w 10000"/>
                <a:gd name="connsiteY281" fmla="*/ 2809 h 10000"/>
                <a:gd name="connsiteX282" fmla="*/ 8581 w 10000"/>
                <a:gd name="connsiteY282" fmla="*/ 2809 h 10000"/>
                <a:gd name="connsiteX283" fmla="*/ 8643 w 10000"/>
                <a:gd name="connsiteY283" fmla="*/ 2719 h 10000"/>
                <a:gd name="connsiteX284" fmla="*/ 8667 w 10000"/>
                <a:gd name="connsiteY284" fmla="*/ 2742 h 10000"/>
                <a:gd name="connsiteX285" fmla="*/ 8667 w 10000"/>
                <a:gd name="connsiteY285" fmla="*/ 2876 h 10000"/>
                <a:gd name="connsiteX286" fmla="*/ 8736 w 10000"/>
                <a:gd name="connsiteY286" fmla="*/ 3034 h 10000"/>
                <a:gd name="connsiteX287" fmla="*/ 8814 w 10000"/>
                <a:gd name="connsiteY287" fmla="*/ 3056 h 10000"/>
                <a:gd name="connsiteX288" fmla="*/ 8837 w 10000"/>
                <a:gd name="connsiteY288" fmla="*/ 2966 h 10000"/>
                <a:gd name="connsiteX289" fmla="*/ 8814 w 10000"/>
                <a:gd name="connsiteY289" fmla="*/ 2831 h 10000"/>
                <a:gd name="connsiteX290" fmla="*/ 8806 w 10000"/>
                <a:gd name="connsiteY290" fmla="*/ 2629 h 10000"/>
                <a:gd name="connsiteX291" fmla="*/ 8853 w 10000"/>
                <a:gd name="connsiteY291" fmla="*/ 2607 h 10000"/>
                <a:gd name="connsiteX292" fmla="*/ 8922 w 10000"/>
                <a:gd name="connsiteY292" fmla="*/ 2697 h 10000"/>
                <a:gd name="connsiteX293" fmla="*/ 9047 w 10000"/>
                <a:gd name="connsiteY293" fmla="*/ 2697 h 10000"/>
                <a:gd name="connsiteX294" fmla="*/ 9194 w 10000"/>
                <a:gd name="connsiteY294" fmla="*/ 2764 h 10000"/>
                <a:gd name="connsiteX295" fmla="*/ 9364 w 10000"/>
                <a:gd name="connsiteY295" fmla="*/ 2944 h 10000"/>
                <a:gd name="connsiteX296" fmla="*/ 9465 w 10000"/>
                <a:gd name="connsiteY296" fmla="*/ 3101 h 10000"/>
                <a:gd name="connsiteX297" fmla="*/ 9643 w 10000"/>
                <a:gd name="connsiteY297" fmla="*/ 3326 h 10000"/>
                <a:gd name="connsiteX298" fmla="*/ 9674 w 10000"/>
                <a:gd name="connsiteY298" fmla="*/ 3461 h 10000"/>
                <a:gd name="connsiteX299" fmla="*/ 9698 w 10000"/>
                <a:gd name="connsiteY299" fmla="*/ 3596 h 10000"/>
                <a:gd name="connsiteX300" fmla="*/ 9736 w 10000"/>
                <a:gd name="connsiteY300" fmla="*/ 3775 h 10000"/>
                <a:gd name="connsiteX301" fmla="*/ 9767 w 10000"/>
                <a:gd name="connsiteY301" fmla="*/ 3730 h 10000"/>
                <a:gd name="connsiteX302" fmla="*/ 9744 w 10000"/>
                <a:gd name="connsiteY302" fmla="*/ 3528 h 10000"/>
                <a:gd name="connsiteX303" fmla="*/ 9806 w 10000"/>
                <a:gd name="connsiteY303" fmla="*/ 3551 h 10000"/>
                <a:gd name="connsiteX304" fmla="*/ 9884 w 10000"/>
                <a:gd name="connsiteY304" fmla="*/ 3596 h 10000"/>
                <a:gd name="connsiteX305" fmla="*/ 9953 w 10000"/>
                <a:gd name="connsiteY305" fmla="*/ 3730 h 10000"/>
                <a:gd name="connsiteX306" fmla="*/ 10000 w 10000"/>
                <a:gd name="connsiteY306" fmla="*/ 3865 h 10000"/>
                <a:gd name="connsiteX307" fmla="*/ 9953 w 10000"/>
                <a:gd name="connsiteY307" fmla="*/ 4000 h 10000"/>
                <a:gd name="connsiteX308" fmla="*/ 9853 w 10000"/>
                <a:gd name="connsiteY308" fmla="*/ 4067 h 10000"/>
                <a:gd name="connsiteX309" fmla="*/ 9837 w 10000"/>
                <a:gd name="connsiteY309" fmla="*/ 4225 h 10000"/>
                <a:gd name="connsiteX310" fmla="*/ 9806 w 10000"/>
                <a:gd name="connsiteY310" fmla="*/ 4427 h 10000"/>
                <a:gd name="connsiteX311" fmla="*/ 9698 w 10000"/>
                <a:gd name="connsiteY311" fmla="*/ 4270 h 10000"/>
                <a:gd name="connsiteX312" fmla="*/ 9636 w 10000"/>
                <a:gd name="connsiteY312" fmla="*/ 4202 h 10000"/>
                <a:gd name="connsiteX313" fmla="*/ 9643 w 10000"/>
                <a:gd name="connsiteY313" fmla="*/ 4022 h 10000"/>
                <a:gd name="connsiteX314" fmla="*/ 9481 w 10000"/>
                <a:gd name="connsiteY314" fmla="*/ 4045 h 10000"/>
                <a:gd name="connsiteX315" fmla="*/ 9457 w 10000"/>
                <a:gd name="connsiteY315" fmla="*/ 3820 h 10000"/>
                <a:gd name="connsiteX316" fmla="*/ 9403 w 10000"/>
                <a:gd name="connsiteY316" fmla="*/ 3843 h 10000"/>
                <a:gd name="connsiteX317" fmla="*/ 9395 w 10000"/>
                <a:gd name="connsiteY317" fmla="*/ 4000 h 10000"/>
                <a:gd name="connsiteX318" fmla="*/ 9419 w 10000"/>
                <a:gd name="connsiteY318" fmla="*/ 4067 h 10000"/>
                <a:gd name="connsiteX319" fmla="*/ 9349 w 10000"/>
                <a:gd name="connsiteY319" fmla="*/ 4247 h 10000"/>
                <a:gd name="connsiteX320" fmla="*/ 9271 w 10000"/>
                <a:gd name="connsiteY320" fmla="*/ 4270 h 10000"/>
                <a:gd name="connsiteX321" fmla="*/ 9217 w 10000"/>
                <a:gd name="connsiteY321" fmla="*/ 4247 h 10000"/>
                <a:gd name="connsiteX322" fmla="*/ 9186 w 10000"/>
                <a:gd name="connsiteY322" fmla="*/ 4180 h 10000"/>
                <a:gd name="connsiteX323" fmla="*/ 9178 w 10000"/>
                <a:gd name="connsiteY323" fmla="*/ 4270 h 10000"/>
                <a:gd name="connsiteX324" fmla="*/ 9233 w 10000"/>
                <a:gd name="connsiteY324" fmla="*/ 4337 h 10000"/>
                <a:gd name="connsiteX325" fmla="*/ 9287 w 10000"/>
                <a:gd name="connsiteY325" fmla="*/ 4427 h 10000"/>
                <a:gd name="connsiteX326" fmla="*/ 9310 w 10000"/>
                <a:gd name="connsiteY326" fmla="*/ 4629 h 10000"/>
                <a:gd name="connsiteX327" fmla="*/ 9357 w 10000"/>
                <a:gd name="connsiteY327" fmla="*/ 4831 h 10000"/>
                <a:gd name="connsiteX328" fmla="*/ 9302 w 10000"/>
                <a:gd name="connsiteY328" fmla="*/ 4921 h 10000"/>
                <a:gd name="connsiteX329" fmla="*/ 9202 w 10000"/>
                <a:gd name="connsiteY329" fmla="*/ 4809 h 10000"/>
                <a:gd name="connsiteX330" fmla="*/ 9155 w 10000"/>
                <a:gd name="connsiteY330" fmla="*/ 4921 h 10000"/>
                <a:gd name="connsiteX331" fmla="*/ 9016 w 10000"/>
                <a:gd name="connsiteY331" fmla="*/ 5101 h 10000"/>
                <a:gd name="connsiteX332" fmla="*/ 8938 w 10000"/>
                <a:gd name="connsiteY332" fmla="*/ 5213 h 10000"/>
                <a:gd name="connsiteX333" fmla="*/ 8783 w 10000"/>
                <a:gd name="connsiteY333" fmla="*/ 5573 h 10000"/>
                <a:gd name="connsiteX334" fmla="*/ 8729 w 10000"/>
                <a:gd name="connsiteY334" fmla="*/ 5438 h 10000"/>
                <a:gd name="connsiteX335" fmla="*/ 8612 w 10000"/>
                <a:gd name="connsiteY335" fmla="*/ 5438 h 10000"/>
                <a:gd name="connsiteX336" fmla="*/ 8550 w 10000"/>
                <a:gd name="connsiteY336" fmla="*/ 5618 h 10000"/>
                <a:gd name="connsiteX337" fmla="*/ 8535 w 10000"/>
                <a:gd name="connsiteY337" fmla="*/ 5438 h 10000"/>
                <a:gd name="connsiteX338" fmla="*/ 8496 w 10000"/>
                <a:gd name="connsiteY338" fmla="*/ 5438 h 10000"/>
                <a:gd name="connsiteX339" fmla="*/ 8481 w 10000"/>
                <a:gd name="connsiteY339" fmla="*/ 5573 h 10000"/>
                <a:gd name="connsiteX340" fmla="*/ 8372 w 10000"/>
                <a:gd name="connsiteY340" fmla="*/ 5573 h 10000"/>
                <a:gd name="connsiteX341" fmla="*/ 8279 w 10000"/>
                <a:gd name="connsiteY341" fmla="*/ 6000 h 10000"/>
                <a:gd name="connsiteX342" fmla="*/ 8279 w 10000"/>
                <a:gd name="connsiteY342" fmla="*/ 6135 h 10000"/>
                <a:gd name="connsiteX343" fmla="*/ 8341 w 10000"/>
                <a:gd name="connsiteY343" fmla="*/ 6135 h 10000"/>
                <a:gd name="connsiteX344" fmla="*/ 8326 w 10000"/>
                <a:gd name="connsiteY344" fmla="*/ 6337 h 10000"/>
                <a:gd name="connsiteX345" fmla="*/ 8349 w 10000"/>
                <a:gd name="connsiteY345" fmla="*/ 6517 h 10000"/>
                <a:gd name="connsiteX346" fmla="*/ 8279 w 10000"/>
                <a:gd name="connsiteY346" fmla="*/ 6584 h 10000"/>
                <a:gd name="connsiteX347" fmla="*/ 8256 w 10000"/>
                <a:gd name="connsiteY347" fmla="*/ 6742 h 10000"/>
                <a:gd name="connsiteX348" fmla="*/ 8279 w 10000"/>
                <a:gd name="connsiteY348" fmla="*/ 6944 h 10000"/>
                <a:gd name="connsiteX349" fmla="*/ 8186 w 10000"/>
                <a:gd name="connsiteY349" fmla="*/ 7034 h 10000"/>
                <a:gd name="connsiteX350" fmla="*/ 8155 w 10000"/>
                <a:gd name="connsiteY350" fmla="*/ 7124 h 10000"/>
                <a:gd name="connsiteX351" fmla="*/ 8155 w 10000"/>
                <a:gd name="connsiteY351" fmla="*/ 7191 h 10000"/>
                <a:gd name="connsiteX352" fmla="*/ 8163 w 10000"/>
                <a:gd name="connsiteY352" fmla="*/ 7236 h 10000"/>
                <a:gd name="connsiteX353" fmla="*/ 8155 w 10000"/>
                <a:gd name="connsiteY353" fmla="*/ 7281 h 10000"/>
                <a:gd name="connsiteX354" fmla="*/ 8062 w 10000"/>
                <a:gd name="connsiteY354" fmla="*/ 7371 h 10000"/>
                <a:gd name="connsiteX355" fmla="*/ 8062 w 10000"/>
                <a:gd name="connsiteY355" fmla="*/ 7528 h 10000"/>
                <a:gd name="connsiteX356" fmla="*/ 7946 w 10000"/>
                <a:gd name="connsiteY356" fmla="*/ 7865 h 10000"/>
                <a:gd name="connsiteX357" fmla="*/ 7930 w 10000"/>
                <a:gd name="connsiteY357" fmla="*/ 7506 h 10000"/>
                <a:gd name="connsiteX358" fmla="*/ 7884 w 10000"/>
                <a:gd name="connsiteY358" fmla="*/ 6944 h 10000"/>
                <a:gd name="connsiteX359" fmla="*/ 7884 w 10000"/>
                <a:gd name="connsiteY359" fmla="*/ 6539 h 10000"/>
                <a:gd name="connsiteX360" fmla="*/ 7930 w 10000"/>
                <a:gd name="connsiteY360" fmla="*/ 6382 h 10000"/>
                <a:gd name="connsiteX361" fmla="*/ 7977 w 10000"/>
                <a:gd name="connsiteY361" fmla="*/ 6135 h 10000"/>
                <a:gd name="connsiteX362" fmla="*/ 8039 w 10000"/>
                <a:gd name="connsiteY362" fmla="*/ 6090 h 10000"/>
                <a:gd name="connsiteX363" fmla="*/ 8202 w 10000"/>
                <a:gd name="connsiteY363" fmla="*/ 5640 h 10000"/>
                <a:gd name="connsiteX364" fmla="*/ 8326 w 10000"/>
                <a:gd name="connsiteY364" fmla="*/ 5393 h 10000"/>
                <a:gd name="connsiteX365" fmla="*/ 8364 w 10000"/>
                <a:gd name="connsiteY365" fmla="*/ 5348 h 10000"/>
                <a:gd name="connsiteX366" fmla="*/ 8426 w 10000"/>
                <a:gd name="connsiteY366" fmla="*/ 4944 h 10000"/>
                <a:gd name="connsiteX367" fmla="*/ 8457 w 10000"/>
                <a:gd name="connsiteY367" fmla="*/ 4899 h 10000"/>
                <a:gd name="connsiteX368" fmla="*/ 8395 w 10000"/>
                <a:gd name="connsiteY368" fmla="*/ 4831 h 10000"/>
                <a:gd name="connsiteX369" fmla="*/ 8372 w 10000"/>
                <a:gd name="connsiteY369" fmla="*/ 4854 h 10000"/>
                <a:gd name="connsiteX370" fmla="*/ 8349 w 10000"/>
                <a:gd name="connsiteY370" fmla="*/ 4921 h 10000"/>
                <a:gd name="connsiteX371" fmla="*/ 8349 w 10000"/>
                <a:gd name="connsiteY371" fmla="*/ 5124 h 10000"/>
                <a:gd name="connsiteX372" fmla="*/ 8295 w 10000"/>
                <a:gd name="connsiteY372" fmla="*/ 5124 h 10000"/>
                <a:gd name="connsiteX373" fmla="*/ 8171 w 10000"/>
                <a:gd name="connsiteY373" fmla="*/ 5348 h 10000"/>
                <a:gd name="connsiteX374" fmla="*/ 8140 w 10000"/>
                <a:gd name="connsiteY374" fmla="*/ 5258 h 10000"/>
                <a:gd name="connsiteX375" fmla="*/ 8171 w 10000"/>
                <a:gd name="connsiteY375" fmla="*/ 5079 h 10000"/>
                <a:gd name="connsiteX376" fmla="*/ 8132 w 10000"/>
                <a:gd name="connsiteY376" fmla="*/ 5124 h 10000"/>
                <a:gd name="connsiteX377" fmla="*/ 7977 w 10000"/>
                <a:gd name="connsiteY377" fmla="*/ 5124 h 10000"/>
                <a:gd name="connsiteX378" fmla="*/ 7829 w 10000"/>
                <a:gd name="connsiteY378" fmla="*/ 5461 h 10000"/>
                <a:gd name="connsiteX379" fmla="*/ 7798 w 10000"/>
                <a:gd name="connsiteY379" fmla="*/ 5640 h 10000"/>
                <a:gd name="connsiteX380" fmla="*/ 7814 w 10000"/>
                <a:gd name="connsiteY380" fmla="*/ 5685 h 10000"/>
                <a:gd name="connsiteX381" fmla="*/ 7853 w 10000"/>
                <a:gd name="connsiteY381" fmla="*/ 5798 h 10000"/>
                <a:gd name="connsiteX382" fmla="*/ 7791 w 10000"/>
                <a:gd name="connsiteY382" fmla="*/ 5798 h 10000"/>
                <a:gd name="connsiteX383" fmla="*/ 7729 w 10000"/>
                <a:gd name="connsiteY383" fmla="*/ 5820 h 10000"/>
                <a:gd name="connsiteX384" fmla="*/ 7612 w 10000"/>
                <a:gd name="connsiteY384" fmla="*/ 5843 h 10000"/>
                <a:gd name="connsiteX385" fmla="*/ 7643 w 10000"/>
                <a:gd name="connsiteY385" fmla="*/ 5753 h 10000"/>
                <a:gd name="connsiteX386" fmla="*/ 7620 w 10000"/>
                <a:gd name="connsiteY386" fmla="*/ 5663 h 10000"/>
                <a:gd name="connsiteX387" fmla="*/ 7535 w 10000"/>
                <a:gd name="connsiteY387" fmla="*/ 5640 h 10000"/>
                <a:gd name="connsiteX388" fmla="*/ 7481 w 10000"/>
                <a:gd name="connsiteY388" fmla="*/ 5663 h 10000"/>
                <a:gd name="connsiteX389" fmla="*/ 7457 w 10000"/>
                <a:gd name="connsiteY389" fmla="*/ 5753 h 10000"/>
                <a:gd name="connsiteX390" fmla="*/ 7341 w 10000"/>
                <a:gd name="connsiteY390" fmla="*/ 5730 h 10000"/>
                <a:gd name="connsiteX391" fmla="*/ 7287 w 10000"/>
                <a:gd name="connsiteY391" fmla="*/ 5753 h 10000"/>
                <a:gd name="connsiteX392" fmla="*/ 7085 w 10000"/>
                <a:gd name="connsiteY392" fmla="*/ 5753 h 10000"/>
                <a:gd name="connsiteX393" fmla="*/ 6636 w 10000"/>
                <a:gd name="connsiteY393" fmla="*/ 6876 h 10000"/>
                <a:gd name="connsiteX394" fmla="*/ 6643 w 10000"/>
                <a:gd name="connsiteY394" fmla="*/ 6989 h 10000"/>
                <a:gd name="connsiteX395" fmla="*/ 6721 w 10000"/>
                <a:gd name="connsiteY395" fmla="*/ 6966 h 10000"/>
                <a:gd name="connsiteX396" fmla="*/ 6729 w 10000"/>
                <a:gd name="connsiteY396" fmla="*/ 7146 h 10000"/>
                <a:gd name="connsiteX397" fmla="*/ 6767 w 10000"/>
                <a:gd name="connsiteY397" fmla="*/ 7011 h 10000"/>
                <a:gd name="connsiteX398" fmla="*/ 6806 w 10000"/>
                <a:gd name="connsiteY398" fmla="*/ 7191 h 10000"/>
                <a:gd name="connsiteX399" fmla="*/ 6860 w 10000"/>
                <a:gd name="connsiteY399" fmla="*/ 7056 h 10000"/>
                <a:gd name="connsiteX400" fmla="*/ 6946 w 10000"/>
                <a:gd name="connsiteY400" fmla="*/ 7101 h 10000"/>
                <a:gd name="connsiteX401" fmla="*/ 7008 w 10000"/>
                <a:gd name="connsiteY401" fmla="*/ 7326 h 10000"/>
                <a:gd name="connsiteX402" fmla="*/ 6992 w 10000"/>
                <a:gd name="connsiteY402" fmla="*/ 7573 h 10000"/>
                <a:gd name="connsiteX403" fmla="*/ 6961 w 10000"/>
                <a:gd name="connsiteY403" fmla="*/ 7820 h 10000"/>
                <a:gd name="connsiteX404" fmla="*/ 6953 w 10000"/>
                <a:gd name="connsiteY404" fmla="*/ 8180 h 10000"/>
                <a:gd name="connsiteX405" fmla="*/ 6930 w 10000"/>
                <a:gd name="connsiteY405" fmla="*/ 8382 h 10000"/>
                <a:gd name="connsiteX406" fmla="*/ 6698 w 10000"/>
                <a:gd name="connsiteY406" fmla="*/ 9213 h 10000"/>
                <a:gd name="connsiteX407" fmla="*/ 6628 w 10000"/>
                <a:gd name="connsiteY407" fmla="*/ 9461 h 10000"/>
                <a:gd name="connsiteX408" fmla="*/ 6574 w 10000"/>
                <a:gd name="connsiteY408" fmla="*/ 9573 h 10000"/>
                <a:gd name="connsiteX409" fmla="*/ 6504 w 10000"/>
                <a:gd name="connsiteY409" fmla="*/ 9663 h 10000"/>
                <a:gd name="connsiteX410" fmla="*/ 6450 w 10000"/>
                <a:gd name="connsiteY410" fmla="*/ 9573 h 10000"/>
                <a:gd name="connsiteX411" fmla="*/ 6380 w 10000"/>
                <a:gd name="connsiteY411" fmla="*/ 9618 h 10000"/>
                <a:gd name="connsiteX412" fmla="*/ 6380 w 10000"/>
                <a:gd name="connsiteY412" fmla="*/ 9213 h 10000"/>
                <a:gd name="connsiteX413" fmla="*/ 6434 w 10000"/>
                <a:gd name="connsiteY413" fmla="*/ 9101 h 10000"/>
                <a:gd name="connsiteX414" fmla="*/ 6457 w 10000"/>
                <a:gd name="connsiteY414" fmla="*/ 9169 h 10000"/>
                <a:gd name="connsiteX415" fmla="*/ 6504 w 10000"/>
                <a:gd name="connsiteY415" fmla="*/ 9146 h 10000"/>
                <a:gd name="connsiteX416" fmla="*/ 6550 w 10000"/>
                <a:gd name="connsiteY416" fmla="*/ 8899 h 10000"/>
                <a:gd name="connsiteX417" fmla="*/ 6574 w 10000"/>
                <a:gd name="connsiteY417" fmla="*/ 8652 h 10000"/>
                <a:gd name="connsiteX418" fmla="*/ 6605 w 10000"/>
                <a:gd name="connsiteY418" fmla="*/ 8607 h 10000"/>
                <a:gd name="connsiteX419" fmla="*/ 6597 w 10000"/>
                <a:gd name="connsiteY419" fmla="*/ 8449 h 10000"/>
                <a:gd name="connsiteX420" fmla="*/ 6535 w 10000"/>
                <a:gd name="connsiteY420" fmla="*/ 8472 h 10000"/>
                <a:gd name="connsiteX421" fmla="*/ 6481 w 10000"/>
                <a:gd name="connsiteY421" fmla="*/ 8494 h 10000"/>
                <a:gd name="connsiteX422" fmla="*/ 6457 w 10000"/>
                <a:gd name="connsiteY422" fmla="*/ 8584 h 10000"/>
                <a:gd name="connsiteX423" fmla="*/ 6372 w 10000"/>
                <a:gd name="connsiteY423" fmla="*/ 8562 h 10000"/>
                <a:gd name="connsiteX424" fmla="*/ 6357 w 10000"/>
                <a:gd name="connsiteY424" fmla="*/ 8337 h 10000"/>
                <a:gd name="connsiteX425" fmla="*/ 6240 w 10000"/>
                <a:gd name="connsiteY425" fmla="*/ 8157 h 10000"/>
                <a:gd name="connsiteX426" fmla="*/ 6178 w 10000"/>
                <a:gd name="connsiteY426" fmla="*/ 8157 h 10000"/>
                <a:gd name="connsiteX427" fmla="*/ 6093 w 10000"/>
                <a:gd name="connsiteY427" fmla="*/ 7573 h 10000"/>
                <a:gd name="connsiteX428" fmla="*/ 6047 w 10000"/>
                <a:gd name="connsiteY428" fmla="*/ 7348 h 10000"/>
                <a:gd name="connsiteX429" fmla="*/ 5930 w 10000"/>
                <a:gd name="connsiteY429" fmla="*/ 7213 h 10000"/>
                <a:gd name="connsiteX430" fmla="*/ 5760 w 10000"/>
                <a:gd name="connsiteY430" fmla="*/ 7258 h 10000"/>
                <a:gd name="connsiteX431" fmla="*/ 5705 w 10000"/>
                <a:gd name="connsiteY431" fmla="*/ 7326 h 10000"/>
                <a:gd name="connsiteX432" fmla="*/ 5698 w 10000"/>
                <a:gd name="connsiteY432" fmla="*/ 7416 h 10000"/>
                <a:gd name="connsiteX433" fmla="*/ 5744 w 10000"/>
                <a:gd name="connsiteY433" fmla="*/ 7438 h 10000"/>
                <a:gd name="connsiteX434" fmla="*/ 5744 w 10000"/>
                <a:gd name="connsiteY434" fmla="*/ 7596 h 10000"/>
                <a:gd name="connsiteX435" fmla="*/ 5705 w 10000"/>
                <a:gd name="connsiteY435" fmla="*/ 7663 h 10000"/>
                <a:gd name="connsiteX436" fmla="*/ 5667 w 10000"/>
                <a:gd name="connsiteY436" fmla="*/ 7865 h 10000"/>
                <a:gd name="connsiteX437" fmla="*/ 5651 w 10000"/>
                <a:gd name="connsiteY437" fmla="*/ 8045 h 10000"/>
                <a:gd name="connsiteX438" fmla="*/ 5605 w 10000"/>
                <a:gd name="connsiteY438" fmla="*/ 8067 h 10000"/>
                <a:gd name="connsiteX439" fmla="*/ 5566 w 10000"/>
                <a:gd name="connsiteY439" fmla="*/ 8180 h 10000"/>
                <a:gd name="connsiteX440" fmla="*/ 5496 w 10000"/>
                <a:gd name="connsiteY440" fmla="*/ 8067 h 10000"/>
                <a:gd name="connsiteX441" fmla="*/ 5403 w 10000"/>
                <a:gd name="connsiteY441" fmla="*/ 8045 h 10000"/>
                <a:gd name="connsiteX442" fmla="*/ 5372 w 10000"/>
                <a:gd name="connsiteY442" fmla="*/ 7978 h 10000"/>
                <a:gd name="connsiteX443" fmla="*/ 5333 w 10000"/>
                <a:gd name="connsiteY443" fmla="*/ 8000 h 10000"/>
                <a:gd name="connsiteX444" fmla="*/ 5264 w 10000"/>
                <a:gd name="connsiteY444" fmla="*/ 8157 h 10000"/>
                <a:gd name="connsiteX445" fmla="*/ 5147 w 10000"/>
                <a:gd name="connsiteY445" fmla="*/ 8225 h 10000"/>
                <a:gd name="connsiteX446" fmla="*/ 5078 w 10000"/>
                <a:gd name="connsiteY446" fmla="*/ 8247 h 10000"/>
                <a:gd name="connsiteX447" fmla="*/ 4992 w 10000"/>
                <a:gd name="connsiteY447" fmla="*/ 8225 h 10000"/>
                <a:gd name="connsiteX448" fmla="*/ 4969 w 10000"/>
                <a:gd name="connsiteY448" fmla="*/ 8157 h 10000"/>
                <a:gd name="connsiteX449" fmla="*/ 4946 w 10000"/>
                <a:gd name="connsiteY449" fmla="*/ 8067 h 10000"/>
                <a:gd name="connsiteX450" fmla="*/ 4907 w 10000"/>
                <a:gd name="connsiteY450" fmla="*/ 8045 h 10000"/>
                <a:gd name="connsiteX451" fmla="*/ 4884 w 10000"/>
                <a:gd name="connsiteY451" fmla="*/ 7978 h 10000"/>
                <a:gd name="connsiteX452" fmla="*/ 4791 w 10000"/>
                <a:gd name="connsiteY452" fmla="*/ 7933 h 10000"/>
                <a:gd name="connsiteX453" fmla="*/ 4736 w 10000"/>
                <a:gd name="connsiteY453" fmla="*/ 8022 h 10000"/>
                <a:gd name="connsiteX454" fmla="*/ 4636 w 10000"/>
                <a:gd name="connsiteY454" fmla="*/ 7978 h 10000"/>
                <a:gd name="connsiteX455" fmla="*/ 4597 w 10000"/>
                <a:gd name="connsiteY455" fmla="*/ 7843 h 10000"/>
                <a:gd name="connsiteX456" fmla="*/ 4589 w 10000"/>
                <a:gd name="connsiteY456" fmla="*/ 7730 h 10000"/>
                <a:gd name="connsiteX457" fmla="*/ 4496 w 10000"/>
                <a:gd name="connsiteY457" fmla="*/ 7640 h 10000"/>
                <a:gd name="connsiteX458" fmla="*/ 4388 w 10000"/>
                <a:gd name="connsiteY458" fmla="*/ 7573 h 10000"/>
                <a:gd name="connsiteX459" fmla="*/ 4318 w 10000"/>
                <a:gd name="connsiteY459" fmla="*/ 7775 h 10000"/>
                <a:gd name="connsiteX460" fmla="*/ 4364 w 10000"/>
                <a:gd name="connsiteY460" fmla="*/ 7933 h 10000"/>
                <a:gd name="connsiteX461" fmla="*/ 4357 w 10000"/>
                <a:gd name="connsiteY461" fmla="*/ 8022 h 10000"/>
                <a:gd name="connsiteX462" fmla="*/ 4310 w 10000"/>
                <a:gd name="connsiteY462" fmla="*/ 8135 h 10000"/>
                <a:gd name="connsiteX463" fmla="*/ 4279 w 10000"/>
                <a:gd name="connsiteY463" fmla="*/ 8067 h 10000"/>
                <a:gd name="connsiteX464" fmla="*/ 4155 w 10000"/>
                <a:gd name="connsiteY464" fmla="*/ 8067 h 10000"/>
                <a:gd name="connsiteX465" fmla="*/ 4116 w 10000"/>
                <a:gd name="connsiteY465" fmla="*/ 7933 h 10000"/>
                <a:gd name="connsiteX466" fmla="*/ 4039 w 10000"/>
                <a:gd name="connsiteY466" fmla="*/ 7888 h 10000"/>
                <a:gd name="connsiteX467" fmla="*/ 3969 w 10000"/>
                <a:gd name="connsiteY467" fmla="*/ 7865 h 10000"/>
                <a:gd name="connsiteX468" fmla="*/ 3837 w 10000"/>
                <a:gd name="connsiteY468" fmla="*/ 8067 h 10000"/>
                <a:gd name="connsiteX469" fmla="*/ 3806 w 10000"/>
                <a:gd name="connsiteY469" fmla="*/ 8157 h 10000"/>
                <a:gd name="connsiteX470" fmla="*/ 3752 w 10000"/>
                <a:gd name="connsiteY470" fmla="*/ 8180 h 10000"/>
                <a:gd name="connsiteX471" fmla="*/ 3721 w 10000"/>
                <a:gd name="connsiteY471" fmla="*/ 8270 h 10000"/>
                <a:gd name="connsiteX472" fmla="*/ 3659 w 10000"/>
                <a:gd name="connsiteY472" fmla="*/ 8270 h 10000"/>
                <a:gd name="connsiteX473" fmla="*/ 3643 w 10000"/>
                <a:gd name="connsiteY473" fmla="*/ 8112 h 10000"/>
                <a:gd name="connsiteX474" fmla="*/ 3558 w 10000"/>
                <a:gd name="connsiteY474" fmla="*/ 8090 h 10000"/>
                <a:gd name="connsiteX475" fmla="*/ 3504 w 10000"/>
                <a:gd name="connsiteY475" fmla="*/ 7978 h 10000"/>
                <a:gd name="connsiteX476" fmla="*/ 3465 w 10000"/>
                <a:gd name="connsiteY476" fmla="*/ 7820 h 10000"/>
                <a:gd name="connsiteX477" fmla="*/ 3357 w 10000"/>
                <a:gd name="connsiteY477" fmla="*/ 7865 h 10000"/>
                <a:gd name="connsiteX478" fmla="*/ 3271 w 10000"/>
                <a:gd name="connsiteY478" fmla="*/ 7730 h 10000"/>
                <a:gd name="connsiteX479" fmla="*/ 3256 w 10000"/>
                <a:gd name="connsiteY479" fmla="*/ 7820 h 10000"/>
                <a:gd name="connsiteX480" fmla="*/ 3225 w 10000"/>
                <a:gd name="connsiteY480" fmla="*/ 7820 h 10000"/>
                <a:gd name="connsiteX481" fmla="*/ 3171 w 10000"/>
                <a:gd name="connsiteY481" fmla="*/ 7551 h 10000"/>
                <a:gd name="connsiteX482" fmla="*/ 3109 w 10000"/>
                <a:gd name="connsiteY482" fmla="*/ 7281 h 10000"/>
                <a:gd name="connsiteX483" fmla="*/ 3039 w 10000"/>
                <a:gd name="connsiteY483" fmla="*/ 7146 h 10000"/>
                <a:gd name="connsiteX484" fmla="*/ 3031 w 10000"/>
                <a:gd name="connsiteY484" fmla="*/ 7034 h 10000"/>
                <a:gd name="connsiteX485" fmla="*/ 2946 w 10000"/>
                <a:gd name="connsiteY485" fmla="*/ 7101 h 10000"/>
                <a:gd name="connsiteX486" fmla="*/ 2876 w 10000"/>
                <a:gd name="connsiteY486" fmla="*/ 7213 h 10000"/>
                <a:gd name="connsiteX487" fmla="*/ 2798 w 10000"/>
                <a:gd name="connsiteY487" fmla="*/ 7101 h 10000"/>
                <a:gd name="connsiteX488" fmla="*/ 2721 w 10000"/>
                <a:gd name="connsiteY488" fmla="*/ 7034 h 10000"/>
                <a:gd name="connsiteX489" fmla="*/ 2682 w 10000"/>
                <a:gd name="connsiteY489" fmla="*/ 6966 h 10000"/>
                <a:gd name="connsiteX490" fmla="*/ 2667 w 10000"/>
                <a:gd name="connsiteY490" fmla="*/ 6809 h 10000"/>
                <a:gd name="connsiteX491" fmla="*/ 2589 w 10000"/>
                <a:gd name="connsiteY491" fmla="*/ 6787 h 10000"/>
                <a:gd name="connsiteX492" fmla="*/ 2504 w 10000"/>
                <a:gd name="connsiteY492" fmla="*/ 6831 h 10000"/>
                <a:gd name="connsiteX493" fmla="*/ 2163 w 10000"/>
                <a:gd name="connsiteY493" fmla="*/ 7101 h 10000"/>
                <a:gd name="connsiteX494" fmla="*/ 2078 w 10000"/>
                <a:gd name="connsiteY494" fmla="*/ 7124 h 10000"/>
                <a:gd name="connsiteX495" fmla="*/ 2093 w 10000"/>
                <a:gd name="connsiteY495" fmla="*/ 7236 h 10000"/>
                <a:gd name="connsiteX496" fmla="*/ 2109 w 10000"/>
                <a:gd name="connsiteY496" fmla="*/ 7326 h 10000"/>
                <a:gd name="connsiteX497" fmla="*/ 2062 w 10000"/>
                <a:gd name="connsiteY497" fmla="*/ 7371 h 10000"/>
                <a:gd name="connsiteX498" fmla="*/ 2054 w 10000"/>
                <a:gd name="connsiteY498" fmla="*/ 7483 h 10000"/>
                <a:gd name="connsiteX499" fmla="*/ 2031 w 10000"/>
                <a:gd name="connsiteY499" fmla="*/ 7551 h 10000"/>
                <a:gd name="connsiteX500" fmla="*/ 2008 w 10000"/>
                <a:gd name="connsiteY500" fmla="*/ 7640 h 10000"/>
                <a:gd name="connsiteX501" fmla="*/ 2062 w 10000"/>
                <a:gd name="connsiteY501" fmla="*/ 7685 h 10000"/>
                <a:gd name="connsiteX502" fmla="*/ 2093 w 10000"/>
                <a:gd name="connsiteY502" fmla="*/ 7775 h 10000"/>
                <a:gd name="connsiteX503" fmla="*/ 2054 w 10000"/>
                <a:gd name="connsiteY503" fmla="*/ 7888 h 10000"/>
                <a:gd name="connsiteX504" fmla="*/ 1953 w 10000"/>
                <a:gd name="connsiteY504" fmla="*/ 7910 h 10000"/>
                <a:gd name="connsiteX505" fmla="*/ 1915 w 10000"/>
                <a:gd name="connsiteY505" fmla="*/ 7798 h 10000"/>
                <a:gd name="connsiteX506" fmla="*/ 1845 w 10000"/>
                <a:gd name="connsiteY506" fmla="*/ 7798 h 10000"/>
                <a:gd name="connsiteX507" fmla="*/ 1760 w 10000"/>
                <a:gd name="connsiteY507" fmla="*/ 7910 h 10000"/>
                <a:gd name="connsiteX508" fmla="*/ 1698 w 10000"/>
                <a:gd name="connsiteY508" fmla="*/ 7888 h 10000"/>
                <a:gd name="connsiteX509" fmla="*/ 1612 w 10000"/>
                <a:gd name="connsiteY509" fmla="*/ 7730 h 10000"/>
                <a:gd name="connsiteX510" fmla="*/ 1473 w 10000"/>
                <a:gd name="connsiteY510" fmla="*/ 7663 h 10000"/>
                <a:gd name="connsiteX511" fmla="*/ 1411 w 10000"/>
                <a:gd name="connsiteY511" fmla="*/ 7730 h 10000"/>
                <a:gd name="connsiteX512" fmla="*/ 1318 w 10000"/>
                <a:gd name="connsiteY512" fmla="*/ 7933 h 10000"/>
                <a:gd name="connsiteX513" fmla="*/ 1310 w 10000"/>
                <a:gd name="connsiteY513" fmla="*/ 8067 h 10000"/>
                <a:gd name="connsiteX514" fmla="*/ 1279 w 10000"/>
                <a:gd name="connsiteY514" fmla="*/ 8112 h 10000"/>
                <a:gd name="connsiteX515" fmla="*/ 1248 w 10000"/>
                <a:gd name="connsiteY515" fmla="*/ 7933 h 10000"/>
                <a:gd name="connsiteX516" fmla="*/ 1202 w 10000"/>
                <a:gd name="connsiteY516" fmla="*/ 8090 h 10000"/>
                <a:gd name="connsiteX517" fmla="*/ 1178 w 10000"/>
                <a:gd name="connsiteY517" fmla="*/ 8360 h 10000"/>
                <a:gd name="connsiteX518" fmla="*/ 1217 w 10000"/>
                <a:gd name="connsiteY518" fmla="*/ 8517 h 10000"/>
                <a:gd name="connsiteX519" fmla="*/ 1271 w 10000"/>
                <a:gd name="connsiteY519" fmla="*/ 8562 h 10000"/>
                <a:gd name="connsiteX520" fmla="*/ 1318 w 10000"/>
                <a:gd name="connsiteY520" fmla="*/ 8742 h 10000"/>
                <a:gd name="connsiteX521" fmla="*/ 1333 w 10000"/>
                <a:gd name="connsiteY521" fmla="*/ 8899 h 10000"/>
                <a:gd name="connsiteX0" fmla="*/ 1333 w 10000"/>
                <a:gd name="connsiteY0" fmla="*/ 8899 h 10000"/>
                <a:gd name="connsiteX1" fmla="*/ 1271 w 10000"/>
                <a:gd name="connsiteY1" fmla="*/ 9034 h 10000"/>
                <a:gd name="connsiteX2" fmla="*/ 1233 w 10000"/>
                <a:gd name="connsiteY2" fmla="*/ 9101 h 10000"/>
                <a:gd name="connsiteX3" fmla="*/ 1217 w 10000"/>
                <a:gd name="connsiteY3" fmla="*/ 9191 h 10000"/>
                <a:gd name="connsiteX4" fmla="*/ 1186 w 10000"/>
                <a:gd name="connsiteY4" fmla="*/ 9303 h 10000"/>
                <a:gd name="connsiteX5" fmla="*/ 1217 w 10000"/>
                <a:gd name="connsiteY5" fmla="*/ 9371 h 10000"/>
                <a:gd name="connsiteX6" fmla="*/ 1240 w 10000"/>
                <a:gd name="connsiteY6" fmla="*/ 9483 h 10000"/>
                <a:gd name="connsiteX7" fmla="*/ 1248 w 10000"/>
                <a:gd name="connsiteY7" fmla="*/ 9685 h 10000"/>
                <a:gd name="connsiteX8" fmla="*/ 1302 w 10000"/>
                <a:gd name="connsiteY8" fmla="*/ 9865 h 10000"/>
                <a:gd name="connsiteX9" fmla="*/ 1264 w 10000"/>
                <a:gd name="connsiteY9" fmla="*/ 9978 h 10000"/>
                <a:gd name="connsiteX10" fmla="*/ 1248 w 10000"/>
                <a:gd name="connsiteY10" fmla="*/ 10000 h 10000"/>
                <a:gd name="connsiteX11" fmla="*/ 1186 w 10000"/>
                <a:gd name="connsiteY11" fmla="*/ 9865 h 10000"/>
                <a:gd name="connsiteX12" fmla="*/ 1163 w 10000"/>
                <a:gd name="connsiteY12" fmla="*/ 9843 h 10000"/>
                <a:gd name="connsiteX13" fmla="*/ 1124 w 10000"/>
                <a:gd name="connsiteY13" fmla="*/ 9730 h 10000"/>
                <a:gd name="connsiteX14" fmla="*/ 1085 w 10000"/>
                <a:gd name="connsiteY14" fmla="*/ 9663 h 10000"/>
                <a:gd name="connsiteX15" fmla="*/ 1047 w 10000"/>
                <a:gd name="connsiteY15" fmla="*/ 9685 h 10000"/>
                <a:gd name="connsiteX16" fmla="*/ 1023 w 10000"/>
                <a:gd name="connsiteY16" fmla="*/ 9685 h 10000"/>
                <a:gd name="connsiteX17" fmla="*/ 984 w 10000"/>
                <a:gd name="connsiteY17" fmla="*/ 9640 h 10000"/>
                <a:gd name="connsiteX18" fmla="*/ 930 w 10000"/>
                <a:gd name="connsiteY18" fmla="*/ 9551 h 10000"/>
                <a:gd name="connsiteX19" fmla="*/ 899 w 10000"/>
                <a:gd name="connsiteY19" fmla="*/ 9551 h 10000"/>
                <a:gd name="connsiteX20" fmla="*/ 860 w 10000"/>
                <a:gd name="connsiteY20" fmla="*/ 9573 h 10000"/>
                <a:gd name="connsiteX21" fmla="*/ 814 w 10000"/>
                <a:gd name="connsiteY21" fmla="*/ 9483 h 10000"/>
                <a:gd name="connsiteX22" fmla="*/ 767 w 10000"/>
                <a:gd name="connsiteY22" fmla="*/ 9506 h 10000"/>
                <a:gd name="connsiteX23" fmla="*/ 667 w 10000"/>
                <a:gd name="connsiteY23" fmla="*/ 9303 h 10000"/>
                <a:gd name="connsiteX24" fmla="*/ 612 w 10000"/>
                <a:gd name="connsiteY24" fmla="*/ 9236 h 10000"/>
                <a:gd name="connsiteX25" fmla="*/ 628 w 10000"/>
                <a:gd name="connsiteY25" fmla="*/ 9079 h 10000"/>
                <a:gd name="connsiteX26" fmla="*/ 674 w 10000"/>
                <a:gd name="connsiteY26" fmla="*/ 8944 h 10000"/>
                <a:gd name="connsiteX27" fmla="*/ 667 w 10000"/>
                <a:gd name="connsiteY27" fmla="*/ 8831 h 10000"/>
                <a:gd name="connsiteX28" fmla="*/ 729 w 10000"/>
                <a:gd name="connsiteY28" fmla="*/ 8719 h 10000"/>
                <a:gd name="connsiteX29" fmla="*/ 659 w 10000"/>
                <a:gd name="connsiteY29" fmla="*/ 8697 h 10000"/>
                <a:gd name="connsiteX30" fmla="*/ 667 w 10000"/>
                <a:gd name="connsiteY30" fmla="*/ 8607 h 10000"/>
                <a:gd name="connsiteX31" fmla="*/ 705 w 10000"/>
                <a:gd name="connsiteY31" fmla="*/ 8562 h 10000"/>
                <a:gd name="connsiteX32" fmla="*/ 767 w 10000"/>
                <a:gd name="connsiteY32" fmla="*/ 8517 h 10000"/>
                <a:gd name="connsiteX33" fmla="*/ 775 w 10000"/>
                <a:gd name="connsiteY33" fmla="*/ 8157 h 10000"/>
                <a:gd name="connsiteX34" fmla="*/ 713 w 10000"/>
                <a:gd name="connsiteY34" fmla="*/ 8045 h 10000"/>
                <a:gd name="connsiteX35" fmla="*/ 636 w 10000"/>
                <a:gd name="connsiteY35" fmla="*/ 8045 h 10000"/>
                <a:gd name="connsiteX36" fmla="*/ 628 w 10000"/>
                <a:gd name="connsiteY36" fmla="*/ 7978 h 10000"/>
                <a:gd name="connsiteX37" fmla="*/ 504 w 10000"/>
                <a:gd name="connsiteY37" fmla="*/ 7955 h 10000"/>
                <a:gd name="connsiteX38" fmla="*/ 488 w 10000"/>
                <a:gd name="connsiteY38" fmla="*/ 7798 h 10000"/>
                <a:gd name="connsiteX39" fmla="*/ 419 w 10000"/>
                <a:gd name="connsiteY39" fmla="*/ 7753 h 10000"/>
                <a:gd name="connsiteX40" fmla="*/ 426 w 10000"/>
                <a:gd name="connsiteY40" fmla="*/ 7618 h 10000"/>
                <a:gd name="connsiteX41" fmla="*/ 411 w 10000"/>
                <a:gd name="connsiteY41" fmla="*/ 7506 h 10000"/>
                <a:gd name="connsiteX42" fmla="*/ 318 w 10000"/>
                <a:gd name="connsiteY42" fmla="*/ 7506 h 10000"/>
                <a:gd name="connsiteX43" fmla="*/ 302 w 10000"/>
                <a:gd name="connsiteY43" fmla="*/ 7551 h 10000"/>
                <a:gd name="connsiteX44" fmla="*/ 279 w 10000"/>
                <a:gd name="connsiteY44" fmla="*/ 7573 h 10000"/>
                <a:gd name="connsiteX45" fmla="*/ 248 w 10000"/>
                <a:gd name="connsiteY45" fmla="*/ 7528 h 10000"/>
                <a:gd name="connsiteX46" fmla="*/ 248 w 10000"/>
                <a:gd name="connsiteY46" fmla="*/ 7303 h 10000"/>
                <a:gd name="connsiteX47" fmla="*/ 318 w 10000"/>
                <a:gd name="connsiteY47" fmla="*/ 7303 h 10000"/>
                <a:gd name="connsiteX48" fmla="*/ 326 w 10000"/>
                <a:gd name="connsiteY48" fmla="*/ 7281 h 10000"/>
                <a:gd name="connsiteX49" fmla="*/ 217 w 10000"/>
                <a:gd name="connsiteY49" fmla="*/ 6944 h 10000"/>
                <a:gd name="connsiteX50" fmla="*/ 202 w 10000"/>
                <a:gd name="connsiteY50" fmla="*/ 6697 h 10000"/>
                <a:gd name="connsiteX51" fmla="*/ 124 w 10000"/>
                <a:gd name="connsiteY51" fmla="*/ 6674 h 10000"/>
                <a:gd name="connsiteX52" fmla="*/ 124 w 10000"/>
                <a:gd name="connsiteY52" fmla="*/ 6607 h 10000"/>
                <a:gd name="connsiteX53" fmla="*/ 54 w 10000"/>
                <a:gd name="connsiteY53" fmla="*/ 6562 h 10000"/>
                <a:gd name="connsiteX54" fmla="*/ 39 w 10000"/>
                <a:gd name="connsiteY54" fmla="*/ 6494 h 10000"/>
                <a:gd name="connsiteX55" fmla="*/ 23 w 10000"/>
                <a:gd name="connsiteY55" fmla="*/ 6315 h 10000"/>
                <a:gd name="connsiteX56" fmla="*/ 0 w 10000"/>
                <a:gd name="connsiteY56" fmla="*/ 6180 h 10000"/>
                <a:gd name="connsiteX57" fmla="*/ 8 w 10000"/>
                <a:gd name="connsiteY57" fmla="*/ 6045 h 10000"/>
                <a:gd name="connsiteX58" fmla="*/ 8 w 10000"/>
                <a:gd name="connsiteY58" fmla="*/ 5865 h 10000"/>
                <a:gd name="connsiteX59" fmla="*/ 31 w 10000"/>
                <a:gd name="connsiteY59" fmla="*/ 5730 h 10000"/>
                <a:gd name="connsiteX60" fmla="*/ 101 w 10000"/>
                <a:gd name="connsiteY60" fmla="*/ 5573 h 10000"/>
                <a:gd name="connsiteX61" fmla="*/ 155 w 10000"/>
                <a:gd name="connsiteY61" fmla="*/ 5551 h 10000"/>
                <a:gd name="connsiteX62" fmla="*/ 85 w 10000"/>
                <a:gd name="connsiteY62" fmla="*/ 5461 h 10000"/>
                <a:gd name="connsiteX63" fmla="*/ 47 w 10000"/>
                <a:gd name="connsiteY63" fmla="*/ 5326 h 10000"/>
                <a:gd name="connsiteX64" fmla="*/ 180 w 10000"/>
                <a:gd name="connsiteY64" fmla="*/ 4975 h 10000"/>
                <a:gd name="connsiteX65" fmla="*/ 248 w 10000"/>
                <a:gd name="connsiteY65" fmla="*/ 4764 h 10000"/>
                <a:gd name="connsiteX66" fmla="*/ 155 w 10000"/>
                <a:gd name="connsiteY66" fmla="*/ 4562 h 10000"/>
                <a:gd name="connsiteX67" fmla="*/ 194 w 10000"/>
                <a:gd name="connsiteY67" fmla="*/ 4449 h 10000"/>
                <a:gd name="connsiteX68" fmla="*/ 145 w 10000"/>
                <a:gd name="connsiteY68" fmla="*/ 4313 h 10000"/>
                <a:gd name="connsiteX69" fmla="*/ 124 w 10000"/>
                <a:gd name="connsiteY69" fmla="*/ 4180 h 10000"/>
                <a:gd name="connsiteX70" fmla="*/ 155 w 10000"/>
                <a:gd name="connsiteY70" fmla="*/ 3955 h 10000"/>
                <a:gd name="connsiteX71" fmla="*/ 132 w 10000"/>
                <a:gd name="connsiteY71" fmla="*/ 3775 h 10000"/>
                <a:gd name="connsiteX72" fmla="*/ 93 w 10000"/>
                <a:gd name="connsiteY72" fmla="*/ 3573 h 10000"/>
                <a:gd name="connsiteX73" fmla="*/ 155 w 10000"/>
                <a:gd name="connsiteY73" fmla="*/ 3393 h 10000"/>
                <a:gd name="connsiteX74" fmla="*/ 62 w 10000"/>
                <a:gd name="connsiteY74" fmla="*/ 3236 h 10000"/>
                <a:gd name="connsiteX75" fmla="*/ 78 w 10000"/>
                <a:gd name="connsiteY75" fmla="*/ 2989 h 10000"/>
                <a:gd name="connsiteX76" fmla="*/ 116 w 10000"/>
                <a:gd name="connsiteY76" fmla="*/ 2876 h 10000"/>
                <a:gd name="connsiteX77" fmla="*/ 155 w 10000"/>
                <a:gd name="connsiteY77" fmla="*/ 2854 h 10000"/>
                <a:gd name="connsiteX78" fmla="*/ 155 w 10000"/>
                <a:gd name="connsiteY78" fmla="*/ 2787 h 10000"/>
                <a:gd name="connsiteX79" fmla="*/ 240 w 10000"/>
                <a:gd name="connsiteY79" fmla="*/ 2742 h 10000"/>
                <a:gd name="connsiteX80" fmla="*/ 310 w 10000"/>
                <a:gd name="connsiteY80" fmla="*/ 2742 h 10000"/>
                <a:gd name="connsiteX81" fmla="*/ 333 w 10000"/>
                <a:gd name="connsiteY81" fmla="*/ 2854 h 10000"/>
                <a:gd name="connsiteX82" fmla="*/ 372 w 10000"/>
                <a:gd name="connsiteY82" fmla="*/ 2899 h 10000"/>
                <a:gd name="connsiteX83" fmla="*/ 519 w 10000"/>
                <a:gd name="connsiteY83" fmla="*/ 2921 h 10000"/>
                <a:gd name="connsiteX84" fmla="*/ 628 w 10000"/>
                <a:gd name="connsiteY84" fmla="*/ 3079 h 10000"/>
                <a:gd name="connsiteX85" fmla="*/ 729 w 10000"/>
                <a:gd name="connsiteY85" fmla="*/ 3258 h 10000"/>
                <a:gd name="connsiteX86" fmla="*/ 845 w 10000"/>
                <a:gd name="connsiteY86" fmla="*/ 3438 h 10000"/>
                <a:gd name="connsiteX87" fmla="*/ 853 w 10000"/>
                <a:gd name="connsiteY87" fmla="*/ 3640 h 10000"/>
                <a:gd name="connsiteX88" fmla="*/ 783 w 10000"/>
                <a:gd name="connsiteY88" fmla="*/ 3820 h 10000"/>
                <a:gd name="connsiteX89" fmla="*/ 667 w 10000"/>
                <a:gd name="connsiteY89" fmla="*/ 3910 h 10000"/>
                <a:gd name="connsiteX90" fmla="*/ 566 w 10000"/>
                <a:gd name="connsiteY90" fmla="*/ 3798 h 10000"/>
                <a:gd name="connsiteX91" fmla="*/ 450 w 10000"/>
                <a:gd name="connsiteY91" fmla="*/ 3730 h 10000"/>
                <a:gd name="connsiteX92" fmla="*/ 364 w 10000"/>
                <a:gd name="connsiteY92" fmla="*/ 3640 h 10000"/>
                <a:gd name="connsiteX93" fmla="*/ 295 w 10000"/>
                <a:gd name="connsiteY93" fmla="*/ 3551 h 10000"/>
                <a:gd name="connsiteX94" fmla="*/ 349 w 10000"/>
                <a:gd name="connsiteY94" fmla="*/ 3753 h 10000"/>
                <a:gd name="connsiteX95" fmla="*/ 411 w 10000"/>
                <a:gd name="connsiteY95" fmla="*/ 3843 h 10000"/>
                <a:gd name="connsiteX96" fmla="*/ 442 w 10000"/>
                <a:gd name="connsiteY96" fmla="*/ 3910 h 10000"/>
                <a:gd name="connsiteX97" fmla="*/ 450 w 10000"/>
                <a:gd name="connsiteY97" fmla="*/ 4045 h 10000"/>
                <a:gd name="connsiteX98" fmla="*/ 473 w 10000"/>
                <a:gd name="connsiteY98" fmla="*/ 4337 h 10000"/>
                <a:gd name="connsiteX99" fmla="*/ 512 w 10000"/>
                <a:gd name="connsiteY99" fmla="*/ 4360 h 10000"/>
                <a:gd name="connsiteX100" fmla="*/ 574 w 10000"/>
                <a:gd name="connsiteY100" fmla="*/ 4517 h 10000"/>
                <a:gd name="connsiteX101" fmla="*/ 651 w 10000"/>
                <a:gd name="connsiteY101" fmla="*/ 4517 h 10000"/>
                <a:gd name="connsiteX102" fmla="*/ 659 w 10000"/>
                <a:gd name="connsiteY102" fmla="*/ 4404 h 10000"/>
                <a:gd name="connsiteX103" fmla="*/ 612 w 10000"/>
                <a:gd name="connsiteY103" fmla="*/ 4360 h 10000"/>
                <a:gd name="connsiteX104" fmla="*/ 574 w 10000"/>
                <a:gd name="connsiteY104" fmla="*/ 4225 h 10000"/>
                <a:gd name="connsiteX105" fmla="*/ 605 w 10000"/>
                <a:gd name="connsiteY105" fmla="*/ 4112 h 10000"/>
                <a:gd name="connsiteX106" fmla="*/ 651 w 10000"/>
                <a:gd name="connsiteY106" fmla="*/ 4225 h 10000"/>
                <a:gd name="connsiteX107" fmla="*/ 698 w 10000"/>
                <a:gd name="connsiteY107" fmla="*/ 4270 h 10000"/>
                <a:gd name="connsiteX108" fmla="*/ 798 w 10000"/>
                <a:gd name="connsiteY108" fmla="*/ 4337 h 10000"/>
                <a:gd name="connsiteX109" fmla="*/ 798 w 10000"/>
                <a:gd name="connsiteY109" fmla="*/ 4225 h 10000"/>
                <a:gd name="connsiteX110" fmla="*/ 760 w 10000"/>
                <a:gd name="connsiteY110" fmla="*/ 4090 h 10000"/>
                <a:gd name="connsiteX111" fmla="*/ 806 w 10000"/>
                <a:gd name="connsiteY111" fmla="*/ 3955 h 10000"/>
                <a:gd name="connsiteX112" fmla="*/ 876 w 10000"/>
                <a:gd name="connsiteY112" fmla="*/ 3843 h 10000"/>
                <a:gd name="connsiteX113" fmla="*/ 915 w 10000"/>
                <a:gd name="connsiteY113" fmla="*/ 3753 h 10000"/>
                <a:gd name="connsiteX114" fmla="*/ 1023 w 10000"/>
                <a:gd name="connsiteY114" fmla="*/ 3843 h 10000"/>
                <a:gd name="connsiteX115" fmla="*/ 1047 w 10000"/>
                <a:gd name="connsiteY115" fmla="*/ 3573 h 10000"/>
                <a:gd name="connsiteX116" fmla="*/ 1016 w 10000"/>
                <a:gd name="connsiteY116" fmla="*/ 3483 h 10000"/>
                <a:gd name="connsiteX117" fmla="*/ 1031 w 10000"/>
                <a:gd name="connsiteY117" fmla="*/ 3236 h 10000"/>
                <a:gd name="connsiteX118" fmla="*/ 1000 w 10000"/>
                <a:gd name="connsiteY118" fmla="*/ 3146 h 10000"/>
                <a:gd name="connsiteX119" fmla="*/ 1132 w 10000"/>
                <a:gd name="connsiteY119" fmla="*/ 3124 h 10000"/>
                <a:gd name="connsiteX120" fmla="*/ 1178 w 10000"/>
                <a:gd name="connsiteY120" fmla="*/ 3281 h 10000"/>
                <a:gd name="connsiteX121" fmla="*/ 1178 w 10000"/>
                <a:gd name="connsiteY121" fmla="*/ 3371 h 10000"/>
                <a:gd name="connsiteX122" fmla="*/ 1116 w 10000"/>
                <a:gd name="connsiteY122" fmla="*/ 3371 h 10000"/>
                <a:gd name="connsiteX123" fmla="*/ 1078 w 10000"/>
                <a:gd name="connsiteY123" fmla="*/ 3483 h 10000"/>
                <a:gd name="connsiteX124" fmla="*/ 1140 w 10000"/>
                <a:gd name="connsiteY124" fmla="*/ 3640 h 10000"/>
                <a:gd name="connsiteX125" fmla="*/ 1233 w 10000"/>
                <a:gd name="connsiteY125" fmla="*/ 3663 h 10000"/>
                <a:gd name="connsiteX126" fmla="*/ 1271 w 10000"/>
                <a:gd name="connsiteY126" fmla="*/ 3393 h 10000"/>
                <a:gd name="connsiteX127" fmla="*/ 1496 w 10000"/>
                <a:gd name="connsiteY127" fmla="*/ 3146 h 10000"/>
                <a:gd name="connsiteX128" fmla="*/ 1535 w 10000"/>
                <a:gd name="connsiteY128" fmla="*/ 3169 h 10000"/>
                <a:gd name="connsiteX129" fmla="*/ 1581 w 10000"/>
                <a:gd name="connsiteY129" fmla="*/ 3034 h 10000"/>
                <a:gd name="connsiteX130" fmla="*/ 1628 w 10000"/>
                <a:gd name="connsiteY130" fmla="*/ 2989 h 10000"/>
                <a:gd name="connsiteX131" fmla="*/ 1612 w 10000"/>
                <a:gd name="connsiteY131" fmla="*/ 3191 h 10000"/>
                <a:gd name="connsiteX132" fmla="*/ 1690 w 10000"/>
                <a:gd name="connsiteY132" fmla="*/ 3191 h 10000"/>
                <a:gd name="connsiteX133" fmla="*/ 1705 w 10000"/>
                <a:gd name="connsiteY133" fmla="*/ 3101 h 10000"/>
                <a:gd name="connsiteX134" fmla="*/ 1845 w 10000"/>
                <a:gd name="connsiteY134" fmla="*/ 3124 h 10000"/>
                <a:gd name="connsiteX135" fmla="*/ 1938 w 10000"/>
                <a:gd name="connsiteY135" fmla="*/ 2966 h 10000"/>
                <a:gd name="connsiteX136" fmla="*/ 1953 w 10000"/>
                <a:gd name="connsiteY136" fmla="*/ 3079 h 10000"/>
                <a:gd name="connsiteX137" fmla="*/ 1946 w 10000"/>
                <a:gd name="connsiteY137" fmla="*/ 3169 h 10000"/>
                <a:gd name="connsiteX138" fmla="*/ 1984 w 10000"/>
                <a:gd name="connsiteY138" fmla="*/ 3169 h 10000"/>
                <a:gd name="connsiteX139" fmla="*/ 2000 w 10000"/>
                <a:gd name="connsiteY139" fmla="*/ 3079 h 10000"/>
                <a:gd name="connsiteX140" fmla="*/ 2062 w 10000"/>
                <a:gd name="connsiteY140" fmla="*/ 2966 h 10000"/>
                <a:gd name="connsiteX141" fmla="*/ 2016 w 10000"/>
                <a:gd name="connsiteY141" fmla="*/ 2787 h 10000"/>
                <a:gd name="connsiteX142" fmla="*/ 1930 w 10000"/>
                <a:gd name="connsiteY142" fmla="*/ 2697 h 10000"/>
                <a:gd name="connsiteX143" fmla="*/ 1930 w 10000"/>
                <a:gd name="connsiteY143" fmla="*/ 2539 h 10000"/>
                <a:gd name="connsiteX144" fmla="*/ 1961 w 10000"/>
                <a:gd name="connsiteY144" fmla="*/ 2517 h 10000"/>
                <a:gd name="connsiteX145" fmla="*/ 2039 w 10000"/>
                <a:gd name="connsiteY145" fmla="*/ 2719 h 10000"/>
                <a:gd name="connsiteX146" fmla="*/ 2163 w 10000"/>
                <a:gd name="connsiteY146" fmla="*/ 2742 h 10000"/>
                <a:gd name="connsiteX147" fmla="*/ 2295 w 10000"/>
                <a:gd name="connsiteY147" fmla="*/ 2876 h 10000"/>
                <a:gd name="connsiteX148" fmla="*/ 2403 w 10000"/>
                <a:gd name="connsiteY148" fmla="*/ 3011 h 10000"/>
                <a:gd name="connsiteX149" fmla="*/ 2519 w 10000"/>
                <a:gd name="connsiteY149" fmla="*/ 3191 h 10000"/>
                <a:gd name="connsiteX150" fmla="*/ 2550 w 10000"/>
                <a:gd name="connsiteY150" fmla="*/ 3034 h 10000"/>
                <a:gd name="connsiteX151" fmla="*/ 2496 w 10000"/>
                <a:gd name="connsiteY151" fmla="*/ 2876 h 10000"/>
                <a:gd name="connsiteX152" fmla="*/ 2426 w 10000"/>
                <a:gd name="connsiteY152" fmla="*/ 2764 h 10000"/>
                <a:gd name="connsiteX153" fmla="*/ 2426 w 10000"/>
                <a:gd name="connsiteY153" fmla="*/ 2652 h 10000"/>
                <a:gd name="connsiteX154" fmla="*/ 2457 w 10000"/>
                <a:gd name="connsiteY154" fmla="*/ 2427 h 10000"/>
                <a:gd name="connsiteX155" fmla="*/ 2419 w 10000"/>
                <a:gd name="connsiteY155" fmla="*/ 2360 h 10000"/>
                <a:gd name="connsiteX156" fmla="*/ 2426 w 10000"/>
                <a:gd name="connsiteY156" fmla="*/ 2292 h 10000"/>
                <a:gd name="connsiteX157" fmla="*/ 2519 w 10000"/>
                <a:gd name="connsiteY157" fmla="*/ 2090 h 10000"/>
                <a:gd name="connsiteX158" fmla="*/ 2581 w 10000"/>
                <a:gd name="connsiteY158" fmla="*/ 1730 h 10000"/>
                <a:gd name="connsiteX159" fmla="*/ 2775 w 10000"/>
                <a:gd name="connsiteY159" fmla="*/ 1775 h 10000"/>
                <a:gd name="connsiteX160" fmla="*/ 2791 w 10000"/>
                <a:gd name="connsiteY160" fmla="*/ 1843 h 10000"/>
                <a:gd name="connsiteX161" fmla="*/ 2775 w 10000"/>
                <a:gd name="connsiteY161" fmla="*/ 2045 h 10000"/>
                <a:gd name="connsiteX162" fmla="*/ 2736 w 10000"/>
                <a:gd name="connsiteY162" fmla="*/ 2225 h 10000"/>
                <a:gd name="connsiteX163" fmla="*/ 2775 w 10000"/>
                <a:gd name="connsiteY163" fmla="*/ 2315 h 10000"/>
                <a:gd name="connsiteX164" fmla="*/ 2791 w 10000"/>
                <a:gd name="connsiteY164" fmla="*/ 2517 h 10000"/>
                <a:gd name="connsiteX165" fmla="*/ 2775 w 10000"/>
                <a:gd name="connsiteY165" fmla="*/ 3011 h 10000"/>
                <a:gd name="connsiteX166" fmla="*/ 2837 w 10000"/>
                <a:gd name="connsiteY166" fmla="*/ 3146 h 10000"/>
                <a:gd name="connsiteX167" fmla="*/ 2806 w 10000"/>
                <a:gd name="connsiteY167" fmla="*/ 3348 h 10000"/>
                <a:gd name="connsiteX168" fmla="*/ 2698 w 10000"/>
                <a:gd name="connsiteY168" fmla="*/ 3618 h 10000"/>
                <a:gd name="connsiteX169" fmla="*/ 2643 w 10000"/>
                <a:gd name="connsiteY169" fmla="*/ 3685 h 10000"/>
                <a:gd name="connsiteX170" fmla="*/ 2581 w 10000"/>
                <a:gd name="connsiteY170" fmla="*/ 3640 h 10000"/>
                <a:gd name="connsiteX171" fmla="*/ 2550 w 10000"/>
                <a:gd name="connsiteY171" fmla="*/ 3685 h 10000"/>
                <a:gd name="connsiteX172" fmla="*/ 2597 w 10000"/>
                <a:gd name="connsiteY172" fmla="*/ 3775 h 10000"/>
                <a:gd name="connsiteX173" fmla="*/ 2667 w 10000"/>
                <a:gd name="connsiteY173" fmla="*/ 3820 h 10000"/>
                <a:gd name="connsiteX174" fmla="*/ 2736 w 10000"/>
                <a:gd name="connsiteY174" fmla="*/ 3843 h 10000"/>
                <a:gd name="connsiteX175" fmla="*/ 2814 w 10000"/>
                <a:gd name="connsiteY175" fmla="*/ 3663 h 10000"/>
                <a:gd name="connsiteX176" fmla="*/ 2922 w 10000"/>
                <a:gd name="connsiteY176" fmla="*/ 3348 h 10000"/>
                <a:gd name="connsiteX177" fmla="*/ 2891 w 10000"/>
                <a:gd name="connsiteY177" fmla="*/ 3169 h 10000"/>
                <a:gd name="connsiteX178" fmla="*/ 2930 w 10000"/>
                <a:gd name="connsiteY178" fmla="*/ 2989 h 10000"/>
                <a:gd name="connsiteX179" fmla="*/ 3016 w 10000"/>
                <a:gd name="connsiteY179" fmla="*/ 3034 h 10000"/>
                <a:gd name="connsiteX180" fmla="*/ 3054 w 10000"/>
                <a:gd name="connsiteY180" fmla="*/ 3146 h 10000"/>
                <a:gd name="connsiteX181" fmla="*/ 3070 w 10000"/>
                <a:gd name="connsiteY181" fmla="*/ 3326 h 10000"/>
                <a:gd name="connsiteX182" fmla="*/ 3124 w 10000"/>
                <a:gd name="connsiteY182" fmla="*/ 3191 h 10000"/>
                <a:gd name="connsiteX183" fmla="*/ 3093 w 10000"/>
                <a:gd name="connsiteY183" fmla="*/ 3011 h 10000"/>
                <a:gd name="connsiteX184" fmla="*/ 3016 w 10000"/>
                <a:gd name="connsiteY184" fmla="*/ 2944 h 10000"/>
                <a:gd name="connsiteX185" fmla="*/ 2853 w 10000"/>
                <a:gd name="connsiteY185" fmla="*/ 2921 h 10000"/>
                <a:gd name="connsiteX186" fmla="*/ 2853 w 10000"/>
                <a:gd name="connsiteY186" fmla="*/ 2697 h 10000"/>
                <a:gd name="connsiteX187" fmla="*/ 2884 w 10000"/>
                <a:gd name="connsiteY187" fmla="*/ 2472 h 10000"/>
                <a:gd name="connsiteX188" fmla="*/ 2845 w 10000"/>
                <a:gd name="connsiteY188" fmla="*/ 2292 h 10000"/>
                <a:gd name="connsiteX189" fmla="*/ 2822 w 10000"/>
                <a:gd name="connsiteY189" fmla="*/ 2157 h 10000"/>
                <a:gd name="connsiteX190" fmla="*/ 2868 w 10000"/>
                <a:gd name="connsiteY190" fmla="*/ 2022 h 10000"/>
                <a:gd name="connsiteX191" fmla="*/ 2922 w 10000"/>
                <a:gd name="connsiteY191" fmla="*/ 1955 h 10000"/>
                <a:gd name="connsiteX192" fmla="*/ 2930 w 10000"/>
                <a:gd name="connsiteY192" fmla="*/ 1775 h 10000"/>
                <a:gd name="connsiteX193" fmla="*/ 2961 w 10000"/>
                <a:gd name="connsiteY193" fmla="*/ 1775 h 10000"/>
                <a:gd name="connsiteX194" fmla="*/ 2969 w 10000"/>
                <a:gd name="connsiteY194" fmla="*/ 1978 h 10000"/>
                <a:gd name="connsiteX195" fmla="*/ 2946 w 10000"/>
                <a:gd name="connsiteY195" fmla="*/ 2135 h 10000"/>
                <a:gd name="connsiteX196" fmla="*/ 2961 w 10000"/>
                <a:gd name="connsiteY196" fmla="*/ 2247 h 10000"/>
                <a:gd name="connsiteX197" fmla="*/ 3023 w 10000"/>
                <a:gd name="connsiteY197" fmla="*/ 2292 h 10000"/>
                <a:gd name="connsiteX198" fmla="*/ 3116 w 10000"/>
                <a:gd name="connsiteY198" fmla="*/ 2360 h 10000"/>
                <a:gd name="connsiteX199" fmla="*/ 3163 w 10000"/>
                <a:gd name="connsiteY199" fmla="*/ 2360 h 10000"/>
                <a:gd name="connsiteX200" fmla="*/ 3109 w 10000"/>
                <a:gd name="connsiteY200" fmla="*/ 2247 h 10000"/>
                <a:gd name="connsiteX201" fmla="*/ 3031 w 10000"/>
                <a:gd name="connsiteY201" fmla="*/ 2180 h 10000"/>
                <a:gd name="connsiteX202" fmla="*/ 3000 w 10000"/>
                <a:gd name="connsiteY202" fmla="*/ 2045 h 10000"/>
                <a:gd name="connsiteX203" fmla="*/ 3047 w 10000"/>
                <a:gd name="connsiteY203" fmla="*/ 2000 h 10000"/>
                <a:gd name="connsiteX204" fmla="*/ 3124 w 10000"/>
                <a:gd name="connsiteY204" fmla="*/ 2045 h 10000"/>
                <a:gd name="connsiteX205" fmla="*/ 3070 w 10000"/>
                <a:gd name="connsiteY205" fmla="*/ 1865 h 10000"/>
                <a:gd name="connsiteX206" fmla="*/ 3093 w 10000"/>
                <a:gd name="connsiteY206" fmla="*/ 1820 h 10000"/>
                <a:gd name="connsiteX207" fmla="*/ 3225 w 10000"/>
                <a:gd name="connsiteY207" fmla="*/ 1933 h 10000"/>
                <a:gd name="connsiteX208" fmla="*/ 3302 w 10000"/>
                <a:gd name="connsiteY208" fmla="*/ 2112 h 10000"/>
                <a:gd name="connsiteX209" fmla="*/ 3411 w 10000"/>
                <a:gd name="connsiteY209" fmla="*/ 2112 h 10000"/>
                <a:gd name="connsiteX210" fmla="*/ 3357 w 10000"/>
                <a:gd name="connsiteY210" fmla="*/ 1955 h 10000"/>
                <a:gd name="connsiteX211" fmla="*/ 3287 w 10000"/>
                <a:gd name="connsiteY211" fmla="*/ 1798 h 10000"/>
                <a:gd name="connsiteX212" fmla="*/ 3264 w 10000"/>
                <a:gd name="connsiteY212" fmla="*/ 1551 h 10000"/>
                <a:gd name="connsiteX213" fmla="*/ 3310 w 10000"/>
                <a:gd name="connsiteY213" fmla="*/ 1461 h 10000"/>
                <a:gd name="connsiteX214" fmla="*/ 3488 w 10000"/>
                <a:gd name="connsiteY214" fmla="*/ 1438 h 10000"/>
                <a:gd name="connsiteX215" fmla="*/ 3667 w 10000"/>
                <a:gd name="connsiteY215" fmla="*/ 1348 h 10000"/>
                <a:gd name="connsiteX216" fmla="*/ 3620 w 10000"/>
                <a:gd name="connsiteY216" fmla="*/ 1101 h 10000"/>
                <a:gd name="connsiteX217" fmla="*/ 3767 w 10000"/>
                <a:gd name="connsiteY217" fmla="*/ 899 h 10000"/>
                <a:gd name="connsiteX218" fmla="*/ 4093 w 10000"/>
                <a:gd name="connsiteY218" fmla="*/ 584 h 10000"/>
                <a:gd name="connsiteX219" fmla="*/ 4233 w 10000"/>
                <a:gd name="connsiteY219" fmla="*/ 539 h 10000"/>
                <a:gd name="connsiteX220" fmla="*/ 4364 w 10000"/>
                <a:gd name="connsiteY220" fmla="*/ 584 h 10000"/>
                <a:gd name="connsiteX221" fmla="*/ 4558 w 10000"/>
                <a:gd name="connsiteY221" fmla="*/ 404 h 10000"/>
                <a:gd name="connsiteX222" fmla="*/ 4543 w 10000"/>
                <a:gd name="connsiteY222" fmla="*/ 225 h 10000"/>
                <a:gd name="connsiteX223" fmla="*/ 4636 w 10000"/>
                <a:gd name="connsiteY223" fmla="*/ 0 h 10000"/>
                <a:gd name="connsiteX224" fmla="*/ 4767 w 10000"/>
                <a:gd name="connsiteY224" fmla="*/ 22 h 10000"/>
                <a:gd name="connsiteX225" fmla="*/ 4837 w 10000"/>
                <a:gd name="connsiteY225" fmla="*/ 90 h 10000"/>
                <a:gd name="connsiteX226" fmla="*/ 4752 w 10000"/>
                <a:gd name="connsiteY226" fmla="*/ 225 h 10000"/>
                <a:gd name="connsiteX227" fmla="*/ 4915 w 10000"/>
                <a:gd name="connsiteY227" fmla="*/ 247 h 10000"/>
                <a:gd name="connsiteX228" fmla="*/ 4884 w 10000"/>
                <a:gd name="connsiteY228" fmla="*/ 404 h 10000"/>
                <a:gd name="connsiteX229" fmla="*/ 5178 w 10000"/>
                <a:gd name="connsiteY229" fmla="*/ 382 h 10000"/>
                <a:gd name="connsiteX230" fmla="*/ 5287 w 10000"/>
                <a:gd name="connsiteY230" fmla="*/ 584 h 10000"/>
                <a:gd name="connsiteX231" fmla="*/ 5302 w 10000"/>
                <a:gd name="connsiteY231" fmla="*/ 719 h 10000"/>
                <a:gd name="connsiteX232" fmla="*/ 5271 w 10000"/>
                <a:gd name="connsiteY232" fmla="*/ 944 h 10000"/>
                <a:gd name="connsiteX233" fmla="*/ 5140 w 10000"/>
                <a:gd name="connsiteY233" fmla="*/ 1146 h 10000"/>
                <a:gd name="connsiteX234" fmla="*/ 5000 w 10000"/>
                <a:gd name="connsiteY234" fmla="*/ 1371 h 10000"/>
                <a:gd name="connsiteX235" fmla="*/ 4806 w 10000"/>
                <a:gd name="connsiteY235" fmla="*/ 1685 h 10000"/>
                <a:gd name="connsiteX236" fmla="*/ 4822 w 10000"/>
                <a:gd name="connsiteY236" fmla="*/ 1730 h 10000"/>
                <a:gd name="connsiteX237" fmla="*/ 4907 w 10000"/>
                <a:gd name="connsiteY237" fmla="*/ 1640 h 10000"/>
                <a:gd name="connsiteX238" fmla="*/ 5070 w 10000"/>
                <a:gd name="connsiteY238" fmla="*/ 1506 h 10000"/>
                <a:gd name="connsiteX239" fmla="*/ 5062 w 10000"/>
                <a:gd name="connsiteY239" fmla="*/ 1416 h 10000"/>
                <a:gd name="connsiteX240" fmla="*/ 5101 w 10000"/>
                <a:gd name="connsiteY240" fmla="*/ 1303 h 10000"/>
                <a:gd name="connsiteX241" fmla="*/ 5163 w 10000"/>
                <a:gd name="connsiteY241" fmla="*/ 1258 h 10000"/>
                <a:gd name="connsiteX242" fmla="*/ 5178 w 10000"/>
                <a:gd name="connsiteY242" fmla="*/ 1371 h 10000"/>
                <a:gd name="connsiteX243" fmla="*/ 5225 w 10000"/>
                <a:gd name="connsiteY243" fmla="*/ 1416 h 10000"/>
                <a:gd name="connsiteX244" fmla="*/ 5295 w 10000"/>
                <a:gd name="connsiteY244" fmla="*/ 1551 h 10000"/>
                <a:gd name="connsiteX245" fmla="*/ 5333 w 10000"/>
                <a:gd name="connsiteY245" fmla="*/ 1483 h 10000"/>
                <a:gd name="connsiteX246" fmla="*/ 5620 w 10000"/>
                <a:gd name="connsiteY246" fmla="*/ 1506 h 10000"/>
                <a:gd name="connsiteX247" fmla="*/ 5620 w 10000"/>
                <a:gd name="connsiteY247" fmla="*/ 1618 h 10000"/>
                <a:gd name="connsiteX248" fmla="*/ 5899 w 10000"/>
                <a:gd name="connsiteY248" fmla="*/ 1708 h 10000"/>
                <a:gd name="connsiteX249" fmla="*/ 5930 w 10000"/>
                <a:gd name="connsiteY249" fmla="*/ 1416 h 10000"/>
                <a:gd name="connsiteX250" fmla="*/ 5984 w 10000"/>
                <a:gd name="connsiteY250" fmla="*/ 1438 h 10000"/>
                <a:gd name="connsiteX251" fmla="*/ 6062 w 10000"/>
                <a:gd name="connsiteY251" fmla="*/ 1551 h 10000"/>
                <a:gd name="connsiteX252" fmla="*/ 6186 w 10000"/>
                <a:gd name="connsiteY252" fmla="*/ 1528 h 10000"/>
                <a:gd name="connsiteX253" fmla="*/ 6256 w 10000"/>
                <a:gd name="connsiteY253" fmla="*/ 1753 h 10000"/>
                <a:gd name="connsiteX254" fmla="*/ 6271 w 10000"/>
                <a:gd name="connsiteY254" fmla="*/ 1955 h 10000"/>
                <a:gd name="connsiteX255" fmla="*/ 6225 w 10000"/>
                <a:gd name="connsiteY255" fmla="*/ 2045 h 10000"/>
                <a:gd name="connsiteX256" fmla="*/ 6310 w 10000"/>
                <a:gd name="connsiteY256" fmla="*/ 2337 h 10000"/>
                <a:gd name="connsiteX257" fmla="*/ 6395 w 10000"/>
                <a:gd name="connsiteY257" fmla="*/ 2404 h 10000"/>
                <a:gd name="connsiteX258" fmla="*/ 6473 w 10000"/>
                <a:gd name="connsiteY258" fmla="*/ 2067 h 10000"/>
                <a:gd name="connsiteX259" fmla="*/ 6574 w 10000"/>
                <a:gd name="connsiteY259" fmla="*/ 2225 h 10000"/>
                <a:gd name="connsiteX260" fmla="*/ 6667 w 10000"/>
                <a:gd name="connsiteY260" fmla="*/ 2135 h 10000"/>
                <a:gd name="connsiteX261" fmla="*/ 6767 w 10000"/>
                <a:gd name="connsiteY261" fmla="*/ 2247 h 10000"/>
                <a:gd name="connsiteX262" fmla="*/ 6853 w 10000"/>
                <a:gd name="connsiteY262" fmla="*/ 2157 h 10000"/>
                <a:gd name="connsiteX263" fmla="*/ 6915 w 10000"/>
                <a:gd name="connsiteY263" fmla="*/ 2067 h 10000"/>
                <a:gd name="connsiteX264" fmla="*/ 6907 w 10000"/>
                <a:gd name="connsiteY264" fmla="*/ 1865 h 10000"/>
                <a:gd name="connsiteX265" fmla="*/ 6992 w 10000"/>
                <a:gd name="connsiteY265" fmla="*/ 1775 h 10000"/>
                <a:gd name="connsiteX266" fmla="*/ 7256 w 10000"/>
                <a:gd name="connsiteY266" fmla="*/ 1820 h 10000"/>
                <a:gd name="connsiteX267" fmla="*/ 7302 w 10000"/>
                <a:gd name="connsiteY267" fmla="*/ 1933 h 10000"/>
                <a:gd name="connsiteX268" fmla="*/ 7326 w 10000"/>
                <a:gd name="connsiteY268" fmla="*/ 1978 h 10000"/>
                <a:gd name="connsiteX269" fmla="*/ 7465 w 10000"/>
                <a:gd name="connsiteY269" fmla="*/ 1933 h 10000"/>
                <a:gd name="connsiteX270" fmla="*/ 7527 w 10000"/>
                <a:gd name="connsiteY270" fmla="*/ 2022 h 10000"/>
                <a:gd name="connsiteX271" fmla="*/ 7496 w 10000"/>
                <a:gd name="connsiteY271" fmla="*/ 2135 h 10000"/>
                <a:gd name="connsiteX272" fmla="*/ 7550 w 10000"/>
                <a:gd name="connsiteY272" fmla="*/ 2202 h 10000"/>
                <a:gd name="connsiteX273" fmla="*/ 7667 w 10000"/>
                <a:gd name="connsiteY273" fmla="*/ 2337 h 10000"/>
                <a:gd name="connsiteX274" fmla="*/ 7868 w 10000"/>
                <a:gd name="connsiteY274" fmla="*/ 2360 h 10000"/>
                <a:gd name="connsiteX275" fmla="*/ 8078 w 10000"/>
                <a:gd name="connsiteY275" fmla="*/ 2382 h 10000"/>
                <a:gd name="connsiteX276" fmla="*/ 8163 w 10000"/>
                <a:gd name="connsiteY276" fmla="*/ 2517 h 10000"/>
                <a:gd name="connsiteX277" fmla="*/ 8155 w 10000"/>
                <a:gd name="connsiteY277" fmla="*/ 2674 h 10000"/>
                <a:gd name="connsiteX278" fmla="*/ 8171 w 10000"/>
                <a:gd name="connsiteY278" fmla="*/ 2764 h 10000"/>
                <a:gd name="connsiteX279" fmla="*/ 8240 w 10000"/>
                <a:gd name="connsiteY279" fmla="*/ 2831 h 10000"/>
                <a:gd name="connsiteX280" fmla="*/ 8295 w 10000"/>
                <a:gd name="connsiteY280" fmla="*/ 2764 h 10000"/>
                <a:gd name="connsiteX281" fmla="*/ 8550 w 10000"/>
                <a:gd name="connsiteY281" fmla="*/ 2809 h 10000"/>
                <a:gd name="connsiteX282" fmla="*/ 8581 w 10000"/>
                <a:gd name="connsiteY282" fmla="*/ 2809 h 10000"/>
                <a:gd name="connsiteX283" fmla="*/ 8643 w 10000"/>
                <a:gd name="connsiteY283" fmla="*/ 2719 h 10000"/>
                <a:gd name="connsiteX284" fmla="*/ 8667 w 10000"/>
                <a:gd name="connsiteY284" fmla="*/ 2742 h 10000"/>
                <a:gd name="connsiteX285" fmla="*/ 8667 w 10000"/>
                <a:gd name="connsiteY285" fmla="*/ 2876 h 10000"/>
                <a:gd name="connsiteX286" fmla="*/ 8736 w 10000"/>
                <a:gd name="connsiteY286" fmla="*/ 3034 h 10000"/>
                <a:gd name="connsiteX287" fmla="*/ 8814 w 10000"/>
                <a:gd name="connsiteY287" fmla="*/ 3056 h 10000"/>
                <a:gd name="connsiteX288" fmla="*/ 8837 w 10000"/>
                <a:gd name="connsiteY288" fmla="*/ 2966 h 10000"/>
                <a:gd name="connsiteX289" fmla="*/ 8814 w 10000"/>
                <a:gd name="connsiteY289" fmla="*/ 2831 h 10000"/>
                <a:gd name="connsiteX290" fmla="*/ 8806 w 10000"/>
                <a:gd name="connsiteY290" fmla="*/ 2629 h 10000"/>
                <a:gd name="connsiteX291" fmla="*/ 8853 w 10000"/>
                <a:gd name="connsiteY291" fmla="*/ 2607 h 10000"/>
                <a:gd name="connsiteX292" fmla="*/ 8922 w 10000"/>
                <a:gd name="connsiteY292" fmla="*/ 2697 h 10000"/>
                <a:gd name="connsiteX293" fmla="*/ 9047 w 10000"/>
                <a:gd name="connsiteY293" fmla="*/ 2697 h 10000"/>
                <a:gd name="connsiteX294" fmla="*/ 9194 w 10000"/>
                <a:gd name="connsiteY294" fmla="*/ 2764 h 10000"/>
                <a:gd name="connsiteX295" fmla="*/ 9364 w 10000"/>
                <a:gd name="connsiteY295" fmla="*/ 2944 h 10000"/>
                <a:gd name="connsiteX296" fmla="*/ 9465 w 10000"/>
                <a:gd name="connsiteY296" fmla="*/ 3101 h 10000"/>
                <a:gd name="connsiteX297" fmla="*/ 9643 w 10000"/>
                <a:gd name="connsiteY297" fmla="*/ 3326 h 10000"/>
                <a:gd name="connsiteX298" fmla="*/ 9674 w 10000"/>
                <a:gd name="connsiteY298" fmla="*/ 3461 h 10000"/>
                <a:gd name="connsiteX299" fmla="*/ 9698 w 10000"/>
                <a:gd name="connsiteY299" fmla="*/ 3596 h 10000"/>
                <a:gd name="connsiteX300" fmla="*/ 9736 w 10000"/>
                <a:gd name="connsiteY300" fmla="*/ 3775 h 10000"/>
                <a:gd name="connsiteX301" fmla="*/ 9767 w 10000"/>
                <a:gd name="connsiteY301" fmla="*/ 3730 h 10000"/>
                <a:gd name="connsiteX302" fmla="*/ 9744 w 10000"/>
                <a:gd name="connsiteY302" fmla="*/ 3528 h 10000"/>
                <a:gd name="connsiteX303" fmla="*/ 9806 w 10000"/>
                <a:gd name="connsiteY303" fmla="*/ 3551 h 10000"/>
                <a:gd name="connsiteX304" fmla="*/ 9884 w 10000"/>
                <a:gd name="connsiteY304" fmla="*/ 3596 h 10000"/>
                <a:gd name="connsiteX305" fmla="*/ 9953 w 10000"/>
                <a:gd name="connsiteY305" fmla="*/ 3730 h 10000"/>
                <a:gd name="connsiteX306" fmla="*/ 10000 w 10000"/>
                <a:gd name="connsiteY306" fmla="*/ 3865 h 10000"/>
                <a:gd name="connsiteX307" fmla="*/ 9953 w 10000"/>
                <a:gd name="connsiteY307" fmla="*/ 4000 h 10000"/>
                <a:gd name="connsiteX308" fmla="*/ 9853 w 10000"/>
                <a:gd name="connsiteY308" fmla="*/ 4067 h 10000"/>
                <a:gd name="connsiteX309" fmla="*/ 9837 w 10000"/>
                <a:gd name="connsiteY309" fmla="*/ 4225 h 10000"/>
                <a:gd name="connsiteX310" fmla="*/ 9806 w 10000"/>
                <a:gd name="connsiteY310" fmla="*/ 4427 h 10000"/>
                <a:gd name="connsiteX311" fmla="*/ 9698 w 10000"/>
                <a:gd name="connsiteY311" fmla="*/ 4270 h 10000"/>
                <a:gd name="connsiteX312" fmla="*/ 9636 w 10000"/>
                <a:gd name="connsiteY312" fmla="*/ 4202 h 10000"/>
                <a:gd name="connsiteX313" fmla="*/ 9643 w 10000"/>
                <a:gd name="connsiteY313" fmla="*/ 4022 h 10000"/>
                <a:gd name="connsiteX314" fmla="*/ 9481 w 10000"/>
                <a:gd name="connsiteY314" fmla="*/ 4045 h 10000"/>
                <a:gd name="connsiteX315" fmla="*/ 9457 w 10000"/>
                <a:gd name="connsiteY315" fmla="*/ 3820 h 10000"/>
                <a:gd name="connsiteX316" fmla="*/ 9403 w 10000"/>
                <a:gd name="connsiteY316" fmla="*/ 3843 h 10000"/>
                <a:gd name="connsiteX317" fmla="*/ 9395 w 10000"/>
                <a:gd name="connsiteY317" fmla="*/ 4000 h 10000"/>
                <a:gd name="connsiteX318" fmla="*/ 9419 w 10000"/>
                <a:gd name="connsiteY318" fmla="*/ 4067 h 10000"/>
                <a:gd name="connsiteX319" fmla="*/ 9349 w 10000"/>
                <a:gd name="connsiteY319" fmla="*/ 4247 h 10000"/>
                <a:gd name="connsiteX320" fmla="*/ 9271 w 10000"/>
                <a:gd name="connsiteY320" fmla="*/ 4270 h 10000"/>
                <a:gd name="connsiteX321" fmla="*/ 9217 w 10000"/>
                <a:gd name="connsiteY321" fmla="*/ 4247 h 10000"/>
                <a:gd name="connsiteX322" fmla="*/ 9186 w 10000"/>
                <a:gd name="connsiteY322" fmla="*/ 4180 h 10000"/>
                <a:gd name="connsiteX323" fmla="*/ 9178 w 10000"/>
                <a:gd name="connsiteY323" fmla="*/ 4270 h 10000"/>
                <a:gd name="connsiteX324" fmla="*/ 9233 w 10000"/>
                <a:gd name="connsiteY324" fmla="*/ 4337 h 10000"/>
                <a:gd name="connsiteX325" fmla="*/ 9287 w 10000"/>
                <a:gd name="connsiteY325" fmla="*/ 4427 h 10000"/>
                <a:gd name="connsiteX326" fmla="*/ 9310 w 10000"/>
                <a:gd name="connsiteY326" fmla="*/ 4629 h 10000"/>
                <a:gd name="connsiteX327" fmla="*/ 9357 w 10000"/>
                <a:gd name="connsiteY327" fmla="*/ 4831 h 10000"/>
                <a:gd name="connsiteX328" fmla="*/ 9302 w 10000"/>
                <a:gd name="connsiteY328" fmla="*/ 4921 h 10000"/>
                <a:gd name="connsiteX329" fmla="*/ 9202 w 10000"/>
                <a:gd name="connsiteY329" fmla="*/ 4809 h 10000"/>
                <a:gd name="connsiteX330" fmla="*/ 9155 w 10000"/>
                <a:gd name="connsiteY330" fmla="*/ 4921 h 10000"/>
                <a:gd name="connsiteX331" fmla="*/ 9016 w 10000"/>
                <a:gd name="connsiteY331" fmla="*/ 5101 h 10000"/>
                <a:gd name="connsiteX332" fmla="*/ 8938 w 10000"/>
                <a:gd name="connsiteY332" fmla="*/ 5213 h 10000"/>
                <a:gd name="connsiteX333" fmla="*/ 8783 w 10000"/>
                <a:gd name="connsiteY333" fmla="*/ 5573 h 10000"/>
                <a:gd name="connsiteX334" fmla="*/ 8729 w 10000"/>
                <a:gd name="connsiteY334" fmla="*/ 5438 h 10000"/>
                <a:gd name="connsiteX335" fmla="*/ 8612 w 10000"/>
                <a:gd name="connsiteY335" fmla="*/ 5438 h 10000"/>
                <a:gd name="connsiteX336" fmla="*/ 8550 w 10000"/>
                <a:gd name="connsiteY336" fmla="*/ 5618 h 10000"/>
                <a:gd name="connsiteX337" fmla="*/ 8535 w 10000"/>
                <a:gd name="connsiteY337" fmla="*/ 5438 h 10000"/>
                <a:gd name="connsiteX338" fmla="*/ 8496 w 10000"/>
                <a:gd name="connsiteY338" fmla="*/ 5438 h 10000"/>
                <a:gd name="connsiteX339" fmla="*/ 8481 w 10000"/>
                <a:gd name="connsiteY339" fmla="*/ 5573 h 10000"/>
                <a:gd name="connsiteX340" fmla="*/ 8372 w 10000"/>
                <a:gd name="connsiteY340" fmla="*/ 5573 h 10000"/>
                <a:gd name="connsiteX341" fmla="*/ 8279 w 10000"/>
                <a:gd name="connsiteY341" fmla="*/ 6000 h 10000"/>
                <a:gd name="connsiteX342" fmla="*/ 8279 w 10000"/>
                <a:gd name="connsiteY342" fmla="*/ 6135 h 10000"/>
                <a:gd name="connsiteX343" fmla="*/ 8341 w 10000"/>
                <a:gd name="connsiteY343" fmla="*/ 6135 h 10000"/>
                <a:gd name="connsiteX344" fmla="*/ 8326 w 10000"/>
                <a:gd name="connsiteY344" fmla="*/ 6337 h 10000"/>
                <a:gd name="connsiteX345" fmla="*/ 8349 w 10000"/>
                <a:gd name="connsiteY345" fmla="*/ 6517 h 10000"/>
                <a:gd name="connsiteX346" fmla="*/ 8279 w 10000"/>
                <a:gd name="connsiteY346" fmla="*/ 6584 h 10000"/>
                <a:gd name="connsiteX347" fmla="*/ 8256 w 10000"/>
                <a:gd name="connsiteY347" fmla="*/ 6742 h 10000"/>
                <a:gd name="connsiteX348" fmla="*/ 8279 w 10000"/>
                <a:gd name="connsiteY348" fmla="*/ 6944 h 10000"/>
                <a:gd name="connsiteX349" fmla="*/ 8186 w 10000"/>
                <a:gd name="connsiteY349" fmla="*/ 7034 h 10000"/>
                <a:gd name="connsiteX350" fmla="*/ 8155 w 10000"/>
                <a:gd name="connsiteY350" fmla="*/ 7124 h 10000"/>
                <a:gd name="connsiteX351" fmla="*/ 8155 w 10000"/>
                <a:gd name="connsiteY351" fmla="*/ 7191 h 10000"/>
                <a:gd name="connsiteX352" fmla="*/ 8163 w 10000"/>
                <a:gd name="connsiteY352" fmla="*/ 7236 h 10000"/>
                <a:gd name="connsiteX353" fmla="*/ 8155 w 10000"/>
                <a:gd name="connsiteY353" fmla="*/ 7281 h 10000"/>
                <a:gd name="connsiteX354" fmla="*/ 8062 w 10000"/>
                <a:gd name="connsiteY354" fmla="*/ 7371 h 10000"/>
                <a:gd name="connsiteX355" fmla="*/ 8062 w 10000"/>
                <a:gd name="connsiteY355" fmla="*/ 7528 h 10000"/>
                <a:gd name="connsiteX356" fmla="*/ 7946 w 10000"/>
                <a:gd name="connsiteY356" fmla="*/ 7865 h 10000"/>
                <a:gd name="connsiteX357" fmla="*/ 7930 w 10000"/>
                <a:gd name="connsiteY357" fmla="*/ 7506 h 10000"/>
                <a:gd name="connsiteX358" fmla="*/ 7884 w 10000"/>
                <a:gd name="connsiteY358" fmla="*/ 6944 h 10000"/>
                <a:gd name="connsiteX359" fmla="*/ 7884 w 10000"/>
                <a:gd name="connsiteY359" fmla="*/ 6539 h 10000"/>
                <a:gd name="connsiteX360" fmla="*/ 7930 w 10000"/>
                <a:gd name="connsiteY360" fmla="*/ 6382 h 10000"/>
                <a:gd name="connsiteX361" fmla="*/ 7977 w 10000"/>
                <a:gd name="connsiteY361" fmla="*/ 6135 h 10000"/>
                <a:gd name="connsiteX362" fmla="*/ 8039 w 10000"/>
                <a:gd name="connsiteY362" fmla="*/ 6090 h 10000"/>
                <a:gd name="connsiteX363" fmla="*/ 8202 w 10000"/>
                <a:gd name="connsiteY363" fmla="*/ 5640 h 10000"/>
                <a:gd name="connsiteX364" fmla="*/ 8326 w 10000"/>
                <a:gd name="connsiteY364" fmla="*/ 5393 h 10000"/>
                <a:gd name="connsiteX365" fmla="*/ 8364 w 10000"/>
                <a:gd name="connsiteY365" fmla="*/ 5348 h 10000"/>
                <a:gd name="connsiteX366" fmla="*/ 8426 w 10000"/>
                <a:gd name="connsiteY366" fmla="*/ 4944 h 10000"/>
                <a:gd name="connsiteX367" fmla="*/ 8457 w 10000"/>
                <a:gd name="connsiteY367" fmla="*/ 4899 h 10000"/>
                <a:gd name="connsiteX368" fmla="*/ 8395 w 10000"/>
                <a:gd name="connsiteY368" fmla="*/ 4831 h 10000"/>
                <a:gd name="connsiteX369" fmla="*/ 8372 w 10000"/>
                <a:gd name="connsiteY369" fmla="*/ 4854 h 10000"/>
                <a:gd name="connsiteX370" fmla="*/ 8349 w 10000"/>
                <a:gd name="connsiteY370" fmla="*/ 4921 h 10000"/>
                <a:gd name="connsiteX371" fmla="*/ 8349 w 10000"/>
                <a:gd name="connsiteY371" fmla="*/ 5124 h 10000"/>
                <a:gd name="connsiteX372" fmla="*/ 8295 w 10000"/>
                <a:gd name="connsiteY372" fmla="*/ 5124 h 10000"/>
                <a:gd name="connsiteX373" fmla="*/ 8171 w 10000"/>
                <a:gd name="connsiteY373" fmla="*/ 5348 h 10000"/>
                <a:gd name="connsiteX374" fmla="*/ 8140 w 10000"/>
                <a:gd name="connsiteY374" fmla="*/ 5258 h 10000"/>
                <a:gd name="connsiteX375" fmla="*/ 8171 w 10000"/>
                <a:gd name="connsiteY375" fmla="*/ 5079 h 10000"/>
                <a:gd name="connsiteX376" fmla="*/ 8132 w 10000"/>
                <a:gd name="connsiteY376" fmla="*/ 5124 h 10000"/>
                <a:gd name="connsiteX377" fmla="*/ 7977 w 10000"/>
                <a:gd name="connsiteY377" fmla="*/ 5124 h 10000"/>
                <a:gd name="connsiteX378" fmla="*/ 7829 w 10000"/>
                <a:gd name="connsiteY378" fmla="*/ 5461 h 10000"/>
                <a:gd name="connsiteX379" fmla="*/ 7798 w 10000"/>
                <a:gd name="connsiteY379" fmla="*/ 5640 h 10000"/>
                <a:gd name="connsiteX380" fmla="*/ 7814 w 10000"/>
                <a:gd name="connsiteY380" fmla="*/ 5685 h 10000"/>
                <a:gd name="connsiteX381" fmla="*/ 7853 w 10000"/>
                <a:gd name="connsiteY381" fmla="*/ 5798 h 10000"/>
                <a:gd name="connsiteX382" fmla="*/ 7791 w 10000"/>
                <a:gd name="connsiteY382" fmla="*/ 5798 h 10000"/>
                <a:gd name="connsiteX383" fmla="*/ 7729 w 10000"/>
                <a:gd name="connsiteY383" fmla="*/ 5820 h 10000"/>
                <a:gd name="connsiteX384" fmla="*/ 7612 w 10000"/>
                <a:gd name="connsiteY384" fmla="*/ 5843 h 10000"/>
                <a:gd name="connsiteX385" fmla="*/ 7643 w 10000"/>
                <a:gd name="connsiteY385" fmla="*/ 5753 h 10000"/>
                <a:gd name="connsiteX386" fmla="*/ 7620 w 10000"/>
                <a:gd name="connsiteY386" fmla="*/ 5663 h 10000"/>
                <a:gd name="connsiteX387" fmla="*/ 7535 w 10000"/>
                <a:gd name="connsiteY387" fmla="*/ 5640 h 10000"/>
                <a:gd name="connsiteX388" fmla="*/ 7481 w 10000"/>
                <a:gd name="connsiteY388" fmla="*/ 5663 h 10000"/>
                <a:gd name="connsiteX389" fmla="*/ 7457 w 10000"/>
                <a:gd name="connsiteY389" fmla="*/ 5753 h 10000"/>
                <a:gd name="connsiteX390" fmla="*/ 7341 w 10000"/>
                <a:gd name="connsiteY390" fmla="*/ 5730 h 10000"/>
                <a:gd name="connsiteX391" fmla="*/ 7287 w 10000"/>
                <a:gd name="connsiteY391" fmla="*/ 5753 h 10000"/>
                <a:gd name="connsiteX392" fmla="*/ 7085 w 10000"/>
                <a:gd name="connsiteY392" fmla="*/ 5753 h 10000"/>
                <a:gd name="connsiteX393" fmla="*/ 6636 w 10000"/>
                <a:gd name="connsiteY393" fmla="*/ 6876 h 10000"/>
                <a:gd name="connsiteX394" fmla="*/ 6643 w 10000"/>
                <a:gd name="connsiteY394" fmla="*/ 6989 h 10000"/>
                <a:gd name="connsiteX395" fmla="*/ 6721 w 10000"/>
                <a:gd name="connsiteY395" fmla="*/ 6966 h 10000"/>
                <a:gd name="connsiteX396" fmla="*/ 6729 w 10000"/>
                <a:gd name="connsiteY396" fmla="*/ 7146 h 10000"/>
                <a:gd name="connsiteX397" fmla="*/ 6767 w 10000"/>
                <a:gd name="connsiteY397" fmla="*/ 7011 h 10000"/>
                <a:gd name="connsiteX398" fmla="*/ 6806 w 10000"/>
                <a:gd name="connsiteY398" fmla="*/ 7191 h 10000"/>
                <a:gd name="connsiteX399" fmla="*/ 6860 w 10000"/>
                <a:gd name="connsiteY399" fmla="*/ 7056 h 10000"/>
                <a:gd name="connsiteX400" fmla="*/ 6946 w 10000"/>
                <a:gd name="connsiteY400" fmla="*/ 7101 h 10000"/>
                <a:gd name="connsiteX401" fmla="*/ 7008 w 10000"/>
                <a:gd name="connsiteY401" fmla="*/ 7326 h 10000"/>
                <a:gd name="connsiteX402" fmla="*/ 6992 w 10000"/>
                <a:gd name="connsiteY402" fmla="*/ 7573 h 10000"/>
                <a:gd name="connsiteX403" fmla="*/ 6961 w 10000"/>
                <a:gd name="connsiteY403" fmla="*/ 7820 h 10000"/>
                <a:gd name="connsiteX404" fmla="*/ 6953 w 10000"/>
                <a:gd name="connsiteY404" fmla="*/ 8180 h 10000"/>
                <a:gd name="connsiteX405" fmla="*/ 6930 w 10000"/>
                <a:gd name="connsiteY405" fmla="*/ 8382 h 10000"/>
                <a:gd name="connsiteX406" fmla="*/ 6698 w 10000"/>
                <a:gd name="connsiteY406" fmla="*/ 9213 h 10000"/>
                <a:gd name="connsiteX407" fmla="*/ 6628 w 10000"/>
                <a:gd name="connsiteY407" fmla="*/ 9461 h 10000"/>
                <a:gd name="connsiteX408" fmla="*/ 6574 w 10000"/>
                <a:gd name="connsiteY408" fmla="*/ 9573 h 10000"/>
                <a:gd name="connsiteX409" fmla="*/ 6504 w 10000"/>
                <a:gd name="connsiteY409" fmla="*/ 9663 h 10000"/>
                <a:gd name="connsiteX410" fmla="*/ 6450 w 10000"/>
                <a:gd name="connsiteY410" fmla="*/ 9573 h 10000"/>
                <a:gd name="connsiteX411" fmla="*/ 6380 w 10000"/>
                <a:gd name="connsiteY411" fmla="*/ 9618 h 10000"/>
                <a:gd name="connsiteX412" fmla="*/ 6380 w 10000"/>
                <a:gd name="connsiteY412" fmla="*/ 9213 h 10000"/>
                <a:gd name="connsiteX413" fmla="*/ 6434 w 10000"/>
                <a:gd name="connsiteY413" fmla="*/ 9101 h 10000"/>
                <a:gd name="connsiteX414" fmla="*/ 6457 w 10000"/>
                <a:gd name="connsiteY414" fmla="*/ 9169 h 10000"/>
                <a:gd name="connsiteX415" fmla="*/ 6504 w 10000"/>
                <a:gd name="connsiteY415" fmla="*/ 9146 h 10000"/>
                <a:gd name="connsiteX416" fmla="*/ 6550 w 10000"/>
                <a:gd name="connsiteY416" fmla="*/ 8899 h 10000"/>
                <a:gd name="connsiteX417" fmla="*/ 6574 w 10000"/>
                <a:gd name="connsiteY417" fmla="*/ 8652 h 10000"/>
                <a:gd name="connsiteX418" fmla="*/ 6605 w 10000"/>
                <a:gd name="connsiteY418" fmla="*/ 8607 h 10000"/>
                <a:gd name="connsiteX419" fmla="*/ 6597 w 10000"/>
                <a:gd name="connsiteY419" fmla="*/ 8449 h 10000"/>
                <a:gd name="connsiteX420" fmla="*/ 6535 w 10000"/>
                <a:gd name="connsiteY420" fmla="*/ 8472 h 10000"/>
                <a:gd name="connsiteX421" fmla="*/ 6481 w 10000"/>
                <a:gd name="connsiteY421" fmla="*/ 8494 h 10000"/>
                <a:gd name="connsiteX422" fmla="*/ 6457 w 10000"/>
                <a:gd name="connsiteY422" fmla="*/ 8584 h 10000"/>
                <a:gd name="connsiteX423" fmla="*/ 6372 w 10000"/>
                <a:gd name="connsiteY423" fmla="*/ 8562 h 10000"/>
                <a:gd name="connsiteX424" fmla="*/ 6357 w 10000"/>
                <a:gd name="connsiteY424" fmla="*/ 8337 h 10000"/>
                <a:gd name="connsiteX425" fmla="*/ 6240 w 10000"/>
                <a:gd name="connsiteY425" fmla="*/ 8157 h 10000"/>
                <a:gd name="connsiteX426" fmla="*/ 6178 w 10000"/>
                <a:gd name="connsiteY426" fmla="*/ 8157 h 10000"/>
                <a:gd name="connsiteX427" fmla="*/ 6093 w 10000"/>
                <a:gd name="connsiteY427" fmla="*/ 7573 h 10000"/>
                <a:gd name="connsiteX428" fmla="*/ 6047 w 10000"/>
                <a:gd name="connsiteY428" fmla="*/ 7348 h 10000"/>
                <a:gd name="connsiteX429" fmla="*/ 5930 w 10000"/>
                <a:gd name="connsiteY429" fmla="*/ 7213 h 10000"/>
                <a:gd name="connsiteX430" fmla="*/ 5760 w 10000"/>
                <a:gd name="connsiteY430" fmla="*/ 7258 h 10000"/>
                <a:gd name="connsiteX431" fmla="*/ 5705 w 10000"/>
                <a:gd name="connsiteY431" fmla="*/ 7326 h 10000"/>
                <a:gd name="connsiteX432" fmla="*/ 5698 w 10000"/>
                <a:gd name="connsiteY432" fmla="*/ 7416 h 10000"/>
                <a:gd name="connsiteX433" fmla="*/ 5744 w 10000"/>
                <a:gd name="connsiteY433" fmla="*/ 7438 h 10000"/>
                <a:gd name="connsiteX434" fmla="*/ 5744 w 10000"/>
                <a:gd name="connsiteY434" fmla="*/ 7596 h 10000"/>
                <a:gd name="connsiteX435" fmla="*/ 5705 w 10000"/>
                <a:gd name="connsiteY435" fmla="*/ 7663 h 10000"/>
                <a:gd name="connsiteX436" fmla="*/ 5667 w 10000"/>
                <a:gd name="connsiteY436" fmla="*/ 7865 h 10000"/>
                <a:gd name="connsiteX437" fmla="*/ 5651 w 10000"/>
                <a:gd name="connsiteY437" fmla="*/ 8045 h 10000"/>
                <a:gd name="connsiteX438" fmla="*/ 5605 w 10000"/>
                <a:gd name="connsiteY438" fmla="*/ 8067 h 10000"/>
                <a:gd name="connsiteX439" fmla="*/ 5566 w 10000"/>
                <a:gd name="connsiteY439" fmla="*/ 8180 h 10000"/>
                <a:gd name="connsiteX440" fmla="*/ 5496 w 10000"/>
                <a:gd name="connsiteY440" fmla="*/ 8067 h 10000"/>
                <a:gd name="connsiteX441" fmla="*/ 5403 w 10000"/>
                <a:gd name="connsiteY441" fmla="*/ 8045 h 10000"/>
                <a:gd name="connsiteX442" fmla="*/ 5372 w 10000"/>
                <a:gd name="connsiteY442" fmla="*/ 7978 h 10000"/>
                <a:gd name="connsiteX443" fmla="*/ 5333 w 10000"/>
                <a:gd name="connsiteY443" fmla="*/ 8000 h 10000"/>
                <a:gd name="connsiteX444" fmla="*/ 5264 w 10000"/>
                <a:gd name="connsiteY444" fmla="*/ 8157 h 10000"/>
                <a:gd name="connsiteX445" fmla="*/ 5147 w 10000"/>
                <a:gd name="connsiteY445" fmla="*/ 8225 h 10000"/>
                <a:gd name="connsiteX446" fmla="*/ 5078 w 10000"/>
                <a:gd name="connsiteY446" fmla="*/ 8247 h 10000"/>
                <a:gd name="connsiteX447" fmla="*/ 4992 w 10000"/>
                <a:gd name="connsiteY447" fmla="*/ 8225 h 10000"/>
                <a:gd name="connsiteX448" fmla="*/ 4969 w 10000"/>
                <a:gd name="connsiteY448" fmla="*/ 8157 h 10000"/>
                <a:gd name="connsiteX449" fmla="*/ 4946 w 10000"/>
                <a:gd name="connsiteY449" fmla="*/ 8067 h 10000"/>
                <a:gd name="connsiteX450" fmla="*/ 4907 w 10000"/>
                <a:gd name="connsiteY450" fmla="*/ 8045 h 10000"/>
                <a:gd name="connsiteX451" fmla="*/ 4884 w 10000"/>
                <a:gd name="connsiteY451" fmla="*/ 7978 h 10000"/>
                <a:gd name="connsiteX452" fmla="*/ 4791 w 10000"/>
                <a:gd name="connsiteY452" fmla="*/ 7933 h 10000"/>
                <a:gd name="connsiteX453" fmla="*/ 4736 w 10000"/>
                <a:gd name="connsiteY453" fmla="*/ 8022 h 10000"/>
                <a:gd name="connsiteX454" fmla="*/ 4636 w 10000"/>
                <a:gd name="connsiteY454" fmla="*/ 7978 h 10000"/>
                <a:gd name="connsiteX455" fmla="*/ 4597 w 10000"/>
                <a:gd name="connsiteY455" fmla="*/ 7843 h 10000"/>
                <a:gd name="connsiteX456" fmla="*/ 4589 w 10000"/>
                <a:gd name="connsiteY456" fmla="*/ 7730 h 10000"/>
                <a:gd name="connsiteX457" fmla="*/ 4496 w 10000"/>
                <a:gd name="connsiteY457" fmla="*/ 7640 h 10000"/>
                <a:gd name="connsiteX458" fmla="*/ 4388 w 10000"/>
                <a:gd name="connsiteY458" fmla="*/ 7573 h 10000"/>
                <a:gd name="connsiteX459" fmla="*/ 4318 w 10000"/>
                <a:gd name="connsiteY459" fmla="*/ 7775 h 10000"/>
                <a:gd name="connsiteX460" fmla="*/ 4364 w 10000"/>
                <a:gd name="connsiteY460" fmla="*/ 7933 h 10000"/>
                <a:gd name="connsiteX461" fmla="*/ 4357 w 10000"/>
                <a:gd name="connsiteY461" fmla="*/ 8022 h 10000"/>
                <a:gd name="connsiteX462" fmla="*/ 4310 w 10000"/>
                <a:gd name="connsiteY462" fmla="*/ 8135 h 10000"/>
                <a:gd name="connsiteX463" fmla="*/ 4279 w 10000"/>
                <a:gd name="connsiteY463" fmla="*/ 8067 h 10000"/>
                <a:gd name="connsiteX464" fmla="*/ 4155 w 10000"/>
                <a:gd name="connsiteY464" fmla="*/ 8067 h 10000"/>
                <a:gd name="connsiteX465" fmla="*/ 4116 w 10000"/>
                <a:gd name="connsiteY465" fmla="*/ 7933 h 10000"/>
                <a:gd name="connsiteX466" fmla="*/ 4039 w 10000"/>
                <a:gd name="connsiteY466" fmla="*/ 7888 h 10000"/>
                <a:gd name="connsiteX467" fmla="*/ 3969 w 10000"/>
                <a:gd name="connsiteY467" fmla="*/ 7865 h 10000"/>
                <a:gd name="connsiteX468" fmla="*/ 3837 w 10000"/>
                <a:gd name="connsiteY468" fmla="*/ 8067 h 10000"/>
                <a:gd name="connsiteX469" fmla="*/ 3806 w 10000"/>
                <a:gd name="connsiteY469" fmla="*/ 8157 h 10000"/>
                <a:gd name="connsiteX470" fmla="*/ 3752 w 10000"/>
                <a:gd name="connsiteY470" fmla="*/ 8180 h 10000"/>
                <a:gd name="connsiteX471" fmla="*/ 3721 w 10000"/>
                <a:gd name="connsiteY471" fmla="*/ 8270 h 10000"/>
                <a:gd name="connsiteX472" fmla="*/ 3659 w 10000"/>
                <a:gd name="connsiteY472" fmla="*/ 8270 h 10000"/>
                <a:gd name="connsiteX473" fmla="*/ 3643 w 10000"/>
                <a:gd name="connsiteY473" fmla="*/ 8112 h 10000"/>
                <a:gd name="connsiteX474" fmla="*/ 3558 w 10000"/>
                <a:gd name="connsiteY474" fmla="*/ 8090 h 10000"/>
                <a:gd name="connsiteX475" fmla="*/ 3504 w 10000"/>
                <a:gd name="connsiteY475" fmla="*/ 7978 h 10000"/>
                <a:gd name="connsiteX476" fmla="*/ 3465 w 10000"/>
                <a:gd name="connsiteY476" fmla="*/ 7820 h 10000"/>
                <a:gd name="connsiteX477" fmla="*/ 3357 w 10000"/>
                <a:gd name="connsiteY477" fmla="*/ 7865 h 10000"/>
                <a:gd name="connsiteX478" fmla="*/ 3271 w 10000"/>
                <a:gd name="connsiteY478" fmla="*/ 7730 h 10000"/>
                <a:gd name="connsiteX479" fmla="*/ 3256 w 10000"/>
                <a:gd name="connsiteY479" fmla="*/ 7820 h 10000"/>
                <a:gd name="connsiteX480" fmla="*/ 3225 w 10000"/>
                <a:gd name="connsiteY480" fmla="*/ 7820 h 10000"/>
                <a:gd name="connsiteX481" fmla="*/ 3171 w 10000"/>
                <a:gd name="connsiteY481" fmla="*/ 7551 h 10000"/>
                <a:gd name="connsiteX482" fmla="*/ 3109 w 10000"/>
                <a:gd name="connsiteY482" fmla="*/ 7281 h 10000"/>
                <a:gd name="connsiteX483" fmla="*/ 3039 w 10000"/>
                <a:gd name="connsiteY483" fmla="*/ 7146 h 10000"/>
                <a:gd name="connsiteX484" fmla="*/ 3031 w 10000"/>
                <a:gd name="connsiteY484" fmla="*/ 7034 h 10000"/>
                <a:gd name="connsiteX485" fmla="*/ 2946 w 10000"/>
                <a:gd name="connsiteY485" fmla="*/ 7101 h 10000"/>
                <a:gd name="connsiteX486" fmla="*/ 2876 w 10000"/>
                <a:gd name="connsiteY486" fmla="*/ 7213 h 10000"/>
                <a:gd name="connsiteX487" fmla="*/ 2798 w 10000"/>
                <a:gd name="connsiteY487" fmla="*/ 7101 h 10000"/>
                <a:gd name="connsiteX488" fmla="*/ 2721 w 10000"/>
                <a:gd name="connsiteY488" fmla="*/ 7034 h 10000"/>
                <a:gd name="connsiteX489" fmla="*/ 2682 w 10000"/>
                <a:gd name="connsiteY489" fmla="*/ 6966 h 10000"/>
                <a:gd name="connsiteX490" fmla="*/ 2667 w 10000"/>
                <a:gd name="connsiteY490" fmla="*/ 6809 h 10000"/>
                <a:gd name="connsiteX491" fmla="*/ 2589 w 10000"/>
                <a:gd name="connsiteY491" fmla="*/ 6787 h 10000"/>
                <a:gd name="connsiteX492" fmla="*/ 2504 w 10000"/>
                <a:gd name="connsiteY492" fmla="*/ 6831 h 10000"/>
                <a:gd name="connsiteX493" fmla="*/ 2163 w 10000"/>
                <a:gd name="connsiteY493" fmla="*/ 7101 h 10000"/>
                <a:gd name="connsiteX494" fmla="*/ 2078 w 10000"/>
                <a:gd name="connsiteY494" fmla="*/ 7124 h 10000"/>
                <a:gd name="connsiteX495" fmla="*/ 2093 w 10000"/>
                <a:gd name="connsiteY495" fmla="*/ 7236 h 10000"/>
                <a:gd name="connsiteX496" fmla="*/ 2109 w 10000"/>
                <a:gd name="connsiteY496" fmla="*/ 7326 h 10000"/>
                <a:gd name="connsiteX497" fmla="*/ 2062 w 10000"/>
                <a:gd name="connsiteY497" fmla="*/ 7371 h 10000"/>
                <a:gd name="connsiteX498" fmla="*/ 2054 w 10000"/>
                <a:gd name="connsiteY498" fmla="*/ 7483 h 10000"/>
                <a:gd name="connsiteX499" fmla="*/ 2031 w 10000"/>
                <a:gd name="connsiteY499" fmla="*/ 7551 h 10000"/>
                <a:gd name="connsiteX500" fmla="*/ 2008 w 10000"/>
                <a:gd name="connsiteY500" fmla="*/ 7640 h 10000"/>
                <a:gd name="connsiteX501" fmla="*/ 2062 w 10000"/>
                <a:gd name="connsiteY501" fmla="*/ 7685 h 10000"/>
                <a:gd name="connsiteX502" fmla="*/ 2093 w 10000"/>
                <a:gd name="connsiteY502" fmla="*/ 7775 h 10000"/>
                <a:gd name="connsiteX503" fmla="*/ 2054 w 10000"/>
                <a:gd name="connsiteY503" fmla="*/ 7888 h 10000"/>
                <a:gd name="connsiteX504" fmla="*/ 1953 w 10000"/>
                <a:gd name="connsiteY504" fmla="*/ 7910 h 10000"/>
                <a:gd name="connsiteX505" fmla="*/ 1915 w 10000"/>
                <a:gd name="connsiteY505" fmla="*/ 7798 h 10000"/>
                <a:gd name="connsiteX506" fmla="*/ 1845 w 10000"/>
                <a:gd name="connsiteY506" fmla="*/ 7798 h 10000"/>
                <a:gd name="connsiteX507" fmla="*/ 1760 w 10000"/>
                <a:gd name="connsiteY507" fmla="*/ 7910 h 10000"/>
                <a:gd name="connsiteX508" fmla="*/ 1698 w 10000"/>
                <a:gd name="connsiteY508" fmla="*/ 7888 h 10000"/>
                <a:gd name="connsiteX509" fmla="*/ 1612 w 10000"/>
                <a:gd name="connsiteY509" fmla="*/ 7730 h 10000"/>
                <a:gd name="connsiteX510" fmla="*/ 1473 w 10000"/>
                <a:gd name="connsiteY510" fmla="*/ 7663 h 10000"/>
                <a:gd name="connsiteX511" fmla="*/ 1411 w 10000"/>
                <a:gd name="connsiteY511" fmla="*/ 7730 h 10000"/>
                <a:gd name="connsiteX512" fmla="*/ 1318 w 10000"/>
                <a:gd name="connsiteY512" fmla="*/ 7933 h 10000"/>
                <a:gd name="connsiteX513" fmla="*/ 1310 w 10000"/>
                <a:gd name="connsiteY513" fmla="*/ 8067 h 10000"/>
                <a:gd name="connsiteX514" fmla="*/ 1279 w 10000"/>
                <a:gd name="connsiteY514" fmla="*/ 8112 h 10000"/>
                <a:gd name="connsiteX515" fmla="*/ 1248 w 10000"/>
                <a:gd name="connsiteY515" fmla="*/ 7933 h 10000"/>
                <a:gd name="connsiteX516" fmla="*/ 1202 w 10000"/>
                <a:gd name="connsiteY516" fmla="*/ 8090 h 10000"/>
                <a:gd name="connsiteX517" fmla="*/ 1178 w 10000"/>
                <a:gd name="connsiteY517" fmla="*/ 8360 h 10000"/>
                <a:gd name="connsiteX518" fmla="*/ 1217 w 10000"/>
                <a:gd name="connsiteY518" fmla="*/ 8517 h 10000"/>
                <a:gd name="connsiteX519" fmla="*/ 1271 w 10000"/>
                <a:gd name="connsiteY519" fmla="*/ 8562 h 10000"/>
                <a:gd name="connsiteX520" fmla="*/ 1318 w 10000"/>
                <a:gd name="connsiteY520" fmla="*/ 8742 h 10000"/>
                <a:gd name="connsiteX521" fmla="*/ 1333 w 10000"/>
                <a:gd name="connsiteY521" fmla="*/ 889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Lst>
              <a:rect l="l" t="t" r="r" b="b"/>
              <a:pathLst>
                <a:path w="10000" h="10000">
                  <a:moveTo>
                    <a:pt x="1333" y="8899"/>
                  </a:moveTo>
                  <a:cubicBezTo>
                    <a:pt x="1312" y="8944"/>
                    <a:pt x="1292" y="8989"/>
                    <a:pt x="1271" y="9034"/>
                  </a:cubicBezTo>
                  <a:cubicBezTo>
                    <a:pt x="1258" y="9056"/>
                    <a:pt x="1246" y="9079"/>
                    <a:pt x="1233" y="9101"/>
                  </a:cubicBezTo>
                  <a:cubicBezTo>
                    <a:pt x="1228" y="9131"/>
                    <a:pt x="1222" y="9161"/>
                    <a:pt x="1217" y="9191"/>
                  </a:cubicBezTo>
                  <a:cubicBezTo>
                    <a:pt x="1207" y="9228"/>
                    <a:pt x="1196" y="9266"/>
                    <a:pt x="1186" y="9303"/>
                  </a:cubicBezTo>
                  <a:cubicBezTo>
                    <a:pt x="1196" y="9326"/>
                    <a:pt x="1207" y="9348"/>
                    <a:pt x="1217" y="9371"/>
                  </a:cubicBezTo>
                  <a:cubicBezTo>
                    <a:pt x="1225" y="9408"/>
                    <a:pt x="1232" y="9446"/>
                    <a:pt x="1240" y="9483"/>
                  </a:cubicBezTo>
                  <a:cubicBezTo>
                    <a:pt x="1243" y="9550"/>
                    <a:pt x="1245" y="9618"/>
                    <a:pt x="1248" y="9685"/>
                  </a:cubicBezTo>
                  <a:lnTo>
                    <a:pt x="1302" y="9865"/>
                  </a:lnTo>
                  <a:cubicBezTo>
                    <a:pt x="1289" y="9903"/>
                    <a:pt x="1277" y="9940"/>
                    <a:pt x="1264" y="9978"/>
                  </a:cubicBezTo>
                  <a:cubicBezTo>
                    <a:pt x="1259" y="9985"/>
                    <a:pt x="1253" y="9993"/>
                    <a:pt x="1248" y="10000"/>
                  </a:cubicBezTo>
                  <a:cubicBezTo>
                    <a:pt x="1227" y="9955"/>
                    <a:pt x="1207" y="9910"/>
                    <a:pt x="1186" y="9865"/>
                  </a:cubicBezTo>
                  <a:cubicBezTo>
                    <a:pt x="1178" y="9858"/>
                    <a:pt x="1171" y="9850"/>
                    <a:pt x="1163" y="9843"/>
                  </a:cubicBezTo>
                  <a:cubicBezTo>
                    <a:pt x="1150" y="9805"/>
                    <a:pt x="1137" y="9768"/>
                    <a:pt x="1124" y="9730"/>
                  </a:cubicBezTo>
                  <a:cubicBezTo>
                    <a:pt x="1111" y="9708"/>
                    <a:pt x="1098" y="9685"/>
                    <a:pt x="1085" y="9663"/>
                  </a:cubicBezTo>
                  <a:cubicBezTo>
                    <a:pt x="1072" y="9670"/>
                    <a:pt x="1060" y="9678"/>
                    <a:pt x="1047" y="9685"/>
                  </a:cubicBezTo>
                  <a:lnTo>
                    <a:pt x="1023" y="9685"/>
                  </a:lnTo>
                  <a:lnTo>
                    <a:pt x="984" y="9640"/>
                  </a:lnTo>
                  <a:cubicBezTo>
                    <a:pt x="966" y="9610"/>
                    <a:pt x="948" y="9581"/>
                    <a:pt x="930" y="9551"/>
                  </a:cubicBezTo>
                  <a:lnTo>
                    <a:pt x="899" y="9551"/>
                  </a:lnTo>
                  <a:cubicBezTo>
                    <a:pt x="886" y="9558"/>
                    <a:pt x="873" y="9566"/>
                    <a:pt x="860" y="9573"/>
                  </a:cubicBezTo>
                  <a:cubicBezTo>
                    <a:pt x="845" y="9543"/>
                    <a:pt x="829" y="9513"/>
                    <a:pt x="814" y="9483"/>
                  </a:cubicBezTo>
                  <a:cubicBezTo>
                    <a:pt x="798" y="9491"/>
                    <a:pt x="783" y="9498"/>
                    <a:pt x="767" y="9506"/>
                  </a:cubicBezTo>
                  <a:cubicBezTo>
                    <a:pt x="734" y="9438"/>
                    <a:pt x="700" y="9371"/>
                    <a:pt x="667" y="9303"/>
                  </a:cubicBezTo>
                  <a:lnTo>
                    <a:pt x="612" y="9236"/>
                  </a:lnTo>
                  <a:cubicBezTo>
                    <a:pt x="617" y="9184"/>
                    <a:pt x="623" y="9131"/>
                    <a:pt x="628" y="9079"/>
                  </a:cubicBezTo>
                  <a:cubicBezTo>
                    <a:pt x="643" y="9034"/>
                    <a:pt x="659" y="8989"/>
                    <a:pt x="674" y="8944"/>
                  </a:cubicBezTo>
                  <a:cubicBezTo>
                    <a:pt x="672" y="8906"/>
                    <a:pt x="669" y="8869"/>
                    <a:pt x="667" y="8831"/>
                  </a:cubicBezTo>
                  <a:cubicBezTo>
                    <a:pt x="688" y="8794"/>
                    <a:pt x="708" y="8756"/>
                    <a:pt x="729" y="8719"/>
                  </a:cubicBezTo>
                  <a:lnTo>
                    <a:pt x="659" y="8697"/>
                  </a:lnTo>
                  <a:cubicBezTo>
                    <a:pt x="662" y="8667"/>
                    <a:pt x="664" y="8637"/>
                    <a:pt x="667" y="8607"/>
                  </a:cubicBezTo>
                  <a:cubicBezTo>
                    <a:pt x="680" y="8592"/>
                    <a:pt x="692" y="8577"/>
                    <a:pt x="705" y="8562"/>
                  </a:cubicBezTo>
                  <a:cubicBezTo>
                    <a:pt x="726" y="8547"/>
                    <a:pt x="746" y="8532"/>
                    <a:pt x="767" y="8517"/>
                  </a:cubicBezTo>
                  <a:cubicBezTo>
                    <a:pt x="770" y="8397"/>
                    <a:pt x="772" y="8277"/>
                    <a:pt x="775" y="8157"/>
                  </a:cubicBezTo>
                  <a:cubicBezTo>
                    <a:pt x="754" y="8120"/>
                    <a:pt x="734" y="8082"/>
                    <a:pt x="713" y="8045"/>
                  </a:cubicBezTo>
                  <a:lnTo>
                    <a:pt x="636" y="8045"/>
                  </a:lnTo>
                  <a:cubicBezTo>
                    <a:pt x="633" y="8023"/>
                    <a:pt x="631" y="8000"/>
                    <a:pt x="628" y="7978"/>
                  </a:cubicBezTo>
                  <a:lnTo>
                    <a:pt x="504" y="7955"/>
                  </a:lnTo>
                  <a:cubicBezTo>
                    <a:pt x="499" y="7903"/>
                    <a:pt x="493" y="7850"/>
                    <a:pt x="488" y="7798"/>
                  </a:cubicBezTo>
                  <a:lnTo>
                    <a:pt x="419" y="7753"/>
                  </a:lnTo>
                  <a:cubicBezTo>
                    <a:pt x="421" y="7708"/>
                    <a:pt x="424" y="7663"/>
                    <a:pt x="426" y="7618"/>
                  </a:cubicBezTo>
                  <a:cubicBezTo>
                    <a:pt x="421" y="7581"/>
                    <a:pt x="416" y="7543"/>
                    <a:pt x="411" y="7506"/>
                  </a:cubicBezTo>
                  <a:lnTo>
                    <a:pt x="318" y="7506"/>
                  </a:lnTo>
                  <a:cubicBezTo>
                    <a:pt x="313" y="7521"/>
                    <a:pt x="307" y="7536"/>
                    <a:pt x="302" y="7551"/>
                  </a:cubicBezTo>
                  <a:cubicBezTo>
                    <a:pt x="294" y="7558"/>
                    <a:pt x="287" y="7566"/>
                    <a:pt x="279" y="7573"/>
                  </a:cubicBezTo>
                  <a:cubicBezTo>
                    <a:pt x="269" y="7558"/>
                    <a:pt x="258" y="7543"/>
                    <a:pt x="248" y="7528"/>
                  </a:cubicBezTo>
                  <a:lnTo>
                    <a:pt x="248" y="7303"/>
                  </a:lnTo>
                  <a:lnTo>
                    <a:pt x="318" y="7303"/>
                  </a:lnTo>
                  <a:cubicBezTo>
                    <a:pt x="321" y="7296"/>
                    <a:pt x="323" y="7288"/>
                    <a:pt x="326" y="7281"/>
                  </a:cubicBezTo>
                  <a:cubicBezTo>
                    <a:pt x="290" y="7169"/>
                    <a:pt x="253" y="7056"/>
                    <a:pt x="217" y="6944"/>
                  </a:cubicBezTo>
                  <a:cubicBezTo>
                    <a:pt x="212" y="6862"/>
                    <a:pt x="207" y="6779"/>
                    <a:pt x="202" y="6697"/>
                  </a:cubicBezTo>
                  <a:cubicBezTo>
                    <a:pt x="176" y="6689"/>
                    <a:pt x="150" y="6682"/>
                    <a:pt x="124" y="6674"/>
                  </a:cubicBezTo>
                  <a:lnTo>
                    <a:pt x="124" y="6607"/>
                  </a:lnTo>
                  <a:lnTo>
                    <a:pt x="54" y="6562"/>
                  </a:lnTo>
                  <a:cubicBezTo>
                    <a:pt x="49" y="6539"/>
                    <a:pt x="44" y="6517"/>
                    <a:pt x="39" y="6494"/>
                  </a:cubicBezTo>
                  <a:cubicBezTo>
                    <a:pt x="34" y="6434"/>
                    <a:pt x="28" y="6375"/>
                    <a:pt x="23" y="6315"/>
                  </a:cubicBezTo>
                  <a:cubicBezTo>
                    <a:pt x="15" y="6270"/>
                    <a:pt x="8" y="6225"/>
                    <a:pt x="0" y="6180"/>
                  </a:cubicBezTo>
                  <a:cubicBezTo>
                    <a:pt x="3" y="6135"/>
                    <a:pt x="5" y="6090"/>
                    <a:pt x="8" y="6045"/>
                  </a:cubicBezTo>
                  <a:lnTo>
                    <a:pt x="8" y="5865"/>
                  </a:lnTo>
                  <a:cubicBezTo>
                    <a:pt x="16" y="5820"/>
                    <a:pt x="23" y="5775"/>
                    <a:pt x="31" y="5730"/>
                  </a:cubicBezTo>
                  <a:cubicBezTo>
                    <a:pt x="54" y="5678"/>
                    <a:pt x="78" y="5625"/>
                    <a:pt x="101" y="5573"/>
                  </a:cubicBezTo>
                  <a:cubicBezTo>
                    <a:pt x="119" y="5566"/>
                    <a:pt x="137" y="5558"/>
                    <a:pt x="155" y="5551"/>
                  </a:cubicBezTo>
                  <a:cubicBezTo>
                    <a:pt x="132" y="5521"/>
                    <a:pt x="108" y="5491"/>
                    <a:pt x="85" y="5461"/>
                  </a:cubicBezTo>
                  <a:cubicBezTo>
                    <a:pt x="72" y="5416"/>
                    <a:pt x="60" y="5371"/>
                    <a:pt x="47" y="5326"/>
                  </a:cubicBezTo>
                  <a:cubicBezTo>
                    <a:pt x="91" y="5209"/>
                    <a:pt x="136" y="5092"/>
                    <a:pt x="180" y="4975"/>
                  </a:cubicBezTo>
                  <a:cubicBezTo>
                    <a:pt x="203" y="4905"/>
                    <a:pt x="225" y="4834"/>
                    <a:pt x="248" y="4764"/>
                  </a:cubicBezTo>
                  <a:cubicBezTo>
                    <a:pt x="217" y="4697"/>
                    <a:pt x="186" y="4629"/>
                    <a:pt x="155" y="4562"/>
                  </a:cubicBezTo>
                  <a:cubicBezTo>
                    <a:pt x="168" y="4524"/>
                    <a:pt x="181" y="4487"/>
                    <a:pt x="194" y="4449"/>
                  </a:cubicBezTo>
                  <a:cubicBezTo>
                    <a:pt x="184" y="4397"/>
                    <a:pt x="155" y="4365"/>
                    <a:pt x="145" y="4313"/>
                  </a:cubicBezTo>
                  <a:cubicBezTo>
                    <a:pt x="132" y="4276"/>
                    <a:pt x="137" y="4217"/>
                    <a:pt x="124" y="4180"/>
                  </a:cubicBezTo>
                  <a:cubicBezTo>
                    <a:pt x="134" y="4105"/>
                    <a:pt x="145" y="4030"/>
                    <a:pt x="155" y="3955"/>
                  </a:cubicBezTo>
                  <a:cubicBezTo>
                    <a:pt x="147" y="3895"/>
                    <a:pt x="140" y="3835"/>
                    <a:pt x="132" y="3775"/>
                  </a:cubicBezTo>
                  <a:cubicBezTo>
                    <a:pt x="119" y="3708"/>
                    <a:pt x="106" y="3640"/>
                    <a:pt x="93" y="3573"/>
                  </a:cubicBezTo>
                  <a:cubicBezTo>
                    <a:pt x="114" y="3513"/>
                    <a:pt x="134" y="3453"/>
                    <a:pt x="155" y="3393"/>
                  </a:cubicBezTo>
                  <a:cubicBezTo>
                    <a:pt x="124" y="3341"/>
                    <a:pt x="93" y="3288"/>
                    <a:pt x="62" y="3236"/>
                  </a:cubicBezTo>
                  <a:cubicBezTo>
                    <a:pt x="67" y="3154"/>
                    <a:pt x="73" y="3071"/>
                    <a:pt x="78" y="2989"/>
                  </a:cubicBezTo>
                  <a:cubicBezTo>
                    <a:pt x="91" y="2951"/>
                    <a:pt x="103" y="2914"/>
                    <a:pt x="116" y="2876"/>
                  </a:cubicBezTo>
                  <a:cubicBezTo>
                    <a:pt x="129" y="2869"/>
                    <a:pt x="142" y="2861"/>
                    <a:pt x="155" y="2854"/>
                  </a:cubicBezTo>
                  <a:lnTo>
                    <a:pt x="155" y="2787"/>
                  </a:lnTo>
                  <a:lnTo>
                    <a:pt x="240" y="2742"/>
                  </a:lnTo>
                  <a:lnTo>
                    <a:pt x="310" y="2742"/>
                  </a:lnTo>
                  <a:cubicBezTo>
                    <a:pt x="318" y="2779"/>
                    <a:pt x="325" y="2817"/>
                    <a:pt x="333" y="2854"/>
                  </a:cubicBezTo>
                  <a:lnTo>
                    <a:pt x="372" y="2899"/>
                  </a:lnTo>
                  <a:lnTo>
                    <a:pt x="519" y="2921"/>
                  </a:lnTo>
                  <a:cubicBezTo>
                    <a:pt x="555" y="2974"/>
                    <a:pt x="592" y="3026"/>
                    <a:pt x="628" y="3079"/>
                  </a:cubicBezTo>
                  <a:lnTo>
                    <a:pt x="729" y="3258"/>
                  </a:lnTo>
                  <a:cubicBezTo>
                    <a:pt x="768" y="3318"/>
                    <a:pt x="806" y="3378"/>
                    <a:pt x="845" y="3438"/>
                  </a:cubicBezTo>
                  <a:cubicBezTo>
                    <a:pt x="848" y="3505"/>
                    <a:pt x="850" y="3573"/>
                    <a:pt x="853" y="3640"/>
                  </a:cubicBezTo>
                  <a:cubicBezTo>
                    <a:pt x="830" y="3700"/>
                    <a:pt x="806" y="3760"/>
                    <a:pt x="783" y="3820"/>
                  </a:cubicBezTo>
                  <a:lnTo>
                    <a:pt x="667" y="3910"/>
                  </a:lnTo>
                  <a:cubicBezTo>
                    <a:pt x="633" y="3873"/>
                    <a:pt x="600" y="3835"/>
                    <a:pt x="566" y="3798"/>
                  </a:cubicBezTo>
                  <a:lnTo>
                    <a:pt x="450" y="3730"/>
                  </a:lnTo>
                  <a:cubicBezTo>
                    <a:pt x="421" y="3700"/>
                    <a:pt x="393" y="3670"/>
                    <a:pt x="364" y="3640"/>
                  </a:cubicBezTo>
                  <a:cubicBezTo>
                    <a:pt x="341" y="3610"/>
                    <a:pt x="318" y="3581"/>
                    <a:pt x="295" y="3551"/>
                  </a:cubicBezTo>
                  <a:cubicBezTo>
                    <a:pt x="313" y="3618"/>
                    <a:pt x="331" y="3686"/>
                    <a:pt x="349" y="3753"/>
                  </a:cubicBezTo>
                  <a:cubicBezTo>
                    <a:pt x="370" y="3783"/>
                    <a:pt x="390" y="3813"/>
                    <a:pt x="411" y="3843"/>
                  </a:cubicBezTo>
                  <a:cubicBezTo>
                    <a:pt x="421" y="3865"/>
                    <a:pt x="432" y="3888"/>
                    <a:pt x="442" y="3910"/>
                  </a:cubicBezTo>
                  <a:cubicBezTo>
                    <a:pt x="445" y="3955"/>
                    <a:pt x="447" y="4000"/>
                    <a:pt x="450" y="4045"/>
                  </a:cubicBezTo>
                  <a:cubicBezTo>
                    <a:pt x="458" y="4142"/>
                    <a:pt x="465" y="4240"/>
                    <a:pt x="473" y="4337"/>
                  </a:cubicBezTo>
                  <a:cubicBezTo>
                    <a:pt x="486" y="4345"/>
                    <a:pt x="499" y="4352"/>
                    <a:pt x="512" y="4360"/>
                  </a:cubicBezTo>
                  <a:cubicBezTo>
                    <a:pt x="533" y="4412"/>
                    <a:pt x="553" y="4465"/>
                    <a:pt x="574" y="4517"/>
                  </a:cubicBezTo>
                  <a:lnTo>
                    <a:pt x="651" y="4517"/>
                  </a:lnTo>
                  <a:cubicBezTo>
                    <a:pt x="654" y="4479"/>
                    <a:pt x="656" y="4442"/>
                    <a:pt x="659" y="4404"/>
                  </a:cubicBezTo>
                  <a:lnTo>
                    <a:pt x="612" y="4360"/>
                  </a:lnTo>
                  <a:cubicBezTo>
                    <a:pt x="599" y="4315"/>
                    <a:pt x="587" y="4270"/>
                    <a:pt x="574" y="4225"/>
                  </a:cubicBezTo>
                  <a:cubicBezTo>
                    <a:pt x="584" y="4187"/>
                    <a:pt x="595" y="4150"/>
                    <a:pt x="605" y="4112"/>
                  </a:cubicBezTo>
                  <a:cubicBezTo>
                    <a:pt x="620" y="4150"/>
                    <a:pt x="636" y="4187"/>
                    <a:pt x="651" y="4225"/>
                  </a:cubicBezTo>
                  <a:cubicBezTo>
                    <a:pt x="667" y="4240"/>
                    <a:pt x="682" y="4255"/>
                    <a:pt x="698" y="4270"/>
                  </a:cubicBezTo>
                  <a:lnTo>
                    <a:pt x="798" y="4337"/>
                  </a:lnTo>
                  <a:lnTo>
                    <a:pt x="798" y="4225"/>
                  </a:lnTo>
                  <a:cubicBezTo>
                    <a:pt x="785" y="4180"/>
                    <a:pt x="773" y="4135"/>
                    <a:pt x="760" y="4090"/>
                  </a:cubicBezTo>
                  <a:cubicBezTo>
                    <a:pt x="775" y="4045"/>
                    <a:pt x="791" y="4000"/>
                    <a:pt x="806" y="3955"/>
                  </a:cubicBezTo>
                  <a:lnTo>
                    <a:pt x="876" y="3843"/>
                  </a:lnTo>
                  <a:lnTo>
                    <a:pt x="915" y="3753"/>
                  </a:lnTo>
                  <a:lnTo>
                    <a:pt x="1023" y="3843"/>
                  </a:lnTo>
                  <a:lnTo>
                    <a:pt x="1047" y="3573"/>
                  </a:lnTo>
                  <a:cubicBezTo>
                    <a:pt x="1037" y="3543"/>
                    <a:pt x="1026" y="3513"/>
                    <a:pt x="1016" y="3483"/>
                  </a:cubicBezTo>
                  <a:cubicBezTo>
                    <a:pt x="1021" y="3401"/>
                    <a:pt x="1026" y="3318"/>
                    <a:pt x="1031" y="3236"/>
                  </a:cubicBezTo>
                  <a:cubicBezTo>
                    <a:pt x="1021" y="3206"/>
                    <a:pt x="1010" y="3176"/>
                    <a:pt x="1000" y="3146"/>
                  </a:cubicBezTo>
                  <a:lnTo>
                    <a:pt x="1132" y="3124"/>
                  </a:lnTo>
                  <a:cubicBezTo>
                    <a:pt x="1147" y="3176"/>
                    <a:pt x="1163" y="3229"/>
                    <a:pt x="1178" y="3281"/>
                  </a:cubicBezTo>
                  <a:lnTo>
                    <a:pt x="1178" y="3371"/>
                  </a:lnTo>
                  <a:lnTo>
                    <a:pt x="1116" y="3371"/>
                  </a:lnTo>
                  <a:cubicBezTo>
                    <a:pt x="1103" y="3408"/>
                    <a:pt x="1091" y="3446"/>
                    <a:pt x="1078" y="3483"/>
                  </a:cubicBezTo>
                  <a:cubicBezTo>
                    <a:pt x="1099" y="3535"/>
                    <a:pt x="1119" y="3588"/>
                    <a:pt x="1140" y="3640"/>
                  </a:cubicBezTo>
                  <a:cubicBezTo>
                    <a:pt x="1171" y="3648"/>
                    <a:pt x="1202" y="3655"/>
                    <a:pt x="1233" y="3663"/>
                  </a:cubicBezTo>
                  <a:cubicBezTo>
                    <a:pt x="1246" y="3573"/>
                    <a:pt x="1258" y="3483"/>
                    <a:pt x="1271" y="3393"/>
                  </a:cubicBezTo>
                  <a:lnTo>
                    <a:pt x="1496" y="3146"/>
                  </a:lnTo>
                  <a:cubicBezTo>
                    <a:pt x="1509" y="3154"/>
                    <a:pt x="1522" y="3161"/>
                    <a:pt x="1535" y="3169"/>
                  </a:cubicBezTo>
                  <a:cubicBezTo>
                    <a:pt x="1550" y="3124"/>
                    <a:pt x="1566" y="3079"/>
                    <a:pt x="1581" y="3034"/>
                  </a:cubicBezTo>
                  <a:cubicBezTo>
                    <a:pt x="1597" y="3019"/>
                    <a:pt x="1612" y="3004"/>
                    <a:pt x="1628" y="2989"/>
                  </a:cubicBezTo>
                  <a:cubicBezTo>
                    <a:pt x="1623" y="3056"/>
                    <a:pt x="1617" y="3124"/>
                    <a:pt x="1612" y="3191"/>
                  </a:cubicBezTo>
                  <a:lnTo>
                    <a:pt x="1690" y="3191"/>
                  </a:lnTo>
                  <a:lnTo>
                    <a:pt x="1705" y="3101"/>
                  </a:lnTo>
                  <a:lnTo>
                    <a:pt x="1845" y="3124"/>
                  </a:lnTo>
                  <a:cubicBezTo>
                    <a:pt x="1876" y="3071"/>
                    <a:pt x="1907" y="3019"/>
                    <a:pt x="1938" y="2966"/>
                  </a:cubicBezTo>
                  <a:cubicBezTo>
                    <a:pt x="1943" y="3004"/>
                    <a:pt x="1948" y="3041"/>
                    <a:pt x="1953" y="3079"/>
                  </a:cubicBezTo>
                  <a:cubicBezTo>
                    <a:pt x="1951" y="3109"/>
                    <a:pt x="1948" y="3139"/>
                    <a:pt x="1946" y="3169"/>
                  </a:cubicBezTo>
                  <a:lnTo>
                    <a:pt x="1984" y="3169"/>
                  </a:lnTo>
                  <a:cubicBezTo>
                    <a:pt x="1989" y="3139"/>
                    <a:pt x="1995" y="3109"/>
                    <a:pt x="2000" y="3079"/>
                  </a:cubicBezTo>
                  <a:cubicBezTo>
                    <a:pt x="2021" y="3041"/>
                    <a:pt x="2041" y="3004"/>
                    <a:pt x="2062" y="2966"/>
                  </a:cubicBezTo>
                  <a:cubicBezTo>
                    <a:pt x="2047" y="2906"/>
                    <a:pt x="2031" y="2847"/>
                    <a:pt x="2016" y="2787"/>
                  </a:cubicBezTo>
                  <a:cubicBezTo>
                    <a:pt x="1987" y="2757"/>
                    <a:pt x="1959" y="2727"/>
                    <a:pt x="1930" y="2697"/>
                  </a:cubicBezTo>
                  <a:lnTo>
                    <a:pt x="1930" y="2539"/>
                  </a:lnTo>
                  <a:lnTo>
                    <a:pt x="1961" y="2517"/>
                  </a:lnTo>
                  <a:cubicBezTo>
                    <a:pt x="1987" y="2584"/>
                    <a:pt x="2013" y="2652"/>
                    <a:pt x="2039" y="2719"/>
                  </a:cubicBezTo>
                  <a:lnTo>
                    <a:pt x="2163" y="2742"/>
                  </a:lnTo>
                  <a:lnTo>
                    <a:pt x="2295" y="2876"/>
                  </a:lnTo>
                  <a:lnTo>
                    <a:pt x="2403" y="3011"/>
                  </a:lnTo>
                  <a:cubicBezTo>
                    <a:pt x="2442" y="3071"/>
                    <a:pt x="2480" y="3131"/>
                    <a:pt x="2519" y="3191"/>
                  </a:cubicBezTo>
                  <a:cubicBezTo>
                    <a:pt x="2529" y="3139"/>
                    <a:pt x="2540" y="3086"/>
                    <a:pt x="2550" y="3034"/>
                  </a:cubicBezTo>
                  <a:cubicBezTo>
                    <a:pt x="2532" y="2981"/>
                    <a:pt x="2514" y="2929"/>
                    <a:pt x="2496" y="2876"/>
                  </a:cubicBezTo>
                  <a:lnTo>
                    <a:pt x="2426" y="2764"/>
                  </a:lnTo>
                  <a:lnTo>
                    <a:pt x="2426" y="2652"/>
                  </a:lnTo>
                  <a:cubicBezTo>
                    <a:pt x="2436" y="2577"/>
                    <a:pt x="2447" y="2502"/>
                    <a:pt x="2457" y="2427"/>
                  </a:cubicBezTo>
                  <a:cubicBezTo>
                    <a:pt x="2444" y="2405"/>
                    <a:pt x="2432" y="2382"/>
                    <a:pt x="2419" y="2360"/>
                  </a:cubicBezTo>
                  <a:cubicBezTo>
                    <a:pt x="2421" y="2337"/>
                    <a:pt x="2424" y="2315"/>
                    <a:pt x="2426" y="2292"/>
                  </a:cubicBezTo>
                  <a:cubicBezTo>
                    <a:pt x="2457" y="2225"/>
                    <a:pt x="2488" y="2157"/>
                    <a:pt x="2519" y="2090"/>
                  </a:cubicBezTo>
                  <a:cubicBezTo>
                    <a:pt x="2540" y="1970"/>
                    <a:pt x="2560" y="1850"/>
                    <a:pt x="2581" y="1730"/>
                  </a:cubicBezTo>
                  <a:lnTo>
                    <a:pt x="2775" y="1775"/>
                  </a:lnTo>
                  <a:cubicBezTo>
                    <a:pt x="2780" y="1798"/>
                    <a:pt x="2786" y="1820"/>
                    <a:pt x="2791" y="1843"/>
                  </a:cubicBezTo>
                  <a:cubicBezTo>
                    <a:pt x="2786" y="1910"/>
                    <a:pt x="2780" y="1978"/>
                    <a:pt x="2775" y="2045"/>
                  </a:cubicBezTo>
                  <a:lnTo>
                    <a:pt x="2736" y="2225"/>
                  </a:lnTo>
                  <a:lnTo>
                    <a:pt x="2775" y="2315"/>
                  </a:lnTo>
                  <a:cubicBezTo>
                    <a:pt x="2780" y="2382"/>
                    <a:pt x="2786" y="2450"/>
                    <a:pt x="2791" y="2517"/>
                  </a:cubicBezTo>
                  <a:cubicBezTo>
                    <a:pt x="2786" y="2682"/>
                    <a:pt x="2780" y="2846"/>
                    <a:pt x="2775" y="3011"/>
                  </a:cubicBezTo>
                  <a:cubicBezTo>
                    <a:pt x="2796" y="3056"/>
                    <a:pt x="2816" y="3101"/>
                    <a:pt x="2837" y="3146"/>
                  </a:cubicBezTo>
                  <a:cubicBezTo>
                    <a:pt x="2827" y="3213"/>
                    <a:pt x="2816" y="3281"/>
                    <a:pt x="2806" y="3348"/>
                  </a:cubicBezTo>
                  <a:lnTo>
                    <a:pt x="2698" y="3618"/>
                  </a:lnTo>
                  <a:lnTo>
                    <a:pt x="2643" y="3685"/>
                  </a:lnTo>
                  <a:cubicBezTo>
                    <a:pt x="2622" y="3670"/>
                    <a:pt x="2602" y="3655"/>
                    <a:pt x="2581" y="3640"/>
                  </a:cubicBezTo>
                  <a:cubicBezTo>
                    <a:pt x="2571" y="3655"/>
                    <a:pt x="2560" y="3670"/>
                    <a:pt x="2550" y="3685"/>
                  </a:cubicBezTo>
                  <a:cubicBezTo>
                    <a:pt x="2566" y="3715"/>
                    <a:pt x="2581" y="3745"/>
                    <a:pt x="2597" y="3775"/>
                  </a:cubicBezTo>
                  <a:lnTo>
                    <a:pt x="2667" y="3820"/>
                  </a:lnTo>
                  <a:cubicBezTo>
                    <a:pt x="2690" y="3828"/>
                    <a:pt x="2713" y="3835"/>
                    <a:pt x="2736" y="3843"/>
                  </a:cubicBezTo>
                  <a:lnTo>
                    <a:pt x="2814" y="3663"/>
                  </a:lnTo>
                  <a:lnTo>
                    <a:pt x="2922" y="3348"/>
                  </a:lnTo>
                  <a:cubicBezTo>
                    <a:pt x="2912" y="3288"/>
                    <a:pt x="2901" y="3229"/>
                    <a:pt x="2891" y="3169"/>
                  </a:cubicBezTo>
                  <a:lnTo>
                    <a:pt x="2930" y="2989"/>
                  </a:lnTo>
                  <a:lnTo>
                    <a:pt x="3016" y="3034"/>
                  </a:lnTo>
                  <a:cubicBezTo>
                    <a:pt x="3029" y="3071"/>
                    <a:pt x="3041" y="3109"/>
                    <a:pt x="3054" y="3146"/>
                  </a:cubicBezTo>
                  <a:cubicBezTo>
                    <a:pt x="3059" y="3206"/>
                    <a:pt x="3065" y="3266"/>
                    <a:pt x="3070" y="3326"/>
                  </a:cubicBezTo>
                  <a:lnTo>
                    <a:pt x="3124" y="3191"/>
                  </a:lnTo>
                  <a:cubicBezTo>
                    <a:pt x="3114" y="3131"/>
                    <a:pt x="3103" y="3071"/>
                    <a:pt x="3093" y="3011"/>
                  </a:cubicBezTo>
                  <a:cubicBezTo>
                    <a:pt x="3067" y="2989"/>
                    <a:pt x="3042" y="2966"/>
                    <a:pt x="3016" y="2944"/>
                  </a:cubicBezTo>
                  <a:lnTo>
                    <a:pt x="2853" y="2921"/>
                  </a:lnTo>
                  <a:lnTo>
                    <a:pt x="2853" y="2697"/>
                  </a:lnTo>
                  <a:cubicBezTo>
                    <a:pt x="2863" y="2622"/>
                    <a:pt x="2874" y="2547"/>
                    <a:pt x="2884" y="2472"/>
                  </a:cubicBezTo>
                  <a:lnTo>
                    <a:pt x="2845" y="2292"/>
                  </a:lnTo>
                  <a:cubicBezTo>
                    <a:pt x="2837" y="2247"/>
                    <a:pt x="2830" y="2202"/>
                    <a:pt x="2822" y="2157"/>
                  </a:cubicBezTo>
                  <a:cubicBezTo>
                    <a:pt x="2837" y="2112"/>
                    <a:pt x="2853" y="2067"/>
                    <a:pt x="2868" y="2022"/>
                  </a:cubicBezTo>
                  <a:cubicBezTo>
                    <a:pt x="2886" y="2000"/>
                    <a:pt x="2904" y="1977"/>
                    <a:pt x="2922" y="1955"/>
                  </a:cubicBezTo>
                  <a:cubicBezTo>
                    <a:pt x="2925" y="1895"/>
                    <a:pt x="2927" y="1835"/>
                    <a:pt x="2930" y="1775"/>
                  </a:cubicBezTo>
                  <a:lnTo>
                    <a:pt x="2961" y="1775"/>
                  </a:lnTo>
                  <a:cubicBezTo>
                    <a:pt x="2964" y="1843"/>
                    <a:pt x="2966" y="1910"/>
                    <a:pt x="2969" y="1978"/>
                  </a:cubicBezTo>
                  <a:cubicBezTo>
                    <a:pt x="2961" y="2030"/>
                    <a:pt x="2954" y="2083"/>
                    <a:pt x="2946" y="2135"/>
                  </a:cubicBezTo>
                  <a:cubicBezTo>
                    <a:pt x="2951" y="2172"/>
                    <a:pt x="2956" y="2210"/>
                    <a:pt x="2961" y="2247"/>
                  </a:cubicBezTo>
                  <a:cubicBezTo>
                    <a:pt x="2982" y="2262"/>
                    <a:pt x="3002" y="2277"/>
                    <a:pt x="3023" y="2292"/>
                  </a:cubicBezTo>
                  <a:cubicBezTo>
                    <a:pt x="3054" y="2315"/>
                    <a:pt x="3085" y="2337"/>
                    <a:pt x="3116" y="2360"/>
                  </a:cubicBezTo>
                  <a:lnTo>
                    <a:pt x="3163" y="2360"/>
                  </a:lnTo>
                  <a:cubicBezTo>
                    <a:pt x="3145" y="2322"/>
                    <a:pt x="3127" y="2285"/>
                    <a:pt x="3109" y="2247"/>
                  </a:cubicBezTo>
                  <a:cubicBezTo>
                    <a:pt x="3083" y="2225"/>
                    <a:pt x="3057" y="2202"/>
                    <a:pt x="3031" y="2180"/>
                  </a:cubicBezTo>
                  <a:cubicBezTo>
                    <a:pt x="3021" y="2135"/>
                    <a:pt x="3010" y="2090"/>
                    <a:pt x="3000" y="2045"/>
                  </a:cubicBezTo>
                  <a:cubicBezTo>
                    <a:pt x="3016" y="2030"/>
                    <a:pt x="3031" y="2015"/>
                    <a:pt x="3047" y="2000"/>
                  </a:cubicBezTo>
                  <a:lnTo>
                    <a:pt x="3124" y="2045"/>
                  </a:lnTo>
                  <a:lnTo>
                    <a:pt x="3070" y="1865"/>
                  </a:lnTo>
                  <a:cubicBezTo>
                    <a:pt x="3078" y="1850"/>
                    <a:pt x="3085" y="1835"/>
                    <a:pt x="3093" y="1820"/>
                  </a:cubicBezTo>
                  <a:lnTo>
                    <a:pt x="3225" y="1933"/>
                  </a:lnTo>
                  <a:cubicBezTo>
                    <a:pt x="3251" y="1993"/>
                    <a:pt x="3276" y="2052"/>
                    <a:pt x="3302" y="2112"/>
                  </a:cubicBezTo>
                  <a:lnTo>
                    <a:pt x="3411" y="2112"/>
                  </a:lnTo>
                  <a:cubicBezTo>
                    <a:pt x="3393" y="2060"/>
                    <a:pt x="3375" y="2007"/>
                    <a:pt x="3357" y="1955"/>
                  </a:cubicBezTo>
                  <a:cubicBezTo>
                    <a:pt x="3334" y="1903"/>
                    <a:pt x="3310" y="1850"/>
                    <a:pt x="3287" y="1798"/>
                  </a:cubicBezTo>
                  <a:cubicBezTo>
                    <a:pt x="3279" y="1716"/>
                    <a:pt x="3272" y="1633"/>
                    <a:pt x="3264" y="1551"/>
                  </a:cubicBezTo>
                  <a:cubicBezTo>
                    <a:pt x="3279" y="1521"/>
                    <a:pt x="3295" y="1491"/>
                    <a:pt x="3310" y="1461"/>
                  </a:cubicBezTo>
                  <a:lnTo>
                    <a:pt x="3488" y="1438"/>
                  </a:lnTo>
                  <a:lnTo>
                    <a:pt x="3667" y="1348"/>
                  </a:lnTo>
                  <a:cubicBezTo>
                    <a:pt x="3651" y="1266"/>
                    <a:pt x="3636" y="1183"/>
                    <a:pt x="3620" y="1101"/>
                  </a:cubicBezTo>
                  <a:lnTo>
                    <a:pt x="3767" y="899"/>
                  </a:lnTo>
                  <a:lnTo>
                    <a:pt x="4093" y="584"/>
                  </a:lnTo>
                  <a:lnTo>
                    <a:pt x="4233" y="539"/>
                  </a:lnTo>
                  <a:lnTo>
                    <a:pt x="4364" y="584"/>
                  </a:lnTo>
                  <a:lnTo>
                    <a:pt x="4558" y="404"/>
                  </a:lnTo>
                  <a:cubicBezTo>
                    <a:pt x="4553" y="344"/>
                    <a:pt x="4548" y="285"/>
                    <a:pt x="4543" y="225"/>
                  </a:cubicBezTo>
                  <a:lnTo>
                    <a:pt x="4636" y="0"/>
                  </a:lnTo>
                  <a:lnTo>
                    <a:pt x="4767" y="22"/>
                  </a:lnTo>
                  <a:cubicBezTo>
                    <a:pt x="4790" y="45"/>
                    <a:pt x="4814" y="67"/>
                    <a:pt x="4837" y="90"/>
                  </a:cubicBezTo>
                  <a:cubicBezTo>
                    <a:pt x="4809" y="135"/>
                    <a:pt x="4780" y="180"/>
                    <a:pt x="4752" y="225"/>
                  </a:cubicBezTo>
                  <a:lnTo>
                    <a:pt x="4915" y="247"/>
                  </a:lnTo>
                  <a:cubicBezTo>
                    <a:pt x="4905" y="299"/>
                    <a:pt x="4894" y="352"/>
                    <a:pt x="4884" y="404"/>
                  </a:cubicBezTo>
                  <a:lnTo>
                    <a:pt x="5178" y="382"/>
                  </a:lnTo>
                  <a:lnTo>
                    <a:pt x="5287" y="584"/>
                  </a:lnTo>
                  <a:lnTo>
                    <a:pt x="5302" y="719"/>
                  </a:lnTo>
                  <a:cubicBezTo>
                    <a:pt x="5292" y="794"/>
                    <a:pt x="5281" y="869"/>
                    <a:pt x="5271" y="944"/>
                  </a:cubicBezTo>
                  <a:cubicBezTo>
                    <a:pt x="5227" y="1011"/>
                    <a:pt x="5184" y="1079"/>
                    <a:pt x="5140" y="1146"/>
                  </a:cubicBezTo>
                  <a:cubicBezTo>
                    <a:pt x="5093" y="1221"/>
                    <a:pt x="5047" y="1296"/>
                    <a:pt x="5000" y="1371"/>
                  </a:cubicBezTo>
                  <a:lnTo>
                    <a:pt x="4806" y="1685"/>
                  </a:lnTo>
                  <a:cubicBezTo>
                    <a:pt x="4811" y="1700"/>
                    <a:pt x="4817" y="1715"/>
                    <a:pt x="4822" y="1730"/>
                  </a:cubicBezTo>
                  <a:cubicBezTo>
                    <a:pt x="4850" y="1700"/>
                    <a:pt x="4879" y="1670"/>
                    <a:pt x="4907" y="1640"/>
                  </a:cubicBezTo>
                  <a:cubicBezTo>
                    <a:pt x="4961" y="1595"/>
                    <a:pt x="5016" y="1551"/>
                    <a:pt x="5070" y="1506"/>
                  </a:cubicBezTo>
                  <a:cubicBezTo>
                    <a:pt x="5067" y="1476"/>
                    <a:pt x="5065" y="1446"/>
                    <a:pt x="5062" y="1416"/>
                  </a:cubicBezTo>
                  <a:cubicBezTo>
                    <a:pt x="5075" y="1378"/>
                    <a:pt x="5088" y="1341"/>
                    <a:pt x="5101" y="1303"/>
                  </a:cubicBezTo>
                  <a:cubicBezTo>
                    <a:pt x="5122" y="1288"/>
                    <a:pt x="5142" y="1273"/>
                    <a:pt x="5163" y="1258"/>
                  </a:cubicBezTo>
                  <a:cubicBezTo>
                    <a:pt x="5168" y="1296"/>
                    <a:pt x="5173" y="1333"/>
                    <a:pt x="5178" y="1371"/>
                  </a:cubicBezTo>
                  <a:cubicBezTo>
                    <a:pt x="5194" y="1386"/>
                    <a:pt x="5209" y="1401"/>
                    <a:pt x="5225" y="1416"/>
                  </a:cubicBezTo>
                  <a:cubicBezTo>
                    <a:pt x="5248" y="1461"/>
                    <a:pt x="5272" y="1506"/>
                    <a:pt x="5295" y="1551"/>
                  </a:cubicBezTo>
                  <a:cubicBezTo>
                    <a:pt x="5308" y="1528"/>
                    <a:pt x="5320" y="1506"/>
                    <a:pt x="5333" y="1483"/>
                  </a:cubicBezTo>
                  <a:lnTo>
                    <a:pt x="5620" y="1506"/>
                  </a:lnTo>
                  <a:lnTo>
                    <a:pt x="5620" y="1618"/>
                  </a:lnTo>
                  <a:lnTo>
                    <a:pt x="5899" y="1708"/>
                  </a:lnTo>
                  <a:cubicBezTo>
                    <a:pt x="5909" y="1611"/>
                    <a:pt x="5920" y="1513"/>
                    <a:pt x="5930" y="1416"/>
                  </a:cubicBezTo>
                  <a:cubicBezTo>
                    <a:pt x="5948" y="1423"/>
                    <a:pt x="5966" y="1431"/>
                    <a:pt x="5984" y="1438"/>
                  </a:cubicBezTo>
                  <a:cubicBezTo>
                    <a:pt x="6010" y="1476"/>
                    <a:pt x="6036" y="1513"/>
                    <a:pt x="6062" y="1551"/>
                  </a:cubicBezTo>
                  <a:lnTo>
                    <a:pt x="6186" y="1528"/>
                  </a:lnTo>
                  <a:cubicBezTo>
                    <a:pt x="6209" y="1603"/>
                    <a:pt x="6233" y="1678"/>
                    <a:pt x="6256" y="1753"/>
                  </a:cubicBezTo>
                  <a:cubicBezTo>
                    <a:pt x="6261" y="1820"/>
                    <a:pt x="6266" y="1888"/>
                    <a:pt x="6271" y="1955"/>
                  </a:cubicBezTo>
                  <a:cubicBezTo>
                    <a:pt x="6256" y="1985"/>
                    <a:pt x="6240" y="2015"/>
                    <a:pt x="6225" y="2045"/>
                  </a:cubicBezTo>
                  <a:cubicBezTo>
                    <a:pt x="6253" y="2142"/>
                    <a:pt x="6282" y="2240"/>
                    <a:pt x="6310" y="2337"/>
                  </a:cubicBezTo>
                  <a:lnTo>
                    <a:pt x="6395" y="2404"/>
                  </a:lnTo>
                  <a:cubicBezTo>
                    <a:pt x="6421" y="2292"/>
                    <a:pt x="6447" y="2179"/>
                    <a:pt x="6473" y="2067"/>
                  </a:cubicBezTo>
                  <a:lnTo>
                    <a:pt x="6574" y="2225"/>
                  </a:lnTo>
                  <a:lnTo>
                    <a:pt x="6667" y="2135"/>
                  </a:lnTo>
                  <a:lnTo>
                    <a:pt x="6767" y="2247"/>
                  </a:lnTo>
                  <a:cubicBezTo>
                    <a:pt x="6796" y="2217"/>
                    <a:pt x="6824" y="2187"/>
                    <a:pt x="6853" y="2157"/>
                  </a:cubicBezTo>
                  <a:cubicBezTo>
                    <a:pt x="6874" y="2127"/>
                    <a:pt x="6894" y="2097"/>
                    <a:pt x="6915" y="2067"/>
                  </a:cubicBezTo>
                  <a:cubicBezTo>
                    <a:pt x="6912" y="2000"/>
                    <a:pt x="6910" y="1932"/>
                    <a:pt x="6907" y="1865"/>
                  </a:cubicBezTo>
                  <a:cubicBezTo>
                    <a:pt x="6935" y="1835"/>
                    <a:pt x="6964" y="1805"/>
                    <a:pt x="6992" y="1775"/>
                  </a:cubicBezTo>
                  <a:lnTo>
                    <a:pt x="7256" y="1820"/>
                  </a:lnTo>
                  <a:cubicBezTo>
                    <a:pt x="7271" y="1858"/>
                    <a:pt x="7287" y="1895"/>
                    <a:pt x="7302" y="1933"/>
                  </a:cubicBezTo>
                  <a:lnTo>
                    <a:pt x="7326" y="1978"/>
                  </a:lnTo>
                  <a:lnTo>
                    <a:pt x="7465" y="1933"/>
                  </a:lnTo>
                  <a:lnTo>
                    <a:pt x="7527" y="2022"/>
                  </a:lnTo>
                  <a:cubicBezTo>
                    <a:pt x="7517" y="2060"/>
                    <a:pt x="7506" y="2097"/>
                    <a:pt x="7496" y="2135"/>
                  </a:cubicBezTo>
                  <a:cubicBezTo>
                    <a:pt x="7514" y="2157"/>
                    <a:pt x="7532" y="2180"/>
                    <a:pt x="7550" y="2202"/>
                  </a:cubicBezTo>
                  <a:lnTo>
                    <a:pt x="7667" y="2337"/>
                  </a:lnTo>
                  <a:lnTo>
                    <a:pt x="7868" y="2360"/>
                  </a:lnTo>
                  <a:lnTo>
                    <a:pt x="8078" y="2382"/>
                  </a:lnTo>
                  <a:cubicBezTo>
                    <a:pt x="8106" y="2427"/>
                    <a:pt x="8135" y="2472"/>
                    <a:pt x="8163" y="2517"/>
                  </a:cubicBezTo>
                  <a:cubicBezTo>
                    <a:pt x="8160" y="2569"/>
                    <a:pt x="8158" y="2622"/>
                    <a:pt x="8155" y="2674"/>
                  </a:cubicBezTo>
                  <a:cubicBezTo>
                    <a:pt x="8160" y="2704"/>
                    <a:pt x="8166" y="2734"/>
                    <a:pt x="8171" y="2764"/>
                  </a:cubicBezTo>
                  <a:cubicBezTo>
                    <a:pt x="8194" y="2786"/>
                    <a:pt x="8217" y="2809"/>
                    <a:pt x="8240" y="2831"/>
                  </a:cubicBezTo>
                  <a:lnTo>
                    <a:pt x="8295" y="2764"/>
                  </a:lnTo>
                  <a:lnTo>
                    <a:pt x="8550" y="2809"/>
                  </a:lnTo>
                  <a:lnTo>
                    <a:pt x="8581" y="2809"/>
                  </a:lnTo>
                  <a:cubicBezTo>
                    <a:pt x="8602" y="2779"/>
                    <a:pt x="8622" y="2749"/>
                    <a:pt x="8643" y="2719"/>
                  </a:cubicBezTo>
                  <a:cubicBezTo>
                    <a:pt x="8651" y="2727"/>
                    <a:pt x="8659" y="2734"/>
                    <a:pt x="8667" y="2742"/>
                  </a:cubicBezTo>
                  <a:lnTo>
                    <a:pt x="8667" y="2876"/>
                  </a:lnTo>
                  <a:cubicBezTo>
                    <a:pt x="8690" y="2929"/>
                    <a:pt x="8713" y="2981"/>
                    <a:pt x="8736" y="3034"/>
                  </a:cubicBezTo>
                  <a:cubicBezTo>
                    <a:pt x="8762" y="3041"/>
                    <a:pt x="8788" y="3049"/>
                    <a:pt x="8814" y="3056"/>
                  </a:cubicBezTo>
                  <a:cubicBezTo>
                    <a:pt x="8822" y="3026"/>
                    <a:pt x="8829" y="2996"/>
                    <a:pt x="8837" y="2966"/>
                  </a:cubicBezTo>
                  <a:cubicBezTo>
                    <a:pt x="8829" y="2921"/>
                    <a:pt x="8822" y="2876"/>
                    <a:pt x="8814" y="2831"/>
                  </a:cubicBezTo>
                  <a:cubicBezTo>
                    <a:pt x="8811" y="2764"/>
                    <a:pt x="8809" y="2696"/>
                    <a:pt x="8806" y="2629"/>
                  </a:cubicBezTo>
                  <a:cubicBezTo>
                    <a:pt x="8822" y="2622"/>
                    <a:pt x="8837" y="2614"/>
                    <a:pt x="8853" y="2607"/>
                  </a:cubicBezTo>
                  <a:lnTo>
                    <a:pt x="8922" y="2697"/>
                  </a:lnTo>
                  <a:lnTo>
                    <a:pt x="9047" y="2697"/>
                  </a:lnTo>
                  <a:lnTo>
                    <a:pt x="9194" y="2764"/>
                  </a:lnTo>
                  <a:lnTo>
                    <a:pt x="9364" y="2944"/>
                  </a:lnTo>
                  <a:cubicBezTo>
                    <a:pt x="9398" y="2996"/>
                    <a:pt x="9431" y="3049"/>
                    <a:pt x="9465" y="3101"/>
                  </a:cubicBezTo>
                  <a:lnTo>
                    <a:pt x="9643" y="3326"/>
                  </a:lnTo>
                  <a:cubicBezTo>
                    <a:pt x="9653" y="3371"/>
                    <a:pt x="9664" y="3416"/>
                    <a:pt x="9674" y="3461"/>
                  </a:cubicBezTo>
                  <a:lnTo>
                    <a:pt x="9698" y="3596"/>
                  </a:lnTo>
                  <a:cubicBezTo>
                    <a:pt x="9711" y="3656"/>
                    <a:pt x="9723" y="3715"/>
                    <a:pt x="9736" y="3775"/>
                  </a:cubicBezTo>
                  <a:cubicBezTo>
                    <a:pt x="9746" y="3760"/>
                    <a:pt x="9757" y="3745"/>
                    <a:pt x="9767" y="3730"/>
                  </a:cubicBezTo>
                  <a:cubicBezTo>
                    <a:pt x="9759" y="3663"/>
                    <a:pt x="9752" y="3595"/>
                    <a:pt x="9744" y="3528"/>
                  </a:cubicBezTo>
                  <a:lnTo>
                    <a:pt x="9806" y="3551"/>
                  </a:lnTo>
                  <a:lnTo>
                    <a:pt x="9884" y="3596"/>
                  </a:lnTo>
                  <a:cubicBezTo>
                    <a:pt x="9907" y="3641"/>
                    <a:pt x="9930" y="3685"/>
                    <a:pt x="9953" y="3730"/>
                  </a:cubicBezTo>
                  <a:cubicBezTo>
                    <a:pt x="9969" y="3775"/>
                    <a:pt x="9984" y="3820"/>
                    <a:pt x="10000" y="3865"/>
                  </a:cubicBezTo>
                  <a:cubicBezTo>
                    <a:pt x="9984" y="3910"/>
                    <a:pt x="9969" y="3955"/>
                    <a:pt x="9953" y="4000"/>
                  </a:cubicBezTo>
                  <a:lnTo>
                    <a:pt x="9853" y="4067"/>
                  </a:lnTo>
                  <a:cubicBezTo>
                    <a:pt x="9848" y="4120"/>
                    <a:pt x="9842" y="4172"/>
                    <a:pt x="9837" y="4225"/>
                  </a:cubicBezTo>
                  <a:cubicBezTo>
                    <a:pt x="9827" y="4292"/>
                    <a:pt x="9816" y="4360"/>
                    <a:pt x="9806" y="4427"/>
                  </a:cubicBezTo>
                  <a:lnTo>
                    <a:pt x="9698" y="4270"/>
                  </a:lnTo>
                  <a:lnTo>
                    <a:pt x="9636" y="4202"/>
                  </a:lnTo>
                  <a:cubicBezTo>
                    <a:pt x="9638" y="4142"/>
                    <a:pt x="9641" y="4082"/>
                    <a:pt x="9643" y="4022"/>
                  </a:cubicBezTo>
                  <a:lnTo>
                    <a:pt x="9481" y="4045"/>
                  </a:lnTo>
                  <a:lnTo>
                    <a:pt x="9457" y="3820"/>
                  </a:lnTo>
                  <a:cubicBezTo>
                    <a:pt x="9439" y="3828"/>
                    <a:pt x="9421" y="3835"/>
                    <a:pt x="9403" y="3843"/>
                  </a:cubicBezTo>
                  <a:cubicBezTo>
                    <a:pt x="9400" y="3895"/>
                    <a:pt x="9398" y="3948"/>
                    <a:pt x="9395" y="4000"/>
                  </a:cubicBezTo>
                  <a:cubicBezTo>
                    <a:pt x="9403" y="4022"/>
                    <a:pt x="9411" y="4045"/>
                    <a:pt x="9419" y="4067"/>
                  </a:cubicBezTo>
                  <a:cubicBezTo>
                    <a:pt x="9396" y="4127"/>
                    <a:pt x="9372" y="4187"/>
                    <a:pt x="9349" y="4247"/>
                  </a:cubicBezTo>
                  <a:cubicBezTo>
                    <a:pt x="9323" y="4255"/>
                    <a:pt x="9297" y="4262"/>
                    <a:pt x="9271" y="4270"/>
                  </a:cubicBezTo>
                  <a:cubicBezTo>
                    <a:pt x="9253" y="4262"/>
                    <a:pt x="9235" y="4255"/>
                    <a:pt x="9217" y="4247"/>
                  </a:cubicBezTo>
                  <a:cubicBezTo>
                    <a:pt x="9207" y="4225"/>
                    <a:pt x="9196" y="4202"/>
                    <a:pt x="9186" y="4180"/>
                  </a:cubicBezTo>
                  <a:cubicBezTo>
                    <a:pt x="9183" y="4210"/>
                    <a:pt x="9181" y="4240"/>
                    <a:pt x="9178" y="4270"/>
                  </a:cubicBezTo>
                  <a:lnTo>
                    <a:pt x="9233" y="4337"/>
                  </a:lnTo>
                  <a:lnTo>
                    <a:pt x="9287" y="4427"/>
                  </a:lnTo>
                  <a:cubicBezTo>
                    <a:pt x="9295" y="4494"/>
                    <a:pt x="9302" y="4562"/>
                    <a:pt x="9310" y="4629"/>
                  </a:cubicBezTo>
                  <a:cubicBezTo>
                    <a:pt x="9326" y="4696"/>
                    <a:pt x="9341" y="4764"/>
                    <a:pt x="9357" y="4831"/>
                  </a:cubicBezTo>
                  <a:cubicBezTo>
                    <a:pt x="9339" y="4861"/>
                    <a:pt x="9320" y="4891"/>
                    <a:pt x="9302" y="4921"/>
                  </a:cubicBezTo>
                  <a:lnTo>
                    <a:pt x="9202" y="4809"/>
                  </a:lnTo>
                  <a:cubicBezTo>
                    <a:pt x="9186" y="4846"/>
                    <a:pt x="9171" y="4884"/>
                    <a:pt x="9155" y="4921"/>
                  </a:cubicBezTo>
                  <a:lnTo>
                    <a:pt x="9016" y="5101"/>
                  </a:lnTo>
                  <a:cubicBezTo>
                    <a:pt x="8990" y="5138"/>
                    <a:pt x="8964" y="5176"/>
                    <a:pt x="8938" y="5213"/>
                  </a:cubicBezTo>
                  <a:cubicBezTo>
                    <a:pt x="8886" y="5333"/>
                    <a:pt x="8835" y="5453"/>
                    <a:pt x="8783" y="5573"/>
                  </a:cubicBezTo>
                  <a:lnTo>
                    <a:pt x="8729" y="5438"/>
                  </a:lnTo>
                  <a:lnTo>
                    <a:pt x="8612" y="5438"/>
                  </a:lnTo>
                  <a:cubicBezTo>
                    <a:pt x="8591" y="5498"/>
                    <a:pt x="8571" y="5558"/>
                    <a:pt x="8550" y="5618"/>
                  </a:cubicBezTo>
                  <a:lnTo>
                    <a:pt x="8535" y="5438"/>
                  </a:lnTo>
                  <a:lnTo>
                    <a:pt x="8496" y="5438"/>
                  </a:lnTo>
                  <a:lnTo>
                    <a:pt x="8481" y="5573"/>
                  </a:lnTo>
                  <a:lnTo>
                    <a:pt x="8372" y="5573"/>
                  </a:lnTo>
                  <a:cubicBezTo>
                    <a:pt x="8341" y="5715"/>
                    <a:pt x="8310" y="5858"/>
                    <a:pt x="8279" y="6000"/>
                  </a:cubicBezTo>
                  <a:lnTo>
                    <a:pt x="8279" y="6135"/>
                  </a:lnTo>
                  <a:lnTo>
                    <a:pt x="8341" y="6135"/>
                  </a:lnTo>
                  <a:cubicBezTo>
                    <a:pt x="8336" y="6202"/>
                    <a:pt x="8331" y="6270"/>
                    <a:pt x="8326" y="6337"/>
                  </a:cubicBezTo>
                  <a:cubicBezTo>
                    <a:pt x="8334" y="6397"/>
                    <a:pt x="8341" y="6457"/>
                    <a:pt x="8349" y="6517"/>
                  </a:cubicBezTo>
                  <a:lnTo>
                    <a:pt x="8279" y="6584"/>
                  </a:lnTo>
                  <a:cubicBezTo>
                    <a:pt x="8271" y="6637"/>
                    <a:pt x="8264" y="6689"/>
                    <a:pt x="8256" y="6742"/>
                  </a:cubicBezTo>
                  <a:cubicBezTo>
                    <a:pt x="8264" y="6809"/>
                    <a:pt x="8271" y="6877"/>
                    <a:pt x="8279" y="6944"/>
                  </a:cubicBezTo>
                  <a:lnTo>
                    <a:pt x="8186" y="7034"/>
                  </a:lnTo>
                  <a:cubicBezTo>
                    <a:pt x="8176" y="7064"/>
                    <a:pt x="8165" y="7094"/>
                    <a:pt x="8155" y="7124"/>
                  </a:cubicBezTo>
                  <a:lnTo>
                    <a:pt x="8155" y="7191"/>
                  </a:lnTo>
                  <a:cubicBezTo>
                    <a:pt x="8158" y="7206"/>
                    <a:pt x="8160" y="7221"/>
                    <a:pt x="8163" y="7236"/>
                  </a:cubicBezTo>
                  <a:cubicBezTo>
                    <a:pt x="8160" y="7251"/>
                    <a:pt x="8158" y="7266"/>
                    <a:pt x="8155" y="7281"/>
                  </a:cubicBezTo>
                  <a:lnTo>
                    <a:pt x="8062" y="7371"/>
                  </a:lnTo>
                  <a:lnTo>
                    <a:pt x="8062" y="7528"/>
                  </a:lnTo>
                  <a:cubicBezTo>
                    <a:pt x="8023" y="7640"/>
                    <a:pt x="7985" y="7753"/>
                    <a:pt x="7946" y="7865"/>
                  </a:cubicBezTo>
                  <a:cubicBezTo>
                    <a:pt x="7941" y="7745"/>
                    <a:pt x="7935" y="7626"/>
                    <a:pt x="7930" y="7506"/>
                  </a:cubicBezTo>
                  <a:cubicBezTo>
                    <a:pt x="7915" y="7319"/>
                    <a:pt x="7899" y="7131"/>
                    <a:pt x="7884" y="6944"/>
                  </a:cubicBezTo>
                  <a:lnTo>
                    <a:pt x="7884" y="6539"/>
                  </a:lnTo>
                  <a:cubicBezTo>
                    <a:pt x="7899" y="6487"/>
                    <a:pt x="7915" y="6434"/>
                    <a:pt x="7930" y="6382"/>
                  </a:cubicBezTo>
                  <a:cubicBezTo>
                    <a:pt x="7946" y="6300"/>
                    <a:pt x="7961" y="6217"/>
                    <a:pt x="7977" y="6135"/>
                  </a:cubicBezTo>
                  <a:cubicBezTo>
                    <a:pt x="7998" y="6120"/>
                    <a:pt x="8018" y="6105"/>
                    <a:pt x="8039" y="6090"/>
                  </a:cubicBezTo>
                  <a:cubicBezTo>
                    <a:pt x="8093" y="5940"/>
                    <a:pt x="8148" y="5790"/>
                    <a:pt x="8202" y="5640"/>
                  </a:cubicBezTo>
                  <a:lnTo>
                    <a:pt x="8326" y="5393"/>
                  </a:lnTo>
                  <a:cubicBezTo>
                    <a:pt x="8339" y="5378"/>
                    <a:pt x="8351" y="5363"/>
                    <a:pt x="8364" y="5348"/>
                  </a:cubicBezTo>
                  <a:cubicBezTo>
                    <a:pt x="8385" y="5213"/>
                    <a:pt x="8405" y="5079"/>
                    <a:pt x="8426" y="4944"/>
                  </a:cubicBezTo>
                  <a:cubicBezTo>
                    <a:pt x="8436" y="4929"/>
                    <a:pt x="8447" y="4914"/>
                    <a:pt x="8457" y="4899"/>
                  </a:cubicBezTo>
                  <a:lnTo>
                    <a:pt x="8395" y="4831"/>
                  </a:lnTo>
                  <a:lnTo>
                    <a:pt x="8372" y="4854"/>
                  </a:lnTo>
                  <a:cubicBezTo>
                    <a:pt x="8364" y="4876"/>
                    <a:pt x="8357" y="4899"/>
                    <a:pt x="8349" y="4921"/>
                  </a:cubicBezTo>
                  <a:lnTo>
                    <a:pt x="8349" y="5124"/>
                  </a:lnTo>
                  <a:lnTo>
                    <a:pt x="8295" y="5124"/>
                  </a:lnTo>
                  <a:cubicBezTo>
                    <a:pt x="8254" y="5199"/>
                    <a:pt x="8212" y="5273"/>
                    <a:pt x="8171" y="5348"/>
                  </a:cubicBezTo>
                  <a:cubicBezTo>
                    <a:pt x="8161" y="5318"/>
                    <a:pt x="8150" y="5288"/>
                    <a:pt x="8140" y="5258"/>
                  </a:cubicBezTo>
                  <a:cubicBezTo>
                    <a:pt x="8150" y="5198"/>
                    <a:pt x="8161" y="5139"/>
                    <a:pt x="8171" y="5079"/>
                  </a:cubicBezTo>
                  <a:lnTo>
                    <a:pt x="8132" y="5124"/>
                  </a:lnTo>
                  <a:lnTo>
                    <a:pt x="7977" y="5124"/>
                  </a:lnTo>
                  <a:lnTo>
                    <a:pt x="7829" y="5461"/>
                  </a:lnTo>
                  <a:cubicBezTo>
                    <a:pt x="7819" y="5521"/>
                    <a:pt x="7808" y="5580"/>
                    <a:pt x="7798" y="5640"/>
                  </a:cubicBezTo>
                  <a:cubicBezTo>
                    <a:pt x="7803" y="5655"/>
                    <a:pt x="7809" y="5670"/>
                    <a:pt x="7814" y="5685"/>
                  </a:cubicBezTo>
                  <a:cubicBezTo>
                    <a:pt x="7827" y="5723"/>
                    <a:pt x="7840" y="5760"/>
                    <a:pt x="7853" y="5798"/>
                  </a:cubicBezTo>
                  <a:lnTo>
                    <a:pt x="7791" y="5798"/>
                  </a:lnTo>
                  <a:cubicBezTo>
                    <a:pt x="7770" y="5805"/>
                    <a:pt x="7750" y="5813"/>
                    <a:pt x="7729" y="5820"/>
                  </a:cubicBezTo>
                  <a:lnTo>
                    <a:pt x="7612" y="5843"/>
                  </a:lnTo>
                  <a:cubicBezTo>
                    <a:pt x="7622" y="5813"/>
                    <a:pt x="7633" y="5783"/>
                    <a:pt x="7643" y="5753"/>
                  </a:cubicBezTo>
                  <a:cubicBezTo>
                    <a:pt x="7635" y="5723"/>
                    <a:pt x="7628" y="5693"/>
                    <a:pt x="7620" y="5663"/>
                  </a:cubicBezTo>
                  <a:cubicBezTo>
                    <a:pt x="7592" y="5655"/>
                    <a:pt x="7563" y="5648"/>
                    <a:pt x="7535" y="5640"/>
                  </a:cubicBezTo>
                  <a:cubicBezTo>
                    <a:pt x="7517" y="5648"/>
                    <a:pt x="7499" y="5655"/>
                    <a:pt x="7481" y="5663"/>
                  </a:cubicBezTo>
                  <a:lnTo>
                    <a:pt x="7457" y="5753"/>
                  </a:lnTo>
                  <a:lnTo>
                    <a:pt x="7341" y="5730"/>
                  </a:lnTo>
                  <a:cubicBezTo>
                    <a:pt x="7323" y="5738"/>
                    <a:pt x="7305" y="5745"/>
                    <a:pt x="7287" y="5753"/>
                  </a:cubicBezTo>
                  <a:lnTo>
                    <a:pt x="7085" y="5753"/>
                  </a:lnTo>
                  <a:lnTo>
                    <a:pt x="6636" y="6876"/>
                  </a:lnTo>
                  <a:cubicBezTo>
                    <a:pt x="6638" y="6914"/>
                    <a:pt x="6641" y="6951"/>
                    <a:pt x="6643" y="6989"/>
                  </a:cubicBezTo>
                  <a:cubicBezTo>
                    <a:pt x="6669" y="6981"/>
                    <a:pt x="6695" y="6974"/>
                    <a:pt x="6721" y="6966"/>
                  </a:cubicBezTo>
                  <a:cubicBezTo>
                    <a:pt x="6724" y="7026"/>
                    <a:pt x="6726" y="7086"/>
                    <a:pt x="6729" y="7146"/>
                  </a:cubicBezTo>
                  <a:cubicBezTo>
                    <a:pt x="6742" y="7101"/>
                    <a:pt x="6754" y="7056"/>
                    <a:pt x="6767" y="7011"/>
                  </a:cubicBezTo>
                  <a:lnTo>
                    <a:pt x="6806" y="7191"/>
                  </a:lnTo>
                  <a:lnTo>
                    <a:pt x="6860" y="7056"/>
                  </a:lnTo>
                  <a:lnTo>
                    <a:pt x="6946" y="7101"/>
                  </a:lnTo>
                  <a:cubicBezTo>
                    <a:pt x="6967" y="7176"/>
                    <a:pt x="6987" y="7251"/>
                    <a:pt x="7008" y="7326"/>
                  </a:cubicBezTo>
                  <a:cubicBezTo>
                    <a:pt x="7003" y="7408"/>
                    <a:pt x="6997" y="7491"/>
                    <a:pt x="6992" y="7573"/>
                  </a:cubicBezTo>
                  <a:cubicBezTo>
                    <a:pt x="6982" y="7655"/>
                    <a:pt x="6971" y="7738"/>
                    <a:pt x="6961" y="7820"/>
                  </a:cubicBezTo>
                  <a:cubicBezTo>
                    <a:pt x="6958" y="7940"/>
                    <a:pt x="6956" y="8060"/>
                    <a:pt x="6953" y="8180"/>
                  </a:cubicBezTo>
                  <a:cubicBezTo>
                    <a:pt x="6945" y="8247"/>
                    <a:pt x="6938" y="8315"/>
                    <a:pt x="6930" y="8382"/>
                  </a:cubicBezTo>
                  <a:cubicBezTo>
                    <a:pt x="6853" y="8659"/>
                    <a:pt x="6775" y="8936"/>
                    <a:pt x="6698" y="9213"/>
                  </a:cubicBezTo>
                  <a:cubicBezTo>
                    <a:pt x="6675" y="9296"/>
                    <a:pt x="6651" y="9378"/>
                    <a:pt x="6628" y="9461"/>
                  </a:cubicBezTo>
                  <a:cubicBezTo>
                    <a:pt x="6610" y="9498"/>
                    <a:pt x="6592" y="9536"/>
                    <a:pt x="6574" y="9573"/>
                  </a:cubicBezTo>
                  <a:cubicBezTo>
                    <a:pt x="6551" y="9603"/>
                    <a:pt x="6527" y="9633"/>
                    <a:pt x="6504" y="9663"/>
                  </a:cubicBezTo>
                  <a:lnTo>
                    <a:pt x="6450" y="9573"/>
                  </a:lnTo>
                  <a:lnTo>
                    <a:pt x="6380" y="9618"/>
                  </a:lnTo>
                  <a:lnTo>
                    <a:pt x="6380" y="9213"/>
                  </a:lnTo>
                  <a:cubicBezTo>
                    <a:pt x="6398" y="9176"/>
                    <a:pt x="6416" y="9138"/>
                    <a:pt x="6434" y="9101"/>
                  </a:cubicBezTo>
                  <a:cubicBezTo>
                    <a:pt x="6442" y="9124"/>
                    <a:pt x="6449" y="9146"/>
                    <a:pt x="6457" y="9169"/>
                  </a:cubicBezTo>
                  <a:cubicBezTo>
                    <a:pt x="6473" y="9161"/>
                    <a:pt x="6488" y="9154"/>
                    <a:pt x="6504" y="9146"/>
                  </a:cubicBezTo>
                  <a:cubicBezTo>
                    <a:pt x="6519" y="9064"/>
                    <a:pt x="6535" y="8981"/>
                    <a:pt x="6550" y="8899"/>
                  </a:cubicBezTo>
                  <a:cubicBezTo>
                    <a:pt x="6558" y="8817"/>
                    <a:pt x="6566" y="8734"/>
                    <a:pt x="6574" y="8652"/>
                  </a:cubicBezTo>
                  <a:cubicBezTo>
                    <a:pt x="6584" y="8637"/>
                    <a:pt x="6595" y="8622"/>
                    <a:pt x="6605" y="8607"/>
                  </a:cubicBezTo>
                  <a:cubicBezTo>
                    <a:pt x="6602" y="8554"/>
                    <a:pt x="6600" y="8502"/>
                    <a:pt x="6597" y="8449"/>
                  </a:cubicBezTo>
                  <a:lnTo>
                    <a:pt x="6535" y="8472"/>
                  </a:lnTo>
                  <a:cubicBezTo>
                    <a:pt x="6517" y="8479"/>
                    <a:pt x="6499" y="8487"/>
                    <a:pt x="6481" y="8494"/>
                  </a:cubicBezTo>
                  <a:lnTo>
                    <a:pt x="6457" y="8584"/>
                  </a:lnTo>
                  <a:lnTo>
                    <a:pt x="6372" y="8562"/>
                  </a:lnTo>
                  <a:lnTo>
                    <a:pt x="6357" y="8337"/>
                  </a:lnTo>
                  <a:lnTo>
                    <a:pt x="6240" y="8157"/>
                  </a:lnTo>
                  <a:lnTo>
                    <a:pt x="6178" y="8157"/>
                  </a:lnTo>
                  <a:cubicBezTo>
                    <a:pt x="6150" y="7962"/>
                    <a:pt x="6121" y="7768"/>
                    <a:pt x="6093" y="7573"/>
                  </a:cubicBezTo>
                  <a:cubicBezTo>
                    <a:pt x="6078" y="7498"/>
                    <a:pt x="6062" y="7423"/>
                    <a:pt x="6047" y="7348"/>
                  </a:cubicBezTo>
                  <a:lnTo>
                    <a:pt x="5930" y="7213"/>
                  </a:lnTo>
                  <a:lnTo>
                    <a:pt x="5760" y="7258"/>
                  </a:lnTo>
                  <a:cubicBezTo>
                    <a:pt x="5742" y="7281"/>
                    <a:pt x="5723" y="7303"/>
                    <a:pt x="5705" y="7326"/>
                  </a:cubicBezTo>
                  <a:cubicBezTo>
                    <a:pt x="5703" y="7356"/>
                    <a:pt x="5700" y="7386"/>
                    <a:pt x="5698" y="7416"/>
                  </a:cubicBezTo>
                  <a:cubicBezTo>
                    <a:pt x="5713" y="7423"/>
                    <a:pt x="5729" y="7431"/>
                    <a:pt x="5744" y="7438"/>
                  </a:cubicBezTo>
                  <a:lnTo>
                    <a:pt x="5744" y="7596"/>
                  </a:lnTo>
                  <a:cubicBezTo>
                    <a:pt x="5731" y="7618"/>
                    <a:pt x="5718" y="7641"/>
                    <a:pt x="5705" y="7663"/>
                  </a:cubicBezTo>
                  <a:cubicBezTo>
                    <a:pt x="5692" y="7730"/>
                    <a:pt x="5680" y="7798"/>
                    <a:pt x="5667" y="7865"/>
                  </a:cubicBezTo>
                  <a:cubicBezTo>
                    <a:pt x="5662" y="7925"/>
                    <a:pt x="5656" y="7985"/>
                    <a:pt x="5651" y="8045"/>
                  </a:cubicBezTo>
                  <a:cubicBezTo>
                    <a:pt x="5636" y="8052"/>
                    <a:pt x="5620" y="8060"/>
                    <a:pt x="5605" y="8067"/>
                  </a:cubicBezTo>
                  <a:cubicBezTo>
                    <a:pt x="5592" y="8105"/>
                    <a:pt x="5579" y="8142"/>
                    <a:pt x="5566" y="8180"/>
                  </a:cubicBezTo>
                  <a:cubicBezTo>
                    <a:pt x="5543" y="8142"/>
                    <a:pt x="5519" y="8105"/>
                    <a:pt x="5496" y="8067"/>
                  </a:cubicBezTo>
                  <a:cubicBezTo>
                    <a:pt x="5465" y="8060"/>
                    <a:pt x="5434" y="8052"/>
                    <a:pt x="5403" y="8045"/>
                  </a:cubicBezTo>
                  <a:cubicBezTo>
                    <a:pt x="5393" y="8023"/>
                    <a:pt x="5382" y="8000"/>
                    <a:pt x="5372" y="7978"/>
                  </a:cubicBezTo>
                  <a:cubicBezTo>
                    <a:pt x="5359" y="7985"/>
                    <a:pt x="5346" y="7993"/>
                    <a:pt x="5333" y="8000"/>
                  </a:cubicBezTo>
                  <a:cubicBezTo>
                    <a:pt x="5310" y="8052"/>
                    <a:pt x="5287" y="8105"/>
                    <a:pt x="5264" y="8157"/>
                  </a:cubicBezTo>
                  <a:lnTo>
                    <a:pt x="5147" y="8225"/>
                  </a:lnTo>
                  <a:cubicBezTo>
                    <a:pt x="5124" y="8232"/>
                    <a:pt x="5101" y="8240"/>
                    <a:pt x="5078" y="8247"/>
                  </a:cubicBezTo>
                  <a:cubicBezTo>
                    <a:pt x="5049" y="8240"/>
                    <a:pt x="5021" y="8232"/>
                    <a:pt x="4992" y="8225"/>
                  </a:cubicBezTo>
                  <a:cubicBezTo>
                    <a:pt x="4984" y="8202"/>
                    <a:pt x="4977" y="8180"/>
                    <a:pt x="4969" y="8157"/>
                  </a:cubicBezTo>
                  <a:cubicBezTo>
                    <a:pt x="4961" y="8127"/>
                    <a:pt x="4954" y="8097"/>
                    <a:pt x="4946" y="8067"/>
                  </a:cubicBezTo>
                  <a:cubicBezTo>
                    <a:pt x="4933" y="8060"/>
                    <a:pt x="4920" y="8052"/>
                    <a:pt x="4907" y="8045"/>
                  </a:cubicBezTo>
                  <a:cubicBezTo>
                    <a:pt x="4899" y="8023"/>
                    <a:pt x="4892" y="8000"/>
                    <a:pt x="4884" y="7978"/>
                  </a:cubicBezTo>
                  <a:lnTo>
                    <a:pt x="4791" y="7933"/>
                  </a:lnTo>
                  <a:cubicBezTo>
                    <a:pt x="4773" y="7963"/>
                    <a:pt x="4754" y="7992"/>
                    <a:pt x="4736" y="8022"/>
                  </a:cubicBezTo>
                  <a:cubicBezTo>
                    <a:pt x="4703" y="8007"/>
                    <a:pt x="4669" y="7993"/>
                    <a:pt x="4636" y="7978"/>
                  </a:cubicBezTo>
                  <a:lnTo>
                    <a:pt x="4597" y="7843"/>
                  </a:lnTo>
                  <a:cubicBezTo>
                    <a:pt x="4594" y="7805"/>
                    <a:pt x="4592" y="7768"/>
                    <a:pt x="4589" y="7730"/>
                  </a:cubicBezTo>
                  <a:lnTo>
                    <a:pt x="4496" y="7640"/>
                  </a:lnTo>
                  <a:lnTo>
                    <a:pt x="4388" y="7573"/>
                  </a:lnTo>
                  <a:cubicBezTo>
                    <a:pt x="4365" y="7640"/>
                    <a:pt x="4341" y="7708"/>
                    <a:pt x="4318" y="7775"/>
                  </a:cubicBezTo>
                  <a:cubicBezTo>
                    <a:pt x="4333" y="7828"/>
                    <a:pt x="4349" y="7880"/>
                    <a:pt x="4364" y="7933"/>
                  </a:cubicBezTo>
                  <a:cubicBezTo>
                    <a:pt x="4362" y="7963"/>
                    <a:pt x="4359" y="7992"/>
                    <a:pt x="4357" y="8022"/>
                  </a:cubicBezTo>
                  <a:cubicBezTo>
                    <a:pt x="4341" y="8060"/>
                    <a:pt x="4326" y="8097"/>
                    <a:pt x="4310" y="8135"/>
                  </a:cubicBezTo>
                  <a:cubicBezTo>
                    <a:pt x="4300" y="8112"/>
                    <a:pt x="4289" y="8090"/>
                    <a:pt x="4279" y="8067"/>
                  </a:cubicBezTo>
                  <a:lnTo>
                    <a:pt x="4155" y="8067"/>
                  </a:lnTo>
                  <a:cubicBezTo>
                    <a:pt x="4142" y="8022"/>
                    <a:pt x="4129" y="7978"/>
                    <a:pt x="4116" y="7933"/>
                  </a:cubicBezTo>
                  <a:lnTo>
                    <a:pt x="4039" y="7888"/>
                  </a:lnTo>
                  <a:cubicBezTo>
                    <a:pt x="4016" y="7880"/>
                    <a:pt x="3992" y="7873"/>
                    <a:pt x="3969" y="7865"/>
                  </a:cubicBezTo>
                  <a:lnTo>
                    <a:pt x="3837" y="8067"/>
                  </a:lnTo>
                  <a:cubicBezTo>
                    <a:pt x="3827" y="8097"/>
                    <a:pt x="3816" y="8127"/>
                    <a:pt x="3806" y="8157"/>
                  </a:cubicBezTo>
                  <a:cubicBezTo>
                    <a:pt x="3788" y="8165"/>
                    <a:pt x="3770" y="8172"/>
                    <a:pt x="3752" y="8180"/>
                  </a:cubicBezTo>
                  <a:cubicBezTo>
                    <a:pt x="3742" y="8210"/>
                    <a:pt x="3731" y="8240"/>
                    <a:pt x="3721" y="8270"/>
                  </a:cubicBezTo>
                  <a:lnTo>
                    <a:pt x="3659" y="8270"/>
                  </a:lnTo>
                  <a:cubicBezTo>
                    <a:pt x="3654" y="8217"/>
                    <a:pt x="3648" y="8165"/>
                    <a:pt x="3643" y="8112"/>
                  </a:cubicBezTo>
                  <a:lnTo>
                    <a:pt x="3558" y="8090"/>
                  </a:lnTo>
                  <a:cubicBezTo>
                    <a:pt x="3540" y="8053"/>
                    <a:pt x="3522" y="8015"/>
                    <a:pt x="3504" y="7978"/>
                  </a:cubicBezTo>
                  <a:cubicBezTo>
                    <a:pt x="3491" y="7925"/>
                    <a:pt x="3478" y="7873"/>
                    <a:pt x="3465" y="7820"/>
                  </a:cubicBezTo>
                  <a:lnTo>
                    <a:pt x="3357" y="7865"/>
                  </a:lnTo>
                  <a:cubicBezTo>
                    <a:pt x="3328" y="7820"/>
                    <a:pt x="3300" y="7775"/>
                    <a:pt x="3271" y="7730"/>
                  </a:cubicBezTo>
                  <a:lnTo>
                    <a:pt x="3256" y="7820"/>
                  </a:lnTo>
                  <a:lnTo>
                    <a:pt x="3225" y="7820"/>
                  </a:lnTo>
                  <a:cubicBezTo>
                    <a:pt x="3207" y="7730"/>
                    <a:pt x="3189" y="7641"/>
                    <a:pt x="3171" y="7551"/>
                  </a:cubicBezTo>
                  <a:cubicBezTo>
                    <a:pt x="3150" y="7461"/>
                    <a:pt x="3130" y="7371"/>
                    <a:pt x="3109" y="7281"/>
                  </a:cubicBezTo>
                  <a:cubicBezTo>
                    <a:pt x="3086" y="7236"/>
                    <a:pt x="3062" y="7191"/>
                    <a:pt x="3039" y="7146"/>
                  </a:cubicBezTo>
                  <a:cubicBezTo>
                    <a:pt x="3036" y="7109"/>
                    <a:pt x="3034" y="7071"/>
                    <a:pt x="3031" y="7034"/>
                  </a:cubicBezTo>
                  <a:lnTo>
                    <a:pt x="2946" y="7101"/>
                  </a:lnTo>
                  <a:lnTo>
                    <a:pt x="2876" y="7213"/>
                  </a:lnTo>
                  <a:cubicBezTo>
                    <a:pt x="2850" y="7176"/>
                    <a:pt x="2824" y="7138"/>
                    <a:pt x="2798" y="7101"/>
                  </a:cubicBezTo>
                  <a:cubicBezTo>
                    <a:pt x="2772" y="7079"/>
                    <a:pt x="2747" y="7056"/>
                    <a:pt x="2721" y="7034"/>
                  </a:cubicBezTo>
                  <a:cubicBezTo>
                    <a:pt x="2708" y="7011"/>
                    <a:pt x="2695" y="6989"/>
                    <a:pt x="2682" y="6966"/>
                  </a:cubicBezTo>
                  <a:cubicBezTo>
                    <a:pt x="2677" y="6914"/>
                    <a:pt x="2672" y="6861"/>
                    <a:pt x="2667" y="6809"/>
                  </a:cubicBezTo>
                  <a:cubicBezTo>
                    <a:pt x="2641" y="6802"/>
                    <a:pt x="2615" y="6794"/>
                    <a:pt x="2589" y="6787"/>
                  </a:cubicBezTo>
                  <a:cubicBezTo>
                    <a:pt x="2561" y="6802"/>
                    <a:pt x="2532" y="6816"/>
                    <a:pt x="2504" y="6831"/>
                  </a:cubicBezTo>
                  <a:lnTo>
                    <a:pt x="2163" y="7101"/>
                  </a:lnTo>
                  <a:cubicBezTo>
                    <a:pt x="2135" y="7109"/>
                    <a:pt x="2106" y="7116"/>
                    <a:pt x="2078" y="7124"/>
                  </a:cubicBezTo>
                  <a:cubicBezTo>
                    <a:pt x="2083" y="7161"/>
                    <a:pt x="2088" y="7199"/>
                    <a:pt x="2093" y="7236"/>
                  </a:cubicBezTo>
                  <a:cubicBezTo>
                    <a:pt x="2098" y="7266"/>
                    <a:pt x="2104" y="7296"/>
                    <a:pt x="2109" y="7326"/>
                  </a:cubicBezTo>
                  <a:cubicBezTo>
                    <a:pt x="2093" y="7341"/>
                    <a:pt x="2078" y="7356"/>
                    <a:pt x="2062" y="7371"/>
                  </a:cubicBezTo>
                  <a:cubicBezTo>
                    <a:pt x="2059" y="7408"/>
                    <a:pt x="2057" y="7446"/>
                    <a:pt x="2054" y="7483"/>
                  </a:cubicBezTo>
                  <a:cubicBezTo>
                    <a:pt x="2046" y="7506"/>
                    <a:pt x="2039" y="7528"/>
                    <a:pt x="2031" y="7551"/>
                  </a:cubicBezTo>
                  <a:cubicBezTo>
                    <a:pt x="2023" y="7581"/>
                    <a:pt x="2016" y="7610"/>
                    <a:pt x="2008" y="7640"/>
                  </a:cubicBezTo>
                  <a:lnTo>
                    <a:pt x="2062" y="7685"/>
                  </a:lnTo>
                  <a:cubicBezTo>
                    <a:pt x="2072" y="7715"/>
                    <a:pt x="2083" y="7745"/>
                    <a:pt x="2093" y="7775"/>
                  </a:cubicBezTo>
                  <a:cubicBezTo>
                    <a:pt x="2080" y="7813"/>
                    <a:pt x="2067" y="7850"/>
                    <a:pt x="2054" y="7888"/>
                  </a:cubicBezTo>
                  <a:cubicBezTo>
                    <a:pt x="2020" y="7895"/>
                    <a:pt x="1987" y="7903"/>
                    <a:pt x="1953" y="7910"/>
                  </a:cubicBezTo>
                  <a:cubicBezTo>
                    <a:pt x="1940" y="7873"/>
                    <a:pt x="1928" y="7835"/>
                    <a:pt x="1915" y="7798"/>
                  </a:cubicBezTo>
                  <a:lnTo>
                    <a:pt x="1845" y="7798"/>
                  </a:lnTo>
                  <a:lnTo>
                    <a:pt x="1760" y="7910"/>
                  </a:lnTo>
                  <a:cubicBezTo>
                    <a:pt x="1739" y="7903"/>
                    <a:pt x="1719" y="7895"/>
                    <a:pt x="1698" y="7888"/>
                  </a:cubicBezTo>
                  <a:lnTo>
                    <a:pt x="1612" y="7730"/>
                  </a:lnTo>
                  <a:lnTo>
                    <a:pt x="1473" y="7663"/>
                  </a:lnTo>
                  <a:cubicBezTo>
                    <a:pt x="1452" y="7685"/>
                    <a:pt x="1432" y="7708"/>
                    <a:pt x="1411" y="7730"/>
                  </a:cubicBezTo>
                  <a:cubicBezTo>
                    <a:pt x="1380" y="7798"/>
                    <a:pt x="1349" y="7865"/>
                    <a:pt x="1318" y="7933"/>
                  </a:cubicBezTo>
                  <a:cubicBezTo>
                    <a:pt x="1315" y="7978"/>
                    <a:pt x="1313" y="8022"/>
                    <a:pt x="1310" y="8067"/>
                  </a:cubicBezTo>
                  <a:cubicBezTo>
                    <a:pt x="1300" y="8082"/>
                    <a:pt x="1289" y="8097"/>
                    <a:pt x="1279" y="8112"/>
                  </a:cubicBezTo>
                  <a:cubicBezTo>
                    <a:pt x="1269" y="8052"/>
                    <a:pt x="1258" y="7993"/>
                    <a:pt x="1248" y="7933"/>
                  </a:cubicBezTo>
                  <a:cubicBezTo>
                    <a:pt x="1233" y="7985"/>
                    <a:pt x="1217" y="8038"/>
                    <a:pt x="1202" y="8090"/>
                  </a:cubicBezTo>
                  <a:lnTo>
                    <a:pt x="1178" y="8360"/>
                  </a:lnTo>
                  <a:cubicBezTo>
                    <a:pt x="1191" y="8412"/>
                    <a:pt x="1204" y="8465"/>
                    <a:pt x="1217" y="8517"/>
                  </a:cubicBezTo>
                  <a:lnTo>
                    <a:pt x="1271" y="8562"/>
                  </a:lnTo>
                  <a:cubicBezTo>
                    <a:pt x="1287" y="8622"/>
                    <a:pt x="1302" y="8682"/>
                    <a:pt x="1318" y="8742"/>
                  </a:cubicBezTo>
                  <a:cubicBezTo>
                    <a:pt x="1323" y="8794"/>
                    <a:pt x="1328" y="8847"/>
                    <a:pt x="1333" y="8899"/>
                  </a:cubicBez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11" name="Freeform 103">
              <a:extLst>
                <a:ext uri="{FF2B5EF4-FFF2-40B4-BE49-F238E27FC236}">
                  <a16:creationId xmlns:a16="http://schemas.microsoft.com/office/drawing/2014/main" id="{56B07742-81E1-492E-B0C0-93ACA30A1F5D}"/>
                </a:ext>
              </a:extLst>
            </p:cNvPr>
            <p:cNvSpPr>
              <a:spLocks/>
            </p:cNvSpPr>
            <p:nvPr/>
          </p:nvSpPr>
          <p:spPr bwMode="gray">
            <a:xfrm>
              <a:off x="7170583" y="2102023"/>
              <a:ext cx="455696" cy="325326"/>
            </a:xfrm>
            <a:custGeom>
              <a:avLst/>
              <a:gdLst>
                <a:gd name="T0" fmla="*/ 88 w 276"/>
                <a:gd name="T1" fmla="*/ 196 h 196"/>
                <a:gd name="T2" fmla="*/ 36 w 276"/>
                <a:gd name="T3" fmla="*/ 194 h 196"/>
                <a:gd name="T4" fmla="*/ 36 w 276"/>
                <a:gd name="T5" fmla="*/ 182 h 196"/>
                <a:gd name="T6" fmla="*/ 30 w 276"/>
                <a:gd name="T7" fmla="*/ 176 h 196"/>
                <a:gd name="T8" fmla="*/ 20 w 276"/>
                <a:gd name="T9" fmla="*/ 182 h 196"/>
                <a:gd name="T10" fmla="*/ 10 w 276"/>
                <a:gd name="T11" fmla="*/ 176 h 196"/>
                <a:gd name="T12" fmla="*/ 0 w 276"/>
                <a:gd name="T13" fmla="*/ 166 h 196"/>
                <a:gd name="T14" fmla="*/ 0 w 276"/>
                <a:gd name="T15" fmla="*/ 154 h 196"/>
                <a:gd name="T16" fmla="*/ 12 w 276"/>
                <a:gd name="T17" fmla="*/ 150 h 196"/>
                <a:gd name="T18" fmla="*/ 20 w 276"/>
                <a:gd name="T19" fmla="*/ 142 h 196"/>
                <a:gd name="T20" fmla="*/ 20 w 276"/>
                <a:gd name="T21" fmla="*/ 132 h 196"/>
                <a:gd name="T22" fmla="*/ 34 w 276"/>
                <a:gd name="T23" fmla="*/ 118 h 196"/>
                <a:gd name="T24" fmla="*/ 44 w 276"/>
                <a:gd name="T25" fmla="*/ 116 h 196"/>
                <a:gd name="T26" fmla="*/ 48 w 276"/>
                <a:gd name="T27" fmla="*/ 108 h 196"/>
                <a:gd name="T28" fmla="*/ 38 w 276"/>
                <a:gd name="T29" fmla="*/ 106 h 196"/>
                <a:gd name="T30" fmla="*/ 64 w 276"/>
                <a:gd name="T31" fmla="*/ 84 h 196"/>
                <a:gd name="T32" fmla="*/ 76 w 276"/>
                <a:gd name="T33" fmla="*/ 66 h 196"/>
                <a:gd name="T34" fmla="*/ 110 w 276"/>
                <a:gd name="T35" fmla="*/ 40 h 196"/>
                <a:gd name="T36" fmla="*/ 132 w 276"/>
                <a:gd name="T37" fmla="*/ 36 h 196"/>
                <a:gd name="T38" fmla="*/ 140 w 276"/>
                <a:gd name="T39" fmla="*/ 28 h 196"/>
                <a:gd name="T40" fmla="*/ 176 w 276"/>
                <a:gd name="T41" fmla="*/ 24 h 196"/>
                <a:gd name="T42" fmla="*/ 210 w 276"/>
                <a:gd name="T43" fmla="*/ 20 h 196"/>
                <a:gd name="T44" fmla="*/ 230 w 276"/>
                <a:gd name="T45" fmla="*/ 8 h 196"/>
                <a:gd name="T46" fmla="*/ 250 w 276"/>
                <a:gd name="T47" fmla="*/ 0 h 196"/>
                <a:gd name="T48" fmla="*/ 266 w 276"/>
                <a:gd name="T49" fmla="*/ 0 h 196"/>
                <a:gd name="T50" fmla="*/ 276 w 276"/>
                <a:gd name="T51" fmla="*/ 6 h 196"/>
                <a:gd name="T52" fmla="*/ 272 w 276"/>
                <a:gd name="T53" fmla="*/ 18 h 196"/>
                <a:gd name="T54" fmla="*/ 254 w 276"/>
                <a:gd name="T55" fmla="*/ 30 h 196"/>
                <a:gd name="T56" fmla="*/ 222 w 276"/>
                <a:gd name="T57" fmla="*/ 40 h 196"/>
                <a:gd name="T58" fmla="*/ 166 w 276"/>
                <a:gd name="T59" fmla="*/ 50 h 196"/>
                <a:gd name="T60" fmla="*/ 136 w 276"/>
                <a:gd name="T61" fmla="*/ 74 h 196"/>
                <a:gd name="T62" fmla="*/ 122 w 276"/>
                <a:gd name="T63" fmla="*/ 80 h 196"/>
                <a:gd name="T64" fmla="*/ 110 w 276"/>
                <a:gd name="T65" fmla="*/ 82 h 196"/>
                <a:gd name="T66" fmla="*/ 110 w 276"/>
                <a:gd name="T67" fmla="*/ 94 h 196"/>
                <a:gd name="T68" fmla="*/ 96 w 276"/>
                <a:gd name="T69" fmla="*/ 102 h 196"/>
                <a:gd name="T70" fmla="*/ 86 w 276"/>
                <a:gd name="T71" fmla="*/ 116 h 196"/>
                <a:gd name="T72" fmla="*/ 64 w 276"/>
                <a:gd name="T73" fmla="*/ 140 h 196"/>
                <a:gd name="T74" fmla="*/ 62 w 276"/>
                <a:gd name="T75" fmla="*/ 166 h 196"/>
                <a:gd name="T76" fmla="*/ 72 w 276"/>
                <a:gd name="T77" fmla="*/ 174 h 196"/>
                <a:gd name="T78" fmla="*/ 74 w 276"/>
                <a:gd name="T79" fmla="*/ 184 h 196"/>
                <a:gd name="T80" fmla="*/ 88 w 276"/>
                <a:gd name="T81" fmla="*/ 19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76" h="196">
                  <a:moveTo>
                    <a:pt x="88" y="196"/>
                  </a:moveTo>
                  <a:lnTo>
                    <a:pt x="36" y="194"/>
                  </a:lnTo>
                  <a:lnTo>
                    <a:pt x="36" y="182"/>
                  </a:lnTo>
                  <a:lnTo>
                    <a:pt x="30" y="176"/>
                  </a:lnTo>
                  <a:lnTo>
                    <a:pt x="20" y="182"/>
                  </a:lnTo>
                  <a:lnTo>
                    <a:pt x="10" y="176"/>
                  </a:lnTo>
                  <a:lnTo>
                    <a:pt x="0" y="166"/>
                  </a:lnTo>
                  <a:lnTo>
                    <a:pt x="0" y="154"/>
                  </a:lnTo>
                  <a:lnTo>
                    <a:pt x="12" y="150"/>
                  </a:lnTo>
                  <a:lnTo>
                    <a:pt x="20" y="142"/>
                  </a:lnTo>
                  <a:lnTo>
                    <a:pt x="20" y="132"/>
                  </a:lnTo>
                  <a:lnTo>
                    <a:pt x="34" y="118"/>
                  </a:lnTo>
                  <a:lnTo>
                    <a:pt x="44" y="116"/>
                  </a:lnTo>
                  <a:lnTo>
                    <a:pt x="48" y="108"/>
                  </a:lnTo>
                  <a:lnTo>
                    <a:pt x="38" y="106"/>
                  </a:lnTo>
                  <a:lnTo>
                    <a:pt x="64" y="84"/>
                  </a:lnTo>
                  <a:lnTo>
                    <a:pt x="76" y="66"/>
                  </a:lnTo>
                  <a:lnTo>
                    <a:pt x="110" y="40"/>
                  </a:lnTo>
                  <a:lnTo>
                    <a:pt x="132" y="36"/>
                  </a:lnTo>
                  <a:lnTo>
                    <a:pt x="140" y="28"/>
                  </a:lnTo>
                  <a:lnTo>
                    <a:pt x="176" y="24"/>
                  </a:lnTo>
                  <a:lnTo>
                    <a:pt x="210" y="20"/>
                  </a:lnTo>
                  <a:lnTo>
                    <a:pt x="230" y="8"/>
                  </a:lnTo>
                  <a:lnTo>
                    <a:pt x="250" y="0"/>
                  </a:lnTo>
                  <a:lnTo>
                    <a:pt x="266" y="0"/>
                  </a:lnTo>
                  <a:lnTo>
                    <a:pt x="276" y="6"/>
                  </a:lnTo>
                  <a:lnTo>
                    <a:pt x="272" y="18"/>
                  </a:lnTo>
                  <a:lnTo>
                    <a:pt x="254" y="30"/>
                  </a:lnTo>
                  <a:lnTo>
                    <a:pt x="222" y="40"/>
                  </a:lnTo>
                  <a:lnTo>
                    <a:pt x="166" y="50"/>
                  </a:lnTo>
                  <a:lnTo>
                    <a:pt x="136" y="74"/>
                  </a:lnTo>
                  <a:lnTo>
                    <a:pt x="122" y="80"/>
                  </a:lnTo>
                  <a:lnTo>
                    <a:pt x="110" y="82"/>
                  </a:lnTo>
                  <a:lnTo>
                    <a:pt x="110" y="94"/>
                  </a:lnTo>
                  <a:lnTo>
                    <a:pt x="96" y="102"/>
                  </a:lnTo>
                  <a:lnTo>
                    <a:pt x="86" y="116"/>
                  </a:lnTo>
                  <a:lnTo>
                    <a:pt x="64" y="140"/>
                  </a:lnTo>
                  <a:lnTo>
                    <a:pt x="62" y="166"/>
                  </a:lnTo>
                  <a:lnTo>
                    <a:pt x="72" y="174"/>
                  </a:lnTo>
                  <a:lnTo>
                    <a:pt x="74" y="184"/>
                  </a:lnTo>
                  <a:lnTo>
                    <a:pt x="88" y="19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12" name="Freeform 104">
              <a:extLst>
                <a:ext uri="{FF2B5EF4-FFF2-40B4-BE49-F238E27FC236}">
                  <a16:creationId xmlns:a16="http://schemas.microsoft.com/office/drawing/2014/main" id="{BE8346B6-8C6B-490F-9AD9-0986487C0075}"/>
                </a:ext>
              </a:extLst>
            </p:cNvPr>
            <p:cNvSpPr>
              <a:spLocks/>
            </p:cNvSpPr>
            <p:nvPr/>
          </p:nvSpPr>
          <p:spPr bwMode="gray">
            <a:xfrm>
              <a:off x="8422095" y="1965917"/>
              <a:ext cx="158503" cy="86311"/>
            </a:xfrm>
            <a:custGeom>
              <a:avLst/>
              <a:gdLst>
                <a:gd name="T0" fmla="*/ 0 w 96"/>
                <a:gd name="T1" fmla="*/ 48 h 52"/>
                <a:gd name="T2" fmla="*/ 16 w 96"/>
                <a:gd name="T3" fmla="*/ 30 h 52"/>
                <a:gd name="T4" fmla="*/ 28 w 96"/>
                <a:gd name="T5" fmla="*/ 14 h 52"/>
                <a:gd name="T6" fmla="*/ 40 w 96"/>
                <a:gd name="T7" fmla="*/ 2 h 52"/>
                <a:gd name="T8" fmla="*/ 58 w 96"/>
                <a:gd name="T9" fmla="*/ 0 h 52"/>
                <a:gd name="T10" fmla="*/ 54 w 96"/>
                <a:gd name="T11" fmla="*/ 14 h 52"/>
                <a:gd name="T12" fmla="*/ 70 w 96"/>
                <a:gd name="T13" fmla="*/ 6 h 52"/>
                <a:gd name="T14" fmla="*/ 82 w 96"/>
                <a:gd name="T15" fmla="*/ 16 h 52"/>
                <a:gd name="T16" fmla="*/ 96 w 96"/>
                <a:gd name="T17" fmla="*/ 22 h 52"/>
                <a:gd name="T18" fmla="*/ 94 w 96"/>
                <a:gd name="T19" fmla="*/ 32 h 52"/>
                <a:gd name="T20" fmla="*/ 86 w 96"/>
                <a:gd name="T21" fmla="*/ 40 h 52"/>
                <a:gd name="T22" fmla="*/ 58 w 96"/>
                <a:gd name="T23" fmla="*/ 40 h 52"/>
                <a:gd name="T24" fmla="*/ 26 w 96"/>
                <a:gd name="T25" fmla="*/ 42 h 52"/>
                <a:gd name="T26" fmla="*/ 20 w 96"/>
                <a:gd name="T27" fmla="*/ 48 h 52"/>
                <a:gd name="T28" fmla="*/ 8 w 96"/>
                <a:gd name="T29" fmla="*/ 52 h 52"/>
                <a:gd name="T30" fmla="*/ 0 w 96"/>
                <a:gd name="T31" fmla="*/ 4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6" h="52">
                  <a:moveTo>
                    <a:pt x="0" y="48"/>
                  </a:moveTo>
                  <a:lnTo>
                    <a:pt x="16" y="30"/>
                  </a:lnTo>
                  <a:lnTo>
                    <a:pt x="28" y="14"/>
                  </a:lnTo>
                  <a:lnTo>
                    <a:pt x="40" y="2"/>
                  </a:lnTo>
                  <a:lnTo>
                    <a:pt x="58" y="0"/>
                  </a:lnTo>
                  <a:lnTo>
                    <a:pt x="54" y="14"/>
                  </a:lnTo>
                  <a:lnTo>
                    <a:pt x="70" y="6"/>
                  </a:lnTo>
                  <a:lnTo>
                    <a:pt x="82" y="16"/>
                  </a:lnTo>
                  <a:lnTo>
                    <a:pt x="96" y="22"/>
                  </a:lnTo>
                  <a:lnTo>
                    <a:pt x="94" y="32"/>
                  </a:lnTo>
                  <a:lnTo>
                    <a:pt x="86" y="40"/>
                  </a:lnTo>
                  <a:lnTo>
                    <a:pt x="58" y="40"/>
                  </a:lnTo>
                  <a:lnTo>
                    <a:pt x="26" y="42"/>
                  </a:lnTo>
                  <a:lnTo>
                    <a:pt x="20" y="48"/>
                  </a:lnTo>
                  <a:lnTo>
                    <a:pt x="8" y="52"/>
                  </a:lnTo>
                  <a:lnTo>
                    <a:pt x="0" y="4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13" name="Freeform 105">
              <a:extLst>
                <a:ext uri="{FF2B5EF4-FFF2-40B4-BE49-F238E27FC236}">
                  <a16:creationId xmlns:a16="http://schemas.microsoft.com/office/drawing/2014/main" id="{A2223B9B-50CE-44A8-8AFC-780400CFBBF8}"/>
                </a:ext>
              </a:extLst>
            </p:cNvPr>
            <p:cNvSpPr>
              <a:spLocks/>
            </p:cNvSpPr>
            <p:nvPr/>
          </p:nvSpPr>
          <p:spPr bwMode="gray">
            <a:xfrm>
              <a:off x="8276801" y="1919441"/>
              <a:ext cx="158503" cy="76353"/>
            </a:xfrm>
            <a:custGeom>
              <a:avLst/>
              <a:gdLst>
                <a:gd name="T0" fmla="*/ 0 w 96"/>
                <a:gd name="T1" fmla="*/ 22 h 46"/>
                <a:gd name="T2" fmla="*/ 16 w 96"/>
                <a:gd name="T3" fmla="*/ 6 h 46"/>
                <a:gd name="T4" fmla="*/ 46 w 96"/>
                <a:gd name="T5" fmla="*/ 0 h 46"/>
                <a:gd name="T6" fmla="*/ 64 w 96"/>
                <a:gd name="T7" fmla="*/ 2 h 46"/>
                <a:gd name="T8" fmla="*/ 64 w 96"/>
                <a:gd name="T9" fmla="*/ 10 h 46"/>
                <a:gd name="T10" fmla="*/ 76 w 96"/>
                <a:gd name="T11" fmla="*/ 8 h 46"/>
                <a:gd name="T12" fmla="*/ 88 w 96"/>
                <a:gd name="T13" fmla="*/ 6 h 46"/>
                <a:gd name="T14" fmla="*/ 96 w 96"/>
                <a:gd name="T15" fmla="*/ 14 h 46"/>
                <a:gd name="T16" fmla="*/ 96 w 96"/>
                <a:gd name="T17" fmla="*/ 26 h 46"/>
                <a:gd name="T18" fmla="*/ 84 w 96"/>
                <a:gd name="T19" fmla="*/ 36 h 46"/>
                <a:gd name="T20" fmla="*/ 92 w 96"/>
                <a:gd name="T21" fmla="*/ 46 h 46"/>
                <a:gd name="T22" fmla="*/ 54 w 96"/>
                <a:gd name="T23" fmla="*/ 46 h 46"/>
                <a:gd name="T24" fmla="*/ 40 w 96"/>
                <a:gd name="T25" fmla="*/ 40 h 46"/>
                <a:gd name="T26" fmla="*/ 16 w 96"/>
                <a:gd name="T27" fmla="*/ 40 h 46"/>
                <a:gd name="T28" fmla="*/ 8 w 96"/>
                <a:gd name="T29" fmla="*/ 28 h 46"/>
                <a:gd name="T30" fmla="*/ 0 w 96"/>
                <a:gd name="T31" fmla="*/ 2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6" h="46">
                  <a:moveTo>
                    <a:pt x="0" y="22"/>
                  </a:moveTo>
                  <a:lnTo>
                    <a:pt x="16" y="6"/>
                  </a:lnTo>
                  <a:lnTo>
                    <a:pt x="46" y="0"/>
                  </a:lnTo>
                  <a:lnTo>
                    <a:pt x="64" y="2"/>
                  </a:lnTo>
                  <a:lnTo>
                    <a:pt x="64" y="10"/>
                  </a:lnTo>
                  <a:lnTo>
                    <a:pt x="76" y="8"/>
                  </a:lnTo>
                  <a:lnTo>
                    <a:pt x="88" y="6"/>
                  </a:lnTo>
                  <a:lnTo>
                    <a:pt x="96" y="14"/>
                  </a:lnTo>
                  <a:lnTo>
                    <a:pt x="96" y="26"/>
                  </a:lnTo>
                  <a:lnTo>
                    <a:pt x="84" y="36"/>
                  </a:lnTo>
                  <a:lnTo>
                    <a:pt x="92" y="46"/>
                  </a:lnTo>
                  <a:lnTo>
                    <a:pt x="54" y="46"/>
                  </a:lnTo>
                  <a:lnTo>
                    <a:pt x="40" y="40"/>
                  </a:lnTo>
                  <a:lnTo>
                    <a:pt x="16" y="40"/>
                  </a:lnTo>
                  <a:lnTo>
                    <a:pt x="8" y="28"/>
                  </a:lnTo>
                  <a:lnTo>
                    <a:pt x="0" y="2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14" name="Freeform 106">
              <a:extLst>
                <a:ext uri="{FF2B5EF4-FFF2-40B4-BE49-F238E27FC236}">
                  <a16:creationId xmlns:a16="http://schemas.microsoft.com/office/drawing/2014/main" id="{C153172E-FE3C-4EB4-A4E7-F698D581BCCA}"/>
                </a:ext>
              </a:extLst>
            </p:cNvPr>
            <p:cNvSpPr>
              <a:spLocks/>
            </p:cNvSpPr>
            <p:nvPr/>
          </p:nvSpPr>
          <p:spPr bwMode="gray">
            <a:xfrm>
              <a:off x="8237174" y="1849728"/>
              <a:ext cx="138690" cy="73033"/>
            </a:xfrm>
            <a:custGeom>
              <a:avLst/>
              <a:gdLst>
                <a:gd name="T0" fmla="*/ 0 w 84"/>
                <a:gd name="T1" fmla="*/ 34 h 44"/>
                <a:gd name="T2" fmla="*/ 22 w 84"/>
                <a:gd name="T3" fmla="*/ 44 h 44"/>
                <a:gd name="T4" fmla="*/ 36 w 84"/>
                <a:gd name="T5" fmla="*/ 42 h 44"/>
                <a:gd name="T6" fmla="*/ 56 w 84"/>
                <a:gd name="T7" fmla="*/ 38 h 44"/>
                <a:gd name="T8" fmla="*/ 74 w 84"/>
                <a:gd name="T9" fmla="*/ 36 h 44"/>
                <a:gd name="T10" fmla="*/ 76 w 84"/>
                <a:gd name="T11" fmla="*/ 28 h 44"/>
                <a:gd name="T12" fmla="*/ 84 w 84"/>
                <a:gd name="T13" fmla="*/ 22 h 44"/>
                <a:gd name="T14" fmla="*/ 72 w 84"/>
                <a:gd name="T15" fmla="*/ 14 h 44"/>
                <a:gd name="T16" fmla="*/ 60 w 84"/>
                <a:gd name="T17" fmla="*/ 2 h 44"/>
                <a:gd name="T18" fmla="*/ 44 w 84"/>
                <a:gd name="T19" fmla="*/ 0 h 44"/>
                <a:gd name="T20" fmla="*/ 40 w 84"/>
                <a:gd name="T21" fmla="*/ 10 h 44"/>
                <a:gd name="T22" fmla="*/ 16 w 84"/>
                <a:gd name="T23" fmla="*/ 12 h 44"/>
                <a:gd name="T24" fmla="*/ 12 w 84"/>
                <a:gd name="T25" fmla="*/ 18 h 44"/>
                <a:gd name="T26" fmla="*/ 10 w 84"/>
                <a:gd name="T27" fmla="*/ 28 h 44"/>
                <a:gd name="T28" fmla="*/ 0 w 84"/>
                <a:gd name="T29" fmla="*/ 3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 h="44">
                  <a:moveTo>
                    <a:pt x="0" y="34"/>
                  </a:moveTo>
                  <a:lnTo>
                    <a:pt x="22" y="44"/>
                  </a:lnTo>
                  <a:lnTo>
                    <a:pt x="36" y="42"/>
                  </a:lnTo>
                  <a:lnTo>
                    <a:pt x="56" y="38"/>
                  </a:lnTo>
                  <a:lnTo>
                    <a:pt x="74" y="36"/>
                  </a:lnTo>
                  <a:lnTo>
                    <a:pt x="76" y="28"/>
                  </a:lnTo>
                  <a:lnTo>
                    <a:pt x="84" y="22"/>
                  </a:lnTo>
                  <a:lnTo>
                    <a:pt x="72" y="14"/>
                  </a:lnTo>
                  <a:lnTo>
                    <a:pt x="60" y="2"/>
                  </a:lnTo>
                  <a:lnTo>
                    <a:pt x="44" y="0"/>
                  </a:lnTo>
                  <a:lnTo>
                    <a:pt x="40" y="10"/>
                  </a:lnTo>
                  <a:lnTo>
                    <a:pt x="16" y="12"/>
                  </a:lnTo>
                  <a:lnTo>
                    <a:pt x="12" y="18"/>
                  </a:lnTo>
                  <a:lnTo>
                    <a:pt x="10" y="28"/>
                  </a:lnTo>
                  <a:lnTo>
                    <a:pt x="0" y="3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15" name="Freeform 107">
              <a:extLst>
                <a:ext uri="{FF2B5EF4-FFF2-40B4-BE49-F238E27FC236}">
                  <a16:creationId xmlns:a16="http://schemas.microsoft.com/office/drawing/2014/main" id="{0FFEF5BE-C749-48E1-AD69-E6622BD89A7E}"/>
                </a:ext>
              </a:extLst>
            </p:cNvPr>
            <p:cNvSpPr>
              <a:spLocks/>
            </p:cNvSpPr>
            <p:nvPr/>
          </p:nvSpPr>
          <p:spPr bwMode="gray">
            <a:xfrm>
              <a:off x="9412738" y="2151817"/>
              <a:ext cx="211337" cy="73033"/>
            </a:xfrm>
            <a:custGeom>
              <a:avLst/>
              <a:gdLst>
                <a:gd name="T0" fmla="*/ 38 w 128"/>
                <a:gd name="T1" fmla="*/ 42 h 44"/>
                <a:gd name="T2" fmla="*/ 26 w 128"/>
                <a:gd name="T3" fmla="*/ 44 h 44"/>
                <a:gd name="T4" fmla="*/ 2 w 128"/>
                <a:gd name="T5" fmla="*/ 32 h 44"/>
                <a:gd name="T6" fmla="*/ 0 w 128"/>
                <a:gd name="T7" fmla="*/ 20 h 44"/>
                <a:gd name="T8" fmla="*/ 6 w 128"/>
                <a:gd name="T9" fmla="*/ 6 h 44"/>
                <a:gd name="T10" fmla="*/ 18 w 128"/>
                <a:gd name="T11" fmla="*/ 0 h 44"/>
                <a:gd name="T12" fmla="*/ 30 w 128"/>
                <a:gd name="T13" fmla="*/ 0 h 44"/>
                <a:gd name="T14" fmla="*/ 46 w 128"/>
                <a:gd name="T15" fmla="*/ 8 h 44"/>
                <a:gd name="T16" fmla="*/ 58 w 128"/>
                <a:gd name="T17" fmla="*/ 16 h 44"/>
                <a:gd name="T18" fmla="*/ 64 w 128"/>
                <a:gd name="T19" fmla="*/ 4 h 44"/>
                <a:gd name="T20" fmla="*/ 76 w 128"/>
                <a:gd name="T21" fmla="*/ 4 h 44"/>
                <a:gd name="T22" fmla="*/ 86 w 128"/>
                <a:gd name="T23" fmla="*/ 10 h 44"/>
                <a:gd name="T24" fmla="*/ 100 w 128"/>
                <a:gd name="T25" fmla="*/ 8 h 44"/>
                <a:gd name="T26" fmla="*/ 120 w 128"/>
                <a:gd name="T27" fmla="*/ 14 h 44"/>
                <a:gd name="T28" fmla="*/ 128 w 128"/>
                <a:gd name="T29" fmla="*/ 20 h 44"/>
                <a:gd name="T30" fmla="*/ 120 w 128"/>
                <a:gd name="T31" fmla="*/ 32 h 44"/>
                <a:gd name="T32" fmla="*/ 104 w 128"/>
                <a:gd name="T33" fmla="*/ 36 h 44"/>
                <a:gd name="T34" fmla="*/ 92 w 128"/>
                <a:gd name="T35" fmla="*/ 32 h 44"/>
                <a:gd name="T36" fmla="*/ 86 w 128"/>
                <a:gd name="T37" fmla="*/ 24 h 44"/>
                <a:gd name="T38" fmla="*/ 90 w 128"/>
                <a:gd name="T39" fmla="*/ 14 h 44"/>
                <a:gd name="T40" fmla="*/ 78 w 128"/>
                <a:gd name="T41" fmla="*/ 16 h 44"/>
                <a:gd name="T42" fmla="*/ 80 w 128"/>
                <a:gd name="T43" fmla="*/ 24 h 44"/>
                <a:gd name="T44" fmla="*/ 84 w 128"/>
                <a:gd name="T45" fmla="*/ 30 h 44"/>
                <a:gd name="T46" fmla="*/ 88 w 128"/>
                <a:gd name="T47" fmla="*/ 38 h 44"/>
                <a:gd name="T48" fmla="*/ 78 w 128"/>
                <a:gd name="T49" fmla="*/ 38 h 44"/>
                <a:gd name="T50" fmla="*/ 62 w 128"/>
                <a:gd name="T51" fmla="*/ 36 h 44"/>
                <a:gd name="T52" fmla="*/ 48 w 128"/>
                <a:gd name="T53" fmla="*/ 36 h 44"/>
                <a:gd name="T54" fmla="*/ 38 w 128"/>
                <a:gd name="T55" fmla="*/ 34 h 44"/>
                <a:gd name="T56" fmla="*/ 38 w 128"/>
                <a:gd name="T57" fmla="*/ 4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8" h="44">
                  <a:moveTo>
                    <a:pt x="38" y="42"/>
                  </a:moveTo>
                  <a:lnTo>
                    <a:pt x="26" y="44"/>
                  </a:lnTo>
                  <a:lnTo>
                    <a:pt x="2" y="32"/>
                  </a:lnTo>
                  <a:lnTo>
                    <a:pt x="0" y="20"/>
                  </a:lnTo>
                  <a:lnTo>
                    <a:pt x="6" y="6"/>
                  </a:lnTo>
                  <a:lnTo>
                    <a:pt x="18" y="0"/>
                  </a:lnTo>
                  <a:lnTo>
                    <a:pt x="30" y="0"/>
                  </a:lnTo>
                  <a:lnTo>
                    <a:pt x="46" y="8"/>
                  </a:lnTo>
                  <a:lnTo>
                    <a:pt x="58" y="16"/>
                  </a:lnTo>
                  <a:lnTo>
                    <a:pt x="64" y="4"/>
                  </a:lnTo>
                  <a:lnTo>
                    <a:pt x="76" y="4"/>
                  </a:lnTo>
                  <a:lnTo>
                    <a:pt x="86" y="10"/>
                  </a:lnTo>
                  <a:lnTo>
                    <a:pt x="100" y="8"/>
                  </a:lnTo>
                  <a:lnTo>
                    <a:pt x="120" y="14"/>
                  </a:lnTo>
                  <a:lnTo>
                    <a:pt x="128" y="20"/>
                  </a:lnTo>
                  <a:lnTo>
                    <a:pt x="120" y="32"/>
                  </a:lnTo>
                  <a:lnTo>
                    <a:pt x="104" y="36"/>
                  </a:lnTo>
                  <a:lnTo>
                    <a:pt x="92" y="32"/>
                  </a:lnTo>
                  <a:lnTo>
                    <a:pt x="86" y="24"/>
                  </a:lnTo>
                  <a:lnTo>
                    <a:pt x="90" y="14"/>
                  </a:lnTo>
                  <a:lnTo>
                    <a:pt x="78" y="16"/>
                  </a:lnTo>
                  <a:lnTo>
                    <a:pt x="80" y="24"/>
                  </a:lnTo>
                  <a:lnTo>
                    <a:pt x="84" y="30"/>
                  </a:lnTo>
                  <a:lnTo>
                    <a:pt x="88" y="38"/>
                  </a:lnTo>
                  <a:lnTo>
                    <a:pt x="78" y="38"/>
                  </a:lnTo>
                  <a:lnTo>
                    <a:pt x="62" y="36"/>
                  </a:lnTo>
                  <a:lnTo>
                    <a:pt x="48" y="36"/>
                  </a:lnTo>
                  <a:lnTo>
                    <a:pt x="38" y="34"/>
                  </a:lnTo>
                  <a:lnTo>
                    <a:pt x="38" y="4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16" name="Freeform 108">
              <a:extLst>
                <a:ext uri="{FF2B5EF4-FFF2-40B4-BE49-F238E27FC236}">
                  <a16:creationId xmlns:a16="http://schemas.microsoft.com/office/drawing/2014/main" id="{1C210222-5811-4AE1-A280-98B50AE7D8F0}"/>
                </a:ext>
              </a:extLst>
            </p:cNvPr>
            <p:cNvSpPr>
              <a:spLocks/>
            </p:cNvSpPr>
            <p:nvPr/>
          </p:nvSpPr>
          <p:spPr bwMode="gray">
            <a:xfrm>
              <a:off x="9650492" y="2185015"/>
              <a:ext cx="122179" cy="39836"/>
            </a:xfrm>
            <a:custGeom>
              <a:avLst/>
              <a:gdLst>
                <a:gd name="T0" fmla="*/ 6 w 74"/>
                <a:gd name="T1" fmla="*/ 0 h 24"/>
                <a:gd name="T2" fmla="*/ 16 w 74"/>
                <a:gd name="T3" fmla="*/ 4 h 24"/>
                <a:gd name="T4" fmla="*/ 36 w 74"/>
                <a:gd name="T5" fmla="*/ 4 h 24"/>
                <a:gd name="T6" fmla="*/ 50 w 74"/>
                <a:gd name="T7" fmla="*/ 8 h 24"/>
                <a:gd name="T8" fmla="*/ 68 w 74"/>
                <a:gd name="T9" fmla="*/ 10 h 24"/>
                <a:gd name="T10" fmla="*/ 74 w 74"/>
                <a:gd name="T11" fmla="*/ 14 h 24"/>
                <a:gd name="T12" fmla="*/ 60 w 74"/>
                <a:gd name="T13" fmla="*/ 20 h 24"/>
                <a:gd name="T14" fmla="*/ 48 w 74"/>
                <a:gd name="T15" fmla="*/ 24 h 24"/>
                <a:gd name="T16" fmla="*/ 36 w 74"/>
                <a:gd name="T17" fmla="*/ 24 h 24"/>
                <a:gd name="T18" fmla="*/ 20 w 74"/>
                <a:gd name="T19" fmla="*/ 20 h 24"/>
                <a:gd name="T20" fmla="*/ 4 w 74"/>
                <a:gd name="T21" fmla="*/ 16 h 24"/>
                <a:gd name="T22" fmla="*/ 0 w 74"/>
                <a:gd name="T23" fmla="*/ 8 h 24"/>
                <a:gd name="T24" fmla="*/ 6 w 74"/>
                <a:gd name="T2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4" h="24">
                  <a:moveTo>
                    <a:pt x="6" y="0"/>
                  </a:moveTo>
                  <a:lnTo>
                    <a:pt x="16" y="4"/>
                  </a:lnTo>
                  <a:lnTo>
                    <a:pt x="36" y="4"/>
                  </a:lnTo>
                  <a:lnTo>
                    <a:pt x="50" y="8"/>
                  </a:lnTo>
                  <a:lnTo>
                    <a:pt x="68" y="10"/>
                  </a:lnTo>
                  <a:lnTo>
                    <a:pt x="74" y="14"/>
                  </a:lnTo>
                  <a:lnTo>
                    <a:pt x="60" y="20"/>
                  </a:lnTo>
                  <a:lnTo>
                    <a:pt x="48" y="24"/>
                  </a:lnTo>
                  <a:lnTo>
                    <a:pt x="36" y="24"/>
                  </a:lnTo>
                  <a:lnTo>
                    <a:pt x="20" y="20"/>
                  </a:lnTo>
                  <a:lnTo>
                    <a:pt x="4" y="16"/>
                  </a:lnTo>
                  <a:lnTo>
                    <a:pt x="0" y="8"/>
                  </a:lnTo>
                  <a:lnTo>
                    <a:pt x="6"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17" name="Freeform 109">
              <a:extLst>
                <a:ext uri="{FF2B5EF4-FFF2-40B4-BE49-F238E27FC236}">
                  <a16:creationId xmlns:a16="http://schemas.microsoft.com/office/drawing/2014/main" id="{4E0D1C02-7CEF-453D-9452-07F889A05D9D}"/>
                </a:ext>
              </a:extLst>
            </p:cNvPr>
            <p:cNvSpPr>
              <a:spLocks/>
            </p:cNvSpPr>
            <p:nvPr/>
          </p:nvSpPr>
          <p:spPr bwMode="gray">
            <a:xfrm>
              <a:off x="10502446" y="2377554"/>
              <a:ext cx="95762" cy="39836"/>
            </a:xfrm>
            <a:custGeom>
              <a:avLst/>
              <a:gdLst>
                <a:gd name="T0" fmla="*/ 0 w 58"/>
                <a:gd name="T1" fmla="*/ 16 h 24"/>
                <a:gd name="T2" fmla="*/ 2 w 58"/>
                <a:gd name="T3" fmla="*/ 24 h 24"/>
                <a:gd name="T4" fmla="*/ 10 w 58"/>
                <a:gd name="T5" fmla="*/ 24 h 24"/>
                <a:gd name="T6" fmla="*/ 24 w 58"/>
                <a:gd name="T7" fmla="*/ 24 h 24"/>
                <a:gd name="T8" fmla="*/ 46 w 58"/>
                <a:gd name="T9" fmla="*/ 20 h 24"/>
                <a:gd name="T10" fmla="*/ 58 w 58"/>
                <a:gd name="T11" fmla="*/ 18 h 24"/>
                <a:gd name="T12" fmla="*/ 58 w 58"/>
                <a:gd name="T13" fmla="*/ 8 h 24"/>
                <a:gd name="T14" fmla="*/ 48 w 58"/>
                <a:gd name="T15" fmla="*/ 4 h 24"/>
                <a:gd name="T16" fmla="*/ 36 w 58"/>
                <a:gd name="T17" fmla="*/ 0 h 24"/>
                <a:gd name="T18" fmla="*/ 22 w 58"/>
                <a:gd name="T19" fmla="*/ 2 h 24"/>
                <a:gd name="T20" fmla="*/ 14 w 58"/>
                <a:gd name="T21" fmla="*/ 8 h 24"/>
                <a:gd name="T22" fmla="*/ 0 w 58"/>
                <a:gd name="T23"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8" h="24">
                  <a:moveTo>
                    <a:pt x="0" y="16"/>
                  </a:moveTo>
                  <a:lnTo>
                    <a:pt x="2" y="24"/>
                  </a:lnTo>
                  <a:lnTo>
                    <a:pt x="10" y="24"/>
                  </a:lnTo>
                  <a:lnTo>
                    <a:pt x="24" y="24"/>
                  </a:lnTo>
                  <a:lnTo>
                    <a:pt x="46" y="20"/>
                  </a:lnTo>
                  <a:lnTo>
                    <a:pt x="58" y="18"/>
                  </a:lnTo>
                  <a:lnTo>
                    <a:pt x="58" y="8"/>
                  </a:lnTo>
                  <a:lnTo>
                    <a:pt x="48" y="4"/>
                  </a:lnTo>
                  <a:lnTo>
                    <a:pt x="36" y="0"/>
                  </a:lnTo>
                  <a:lnTo>
                    <a:pt x="22" y="2"/>
                  </a:lnTo>
                  <a:lnTo>
                    <a:pt x="14" y="8"/>
                  </a:lnTo>
                  <a:lnTo>
                    <a:pt x="0" y="1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18" name="Freeform 110">
              <a:extLst>
                <a:ext uri="{FF2B5EF4-FFF2-40B4-BE49-F238E27FC236}">
                  <a16:creationId xmlns:a16="http://schemas.microsoft.com/office/drawing/2014/main" id="{DD57D767-EC9F-4BB8-80B7-E61EE01ACF74}"/>
                </a:ext>
              </a:extLst>
            </p:cNvPr>
            <p:cNvSpPr>
              <a:spLocks/>
            </p:cNvSpPr>
            <p:nvPr/>
          </p:nvSpPr>
          <p:spPr bwMode="gray">
            <a:xfrm>
              <a:off x="9534917" y="3101239"/>
              <a:ext cx="69344" cy="288810"/>
            </a:xfrm>
            <a:custGeom>
              <a:avLst/>
              <a:gdLst>
                <a:gd name="T0" fmla="*/ 0 w 42"/>
                <a:gd name="T1" fmla="*/ 166 h 174"/>
                <a:gd name="T2" fmla="*/ 6 w 42"/>
                <a:gd name="T3" fmla="*/ 174 h 174"/>
                <a:gd name="T4" fmla="*/ 10 w 42"/>
                <a:gd name="T5" fmla="*/ 160 h 174"/>
                <a:gd name="T6" fmla="*/ 18 w 42"/>
                <a:gd name="T7" fmla="*/ 162 h 174"/>
                <a:gd name="T8" fmla="*/ 24 w 42"/>
                <a:gd name="T9" fmla="*/ 170 h 174"/>
                <a:gd name="T10" fmla="*/ 26 w 42"/>
                <a:gd name="T11" fmla="*/ 162 h 174"/>
                <a:gd name="T12" fmla="*/ 22 w 42"/>
                <a:gd name="T13" fmla="*/ 154 h 174"/>
                <a:gd name="T14" fmla="*/ 14 w 42"/>
                <a:gd name="T15" fmla="*/ 144 h 174"/>
                <a:gd name="T16" fmla="*/ 10 w 42"/>
                <a:gd name="T17" fmla="*/ 134 h 174"/>
                <a:gd name="T18" fmla="*/ 14 w 42"/>
                <a:gd name="T19" fmla="*/ 126 h 174"/>
                <a:gd name="T20" fmla="*/ 18 w 42"/>
                <a:gd name="T21" fmla="*/ 114 h 174"/>
                <a:gd name="T22" fmla="*/ 22 w 42"/>
                <a:gd name="T23" fmla="*/ 108 h 174"/>
                <a:gd name="T24" fmla="*/ 30 w 42"/>
                <a:gd name="T25" fmla="*/ 106 h 174"/>
                <a:gd name="T26" fmla="*/ 42 w 42"/>
                <a:gd name="T27" fmla="*/ 116 h 174"/>
                <a:gd name="T28" fmla="*/ 42 w 42"/>
                <a:gd name="T29" fmla="*/ 104 h 174"/>
                <a:gd name="T30" fmla="*/ 32 w 42"/>
                <a:gd name="T31" fmla="*/ 88 h 174"/>
                <a:gd name="T32" fmla="*/ 28 w 42"/>
                <a:gd name="T33" fmla="*/ 62 h 174"/>
                <a:gd name="T34" fmla="*/ 24 w 42"/>
                <a:gd name="T35" fmla="*/ 42 h 174"/>
                <a:gd name="T36" fmla="*/ 22 w 42"/>
                <a:gd name="T37" fmla="*/ 26 h 174"/>
                <a:gd name="T38" fmla="*/ 20 w 42"/>
                <a:gd name="T39" fmla="*/ 12 h 174"/>
                <a:gd name="T40" fmla="*/ 16 w 42"/>
                <a:gd name="T41" fmla="*/ 0 h 174"/>
                <a:gd name="T42" fmla="*/ 12 w 42"/>
                <a:gd name="T43" fmla="*/ 6 h 174"/>
                <a:gd name="T44" fmla="*/ 12 w 42"/>
                <a:gd name="T45" fmla="*/ 16 h 174"/>
                <a:gd name="T46" fmla="*/ 2 w 42"/>
                <a:gd name="T47" fmla="*/ 20 h 174"/>
                <a:gd name="T48" fmla="*/ 2 w 42"/>
                <a:gd name="T49" fmla="*/ 36 h 174"/>
                <a:gd name="T50" fmla="*/ 2 w 42"/>
                <a:gd name="T51" fmla="*/ 50 h 174"/>
                <a:gd name="T52" fmla="*/ 2 w 42"/>
                <a:gd name="T53" fmla="*/ 62 h 174"/>
                <a:gd name="T54" fmla="*/ 8 w 42"/>
                <a:gd name="T55" fmla="*/ 70 h 174"/>
                <a:gd name="T56" fmla="*/ 6 w 42"/>
                <a:gd name="T57" fmla="*/ 82 h 174"/>
                <a:gd name="T58" fmla="*/ 6 w 42"/>
                <a:gd name="T59" fmla="*/ 102 h 174"/>
                <a:gd name="T60" fmla="*/ 6 w 42"/>
                <a:gd name="T61" fmla="*/ 126 h 174"/>
                <a:gd name="T62" fmla="*/ 6 w 42"/>
                <a:gd name="T63" fmla="*/ 146 h 174"/>
                <a:gd name="T64" fmla="*/ 6 w 42"/>
                <a:gd name="T65" fmla="*/ 158 h 174"/>
                <a:gd name="T66" fmla="*/ 0 w 42"/>
                <a:gd name="T67" fmla="*/ 16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2" h="174">
                  <a:moveTo>
                    <a:pt x="0" y="166"/>
                  </a:moveTo>
                  <a:lnTo>
                    <a:pt x="6" y="174"/>
                  </a:lnTo>
                  <a:lnTo>
                    <a:pt x="10" y="160"/>
                  </a:lnTo>
                  <a:lnTo>
                    <a:pt x="18" y="162"/>
                  </a:lnTo>
                  <a:lnTo>
                    <a:pt x="24" y="170"/>
                  </a:lnTo>
                  <a:lnTo>
                    <a:pt x="26" y="162"/>
                  </a:lnTo>
                  <a:lnTo>
                    <a:pt x="22" y="154"/>
                  </a:lnTo>
                  <a:lnTo>
                    <a:pt x="14" y="144"/>
                  </a:lnTo>
                  <a:lnTo>
                    <a:pt x="10" y="134"/>
                  </a:lnTo>
                  <a:lnTo>
                    <a:pt x="14" y="126"/>
                  </a:lnTo>
                  <a:lnTo>
                    <a:pt x="18" y="114"/>
                  </a:lnTo>
                  <a:lnTo>
                    <a:pt x="22" y="108"/>
                  </a:lnTo>
                  <a:lnTo>
                    <a:pt x="30" y="106"/>
                  </a:lnTo>
                  <a:lnTo>
                    <a:pt x="42" y="116"/>
                  </a:lnTo>
                  <a:lnTo>
                    <a:pt x="42" y="104"/>
                  </a:lnTo>
                  <a:lnTo>
                    <a:pt x="32" y="88"/>
                  </a:lnTo>
                  <a:lnTo>
                    <a:pt x="28" y="62"/>
                  </a:lnTo>
                  <a:lnTo>
                    <a:pt x="24" y="42"/>
                  </a:lnTo>
                  <a:lnTo>
                    <a:pt x="22" y="26"/>
                  </a:lnTo>
                  <a:lnTo>
                    <a:pt x="20" y="12"/>
                  </a:lnTo>
                  <a:lnTo>
                    <a:pt x="16" y="0"/>
                  </a:lnTo>
                  <a:lnTo>
                    <a:pt x="12" y="6"/>
                  </a:lnTo>
                  <a:lnTo>
                    <a:pt x="12" y="16"/>
                  </a:lnTo>
                  <a:lnTo>
                    <a:pt x="2" y="20"/>
                  </a:lnTo>
                  <a:lnTo>
                    <a:pt x="2" y="36"/>
                  </a:lnTo>
                  <a:lnTo>
                    <a:pt x="2" y="50"/>
                  </a:lnTo>
                  <a:lnTo>
                    <a:pt x="2" y="62"/>
                  </a:lnTo>
                  <a:lnTo>
                    <a:pt x="8" y="70"/>
                  </a:lnTo>
                  <a:lnTo>
                    <a:pt x="6" y="82"/>
                  </a:lnTo>
                  <a:lnTo>
                    <a:pt x="6" y="102"/>
                  </a:lnTo>
                  <a:lnTo>
                    <a:pt x="6" y="126"/>
                  </a:lnTo>
                  <a:lnTo>
                    <a:pt x="6" y="146"/>
                  </a:lnTo>
                  <a:lnTo>
                    <a:pt x="6" y="158"/>
                  </a:lnTo>
                  <a:lnTo>
                    <a:pt x="0" y="16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19" name="Freeform 111">
              <a:extLst>
                <a:ext uri="{FF2B5EF4-FFF2-40B4-BE49-F238E27FC236}">
                  <a16:creationId xmlns:a16="http://schemas.microsoft.com/office/drawing/2014/main" id="{3245B4F7-0224-4E0F-B2BE-BC1E0F756A1C}"/>
                </a:ext>
              </a:extLst>
            </p:cNvPr>
            <p:cNvSpPr>
              <a:spLocks/>
            </p:cNvSpPr>
            <p:nvPr/>
          </p:nvSpPr>
          <p:spPr bwMode="gray">
            <a:xfrm>
              <a:off x="6992268" y="3585910"/>
              <a:ext cx="39626" cy="33197"/>
            </a:xfrm>
            <a:custGeom>
              <a:avLst/>
              <a:gdLst>
                <a:gd name="T0" fmla="*/ 22 w 24"/>
                <a:gd name="T1" fmla="*/ 20 h 20"/>
                <a:gd name="T2" fmla="*/ 14 w 24"/>
                <a:gd name="T3" fmla="*/ 16 h 20"/>
                <a:gd name="T4" fmla="*/ 8 w 24"/>
                <a:gd name="T5" fmla="*/ 12 h 20"/>
                <a:gd name="T6" fmla="*/ 0 w 24"/>
                <a:gd name="T7" fmla="*/ 4 h 20"/>
                <a:gd name="T8" fmla="*/ 2 w 24"/>
                <a:gd name="T9" fmla="*/ 0 h 20"/>
                <a:gd name="T10" fmla="*/ 10 w 24"/>
                <a:gd name="T11" fmla="*/ 0 h 20"/>
                <a:gd name="T12" fmla="*/ 16 w 24"/>
                <a:gd name="T13" fmla="*/ 4 h 20"/>
                <a:gd name="T14" fmla="*/ 22 w 24"/>
                <a:gd name="T15" fmla="*/ 6 h 20"/>
                <a:gd name="T16" fmla="*/ 24 w 24"/>
                <a:gd name="T17" fmla="*/ 14 h 20"/>
                <a:gd name="T18" fmla="*/ 22 w 24"/>
                <a:gd name="T19"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0">
                  <a:moveTo>
                    <a:pt x="22" y="20"/>
                  </a:moveTo>
                  <a:lnTo>
                    <a:pt x="14" y="16"/>
                  </a:lnTo>
                  <a:lnTo>
                    <a:pt x="8" y="12"/>
                  </a:lnTo>
                  <a:lnTo>
                    <a:pt x="0" y="4"/>
                  </a:lnTo>
                  <a:lnTo>
                    <a:pt x="2" y="0"/>
                  </a:lnTo>
                  <a:lnTo>
                    <a:pt x="10" y="0"/>
                  </a:lnTo>
                  <a:lnTo>
                    <a:pt x="16" y="4"/>
                  </a:lnTo>
                  <a:lnTo>
                    <a:pt x="22" y="6"/>
                  </a:lnTo>
                  <a:lnTo>
                    <a:pt x="24" y="14"/>
                  </a:lnTo>
                  <a:lnTo>
                    <a:pt x="22" y="2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20" name="Freeform 112">
              <a:extLst>
                <a:ext uri="{FF2B5EF4-FFF2-40B4-BE49-F238E27FC236}">
                  <a16:creationId xmlns:a16="http://schemas.microsoft.com/office/drawing/2014/main" id="{12099CD8-BF4C-46FA-BAC3-A3018363E4E4}"/>
                </a:ext>
              </a:extLst>
            </p:cNvPr>
            <p:cNvSpPr>
              <a:spLocks/>
            </p:cNvSpPr>
            <p:nvPr/>
          </p:nvSpPr>
          <p:spPr bwMode="gray">
            <a:xfrm>
              <a:off x="6671960" y="3718695"/>
              <a:ext cx="49532" cy="26557"/>
            </a:xfrm>
            <a:custGeom>
              <a:avLst/>
              <a:gdLst>
                <a:gd name="T0" fmla="*/ 8 w 30"/>
                <a:gd name="T1" fmla="*/ 6 h 16"/>
                <a:gd name="T2" fmla="*/ 16 w 30"/>
                <a:gd name="T3" fmla="*/ 4 h 16"/>
                <a:gd name="T4" fmla="*/ 24 w 30"/>
                <a:gd name="T5" fmla="*/ 4 h 16"/>
                <a:gd name="T6" fmla="*/ 30 w 30"/>
                <a:gd name="T7" fmla="*/ 0 h 16"/>
                <a:gd name="T8" fmla="*/ 22 w 30"/>
                <a:gd name="T9" fmla="*/ 8 h 16"/>
                <a:gd name="T10" fmla="*/ 18 w 30"/>
                <a:gd name="T11" fmla="*/ 12 h 16"/>
                <a:gd name="T12" fmla="*/ 12 w 30"/>
                <a:gd name="T13" fmla="*/ 16 h 16"/>
                <a:gd name="T14" fmla="*/ 4 w 30"/>
                <a:gd name="T15" fmla="*/ 16 h 16"/>
                <a:gd name="T16" fmla="*/ 0 w 30"/>
                <a:gd name="T17" fmla="*/ 12 h 16"/>
                <a:gd name="T18" fmla="*/ 0 w 30"/>
                <a:gd name="T19" fmla="*/ 6 h 16"/>
                <a:gd name="T20" fmla="*/ 8 w 30"/>
                <a:gd name="T21" fmla="*/ 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16">
                  <a:moveTo>
                    <a:pt x="8" y="6"/>
                  </a:moveTo>
                  <a:lnTo>
                    <a:pt x="16" y="4"/>
                  </a:lnTo>
                  <a:lnTo>
                    <a:pt x="24" y="4"/>
                  </a:lnTo>
                  <a:lnTo>
                    <a:pt x="30" y="0"/>
                  </a:lnTo>
                  <a:lnTo>
                    <a:pt x="22" y="8"/>
                  </a:lnTo>
                  <a:lnTo>
                    <a:pt x="18" y="12"/>
                  </a:lnTo>
                  <a:lnTo>
                    <a:pt x="12" y="16"/>
                  </a:lnTo>
                  <a:lnTo>
                    <a:pt x="4" y="16"/>
                  </a:lnTo>
                  <a:lnTo>
                    <a:pt x="0" y="12"/>
                  </a:lnTo>
                  <a:lnTo>
                    <a:pt x="0" y="6"/>
                  </a:lnTo>
                  <a:lnTo>
                    <a:pt x="8" y="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21" name="Freeform 113">
              <a:extLst>
                <a:ext uri="{FF2B5EF4-FFF2-40B4-BE49-F238E27FC236}">
                  <a16:creationId xmlns:a16="http://schemas.microsoft.com/office/drawing/2014/main" id="{A9F2D23A-6D80-479B-91F2-3B3B792C2D48}"/>
                </a:ext>
              </a:extLst>
            </p:cNvPr>
            <p:cNvSpPr>
              <a:spLocks/>
            </p:cNvSpPr>
            <p:nvPr/>
          </p:nvSpPr>
          <p:spPr bwMode="gray">
            <a:xfrm>
              <a:off x="6510154" y="3516196"/>
              <a:ext cx="482113" cy="185901"/>
            </a:xfrm>
            <a:custGeom>
              <a:avLst/>
              <a:gdLst>
                <a:gd name="T0" fmla="*/ 0 w 292"/>
                <a:gd name="T1" fmla="*/ 46 h 112"/>
                <a:gd name="T2" fmla="*/ 6 w 292"/>
                <a:gd name="T3" fmla="*/ 34 h 112"/>
                <a:gd name="T4" fmla="*/ 26 w 292"/>
                <a:gd name="T5" fmla="*/ 34 h 112"/>
                <a:gd name="T6" fmla="*/ 46 w 292"/>
                <a:gd name="T7" fmla="*/ 34 h 112"/>
                <a:gd name="T8" fmla="*/ 52 w 292"/>
                <a:gd name="T9" fmla="*/ 26 h 112"/>
                <a:gd name="T10" fmla="*/ 52 w 292"/>
                <a:gd name="T11" fmla="*/ 22 h 112"/>
                <a:gd name="T12" fmla="*/ 46 w 292"/>
                <a:gd name="T13" fmla="*/ 16 h 112"/>
                <a:gd name="T14" fmla="*/ 82 w 292"/>
                <a:gd name="T15" fmla="*/ 18 h 112"/>
                <a:gd name="T16" fmla="*/ 110 w 292"/>
                <a:gd name="T17" fmla="*/ 0 h 112"/>
                <a:gd name="T18" fmla="*/ 146 w 292"/>
                <a:gd name="T19" fmla="*/ 12 h 112"/>
                <a:gd name="T20" fmla="*/ 160 w 292"/>
                <a:gd name="T21" fmla="*/ 16 h 112"/>
                <a:gd name="T22" fmla="*/ 182 w 292"/>
                <a:gd name="T23" fmla="*/ 22 h 112"/>
                <a:gd name="T24" fmla="*/ 218 w 292"/>
                <a:gd name="T25" fmla="*/ 22 h 112"/>
                <a:gd name="T26" fmla="*/ 242 w 292"/>
                <a:gd name="T27" fmla="*/ 10 h 112"/>
                <a:gd name="T28" fmla="*/ 252 w 292"/>
                <a:gd name="T29" fmla="*/ 14 h 112"/>
                <a:gd name="T30" fmla="*/ 262 w 292"/>
                <a:gd name="T31" fmla="*/ 10 h 112"/>
                <a:gd name="T32" fmla="*/ 274 w 292"/>
                <a:gd name="T33" fmla="*/ 20 h 112"/>
                <a:gd name="T34" fmla="*/ 274 w 292"/>
                <a:gd name="T35" fmla="*/ 42 h 112"/>
                <a:gd name="T36" fmla="*/ 292 w 292"/>
                <a:gd name="T37" fmla="*/ 46 h 112"/>
                <a:gd name="T38" fmla="*/ 282 w 292"/>
                <a:gd name="T39" fmla="*/ 52 h 112"/>
                <a:gd name="T40" fmla="*/ 286 w 292"/>
                <a:gd name="T41" fmla="*/ 68 h 112"/>
                <a:gd name="T42" fmla="*/ 292 w 292"/>
                <a:gd name="T43" fmla="*/ 88 h 112"/>
                <a:gd name="T44" fmla="*/ 282 w 292"/>
                <a:gd name="T45" fmla="*/ 90 h 112"/>
                <a:gd name="T46" fmla="*/ 252 w 292"/>
                <a:gd name="T47" fmla="*/ 92 h 112"/>
                <a:gd name="T48" fmla="*/ 214 w 292"/>
                <a:gd name="T49" fmla="*/ 100 h 112"/>
                <a:gd name="T50" fmla="*/ 190 w 292"/>
                <a:gd name="T51" fmla="*/ 96 h 112"/>
                <a:gd name="T52" fmla="*/ 182 w 292"/>
                <a:gd name="T53" fmla="*/ 100 h 112"/>
                <a:gd name="T54" fmla="*/ 164 w 292"/>
                <a:gd name="T55" fmla="*/ 96 h 112"/>
                <a:gd name="T56" fmla="*/ 154 w 292"/>
                <a:gd name="T57" fmla="*/ 112 h 112"/>
                <a:gd name="T58" fmla="*/ 156 w 292"/>
                <a:gd name="T59" fmla="*/ 96 h 112"/>
                <a:gd name="T60" fmla="*/ 146 w 292"/>
                <a:gd name="T61" fmla="*/ 100 h 112"/>
                <a:gd name="T62" fmla="*/ 128 w 292"/>
                <a:gd name="T63" fmla="*/ 100 h 112"/>
                <a:gd name="T64" fmla="*/ 110 w 292"/>
                <a:gd name="T65" fmla="*/ 110 h 112"/>
                <a:gd name="T66" fmla="*/ 92 w 292"/>
                <a:gd name="T67" fmla="*/ 104 h 112"/>
                <a:gd name="T68" fmla="*/ 72 w 292"/>
                <a:gd name="T69" fmla="*/ 96 h 112"/>
                <a:gd name="T70" fmla="*/ 68 w 292"/>
                <a:gd name="T71" fmla="*/ 104 h 112"/>
                <a:gd name="T72" fmla="*/ 50 w 292"/>
                <a:gd name="T73" fmla="*/ 108 h 112"/>
                <a:gd name="T74" fmla="*/ 34 w 292"/>
                <a:gd name="T75" fmla="*/ 96 h 112"/>
                <a:gd name="T76" fmla="*/ 16 w 292"/>
                <a:gd name="T77" fmla="*/ 84 h 112"/>
                <a:gd name="T78" fmla="*/ 6 w 292"/>
                <a:gd name="T79" fmla="*/ 74 h 112"/>
                <a:gd name="T80" fmla="*/ 14 w 292"/>
                <a:gd name="T81" fmla="*/ 62 h 112"/>
                <a:gd name="T82" fmla="*/ 10 w 292"/>
                <a:gd name="T83" fmla="*/ 4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92" h="112">
                  <a:moveTo>
                    <a:pt x="10" y="48"/>
                  </a:moveTo>
                  <a:lnTo>
                    <a:pt x="0" y="46"/>
                  </a:lnTo>
                  <a:lnTo>
                    <a:pt x="0" y="42"/>
                  </a:lnTo>
                  <a:lnTo>
                    <a:pt x="6" y="34"/>
                  </a:lnTo>
                  <a:lnTo>
                    <a:pt x="12" y="32"/>
                  </a:lnTo>
                  <a:lnTo>
                    <a:pt x="26" y="34"/>
                  </a:lnTo>
                  <a:lnTo>
                    <a:pt x="38" y="34"/>
                  </a:lnTo>
                  <a:lnTo>
                    <a:pt x="46" y="34"/>
                  </a:lnTo>
                  <a:lnTo>
                    <a:pt x="46" y="28"/>
                  </a:lnTo>
                  <a:lnTo>
                    <a:pt x="52" y="26"/>
                  </a:lnTo>
                  <a:lnTo>
                    <a:pt x="58" y="26"/>
                  </a:lnTo>
                  <a:lnTo>
                    <a:pt x="52" y="22"/>
                  </a:lnTo>
                  <a:lnTo>
                    <a:pt x="46" y="22"/>
                  </a:lnTo>
                  <a:lnTo>
                    <a:pt x="46" y="16"/>
                  </a:lnTo>
                  <a:lnTo>
                    <a:pt x="68" y="18"/>
                  </a:lnTo>
                  <a:lnTo>
                    <a:pt x="82" y="18"/>
                  </a:lnTo>
                  <a:lnTo>
                    <a:pt x="90" y="10"/>
                  </a:lnTo>
                  <a:lnTo>
                    <a:pt x="110" y="0"/>
                  </a:lnTo>
                  <a:lnTo>
                    <a:pt x="140" y="0"/>
                  </a:lnTo>
                  <a:lnTo>
                    <a:pt x="146" y="12"/>
                  </a:lnTo>
                  <a:lnTo>
                    <a:pt x="154" y="10"/>
                  </a:lnTo>
                  <a:lnTo>
                    <a:pt x="160" y="16"/>
                  </a:lnTo>
                  <a:lnTo>
                    <a:pt x="168" y="18"/>
                  </a:lnTo>
                  <a:lnTo>
                    <a:pt x="182" y="22"/>
                  </a:lnTo>
                  <a:lnTo>
                    <a:pt x="200" y="22"/>
                  </a:lnTo>
                  <a:lnTo>
                    <a:pt x="218" y="22"/>
                  </a:lnTo>
                  <a:lnTo>
                    <a:pt x="234" y="18"/>
                  </a:lnTo>
                  <a:lnTo>
                    <a:pt x="242" y="10"/>
                  </a:lnTo>
                  <a:lnTo>
                    <a:pt x="248" y="12"/>
                  </a:lnTo>
                  <a:lnTo>
                    <a:pt x="252" y="14"/>
                  </a:lnTo>
                  <a:lnTo>
                    <a:pt x="254" y="8"/>
                  </a:lnTo>
                  <a:lnTo>
                    <a:pt x="262" y="10"/>
                  </a:lnTo>
                  <a:lnTo>
                    <a:pt x="268" y="16"/>
                  </a:lnTo>
                  <a:lnTo>
                    <a:pt x="274" y="20"/>
                  </a:lnTo>
                  <a:lnTo>
                    <a:pt x="274" y="30"/>
                  </a:lnTo>
                  <a:lnTo>
                    <a:pt x="274" y="42"/>
                  </a:lnTo>
                  <a:lnTo>
                    <a:pt x="286" y="42"/>
                  </a:lnTo>
                  <a:lnTo>
                    <a:pt x="292" y="46"/>
                  </a:lnTo>
                  <a:lnTo>
                    <a:pt x="284" y="48"/>
                  </a:lnTo>
                  <a:lnTo>
                    <a:pt x="282" y="52"/>
                  </a:lnTo>
                  <a:lnTo>
                    <a:pt x="284" y="60"/>
                  </a:lnTo>
                  <a:lnTo>
                    <a:pt x="286" y="68"/>
                  </a:lnTo>
                  <a:lnTo>
                    <a:pt x="288" y="78"/>
                  </a:lnTo>
                  <a:lnTo>
                    <a:pt x="292" y="88"/>
                  </a:lnTo>
                  <a:lnTo>
                    <a:pt x="290" y="92"/>
                  </a:lnTo>
                  <a:lnTo>
                    <a:pt x="282" y="90"/>
                  </a:lnTo>
                  <a:lnTo>
                    <a:pt x="262" y="86"/>
                  </a:lnTo>
                  <a:lnTo>
                    <a:pt x="252" y="92"/>
                  </a:lnTo>
                  <a:lnTo>
                    <a:pt x="226" y="92"/>
                  </a:lnTo>
                  <a:lnTo>
                    <a:pt x="214" y="100"/>
                  </a:lnTo>
                  <a:lnTo>
                    <a:pt x="196" y="102"/>
                  </a:lnTo>
                  <a:lnTo>
                    <a:pt x="190" y="96"/>
                  </a:lnTo>
                  <a:lnTo>
                    <a:pt x="184" y="96"/>
                  </a:lnTo>
                  <a:lnTo>
                    <a:pt x="182" y="100"/>
                  </a:lnTo>
                  <a:lnTo>
                    <a:pt x="170" y="100"/>
                  </a:lnTo>
                  <a:lnTo>
                    <a:pt x="164" y="96"/>
                  </a:lnTo>
                  <a:lnTo>
                    <a:pt x="162" y="104"/>
                  </a:lnTo>
                  <a:lnTo>
                    <a:pt x="154" y="112"/>
                  </a:lnTo>
                  <a:lnTo>
                    <a:pt x="152" y="104"/>
                  </a:lnTo>
                  <a:lnTo>
                    <a:pt x="156" y="96"/>
                  </a:lnTo>
                  <a:lnTo>
                    <a:pt x="150" y="96"/>
                  </a:lnTo>
                  <a:lnTo>
                    <a:pt x="146" y="100"/>
                  </a:lnTo>
                  <a:lnTo>
                    <a:pt x="132" y="98"/>
                  </a:lnTo>
                  <a:lnTo>
                    <a:pt x="128" y="100"/>
                  </a:lnTo>
                  <a:lnTo>
                    <a:pt x="120" y="108"/>
                  </a:lnTo>
                  <a:lnTo>
                    <a:pt x="110" y="110"/>
                  </a:lnTo>
                  <a:lnTo>
                    <a:pt x="100" y="110"/>
                  </a:lnTo>
                  <a:lnTo>
                    <a:pt x="92" y="104"/>
                  </a:lnTo>
                  <a:lnTo>
                    <a:pt x="80" y="100"/>
                  </a:lnTo>
                  <a:lnTo>
                    <a:pt x="72" y="96"/>
                  </a:lnTo>
                  <a:lnTo>
                    <a:pt x="66" y="98"/>
                  </a:lnTo>
                  <a:lnTo>
                    <a:pt x="68" y="104"/>
                  </a:lnTo>
                  <a:lnTo>
                    <a:pt x="66" y="108"/>
                  </a:lnTo>
                  <a:lnTo>
                    <a:pt x="50" y="108"/>
                  </a:lnTo>
                  <a:lnTo>
                    <a:pt x="40" y="100"/>
                  </a:lnTo>
                  <a:lnTo>
                    <a:pt x="34" y="96"/>
                  </a:lnTo>
                  <a:lnTo>
                    <a:pt x="20" y="92"/>
                  </a:lnTo>
                  <a:lnTo>
                    <a:pt x="16" y="84"/>
                  </a:lnTo>
                  <a:lnTo>
                    <a:pt x="16" y="78"/>
                  </a:lnTo>
                  <a:lnTo>
                    <a:pt x="6" y="74"/>
                  </a:lnTo>
                  <a:lnTo>
                    <a:pt x="10" y="68"/>
                  </a:lnTo>
                  <a:lnTo>
                    <a:pt x="14" y="62"/>
                  </a:lnTo>
                  <a:lnTo>
                    <a:pt x="12" y="54"/>
                  </a:lnTo>
                  <a:lnTo>
                    <a:pt x="10" y="4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22" name="Freeform 114">
              <a:extLst>
                <a:ext uri="{FF2B5EF4-FFF2-40B4-BE49-F238E27FC236}">
                  <a16:creationId xmlns:a16="http://schemas.microsoft.com/office/drawing/2014/main" id="{4B0DDF4E-75B0-45CA-BF6A-15A5BCBFBD7E}"/>
                </a:ext>
              </a:extLst>
            </p:cNvPr>
            <p:cNvSpPr>
              <a:spLocks/>
            </p:cNvSpPr>
            <p:nvPr/>
          </p:nvSpPr>
          <p:spPr bwMode="gray">
            <a:xfrm>
              <a:off x="6738003" y="3745253"/>
              <a:ext cx="46230" cy="46475"/>
            </a:xfrm>
            <a:custGeom>
              <a:avLst/>
              <a:gdLst>
                <a:gd name="T0" fmla="*/ 16 w 28"/>
                <a:gd name="T1" fmla="*/ 2 h 28"/>
                <a:gd name="T2" fmla="*/ 24 w 28"/>
                <a:gd name="T3" fmla="*/ 0 h 28"/>
                <a:gd name="T4" fmla="*/ 28 w 28"/>
                <a:gd name="T5" fmla="*/ 4 h 28"/>
                <a:gd name="T6" fmla="*/ 24 w 28"/>
                <a:gd name="T7" fmla="*/ 10 h 28"/>
                <a:gd name="T8" fmla="*/ 18 w 28"/>
                <a:gd name="T9" fmla="*/ 14 h 28"/>
                <a:gd name="T10" fmla="*/ 16 w 28"/>
                <a:gd name="T11" fmla="*/ 20 h 28"/>
                <a:gd name="T12" fmla="*/ 10 w 28"/>
                <a:gd name="T13" fmla="*/ 24 h 28"/>
                <a:gd name="T14" fmla="*/ 6 w 28"/>
                <a:gd name="T15" fmla="*/ 28 h 28"/>
                <a:gd name="T16" fmla="*/ 0 w 28"/>
                <a:gd name="T17" fmla="*/ 26 h 28"/>
                <a:gd name="T18" fmla="*/ 6 w 28"/>
                <a:gd name="T19" fmla="*/ 18 h 28"/>
                <a:gd name="T20" fmla="*/ 12 w 28"/>
                <a:gd name="T21" fmla="*/ 8 h 28"/>
                <a:gd name="T22" fmla="*/ 16 w 28"/>
                <a:gd name="T23"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28">
                  <a:moveTo>
                    <a:pt x="16" y="2"/>
                  </a:moveTo>
                  <a:lnTo>
                    <a:pt x="24" y="0"/>
                  </a:lnTo>
                  <a:lnTo>
                    <a:pt x="28" y="4"/>
                  </a:lnTo>
                  <a:lnTo>
                    <a:pt x="24" y="10"/>
                  </a:lnTo>
                  <a:lnTo>
                    <a:pt x="18" y="14"/>
                  </a:lnTo>
                  <a:lnTo>
                    <a:pt x="16" y="20"/>
                  </a:lnTo>
                  <a:lnTo>
                    <a:pt x="10" y="24"/>
                  </a:lnTo>
                  <a:lnTo>
                    <a:pt x="6" y="28"/>
                  </a:lnTo>
                  <a:lnTo>
                    <a:pt x="0" y="26"/>
                  </a:lnTo>
                  <a:lnTo>
                    <a:pt x="6" y="18"/>
                  </a:lnTo>
                  <a:lnTo>
                    <a:pt x="12" y="8"/>
                  </a:lnTo>
                  <a:lnTo>
                    <a:pt x="16" y="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23" name="Freeform 115">
              <a:extLst>
                <a:ext uri="{FF2B5EF4-FFF2-40B4-BE49-F238E27FC236}">
                  <a16:creationId xmlns:a16="http://schemas.microsoft.com/office/drawing/2014/main" id="{28F589F4-1CBF-41E9-A0A0-DF5BB5FB422C}"/>
                </a:ext>
              </a:extLst>
            </p:cNvPr>
            <p:cNvSpPr>
              <a:spLocks/>
            </p:cNvSpPr>
            <p:nvPr/>
          </p:nvSpPr>
          <p:spPr bwMode="gray">
            <a:xfrm>
              <a:off x="6747909" y="3668901"/>
              <a:ext cx="178316" cy="142746"/>
            </a:xfrm>
            <a:custGeom>
              <a:avLst/>
              <a:gdLst>
                <a:gd name="T0" fmla="*/ 10 w 108"/>
                <a:gd name="T1" fmla="*/ 48 h 86"/>
                <a:gd name="T2" fmla="*/ 8 w 108"/>
                <a:gd name="T3" fmla="*/ 32 h 86"/>
                <a:gd name="T4" fmla="*/ 8 w 108"/>
                <a:gd name="T5" fmla="*/ 24 h 86"/>
                <a:gd name="T6" fmla="*/ 10 w 108"/>
                <a:gd name="T7" fmla="*/ 20 h 86"/>
                <a:gd name="T8" fmla="*/ 18 w 108"/>
                <a:gd name="T9" fmla="*/ 12 h 86"/>
                <a:gd name="T10" fmla="*/ 20 w 108"/>
                <a:gd name="T11" fmla="*/ 4 h 86"/>
                <a:gd name="T12" fmla="*/ 26 w 108"/>
                <a:gd name="T13" fmla="*/ 8 h 86"/>
                <a:gd name="T14" fmla="*/ 38 w 108"/>
                <a:gd name="T15" fmla="*/ 8 h 86"/>
                <a:gd name="T16" fmla="*/ 40 w 108"/>
                <a:gd name="T17" fmla="*/ 4 h 86"/>
                <a:gd name="T18" fmla="*/ 46 w 108"/>
                <a:gd name="T19" fmla="*/ 4 h 86"/>
                <a:gd name="T20" fmla="*/ 52 w 108"/>
                <a:gd name="T21" fmla="*/ 10 h 86"/>
                <a:gd name="T22" fmla="*/ 70 w 108"/>
                <a:gd name="T23" fmla="*/ 8 h 86"/>
                <a:gd name="T24" fmla="*/ 82 w 108"/>
                <a:gd name="T25" fmla="*/ 0 h 86"/>
                <a:gd name="T26" fmla="*/ 108 w 108"/>
                <a:gd name="T27" fmla="*/ 0 h 86"/>
                <a:gd name="T28" fmla="*/ 108 w 108"/>
                <a:gd name="T29" fmla="*/ 4 h 86"/>
                <a:gd name="T30" fmla="*/ 94 w 108"/>
                <a:gd name="T31" fmla="*/ 14 h 86"/>
                <a:gd name="T32" fmla="*/ 90 w 108"/>
                <a:gd name="T33" fmla="*/ 46 h 86"/>
                <a:gd name="T34" fmla="*/ 54 w 108"/>
                <a:gd name="T35" fmla="*/ 68 h 86"/>
                <a:gd name="T36" fmla="*/ 28 w 108"/>
                <a:gd name="T37" fmla="*/ 84 h 86"/>
                <a:gd name="T38" fmla="*/ 20 w 108"/>
                <a:gd name="T39" fmla="*/ 86 h 86"/>
                <a:gd name="T40" fmla="*/ 12 w 108"/>
                <a:gd name="T41" fmla="*/ 82 h 86"/>
                <a:gd name="T42" fmla="*/ 6 w 108"/>
                <a:gd name="T43" fmla="*/ 80 h 86"/>
                <a:gd name="T44" fmla="*/ 2 w 108"/>
                <a:gd name="T45" fmla="*/ 78 h 86"/>
                <a:gd name="T46" fmla="*/ 0 w 108"/>
                <a:gd name="T47" fmla="*/ 74 h 86"/>
                <a:gd name="T48" fmla="*/ 10 w 108"/>
                <a:gd name="T49" fmla="*/ 66 h 86"/>
                <a:gd name="T50" fmla="*/ 12 w 108"/>
                <a:gd name="T51" fmla="*/ 60 h 86"/>
                <a:gd name="T52" fmla="*/ 18 w 108"/>
                <a:gd name="T53" fmla="*/ 56 h 86"/>
                <a:gd name="T54" fmla="*/ 22 w 108"/>
                <a:gd name="T55" fmla="*/ 50 h 86"/>
                <a:gd name="T56" fmla="*/ 18 w 108"/>
                <a:gd name="T57" fmla="*/ 46 h 86"/>
                <a:gd name="T58" fmla="*/ 10 w 108"/>
                <a:gd name="T59" fmla="*/ 4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8" h="86">
                  <a:moveTo>
                    <a:pt x="10" y="48"/>
                  </a:moveTo>
                  <a:lnTo>
                    <a:pt x="8" y="32"/>
                  </a:lnTo>
                  <a:lnTo>
                    <a:pt x="8" y="24"/>
                  </a:lnTo>
                  <a:lnTo>
                    <a:pt x="10" y="20"/>
                  </a:lnTo>
                  <a:lnTo>
                    <a:pt x="18" y="12"/>
                  </a:lnTo>
                  <a:lnTo>
                    <a:pt x="20" y="4"/>
                  </a:lnTo>
                  <a:lnTo>
                    <a:pt x="26" y="8"/>
                  </a:lnTo>
                  <a:lnTo>
                    <a:pt x="38" y="8"/>
                  </a:lnTo>
                  <a:lnTo>
                    <a:pt x="40" y="4"/>
                  </a:lnTo>
                  <a:lnTo>
                    <a:pt x="46" y="4"/>
                  </a:lnTo>
                  <a:lnTo>
                    <a:pt x="52" y="10"/>
                  </a:lnTo>
                  <a:lnTo>
                    <a:pt x="70" y="8"/>
                  </a:lnTo>
                  <a:lnTo>
                    <a:pt x="82" y="0"/>
                  </a:lnTo>
                  <a:lnTo>
                    <a:pt x="108" y="0"/>
                  </a:lnTo>
                  <a:lnTo>
                    <a:pt x="108" y="4"/>
                  </a:lnTo>
                  <a:lnTo>
                    <a:pt x="94" y="14"/>
                  </a:lnTo>
                  <a:lnTo>
                    <a:pt x="90" y="46"/>
                  </a:lnTo>
                  <a:lnTo>
                    <a:pt x="54" y="68"/>
                  </a:lnTo>
                  <a:lnTo>
                    <a:pt x="28" y="84"/>
                  </a:lnTo>
                  <a:lnTo>
                    <a:pt x="20" y="86"/>
                  </a:lnTo>
                  <a:lnTo>
                    <a:pt x="12" y="82"/>
                  </a:lnTo>
                  <a:lnTo>
                    <a:pt x="6" y="80"/>
                  </a:lnTo>
                  <a:lnTo>
                    <a:pt x="2" y="78"/>
                  </a:lnTo>
                  <a:lnTo>
                    <a:pt x="0" y="74"/>
                  </a:lnTo>
                  <a:lnTo>
                    <a:pt x="10" y="66"/>
                  </a:lnTo>
                  <a:lnTo>
                    <a:pt x="12" y="60"/>
                  </a:lnTo>
                  <a:lnTo>
                    <a:pt x="18" y="56"/>
                  </a:lnTo>
                  <a:lnTo>
                    <a:pt x="22" y="50"/>
                  </a:lnTo>
                  <a:lnTo>
                    <a:pt x="18" y="46"/>
                  </a:lnTo>
                  <a:lnTo>
                    <a:pt x="10" y="4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24" name="Freeform 116">
              <a:extLst>
                <a:ext uri="{FF2B5EF4-FFF2-40B4-BE49-F238E27FC236}">
                  <a16:creationId xmlns:a16="http://schemas.microsoft.com/office/drawing/2014/main" id="{17F443A3-8D92-4BC3-905E-2CE64AEC0C89}"/>
                </a:ext>
              </a:extLst>
            </p:cNvPr>
            <p:cNvSpPr>
              <a:spLocks/>
            </p:cNvSpPr>
            <p:nvPr/>
          </p:nvSpPr>
          <p:spPr bwMode="gray">
            <a:xfrm>
              <a:off x="6714887" y="3788408"/>
              <a:ext cx="39626" cy="106229"/>
            </a:xfrm>
            <a:custGeom>
              <a:avLst/>
              <a:gdLst>
                <a:gd name="T0" fmla="*/ 16 w 24"/>
                <a:gd name="T1" fmla="*/ 14 h 64"/>
                <a:gd name="T2" fmla="*/ 22 w 24"/>
                <a:gd name="T3" fmla="*/ 14 h 64"/>
                <a:gd name="T4" fmla="*/ 24 w 24"/>
                <a:gd name="T5" fmla="*/ 8 h 64"/>
                <a:gd name="T6" fmla="*/ 22 w 24"/>
                <a:gd name="T7" fmla="*/ 6 h 64"/>
                <a:gd name="T8" fmla="*/ 20 w 24"/>
                <a:gd name="T9" fmla="*/ 2 h 64"/>
                <a:gd name="T10" fmla="*/ 14 w 24"/>
                <a:gd name="T11" fmla="*/ 0 h 64"/>
                <a:gd name="T12" fmla="*/ 14 w 24"/>
                <a:gd name="T13" fmla="*/ 6 h 64"/>
                <a:gd name="T14" fmla="*/ 12 w 24"/>
                <a:gd name="T15" fmla="*/ 14 h 64"/>
                <a:gd name="T16" fmla="*/ 10 w 24"/>
                <a:gd name="T17" fmla="*/ 20 h 64"/>
                <a:gd name="T18" fmla="*/ 6 w 24"/>
                <a:gd name="T19" fmla="*/ 26 h 64"/>
                <a:gd name="T20" fmla="*/ 4 w 24"/>
                <a:gd name="T21" fmla="*/ 30 h 64"/>
                <a:gd name="T22" fmla="*/ 0 w 24"/>
                <a:gd name="T23" fmla="*/ 36 h 64"/>
                <a:gd name="T24" fmla="*/ 2 w 24"/>
                <a:gd name="T25" fmla="*/ 40 h 64"/>
                <a:gd name="T26" fmla="*/ 6 w 24"/>
                <a:gd name="T27" fmla="*/ 48 h 64"/>
                <a:gd name="T28" fmla="*/ 10 w 24"/>
                <a:gd name="T29" fmla="*/ 58 h 64"/>
                <a:gd name="T30" fmla="*/ 12 w 24"/>
                <a:gd name="T31" fmla="*/ 64 h 64"/>
                <a:gd name="T32" fmla="*/ 18 w 24"/>
                <a:gd name="T33" fmla="*/ 52 h 64"/>
                <a:gd name="T34" fmla="*/ 20 w 24"/>
                <a:gd name="T35" fmla="*/ 42 h 64"/>
                <a:gd name="T36" fmla="*/ 20 w 24"/>
                <a:gd name="T37" fmla="*/ 30 h 64"/>
                <a:gd name="T38" fmla="*/ 16 w 24"/>
                <a:gd name="T39" fmla="*/ 30 h 64"/>
                <a:gd name="T40" fmla="*/ 14 w 24"/>
                <a:gd name="T41" fmla="*/ 18 h 64"/>
                <a:gd name="T42" fmla="*/ 16 w 24"/>
                <a:gd name="T43" fmla="*/ 1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 h="64">
                  <a:moveTo>
                    <a:pt x="16" y="14"/>
                  </a:moveTo>
                  <a:lnTo>
                    <a:pt x="22" y="14"/>
                  </a:lnTo>
                  <a:lnTo>
                    <a:pt x="24" y="8"/>
                  </a:lnTo>
                  <a:lnTo>
                    <a:pt x="22" y="6"/>
                  </a:lnTo>
                  <a:lnTo>
                    <a:pt x="20" y="2"/>
                  </a:lnTo>
                  <a:lnTo>
                    <a:pt x="14" y="0"/>
                  </a:lnTo>
                  <a:lnTo>
                    <a:pt x="14" y="6"/>
                  </a:lnTo>
                  <a:lnTo>
                    <a:pt x="12" y="14"/>
                  </a:lnTo>
                  <a:lnTo>
                    <a:pt x="10" y="20"/>
                  </a:lnTo>
                  <a:lnTo>
                    <a:pt x="6" y="26"/>
                  </a:lnTo>
                  <a:lnTo>
                    <a:pt x="4" y="30"/>
                  </a:lnTo>
                  <a:lnTo>
                    <a:pt x="0" y="36"/>
                  </a:lnTo>
                  <a:lnTo>
                    <a:pt x="2" y="40"/>
                  </a:lnTo>
                  <a:lnTo>
                    <a:pt x="6" y="48"/>
                  </a:lnTo>
                  <a:lnTo>
                    <a:pt x="10" y="58"/>
                  </a:lnTo>
                  <a:lnTo>
                    <a:pt x="12" y="64"/>
                  </a:lnTo>
                  <a:lnTo>
                    <a:pt x="18" y="52"/>
                  </a:lnTo>
                  <a:lnTo>
                    <a:pt x="20" y="42"/>
                  </a:lnTo>
                  <a:lnTo>
                    <a:pt x="20" y="30"/>
                  </a:lnTo>
                  <a:lnTo>
                    <a:pt x="16" y="30"/>
                  </a:lnTo>
                  <a:lnTo>
                    <a:pt x="14" y="18"/>
                  </a:lnTo>
                  <a:lnTo>
                    <a:pt x="16" y="1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25" name="Freeform 117">
              <a:extLst>
                <a:ext uri="{FF2B5EF4-FFF2-40B4-BE49-F238E27FC236}">
                  <a16:creationId xmlns:a16="http://schemas.microsoft.com/office/drawing/2014/main" id="{16045DF5-2F54-4EE4-AE4F-2BFDCA21D239}"/>
                </a:ext>
              </a:extLst>
            </p:cNvPr>
            <p:cNvSpPr>
              <a:spLocks/>
            </p:cNvSpPr>
            <p:nvPr/>
          </p:nvSpPr>
          <p:spPr bwMode="gray">
            <a:xfrm>
              <a:off x="6843672" y="3658942"/>
              <a:ext cx="234452" cy="245655"/>
            </a:xfrm>
            <a:custGeom>
              <a:avLst/>
              <a:gdLst>
                <a:gd name="T0" fmla="*/ 90 w 142"/>
                <a:gd name="T1" fmla="*/ 2 h 148"/>
                <a:gd name="T2" fmla="*/ 94 w 142"/>
                <a:gd name="T3" fmla="*/ 10 h 148"/>
                <a:gd name="T4" fmla="*/ 106 w 142"/>
                <a:gd name="T5" fmla="*/ 28 h 148"/>
                <a:gd name="T6" fmla="*/ 114 w 142"/>
                <a:gd name="T7" fmla="*/ 30 h 148"/>
                <a:gd name="T8" fmla="*/ 110 w 142"/>
                <a:gd name="T9" fmla="*/ 36 h 148"/>
                <a:gd name="T10" fmla="*/ 112 w 142"/>
                <a:gd name="T11" fmla="*/ 44 h 148"/>
                <a:gd name="T12" fmla="*/ 106 w 142"/>
                <a:gd name="T13" fmla="*/ 48 h 148"/>
                <a:gd name="T14" fmla="*/ 100 w 142"/>
                <a:gd name="T15" fmla="*/ 62 h 148"/>
                <a:gd name="T16" fmla="*/ 112 w 142"/>
                <a:gd name="T17" fmla="*/ 74 h 148"/>
                <a:gd name="T18" fmla="*/ 118 w 142"/>
                <a:gd name="T19" fmla="*/ 84 h 148"/>
                <a:gd name="T20" fmla="*/ 132 w 142"/>
                <a:gd name="T21" fmla="*/ 90 h 148"/>
                <a:gd name="T22" fmla="*/ 140 w 142"/>
                <a:gd name="T23" fmla="*/ 98 h 148"/>
                <a:gd name="T24" fmla="*/ 136 w 142"/>
                <a:gd name="T25" fmla="*/ 112 h 148"/>
                <a:gd name="T26" fmla="*/ 142 w 142"/>
                <a:gd name="T27" fmla="*/ 124 h 148"/>
                <a:gd name="T28" fmla="*/ 140 w 142"/>
                <a:gd name="T29" fmla="*/ 130 h 148"/>
                <a:gd name="T30" fmla="*/ 132 w 142"/>
                <a:gd name="T31" fmla="*/ 132 h 148"/>
                <a:gd name="T32" fmla="*/ 122 w 142"/>
                <a:gd name="T33" fmla="*/ 140 h 148"/>
                <a:gd name="T34" fmla="*/ 122 w 142"/>
                <a:gd name="T35" fmla="*/ 148 h 148"/>
                <a:gd name="T36" fmla="*/ 90 w 142"/>
                <a:gd name="T37" fmla="*/ 148 h 148"/>
                <a:gd name="T38" fmla="*/ 76 w 142"/>
                <a:gd name="T39" fmla="*/ 136 h 148"/>
                <a:gd name="T40" fmla="*/ 68 w 142"/>
                <a:gd name="T41" fmla="*/ 136 h 148"/>
                <a:gd name="T42" fmla="*/ 58 w 142"/>
                <a:gd name="T43" fmla="*/ 120 h 148"/>
                <a:gd name="T44" fmla="*/ 22 w 142"/>
                <a:gd name="T45" fmla="*/ 100 h 148"/>
                <a:gd name="T46" fmla="*/ 2 w 142"/>
                <a:gd name="T47" fmla="*/ 96 h 148"/>
                <a:gd name="T48" fmla="*/ 0 w 142"/>
                <a:gd name="T49" fmla="*/ 72 h 148"/>
                <a:gd name="T50" fmla="*/ 32 w 142"/>
                <a:gd name="T51" fmla="*/ 52 h 148"/>
                <a:gd name="T52" fmla="*/ 36 w 142"/>
                <a:gd name="T53" fmla="*/ 20 h 148"/>
                <a:gd name="T54" fmla="*/ 50 w 142"/>
                <a:gd name="T55" fmla="*/ 10 h 148"/>
                <a:gd name="T56" fmla="*/ 50 w 142"/>
                <a:gd name="T57" fmla="*/ 6 h 148"/>
                <a:gd name="T58" fmla="*/ 60 w 142"/>
                <a:gd name="T59" fmla="*/ 0 h 148"/>
                <a:gd name="T60" fmla="*/ 88 w 142"/>
                <a:gd name="T61" fmla="*/ 6 h 148"/>
                <a:gd name="T62" fmla="*/ 90 w 142"/>
                <a:gd name="T63" fmla="*/ 2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2" h="148">
                  <a:moveTo>
                    <a:pt x="90" y="2"/>
                  </a:moveTo>
                  <a:lnTo>
                    <a:pt x="94" y="10"/>
                  </a:lnTo>
                  <a:lnTo>
                    <a:pt x="106" y="28"/>
                  </a:lnTo>
                  <a:lnTo>
                    <a:pt x="114" y="30"/>
                  </a:lnTo>
                  <a:lnTo>
                    <a:pt x="110" y="36"/>
                  </a:lnTo>
                  <a:lnTo>
                    <a:pt x="112" y="44"/>
                  </a:lnTo>
                  <a:lnTo>
                    <a:pt x="106" y="48"/>
                  </a:lnTo>
                  <a:lnTo>
                    <a:pt x="100" y="62"/>
                  </a:lnTo>
                  <a:lnTo>
                    <a:pt x="112" y="74"/>
                  </a:lnTo>
                  <a:lnTo>
                    <a:pt x="118" y="84"/>
                  </a:lnTo>
                  <a:lnTo>
                    <a:pt x="132" y="90"/>
                  </a:lnTo>
                  <a:lnTo>
                    <a:pt x="140" y="98"/>
                  </a:lnTo>
                  <a:lnTo>
                    <a:pt x="136" y="112"/>
                  </a:lnTo>
                  <a:lnTo>
                    <a:pt x="142" y="124"/>
                  </a:lnTo>
                  <a:lnTo>
                    <a:pt x="140" y="130"/>
                  </a:lnTo>
                  <a:lnTo>
                    <a:pt x="132" y="132"/>
                  </a:lnTo>
                  <a:lnTo>
                    <a:pt x="122" y="140"/>
                  </a:lnTo>
                  <a:lnTo>
                    <a:pt x="122" y="148"/>
                  </a:lnTo>
                  <a:lnTo>
                    <a:pt x="90" y="148"/>
                  </a:lnTo>
                  <a:lnTo>
                    <a:pt x="76" y="136"/>
                  </a:lnTo>
                  <a:lnTo>
                    <a:pt x="68" y="136"/>
                  </a:lnTo>
                  <a:lnTo>
                    <a:pt x="58" y="120"/>
                  </a:lnTo>
                  <a:lnTo>
                    <a:pt x="22" y="100"/>
                  </a:lnTo>
                  <a:lnTo>
                    <a:pt x="2" y="96"/>
                  </a:lnTo>
                  <a:lnTo>
                    <a:pt x="0" y="72"/>
                  </a:lnTo>
                  <a:lnTo>
                    <a:pt x="32" y="52"/>
                  </a:lnTo>
                  <a:lnTo>
                    <a:pt x="36" y="20"/>
                  </a:lnTo>
                  <a:lnTo>
                    <a:pt x="50" y="10"/>
                  </a:lnTo>
                  <a:lnTo>
                    <a:pt x="50" y="6"/>
                  </a:lnTo>
                  <a:lnTo>
                    <a:pt x="60" y="0"/>
                  </a:lnTo>
                  <a:lnTo>
                    <a:pt x="88" y="6"/>
                  </a:lnTo>
                  <a:lnTo>
                    <a:pt x="90" y="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26" name="Freeform 118">
              <a:extLst>
                <a:ext uri="{FF2B5EF4-FFF2-40B4-BE49-F238E27FC236}">
                  <a16:creationId xmlns:a16="http://schemas.microsoft.com/office/drawing/2014/main" id="{42C45BD7-814F-4870-A0F2-3C1D86DBD6F4}"/>
                </a:ext>
              </a:extLst>
            </p:cNvPr>
            <p:cNvSpPr>
              <a:spLocks/>
            </p:cNvSpPr>
            <p:nvPr/>
          </p:nvSpPr>
          <p:spPr bwMode="gray">
            <a:xfrm>
              <a:off x="7045101" y="3874720"/>
              <a:ext cx="46230" cy="46475"/>
            </a:xfrm>
            <a:custGeom>
              <a:avLst/>
              <a:gdLst>
                <a:gd name="T0" fmla="*/ 28 w 28"/>
                <a:gd name="T1" fmla="*/ 4 h 28"/>
                <a:gd name="T2" fmla="*/ 18 w 28"/>
                <a:gd name="T3" fmla="*/ 0 h 28"/>
                <a:gd name="T4" fmla="*/ 14 w 28"/>
                <a:gd name="T5" fmla="*/ 0 h 28"/>
                <a:gd name="T6" fmla="*/ 10 w 28"/>
                <a:gd name="T7" fmla="*/ 2 h 28"/>
                <a:gd name="T8" fmla="*/ 0 w 28"/>
                <a:gd name="T9" fmla="*/ 10 h 28"/>
                <a:gd name="T10" fmla="*/ 0 w 28"/>
                <a:gd name="T11" fmla="*/ 18 h 28"/>
                <a:gd name="T12" fmla="*/ 10 w 28"/>
                <a:gd name="T13" fmla="*/ 20 h 28"/>
                <a:gd name="T14" fmla="*/ 18 w 28"/>
                <a:gd name="T15" fmla="*/ 28 h 28"/>
                <a:gd name="T16" fmla="*/ 26 w 28"/>
                <a:gd name="T17" fmla="*/ 28 h 28"/>
                <a:gd name="T18" fmla="*/ 22 w 28"/>
                <a:gd name="T19" fmla="*/ 18 h 28"/>
                <a:gd name="T20" fmla="*/ 22 w 28"/>
                <a:gd name="T21" fmla="*/ 12 h 28"/>
                <a:gd name="T22" fmla="*/ 28 w 28"/>
                <a:gd name="T23"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28">
                  <a:moveTo>
                    <a:pt x="28" y="4"/>
                  </a:moveTo>
                  <a:lnTo>
                    <a:pt x="18" y="0"/>
                  </a:lnTo>
                  <a:lnTo>
                    <a:pt x="14" y="0"/>
                  </a:lnTo>
                  <a:lnTo>
                    <a:pt x="10" y="2"/>
                  </a:lnTo>
                  <a:lnTo>
                    <a:pt x="0" y="10"/>
                  </a:lnTo>
                  <a:lnTo>
                    <a:pt x="0" y="18"/>
                  </a:lnTo>
                  <a:lnTo>
                    <a:pt x="10" y="20"/>
                  </a:lnTo>
                  <a:lnTo>
                    <a:pt x="18" y="28"/>
                  </a:lnTo>
                  <a:lnTo>
                    <a:pt x="26" y="28"/>
                  </a:lnTo>
                  <a:lnTo>
                    <a:pt x="22" y="18"/>
                  </a:lnTo>
                  <a:lnTo>
                    <a:pt x="22" y="12"/>
                  </a:lnTo>
                  <a:lnTo>
                    <a:pt x="28" y="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27" name="Freeform 119">
              <a:extLst>
                <a:ext uri="{FF2B5EF4-FFF2-40B4-BE49-F238E27FC236}">
                  <a16:creationId xmlns:a16="http://schemas.microsoft.com/office/drawing/2014/main" id="{619CFC62-B30A-4638-A56A-6529EF87C1F7}"/>
                </a:ext>
              </a:extLst>
            </p:cNvPr>
            <p:cNvSpPr>
              <a:spLocks/>
            </p:cNvSpPr>
            <p:nvPr/>
          </p:nvSpPr>
          <p:spPr bwMode="gray">
            <a:xfrm>
              <a:off x="7160677" y="3997548"/>
              <a:ext cx="138690" cy="92950"/>
            </a:xfrm>
            <a:custGeom>
              <a:avLst/>
              <a:gdLst>
                <a:gd name="T0" fmla="*/ 0 w 84"/>
                <a:gd name="T1" fmla="*/ 24 h 56"/>
                <a:gd name="T2" fmla="*/ 8 w 84"/>
                <a:gd name="T3" fmla="*/ 34 h 56"/>
                <a:gd name="T4" fmla="*/ 22 w 84"/>
                <a:gd name="T5" fmla="*/ 50 h 56"/>
                <a:gd name="T6" fmla="*/ 48 w 84"/>
                <a:gd name="T7" fmla="*/ 56 h 56"/>
                <a:gd name="T8" fmla="*/ 66 w 84"/>
                <a:gd name="T9" fmla="*/ 56 h 56"/>
                <a:gd name="T10" fmla="*/ 84 w 84"/>
                <a:gd name="T11" fmla="*/ 24 h 56"/>
                <a:gd name="T12" fmla="*/ 82 w 84"/>
                <a:gd name="T13" fmla="*/ 10 h 56"/>
                <a:gd name="T14" fmla="*/ 80 w 84"/>
                <a:gd name="T15" fmla="*/ 2 h 56"/>
                <a:gd name="T16" fmla="*/ 76 w 84"/>
                <a:gd name="T17" fmla="*/ 0 h 56"/>
                <a:gd name="T18" fmla="*/ 68 w 84"/>
                <a:gd name="T19" fmla="*/ 10 h 56"/>
                <a:gd name="T20" fmla="*/ 58 w 84"/>
                <a:gd name="T21" fmla="*/ 18 h 56"/>
                <a:gd name="T22" fmla="*/ 50 w 84"/>
                <a:gd name="T23" fmla="*/ 28 h 56"/>
                <a:gd name="T24" fmla="*/ 42 w 84"/>
                <a:gd name="T25" fmla="*/ 30 h 56"/>
                <a:gd name="T26" fmla="*/ 32 w 84"/>
                <a:gd name="T27" fmla="*/ 26 h 56"/>
                <a:gd name="T28" fmla="*/ 26 w 84"/>
                <a:gd name="T29" fmla="*/ 30 h 56"/>
                <a:gd name="T30" fmla="*/ 22 w 84"/>
                <a:gd name="T31" fmla="*/ 32 h 56"/>
                <a:gd name="T32" fmla="*/ 14 w 84"/>
                <a:gd name="T33" fmla="*/ 30 h 56"/>
                <a:gd name="T34" fmla="*/ 8 w 84"/>
                <a:gd name="T35" fmla="*/ 24 h 56"/>
                <a:gd name="T36" fmla="*/ 4 w 84"/>
                <a:gd name="T37" fmla="*/ 20 h 56"/>
                <a:gd name="T38" fmla="*/ 0 w 84"/>
                <a:gd name="T39" fmla="*/ 2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4" h="56">
                  <a:moveTo>
                    <a:pt x="0" y="24"/>
                  </a:moveTo>
                  <a:lnTo>
                    <a:pt x="8" y="34"/>
                  </a:lnTo>
                  <a:lnTo>
                    <a:pt x="22" y="50"/>
                  </a:lnTo>
                  <a:lnTo>
                    <a:pt x="48" y="56"/>
                  </a:lnTo>
                  <a:lnTo>
                    <a:pt x="66" y="56"/>
                  </a:lnTo>
                  <a:lnTo>
                    <a:pt x="84" y="24"/>
                  </a:lnTo>
                  <a:lnTo>
                    <a:pt x="82" y="10"/>
                  </a:lnTo>
                  <a:lnTo>
                    <a:pt x="80" y="2"/>
                  </a:lnTo>
                  <a:lnTo>
                    <a:pt x="76" y="0"/>
                  </a:lnTo>
                  <a:lnTo>
                    <a:pt x="68" y="10"/>
                  </a:lnTo>
                  <a:lnTo>
                    <a:pt x="58" y="18"/>
                  </a:lnTo>
                  <a:lnTo>
                    <a:pt x="50" y="28"/>
                  </a:lnTo>
                  <a:lnTo>
                    <a:pt x="42" y="30"/>
                  </a:lnTo>
                  <a:lnTo>
                    <a:pt x="32" y="26"/>
                  </a:lnTo>
                  <a:lnTo>
                    <a:pt x="26" y="30"/>
                  </a:lnTo>
                  <a:lnTo>
                    <a:pt x="22" y="32"/>
                  </a:lnTo>
                  <a:lnTo>
                    <a:pt x="14" y="30"/>
                  </a:lnTo>
                  <a:lnTo>
                    <a:pt x="8" y="24"/>
                  </a:lnTo>
                  <a:lnTo>
                    <a:pt x="4" y="20"/>
                  </a:lnTo>
                  <a:lnTo>
                    <a:pt x="0" y="2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28" name="Freeform 120">
              <a:extLst>
                <a:ext uri="{FF2B5EF4-FFF2-40B4-BE49-F238E27FC236}">
                  <a16:creationId xmlns:a16="http://schemas.microsoft.com/office/drawing/2014/main" id="{EB9FB02B-C1A1-432C-BA0B-D9BEC087A0D1}"/>
                </a:ext>
              </a:extLst>
            </p:cNvPr>
            <p:cNvSpPr>
              <a:spLocks/>
            </p:cNvSpPr>
            <p:nvPr/>
          </p:nvSpPr>
          <p:spPr bwMode="gray">
            <a:xfrm>
              <a:off x="7183792" y="4037384"/>
              <a:ext cx="204732" cy="215777"/>
            </a:xfrm>
            <a:custGeom>
              <a:avLst/>
              <a:gdLst>
                <a:gd name="T0" fmla="*/ 52 w 124"/>
                <a:gd name="T1" fmla="*/ 30 h 130"/>
                <a:gd name="T2" fmla="*/ 70 w 124"/>
                <a:gd name="T3" fmla="*/ 0 h 130"/>
                <a:gd name="T4" fmla="*/ 82 w 124"/>
                <a:gd name="T5" fmla="*/ 8 h 130"/>
                <a:gd name="T6" fmla="*/ 90 w 124"/>
                <a:gd name="T7" fmla="*/ 14 h 130"/>
                <a:gd name="T8" fmla="*/ 102 w 124"/>
                <a:gd name="T9" fmla="*/ 16 h 130"/>
                <a:gd name="T10" fmla="*/ 124 w 124"/>
                <a:gd name="T11" fmla="*/ 36 h 130"/>
                <a:gd name="T12" fmla="*/ 116 w 124"/>
                <a:gd name="T13" fmla="*/ 50 h 130"/>
                <a:gd name="T14" fmla="*/ 104 w 124"/>
                <a:gd name="T15" fmla="*/ 64 h 130"/>
                <a:gd name="T16" fmla="*/ 98 w 124"/>
                <a:gd name="T17" fmla="*/ 66 h 130"/>
                <a:gd name="T18" fmla="*/ 86 w 124"/>
                <a:gd name="T19" fmla="*/ 70 h 130"/>
                <a:gd name="T20" fmla="*/ 88 w 124"/>
                <a:gd name="T21" fmla="*/ 80 h 130"/>
                <a:gd name="T22" fmla="*/ 90 w 124"/>
                <a:gd name="T23" fmla="*/ 90 h 130"/>
                <a:gd name="T24" fmla="*/ 80 w 124"/>
                <a:gd name="T25" fmla="*/ 92 h 130"/>
                <a:gd name="T26" fmla="*/ 72 w 124"/>
                <a:gd name="T27" fmla="*/ 98 h 130"/>
                <a:gd name="T28" fmla="*/ 68 w 124"/>
                <a:gd name="T29" fmla="*/ 104 h 130"/>
                <a:gd name="T30" fmla="*/ 68 w 124"/>
                <a:gd name="T31" fmla="*/ 110 h 130"/>
                <a:gd name="T32" fmla="*/ 54 w 124"/>
                <a:gd name="T33" fmla="*/ 112 h 130"/>
                <a:gd name="T34" fmla="*/ 52 w 124"/>
                <a:gd name="T35" fmla="*/ 118 h 130"/>
                <a:gd name="T36" fmla="*/ 46 w 124"/>
                <a:gd name="T37" fmla="*/ 128 h 130"/>
                <a:gd name="T38" fmla="*/ 26 w 124"/>
                <a:gd name="T39" fmla="*/ 126 h 130"/>
                <a:gd name="T40" fmla="*/ 16 w 124"/>
                <a:gd name="T41" fmla="*/ 130 h 130"/>
                <a:gd name="T42" fmla="*/ 0 w 124"/>
                <a:gd name="T43" fmla="*/ 94 h 130"/>
                <a:gd name="T44" fmla="*/ 12 w 124"/>
                <a:gd name="T45" fmla="*/ 84 h 130"/>
                <a:gd name="T46" fmla="*/ 48 w 124"/>
                <a:gd name="T47" fmla="*/ 72 h 130"/>
                <a:gd name="T48" fmla="*/ 56 w 124"/>
                <a:gd name="T49" fmla="*/ 54 h 130"/>
                <a:gd name="T50" fmla="*/ 56 w 124"/>
                <a:gd name="T51" fmla="*/ 40 h 130"/>
                <a:gd name="T52" fmla="*/ 52 w 124"/>
                <a:gd name="T53" fmla="*/ 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4" h="130">
                  <a:moveTo>
                    <a:pt x="52" y="30"/>
                  </a:moveTo>
                  <a:lnTo>
                    <a:pt x="70" y="0"/>
                  </a:lnTo>
                  <a:lnTo>
                    <a:pt x="82" y="8"/>
                  </a:lnTo>
                  <a:lnTo>
                    <a:pt x="90" y="14"/>
                  </a:lnTo>
                  <a:lnTo>
                    <a:pt x="102" y="16"/>
                  </a:lnTo>
                  <a:lnTo>
                    <a:pt x="124" y="36"/>
                  </a:lnTo>
                  <a:lnTo>
                    <a:pt x="116" y="50"/>
                  </a:lnTo>
                  <a:lnTo>
                    <a:pt x="104" y="64"/>
                  </a:lnTo>
                  <a:lnTo>
                    <a:pt x="98" y="66"/>
                  </a:lnTo>
                  <a:lnTo>
                    <a:pt x="86" y="70"/>
                  </a:lnTo>
                  <a:lnTo>
                    <a:pt x="88" y="80"/>
                  </a:lnTo>
                  <a:lnTo>
                    <a:pt x="90" y="90"/>
                  </a:lnTo>
                  <a:lnTo>
                    <a:pt x="80" y="92"/>
                  </a:lnTo>
                  <a:lnTo>
                    <a:pt x="72" y="98"/>
                  </a:lnTo>
                  <a:lnTo>
                    <a:pt x="68" y="104"/>
                  </a:lnTo>
                  <a:lnTo>
                    <a:pt x="68" y="110"/>
                  </a:lnTo>
                  <a:lnTo>
                    <a:pt x="54" y="112"/>
                  </a:lnTo>
                  <a:lnTo>
                    <a:pt x="52" y="118"/>
                  </a:lnTo>
                  <a:lnTo>
                    <a:pt x="46" y="128"/>
                  </a:lnTo>
                  <a:lnTo>
                    <a:pt x="26" y="126"/>
                  </a:lnTo>
                  <a:lnTo>
                    <a:pt x="16" y="130"/>
                  </a:lnTo>
                  <a:lnTo>
                    <a:pt x="0" y="94"/>
                  </a:lnTo>
                  <a:lnTo>
                    <a:pt x="12" y="84"/>
                  </a:lnTo>
                  <a:lnTo>
                    <a:pt x="48" y="72"/>
                  </a:lnTo>
                  <a:lnTo>
                    <a:pt x="56" y="54"/>
                  </a:lnTo>
                  <a:lnTo>
                    <a:pt x="56" y="40"/>
                  </a:lnTo>
                  <a:lnTo>
                    <a:pt x="52" y="3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29" name="Freeform 121">
              <a:extLst>
                <a:ext uri="{FF2B5EF4-FFF2-40B4-BE49-F238E27FC236}">
                  <a16:creationId xmlns:a16="http://schemas.microsoft.com/office/drawing/2014/main" id="{75A1A17E-6BC6-4A24-8B5B-29D7590C539F}"/>
                </a:ext>
              </a:extLst>
            </p:cNvPr>
            <p:cNvSpPr>
              <a:spLocks/>
            </p:cNvSpPr>
            <p:nvPr/>
          </p:nvSpPr>
          <p:spPr bwMode="gray">
            <a:xfrm>
              <a:off x="6942735" y="4193407"/>
              <a:ext cx="267473" cy="165983"/>
            </a:xfrm>
            <a:custGeom>
              <a:avLst/>
              <a:gdLst>
                <a:gd name="T0" fmla="*/ 50 w 162"/>
                <a:gd name="T1" fmla="*/ 86 h 100"/>
                <a:gd name="T2" fmla="*/ 42 w 162"/>
                <a:gd name="T3" fmla="*/ 92 h 100"/>
                <a:gd name="T4" fmla="*/ 36 w 162"/>
                <a:gd name="T5" fmla="*/ 100 h 100"/>
                <a:gd name="T6" fmla="*/ 16 w 162"/>
                <a:gd name="T7" fmla="*/ 100 h 100"/>
                <a:gd name="T8" fmla="*/ 8 w 162"/>
                <a:gd name="T9" fmla="*/ 96 h 100"/>
                <a:gd name="T10" fmla="*/ 0 w 162"/>
                <a:gd name="T11" fmla="*/ 66 h 100"/>
                <a:gd name="T12" fmla="*/ 0 w 162"/>
                <a:gd name="T13" fmla="*/ 42 h 100"/>
                <a:gd name="T14" fmla="*/ 8 w 162"/>
                <a:gd name="T15" fmla="*/ 24 h 100"/>
                <a:gd name="T16" fmla="*/ 42 w 162"/>
                <a:gd name="T17" fmla="*/ 22 h 100"/>
                <a:gd name="T18" fmla="*/ 72 w 162"/>
                <a:gd name="T19" fmla="*/ 28 h 100"/>
                <a:gd name="T20" fmla="*/ 98 w 162"/>
                <a:gd name="T21" fmla="*/ 4 h 100"/>
                <a:gd name="T22" fmla="*/ 128 w 162"/>
                <a:gd name="T23" fmla="*/ 0 h 100"/>
                <a:gd name="T24" fmla="*/ 146 w 162"/>
                <a:gd name="T25" fmla="*/ 0 h 100"/>
                <a:gd name="T26" fmla="*/ 162 w 162"/>
                <a:gd name="T27" fmla="*/ 36 h 100"/>
                <a:gd name="T28" fmla="*/ 150 w 162"/>
                <a:gd name="T29" fmla="*/ 42 h 100"/>
                <a:gd name="T30" fmla="*/ 142 w 162"/>
                <a:gd name="T31" fmla="*/ 48 h 100"/>
                <a:gd name="T32" fmla="*/ 142 w 162"/>
                <a:gd name="T33" fmla="*/ 56 h 100"/>
                <a:gd name="T34" fmla="*/ 136 w 162"/>
                <a:gd name="T35" fmla="*/ 60 h 100"/>
                <a:gd name="T36" fmla="*/ 114 w 162"/>
                <a:gd name="T37" fmla="*/ 66 h 100"/>
                <a:gd name="T38" fmla="*/ 104 w 162"/>
                <a:gd name="T39" fmla="*/ 68 h 100"/>
                <a:gd name="T40" fmla="*/ 96 w 162"/>
                <a:gd name="T41" fmla="*/ 80 h 100"/>
                <a:gd name="T42" fmla="*/ 78 w 162"/>
                <a:gd name="T43" fmla="*/ 78 h 100"/>
                <a:gd name="T44" fmla="*/ 70 w 162"/>
                <a:gd name="T45" fmla="*/ 88 h 100"/>
                <a:gd name="T46" fmla="*/ 56 w 162"/>
                <a:gd name="T47" fmla="*/ 88 h 100"/>
                <a:gd name="T48" fmla="*/ 50 w 162"/>
                <a:gd name="T49"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2" h="100">
                  <a:moveTo>
                    <a:pt x="50" y="86"/>
                  </a:moveTo>
                  <a:lnTo>
                    <a:pt x="42" y="92"/>
                  </a:lnTo>
                  <a:lnTo>
                    <a:pt x="36" y="100"/>
                  </a:lnTo>
                  <a:lnTo>
                    <a:pt x="16" y="100"/>
                  </a:lnTo>
                  <a:lnTo>
                    <a:pt x="8" y="96"/>
                  </a:lnTo>
                  <a:lnTo>
                    <a:pt x="0" y="66"/>
                  </a:lnTo>
                  <a:lnTo>
                    <a:pt x="0" y="42"/>
                  </a:lnTo>
                  <a:lnTo>
                    <a:pt x="8" y="24"/>
                  </a:lnTo>
                  <a:lnTo>
                    <a:pt x="42" y="22"/>
                  </a:lnTo>
                  <a:lnTo>
                    <a:pt x="72" y="28"/>
                  </a:lnTo>
                  <a:lnTo>
                    <a:pt x="98" y="4"/>
                  </a:lnTo>
                  <a:lnTo>
                    <a:pt x="128" y="0"/>
                  </a:lnTo>
                  <a:lnTo>
                    <a:pt x="146" y="0"/>
                  </a:lnTo>
                  <a:lnTo>
                    <a:pt x="162" y="36"/>
                  </a:lnTo>
                  <a:lnTo>
                    <a:pt x="150" y="42"/>
                  </a:lnTo>
                  <a:lnTo>
                    <a:pt x="142" y="48"/>
                  </a:lnTo>
                  <a:lnTo>
                    <a:pt x="142" y="56"/>
                  </a:lnTo>
                  <a:lnTo>
                    <a:pt x="136" y="60"/>
                  </a:lnTo>
                  <a:lnTo>
                    <a:pt x="114" y="66"/>
                  </a:lnTo>
                  <a:lnTo>
                    <a:pt x="104" y="68"/>
                  </a:lnTo>
                  <a:lnTo>
                    <a:pt x="96" y="80"/>
                  </a:lnTo>
                  <a:lnTo>
                    <a:pt x="78" y="78"/>
                  </a:lnTo>
                  <a:lnTo>
                    <a:pt x="70" y="88"/>
                  </a:lnTo>
                  <a:lnTo>
                    <a:pt x="56" y="88"/>
                  </a:lnTo>
                  <a:lnTo>
                    <a:pt x="50" y="8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30" name="Freeform 122">
              <a:extLst>
                <a:ext uri="{FF2B5EF4-FFF2-40B4-BE49-F238E27FC236}">
                  <a16:creationId xmlns:a16="http://schemas.microsoft.com/office/drawing/2014/main" id="{8B3FA341-616A-4190-B17E-C4992893C78F}"/>
                </a:ext>
              </a:extLst>
            </p:cNvPr>
            <p:cNvSpPr>
              <a:spLocks/>
            </p:cNvSpPr>
            <p:nvPr/>
          </p:nvSpPr>
          <p:spPr bwMode="gray">
            <a:xfrm>
              <a:off x="6975756" y="3589229"/>
              <a:ext cx="505228" cy="428236"/>
            </a:xfrm>
            <a:custGeom>
              <a:avLst/>
              <a:gdLst>
                <a:gd name="T0" fmla="*/ 80 w 306"/>
                <a:gd name="T1" fmla="*/ 38 h 258"/>
                <a:gd name="T2" fmla="*/ 112 w 306"/>
                <a:gd name="T3" fmla="*/ 56 h 258"/>
                <a:gd name="T4" fmla="*/ 156 w 306"/>
                <a:gd name="T5" fmla="*/ 48 h 258"/>
                <a:gd name="T6" fmla="*/ 204 w 306"/>
                <a:gd name="T7" fmla="*/ 28 h 258"/>
                <a:gd name="T8" fmla="*/ 256 w 306"/>
                <a:gd name="T9" fmla="*/ 52 h 258"/>
                <a:gd name="T10" fmla="*/ 274 w 306"/>
                <a:gd name="T11" fmla="*/ 78 h 258"/>
                <a:gd name="T12" fmla="*/ 262 w 306"/>
                <a:gd name="T13" fmla="*/ 126 h 258"/>
                <a:gd name="T14" fmla="*/ 282 w 306"/>
                <a:gd name="T15" fmla="*/ 150 h 258"/>
                <a:gd name="T16" fmla="*/ 266 w 306"/>
                <a:gd name="T17" fmla="*/ 176 h 258"/>
                <a:gd name="T18" fmla="*/ 286 w 306"/>
                <a:gd name="T19" fmla="*/ 202 h 258"/>
                <a:gd name="T20" fmla="*/ 298 w 306"/>
                <a:gd name="T21" fmla="*/ 224 h 258"/>
                <a:gd name="T22" fmla="*/ 306 w 306"/>
                <a:gd name="T23" fmla="*/ 232 h 258"/>
                <a:gd name="T24" fmla="*/ 278 w 306"/>
                <a:gd name="T25" fmla="*/ 242 h 258"/>
                <a:gd name="T26" fmla="*/ 236 w 306"/>
                <a:gd name="T27" fmla="*/ 254 h 258"/>
                <a:gd name="T28" fmla="*/ 206 w 306"/>
                <a:gd name="T29" fmla="*/ 230 h 258"/>
                <a:gd name="T30" fmla="*/ 188 w 306"/>
                <a:gd name="T31" fmla="*/ 224 h 258"/>
                <a:gd name="T32" fmla="*/ 164 w 306"/>
                <a:gd name="T33" fmla="*/ 234 h 258"/>
                <a:gd name="T34" fmla="*/ 118 w 306"/>
                <a:gd name="T35" fmla="*/ 206 h 258"/>
                <a:gd name="T36" fmla="*/ 98 w 306"/>
                <a:gd name="T37" fmla="*/ 176 h 258"/>
                <a:gd name="T38" fmla="*/ 70 w 306"/>
                <a:gd name="T39" fmla="*/ 176 h 258"/>
                <a:gd name="T40" fmla="*/ 62 w 306"/>
                <a:gd name="T41" fmla="*/ 166 h 258"/>
                <a:gd name="T42" fmla="*/ 60 w 306"/>
                <a:gd name="T43" fmla="*/ 140 h 258"/>
                <a:gd name="T44" fmla="*/ 38 w 306"/>
                <a:gd name="T45" fmla="*/ 126 h 258"/>
                <a:gd name="T46" fmla="*/ 26 w 306"/>
                <a:gd name="T47" fmla="*/ 90 h 258"/>
                <a:gd name="T48" fmla="*/ 30 w 306"/>
                <a:gd name="T49" fmla="*/ 78 h 258"/>
                <a:gd name="T50" fmla="*/ 26 w 306"/>
                <a:gd name="T51" fmla="*/ 70 h 258"/>
                <a:gd name="T52" fmla="*/ 10 w 306"/>
                <a:gd name="T53" fmla="*/ 44 h 258"/>
                <a:gd name="T54" fmla="*/ 4 w 306"/>
                <a:gd name="T55" fmla="*/ 24 h 258"/>
                <a:gd name="T56" fmla="*/ 0 w 306"/>
                <a:gd name="T57" fmla="*/ 8 h 258"/>
                <a:gd name="T58" fmla="*/ 10 w 306"/>
                <a:gd name="T59" fmla="*/ 2 h 258"/>
                <a:gd name="T60" fmla="*/ 32 w 306"/>
                <a:gd name="T61" fmla="*/ 18 h 258"/>
                <a:gd name="T62" fmla="*/ 42 w 306"/>
                <a:gd name="T63" fmla="*/ 14 h 258"/>
                <a:gd name="T64" fmla="*/ 60 w 306"/>
                <a:gd name="T65" fmla="*/ 0 h 258"/>
                <a:gd name="T66" fmla="*/ 64 w 306"/>
                <a:gd name="T67" fmla="*/ 10 h 258"/>
                <a:gd name="T68" fmla="*/ 62 w 306"/>
                <a:gd name="T69" fmla="*/ 18 h 258"/>
                <a:gd name="T70" fmla="*/ 76 w 306"/>
                <a:gd name="T71" fmla="*/ 24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6" h="258">
                  <a:moveTo>
                    <a:pt x="76" y="24"/>
                  </a:moveTo>
                  <a:lnTo>
                    <a:pt x="80" y="38"/>
                  </a:lnTo>
                  <a:lnTo>
                    <a:pt x="100" y="48"/>
                  </a:lnTo>
                  <a:lnTo>
                    <a:pt x="112" y="56"/>
                  </a:lnTo>
                  <a:lnTo>
                    <a:pt x="142" y="56"/>
                  </a:lnTo>
                  <a:lnTo>
                    <a:pt x="156" y="48"/>
                  </a:lnTo>
                  <a:lnTo>
                    <a:pt x="178" y="32"/>
                  </a:lnTo>
                  <a:lnTo>
                    <a:pt x="204" y="28"/>
                  </a:lnTo>
                  <a:lnTo>
                    <a:pt x="226" y="36"/>
                  </a:lnTo>
                  <a:lnTo>
                    <a:pt x="256" y="52"/>
                  </a:lnTo>
                  <a:lnTo>
                    <a:pt x="272" y="56"/>
                  </a:lnTo>
                  <a:lnTo>
                    <a:pt x="274" y="78"/>
                  </a:lnTo>
                  <a:lnTo>
                    <a:pt x="264" y="98"/>
                  </a:lnTo>
                  <a:lnTo>
                    <a:pt x="262" y="126"/>
                  </a:lnTo>
                  <a:lnTo>
                    <a:pt x="268" y="150"/>
                  </a:lnTo>
                  <a:lnTo>
                    <a:pt x="282" y="150"/>
                  </a:lnTo>
                  <a:lnTo>
                    <a:pt x="280" y="162"/>
                  </a:lnTo>
                  <a:lnTo>
                    <a:pt x="266" y="176"/>
                  </a:lnTo>
                  <a:lnTo>
                    <a:pt x="272" y="186"/>
                  </a:lnTo>
                  <a:lnTo>
                    <a:pt x="286" y="202"/>
                  </a:lnTo>
                  <a:lnTo>
                    <a:pt x="298" y="212"/>
                  </a:lnTo>
                  <a:lnTo>
                    <a:pt x="298" y="224"/>
                  </a:lnTo>
                  <a:lnTo>
                    <a:pt x="306" y="224"/>
                  </a:lnTo>
                  <a:lnTo>
                    <a:pt x="306" y="232"/>
                  </a:lnTo>
                  <a:lnTo>
                    <a:pt x="292" y="234"/>
                  </a:lnTo>
                  <a:lnTo>
                    <a:pt x="278" y="242"/>
                  </a:lnTo>
                  <a:lnTo>
                    <a:pt x="278" y="258"/>
                  </a:lnTo>
                  <a:lnTo>
                    <a:pt x="236" y="254"/>
                  </a:lnTo>
                  <a:lnTo>
                    <a:pt x="208" y="246"/>
                  </a:lnTo>
                  <a:lnTo>
                    <a:pt x="206" y="230"/>
                  </a:lnTo>
                  <a:lnTo>
                    <a:pt x="196" y="222"/>
                  </a:lnTo>
                  <a:lnTo>
                    <a:pt x="188" y="224"/>
                  </a:lnTo>
                  <a:lnTo>
                    <a:pt x="178" y="232"/>
                  </a:lnTo>
                  <a:lnTo>
                    <a:pt x="164" y="234"/>
                  </a:lnTo>
                  <a:lnTo>
                    <a:pt x="138" y="224"/>
                  </a:lnTo>
                  <a:lnTo>
                    <a:pt x="118" y="206"/>
                  </a:lnTo>
                  <a:lnTo>
                    <a:pt x="104" y="188"/>
                  </a:lnTo>
                  <a:lnTo>
                    <a:pt x="98" y="176"/>
                  </a:lnTo>
                  <a:lnTo>
                    <a:pt x="80" y="172"/>
                  </a:lnTo>
                  <a:lnTo>
                    <a:pt x="70" y="176"/>
                  </a:lnTo>
                  <a:lnTo>
                    <a:pt x="60" y="172"/>
                  </a:lnTo>
                  <a:lnTo>
                    <a:pt x="62" y="166"/>
                  </a:lnTo>
                  <a:lnTo>
                    <a:pt x="56" y="154"/>
                  </a:lnTo>
                  <a:lnTo>
                    <a:pt x="60" y="140"/>
                  </a:lnTo>
                  <a:lnTo>
                    <a:pt x="48" y="130"/>
                  </a:lnTo>
                  <a:lnTo>
                    <a:pt x="38" y="126"/>
                  </a:lnTo>
                  <a:lnTo>
                    <a:pt x="20" y="104"/>
                  </a:lnTo>
                  <a:lnTo>
                    <a:pt x="26" y="90"/>
                  </a:lnTo>
                  <a:lnTo>
                    <a:pt x="32" y="86"/>
                  </a:lnTo>
                  <a:lnTo>
                    <a:pt x="30" y="78"/>
                  </a:lnTo>
                  <a:lnTo>
                    <a:pt x="34" y="72"/>
                  </a:lnTo>
                  <a:lnTo>
                    <a:pt x="26" y="70"/>
                  </a:lnTo>
                  <a:lnTo>
                    <a:pt x="16" y="54"/>
                  </a:lnTo>
                  <a:lnTo>
                    <a:pt x="10" y="44"/>
                  </a:lnTo>
                  <a:lnTo>
                    <a:pt x="6" y="34"/>
                  </a:lnTo>
                  <a:lnTo>
                    <a:pt x="4" y="24"/>
                  </a:lnTo>
                  <a:lnTo>
                    <a:pt x="2" y="16"/>
                  </a:lnTo>
                  <a:lnTo>
                    <a:pt x="0" y="8"/>
                  </a:lnTo>
                  <a:lnTo>
                    <a:pt x="2" y="4"/>
                  </a:lnTo>
                  <a:lnTo>
                    <a:pt x="10" y="2"/>
                  </a:lnTo>
                  <a:lnTo>
                    <a:pt x="24" y="14"/>
                  </a:lnTo>
                  <a:lnTo>
                    <a:pt x="32" y="18"/>
                  </a:lnTo>
                  <a:lnTo>
                    <a:pt x="34" y="12"/>
                  </a:lnTo>
                  <a:lnTo>
                    <a:pt x="42" y="14"/>
                  </a:lnTo>
                  <a:lnTo>
                    <a:pt x="48" y="10"/>
                  </a:lnTo>
                  <a:lnTo>
                    <a:pt x="60" y="0"/>
                  </a:lnTo>
                  <a:lnTo>
                    <a:pt x="64" y="2"/>
                  </a:lnTo>
                  <a:lnTo>
                    <a:pt x="64" y="10"/>
                  </a:lnTo>
                  <a:lnTo>
                    <a:pt x="68" y="16"/>
                  </a:lnTo>
                  <a:lnTo>
                    <a:pt x="62" y="18"/>
                  </a:lnTo>
                  <a:lnTo>
                    <a:pt x="68" y="24"/>
                  </a:lnTo>
                  <a:lnTo>
                    <a:pt x="76" y="2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31" name="Freeform 123">
              <a:extLst>
                <a:ext uri="{FF2B5EF4-FFF2-40B4-BE49-F238E27FC236}">
                  <a16:creationId xmlns:a16="http://schemas.microsoft.com/office/drawing/2014/main" id="{7579E5C7-D843-495F-90C0-8171E24B5C14}"/>
                </a:ext>
              </a:extLst>
            </p:cNvPr>
            <p:cNvSpPr>
              <a:spLocks/>
            </p:cNvSpPr>
            <p:nvPr/>
          </p:nvSpPr>
          <p:spPr bwMode="gray">
            <a:xfrm>
              <a:off x="7408337" y="3625746"/>
              <a:ext cx="373141" cy="268892"/>
            </a:xfrm>
            <a:custGeom>
              <a:avLst/>
              <a:gdLst>
                <a:gd name="T0" fmla="*/ 12 w 226"/>
                <a:gd name="T1" fmla="*/ 56 h 162"/>
                <a:gd name="T2" fmla="*/ 24 w 226"/>
                <a:gd name="T3" fmla="*/ 56 h 162"/>
                <a:gd name="T4" fmla="*/ 34 w 226"/>
                <a:gd name="T5" fmla="*/ 60 h 162"/>
                <a:gd name="T6" fmla="*/ 44 w 226"/>
                <a:gd name="T7" fmla="*/ 48 h 162"/>
                <a:gd name="T8" fmla="*/ 56 w 226"/>
                <a:gd name="T9" fmla="*/ 44 h 162"/>
                <a:gd name="T10" fmla="*/ 68 w 226"/>
                <a:gd name="T11" fmla="*/ 26 h 162"/>
                <a:gd name="T12" fmla="*/ 84 w 226"/>
                <a:gd name="T13" fmla="*/ 20 h 162"/>
                <a:gd name="T14" fmla="*/ 96 w 226"/>
                <a:gd name="T15" fmla="*/ 20 h 162"/>
                <a:gd name="T16" fmla="*/ 116 w 226"/>
                <a:gd name="T17" fmla="*/ 26 h 162"/>
                <a:gd name="T18" fmla="*/ 126 w 226"/>
                <a:gd name="T19" fmla="*/ 30 h 162"/>
                <a:gd name="T20" fmla="*/ 146 w 226"/>
                <a:gd name="T21" fmla="*/ 18 h 162"/>
                <a:gd name="T22" fmla="*/ 154 w 226"/>
                <a:gd name="T23" fmla="*/ 16 h 162"/>
                <a:gd name="T24" fmla="*/ 164 w 226"/>
                <a:gd name="T25" fmla="*/ 0 h 162"/>
                <a:gd name="T26" fmla="*/ 172 w 226"/>
                <a:gd name="T27" fmla="*/ 6 h 162"/>
                <a:gd name="T28" fmla="*/ 174 w 226"/>
                <a:gd name="T29" fmla="*/ 18 h 162"/>
                <a:gd name="T30" fmla="*/ 172 w 226"/>
                <a:gd name="T31" fmla="*/ 26 h 162"/>
                <a:gd name="T32" fmla="*/ 172 w 226"/>
                <a:gd name="T33" fmla="*/ 32 h 162"/>
                <a:gd name="T34" fmla="*/ 182 w 226"/>
                <a:gd name="T35" fmla="*/ 30 h 162"/>
                <a:gd name="T36" fmla="*/ 190 w 226"/>
                <a:gd name="T37" fmla="*/ 26 h 162"/>
                <a:gd name="T38" fmla="*/ 198 w 226"/>
                <a:gd name="T39" fmla="*/ 20 h 162"/>
                <a:gd name="T40" fmla="*/ 226 w 226"/>
                <a:gd name="T41" fmla="*/ 20 h 162"/>
                <a:gd name="T42" fmla="*/ 226 w 226"/>
                <a:gd name="T43" fmla="*/ 28 h 162"/>
                <a:gd name="T44" fmla="*/ 214 w 226"/>
                <a:gd name="T45" fmla="*/ 30 h 162"/>
                <a:gd name="T46" fmla="*/ 198 w 226"/>
                <a:gd name="T47" fmla="*/ 30 h 162"/>
                <a:gd name="T48" fmla="*/ 190 w 226"/>
                <a:gd name="T49" fmla="*/ 30 h 162"/>
                <a:gd name="T50" fmla="*/ 186 w 226"/>
                <a:gd name="T51" fmla="*/ 32 h 162"/>
                <a:gd name="T52" fmla="*/ 174 w 226"/>
                <a:gd name="T53" fmla="*/ 40 h 162"/>
                <a:gd name="T54" fmla="*/ 168 w 226"/>
                <a:gd name="T55" fmla="*/ 46 h 162"/>
                <a:gd name="T56" fmla="*/ 172 w 226"/>
                <a:gd name="T57" fmla="*/ 52 h 162"/>
                <a:gd name="T58" fmla="*/ 174 w 226"/>
                <a:gd name="T59" fmla="*/ 58 h 162"/>
                <a:gd name="T60" fmla="*/ 172 w 226"/>
                <a:gd name="T61" fmla="*/ 68 h 162"/>
                <a:gd name="T62" fmla="*/ 168 w 226"/>
                <a:gd name="T63" fmla="*/ 78 h 162"/>
                <a:gd name="T64" fmla="*/ 152 w 226"/>
                <a:gd name="T65" fmla="*/ 84 h 162"/>
                <a:gd name="T66" fmla="*/ 148 w 226"/>
                <a:gd name="T67" fmla="*/ 96 h 162"/>
                <a:gd name="T68" fmla="*/ 142 w 226"/>
                <a:gd name="T69" fmla="*/ 100 h 162"/>
                <a:gd name="T70" fmla="*/ 138 w 226"/>
                <a:gd name="T71" fmla="*/ 110 h 162"/>
                <a:gd name="T72" fmla="*/ 138 w 226"/>
                <a:gd name="T73" fmla="*/ 124 h 162"/>
                <a:gd name="T74" fmla="*/ 114 w 226"/>
                <a:gd name="T75" fmla="*/ 124 h 162"/>
                <a:gd name="T76" fmla="*/ 110 w 226"/>
                <a:gd name="T77" fmla="*/ 132 h 162"/>
                <a:gd name="T78" fmla="*/ 94 w 226"/>
                <a:gd name="T79" fmla="*/ 132 h 162"/>
                <a:gd name="T80" fmla="*/ 90 w 226"/>
                <a:gd name="T81" fmla="*/ 138 h 162"/>
                <a:gd name="T82" fmla="*/ 88 w 226"/>
                <a:gd name="T83" fmla="*/ 156 h 162"/>
                <a:gd name="T84" fmla="*/ 78 w 226"/>
                <a:gd name="T85" fmla="*/ 158 h 162"/>
                <a:gd name="T86" fmla="*/ 42 w 226"/>
                <a:gd name="T87" fmla="*/ 162 h 162"/>
                <a:gd name="T88" fmla="*/ 24 w 226"/>
                <a:gd name="T89" fmla="*/ 162 h 162"/>
                <a:gd name="T90" fmla="*/ 18 w 226"/>
                <a:gd name="T91" fmla="*/ 156 h 162"/>
                <a:gd name="T92" fmla="*/ 8 w 226"/>
                <a:gd name="T93" fmla="*/ 160 h 162"/>
                <a:gd name="T94" fmla="*/ 4 w 226"/>
                <a:gd name="T95" fmla="*/ 154 h 162"/>
                <a:gd name="T96" fmla="*/ 18 w 226"/>
                <a:gd name="T97" fmla="*/ 140 h 162"/>
                <a:gd name="T98" fmla="*/ 20 w 226"/>
                <a:gd name="T99" fmla="*/ 128 h 162"/>
                <a:gd name="T100" fmla="*/ 6 w 226"/>
                <a:gd name="T101" fmla="*/ 128 h 162"/>
                <a:gd name="T102" fmla="*/ 4 w 226"/>
                <a:gd name="T103" fmla="*/ 114 h 162"/>
                <a:gd name="T104" fmla="*/ 0 w 226"/>
                <a:gd name="T105" fmla="*/ 104 h 162"/>
                <a:gd name="T106" fmla="*/ 2 w 226"/>
                <a:gd name="T107" fmla="*/ 76 h 162"/>
                <a:gd name="T108" fmla="*/ 12 w 226"/>
                <a:gd name="T109" fmla="*/ 56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26" h="162">
                  <a:moveTo>
                    <a:pt x="12" y="56"/>
                  </a:moveTo>
                  <a:lnTo>
                    <a:pt x="24" y="56"/>
                  </a:lnTo>
                  <a:lnTo>
                    <a:pt x="34" y="60"/>
                  </a:lnTo>
                  <a:lnTo>
                    <a:pt x="44" y="48"/>
                  </a:lnTo>
                  <a:lnTo>
                    <a:pt x="56" y="44"/>
                  </a:lnTo>
                  <a:lnTo>
                    <a:pt x="68" y="26"/>
                  </a:lnTo>
                  <a:lnTo>
                    <a:pt x="84" y="20"/>
                  </a:lnTo>
                  <a:lnTo>
                    <a:pt x="96" y="20"/>
                  </a:lnTo>
                  <a:lnTo>
                    <a:pt x="116" y="26"/>
                  </a:lnTo>
                  <a:lnTo>
                    <a:pt x="126" y="30"/>
                  </a:lnTo>
                  <a:lnTo>
                    <a:pt x="146" y="18"/>
                  </a:lnTo>
                  <a:lnTo>
                    <a:pt x="154" y="16"/>
                  </a:lnTo>
                  <a:lnTo>
                    <a:pt x="164" y="0"/>
                  </a:lnTo>
                  <a:lnTo>
                    <a:pt x="172" y="6"/>
                  </a:lnTo>
                  <a:lnTo>
                    <a:pt x="174" y="18"/>
                  </a:lnTo>
                  <a:lnTo>
                    <a:pt x="172" y="26"/>
                  </a:lnTo>
                  <a:lnTo>
                    <a:pt x="172" y="32"/>
                  </a:lnTo>
                  <a:lnTo>
                    <a:pt x="182" y="30"/>
                  </a:lnTo>
                  <a:lnTo>
                    <a:pt x="190" y="26"/>
                  </a:lnTo>
                  <a:lnTo>
                    <a:pt x="198" y="20"/>
                  </a:lnTo>
                  <a:lnTo>
                    <a:pt x="226" y="20"/>
                  </a:lnTo>
                  <a:lnTo>
                    <a:pt x="226" y="28"/>
                  </a:lnTo>
                  <a:lnTo>
                    <a:pt x="214" y="30"/>
                  </a:lnTo>
                  <a:lnTo>
                    <a:pt x="198" y="30"/>
                  </a:lnTo>
                  <a:lnTo>
                    <a:pt x="190" y="30"/>
                  </a:lnTo>
                  <a:lnTo>
                    <a:pt x="186" y="32"/>
                  </a:lnTo>
                  <a:lnTo>
                    <a:pt x="174" y="40"/>
                  </a:lnTo>
                  <a:lnTo>
                    <a:pt x="168" y="46"/>
                  </a:lnTo>
                  <a:lnTo>
                    <a:pt x="172" y="52"/>
                  </a:lnTo>
                  <a:lnTo>
                    <a:pt x="174" y="58"/>
                  </a:lnTo>
                  <a:lnTo>
                    <a:pt x="172" y="68"/>
                  </a:lnTo>
                  <a:lnTo>
                    <a:pt x="168" y="78"/>
                  </a:lnTo>
                  <a:lnTo>
                    <a:pt x="152" y="84"/>
                  </a:lnTo>
                  <a:lnTo>
                    <a:pt x="148" y="96"/>
                  </a:lnTo>
                  <a:lnTo>
                    <a:pt x="142" y="100"/>
                  </a:lnTo>
                  <a:lnTo>
                    <a:pt x="138" y="110"/>
                  </a:lnTo>
                  <a:lnTo>
                    <a:pt x="138" y="124"/>
                  </a:lnTo>
                  <a:lnTo>
                    <a:pt x="114" y="124"/>
                  </a:lnTo>
                  <a:lnTo>
                    <a:pt x="110" y="132"/>
                  </a:lnTo>
                  <a:lnTo>
                    <a:pt x="94" y="132"/>
                  </a:lnTo>
                  <a:lnTo>
                    <a:pt x="90" y="138"/>
                  </a:lnTo>
                  <a:lnTo>
                    <a:pt x="88" y="156"/>
                  </a:lnTo>
                  <a:lnTo>
                    <a:pt x="78" y="158"/>
                  </a:lnTo>
                  <a:lnTo>
                    <a:pt x="42" y="162"/>
                  </a:lnTo>
                  <a:lnTo>
                    <a:pt x="24" y="162"/>
                  </a:lnTo>
                  <a:lnTo>
                    <a:pt x="18" y="156"/>
                  </a:lnTo>
                  <a:lnTo>
                    <a:pt x="8" y="160"/>
                  </a:lnTo>
                  <a:lnTo>
                    <a:pt x="4" y="154"/>
                  </a:lnTo>
                  <a:lnTo>
                    <a:pt x="18" y="140"/>
                  </a:lnTo>
                  <a:lnTo>
                    <a:pt x="20" y="128"/>
                  </a:lnTo>
                  <a:lnTo>
                    <a:pt x="6" y="128"/>
                  </a:lnTo>
                  <a:lnTo>
                    <a:pt x="4" y="114"/>
                  </a:lnTo>
                  <a:lnTo>
                    <a:pt x="0" y="104"/>
                  </a:lnTo>
                  <a:lnTo>
                    <a:pt x="2" y="76"/>
                  </a:lnTo>
                  <a:lnTo>
                    <a:pt x="12" y="5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32" name="Freeform 125">
              <a:extLst>
                <a:ext uri="{FF2B5EF4-FFF2-40B4-BE49-F238E27FC236}">
                  <a16:creationId xmlns:a16="http://schemas.microsoft.com/office/drawing/2014/main" id="{78A802F7-29D3-4021-A904-DA532A453E08}"/>
                </a:ext>
              </a:extLst>
            </p:cNvPr>
            <p:cNvSpPr>
              <a:spLocks/>
            </p:cNvSpPr>
            <p:nvPr/>
          </p:nvSpPr>
          <p:spPr bwMode="gray">
            <a:xfrm>
              <a:off x="6734700" y="3778449"/>
              <a:ext cx="112273" cy="126147"/>
            </a:xfrm>
            <a:custGeom>
              <a:avLst/>
              <a:gdLst>
                <a:gd name="T0" fmla="*/ 66 w 68"/>
                <a:gd name="T1" fmla="*/ 0 h 76"/>
                <a:gd name="T2" fmla="*/ 68 w 68"/>
                <a:gd name="T3" fmla="*/ 24 h 76"/>
                <a:gd name="T4" fmla="*/ 66 w 68"/>
                <a:gd name="T5" fmla="*/ 30 h 76"/>
                <a:gd name="T6" fmla="*/ 38 w 68"/>
                <a:gd name="T7" fmla="*/ 34 h 76"/>
                <a:gd name="T8" fmla="*/ 50 w 68"/>
                <a:gd name="T9" fmla="*/ 50 h 76"/>
                <a:gd name="T10" fmla="*/ 44 w 68"/>
                <a:gd name="T11" fmla="*/ 56 h 76"/>
                <a:gd name="T12" fmla="*/ 42 w 68"/>
                <a:gd name="T13" fmla="*/ 62 h 76"/>
                <a:gd name="T14" fmla="*/ 30 w 68"/>
                <a:gd name="T15" fmla="*/ 64 h 76"/>
                <a:gd name="T16" fmla="*/ 24 w 68"/>
                <a:gd name="T17" fmla="*/ 72 h 76"/>
                <a:gd name="T18" fmla="*/ 20 w 68"/>
                <a:gd name="T19" fmla="*/ 76 h 76"/>
                <a:gd name="T20" fmla="*/ 0 w 68"/>
                <a:gd name="T21" fmla="*/ 70 h 76"/>
                <a:gd name="T22" fmla="*/ 6 w 68"/>
                <a:gd name="T23" fmla="*/ 58 h 76"/>
                <a:gd name="T24" fmla="*/ 8 w 68"/>
                <a:gd name="T25" fmla="*/ 48 h 76"/>
                <a:gd name="T26" fmla="*/ 8 w 68"/>
                <a:gd name="T27" fmla="*/ 36 h 76"/>
                <a:gd name="T28" fmla="*/ 10 w 68"/>
                <a:gd name="T29" fmla="*/ 28 h 76"/>
                <a:gd name="T30" fmla="*/ 10 w 68"/>
                <a:gd name="T31" fmla="*/ 20 h 76"/>
                <a:gd name="T32" fmla="*/ 12 w 68"/>
                <a:gd name="T33" fmla="*/ 14 h 76"/>
                <a:gd name="T34" fmla="*/ 16 w 68"/>
                <a:gd name="T35" fmla="*/ 16 h 76"/>
                <a:gd name="T36" fmla="*/ 20 w 68"/>
                <a:gd name="T37" fmla="*/ 16 h 76"/>
                <a:gd name="T38" fmla="*/ 28 w 68"/>
                <a:gd name="T39" fmla="*/ 20 h 76"/>
                <a:gd name="T40" fmla="*/ 36 w 68"/>
                <a:gd name="T41" fmla="*/ 18 h 76"/>
                <a:gd name="T42" fmla="*/ 66 w 68"/>
                <a:gd name="T43"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 h="76">
                  <a:moveTo>
                    <a:pt x="66" y="0"/>
                  </a:moveTo>
                  <a:lnTo>
                    <a:pt x="68" y="24"/>
                  </a:lnTo>
                  <a:lnTo>
                    <a:pt x="66" y="30"/>
                  </a:lnTo>
                  <a:lnTo>
                    <a:pt x="38" y="34"/>
                  </a:lnTo>
                  <a:lnTo>
                    <a:pt x="50" y="50"/>
                  </a:lnTo>
                  <a:lnTo>
                    <a:pt x="44" y="56"/>
                  </a:lnTo>
                  <a:lnTo>
                    <a:pt x="42" y="62"/>
                  </a:lnTo>
                  <a:lnTo>
                    <a:pt x="30" y="64"/>
                  </a:lnTo>
                  <a:lnTo>
                    <a:pt x="24" y="72"/>
                  </a:lnTo>
                  <a:lnTo>
                    <a:pt x="20" y="76"/>
                  </a:lnTo>
                  <a:lnTo>
                    <a:pt x="0" y="70"/>
                  </a:lnTo>
                  <a:lnTo>
                    <a:pt x="6" y="58"/>
                  </a:lnTo>
                  <a:lnTo>
                    <a:pt x="8" y="48"/>
                  </a:lnTo>
                  <a:lnTo>
                    <a:pt x="8" y="36"/>
                  </a:lnTo>
                  <a:lnTo>
                    <a:pt x="10" y="28"/>
                  </a:lnTo>
                  <a:lnTo>
                    <a:pt x="10" y="20"/>
                  </a:lnTo>
                  <a:lnTo>
                    <a:pt x="12" y="14"/>
                  </a:lnTo>
                  <a:lnTo>
                    <a:pt x="16" y="16"/>
                  </a:lnTo>
                  <a:lnTo>
                    <a:pt x="20" y="16"/>
                  </a:lnTo>
                  <a:lnTo>
                    <a:pt x="28" y="20"/>
                  </a:lnTo>
                  <a:lnTo>
                    <a:pt x="36" y="18"/>
                  </a:lnTo>
                  <a:lnTo>
                    <a:pt x="66"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33" name="Freeform 126">
              <a:extLst>
                <a:ext uri="{FF2B5EF4-FFF2-40B4-BE49-F238E27FC236}">
                  <a16:creationId xmlns:a16="http://schemas.microsoft.com/office/drawing/2014/main" id="{7316EECA-C181-4A7F-AF0E-B403EF97BFCC}"/>
                </a:ext>
              </a:extLst>
            </p:cNvPr>
            <p:cNvSpPr>
              <a:spLocks/>
            </p:cNvSpPr>
            <p:nvPr/>
          </p:nvSpPr>
          <p:spPr bwMode="gray">
            <a:xfrm>
              <a:off x="6731399" y="3818285"/>
              <a:ext cx="544853" cy="444834"/>
            </a:xfrm>
            <a:custGeom>
              <a:avLst/>
              <a:gdLst>
                <a:gd name="T0" fmla="*/ 0 w 330"/>
                <a:gd name="T1" fmla="*/ 68 h 268"/>
                <a:gd name="T2" fmla="*/ 4 w 330"/>
                <a:gd name="T3" fmla="*/ 46 h 268"/>
                <a:gd name="T4" fmla="*/ 22 w 330"/>
                <a:gd name="T5" fmla="*/ 52 h 268"/>
                <a:gd name="T6" fmla="*/ 26 w 330"/>
                <a:gd name="T7" fmla="*/ 48 h 268"/>
                <a:gd name="T8" fmla="*/ 32 w 330"/>
                <a:gd name="T9" fmla="*/ 40 h 268"/>
                <a:gd name="T10" fmla="*/ 44 w 330"/>
                <a:gd name="T11" fmla="*/ 38 h 268"/>
                <a:gd name="T12" fmla="*/ 46 w 330"/>
                <a:gd name="T13" fmla="*/ 32 h 268"/>
                <a:gd name="T14" fmla="*/ 52 w 330"/>
                <a:gd name="T15" fmla="*/ 26 h 268"/>
                <a:gd name="T16" fmla="*/ 40 w 330"/>
                <a:gd name="T17" fmla="*/ 10 h 268"/>
                <a:gd name="T18" fmla="*/ 68 w 330"/>
                <a:gd name="T19" fmla="*/ 6 h 268"/>
                <a:gd name="T20" fmla="*/ 70 w 330"/>
                <a:gd name="T21" fmla="*/ 0 h 268"/>
                <a:gd name="T22" fmla="*/ 90 w 330"/>
                <a:gd name="T23" fmla="*/ 4 h 268"/>
                <a:gd name="T24" fmla="*/ 126 w 330"/>
                <a:gd name="T25" fmla="*/ 24 h 268"/>
                <a:gd name="T26" fmla="*/ 134 w 330"/>
                <a:gd name="T27" fmla="*/ 36 h 268"/>
                <a:gd name="T28" fmla="*/ 136 w 330"/>
                <a:gd name="T29" fmla="*/ 40 h 268"/>
                <a:gd name="T30" fmla="*/ 144 w 330"/>
                <a:gd name="T31" fmla="*/ 42 h 268"/>
                <a:gd name="T32" fmla="*/ 158 w 330"/>
                <a:gd name="T33" fmla="*/ 52 h 268"/>
                <a:gd name="T34" fmla="*/ 174 w 330"/>
                <a:gd name="T35" fmla="*/ 52 h 268"/>
                <a:gd name="T36" fmla="*/ 190 w 330"/>
                <a:gd name="T37" fmla="*/ 52 h 268"/>
                <a:gd name="T38" fmla="*/ 200 w 330"/>
                <a:gd name="T39" fmla="*/ 54 h 268"/>
                <a:gd name="T40" fmla="*/ 208 w 330"/>
                <a:gd name="T41" fmla="*/ 62 h 268"/>
                <a:gd name="T42" fmla="*/ 216 w 330"/>
                <a:gd name="T43" fmla="*/ 62 h 268"/>
                <a:gd name="T44" fmla="*/ 226 w 330"/>
                <a:gd name="T45" fmla="*/ 82 h 268"/>
                <a:gd name="T46" fmla="*/ 234 w 330"/>
                <a:gd name="T47" fmla="*/ 88 h 268"/>
                <a:gd name="T48" fmla="*/ 242 w 330"/>
                <a:gd name="T49" fmla="*/ 96 h 268"/>
                <a:gd name="T50" fmla="*/ 244 w 330"/>
                <a:gd name="T51" fmla="*/ 110 h 268"/>
                <a:gd name="T52" fmla="*/ 248 w 330"/>
                <a:gd name="T53" fmla="*/ 118 h 268"/>
                <a:gd name="T54" fmla="*/ 256 w 330"/>
                <a:gd name="T55" fmla="*/ 128 h 268"/>
                <a:gd name="T56" fmla="*/ 260 w 330"/>
                <a:gd name="T57" fmla="*/ 132 h 268"/>
                <a:gd name="T58" fmla="*/ 282 w 330"/>
                <a:gd name="T59" fmla="*/ 158 h 268"/>
                <a:gd name="T60" fmla="*/ 290 w 330"/>
                <a:gd name="T61" fmla="*/ 160 h 268"/>
                <a:gd name="T62" fmla="*/ 302 w 330"/>
                <a:gd name="T63" fmla="*/ 164 h 268"/>
                <a:gd name="T64" fmla="*/ 308 w 330"/>
                <a:gd name="T65" fmla="*/ 166 h 268"/>
                <a:gd name="T66" fmla="*/ 326 w 330"/>
                <a:gd name="T67" fmla="*/ 164 h 268"/>
                <a:gd name="T68" fmla="*/ 330 w 330"/>
                <a:gd name="T69" fmla="*/ 172 h 268"/>
                <a:gd name="T70" fmla="*/ 330 w 330"/>
                <a:gd name="T71" fmla="*/ 186 h 268"/>
                <a:gd name="T72" fmla="*/ 322 w 330"/>
                <a:gd name="T73" fmla="*/ 204 h 268"/>
                <a:gd name="T74" fmla="*/ 306 w 330"/>
                <a:gd name="T75" fmla="*/ 208 h 268"/>
                <a:gd name="T76" fmla="*/ 290 w 330"/>
                <a:gd name="T77" fmla="*/ 216 h 268"/>
                <a:gd name="T78" fmla="*/ 274 w 330"/>
                <a:gd name="T79" fmla="*/ 226 h 268"/>
                <a:gd name="T80" fmla="*/ 258 w 330"/>
                <a:gd name="T81" fmla="*/ 224 h 268"/>
                <a:gd name="T82" fmla="*/ 226 w 330"/>
                <a:gd name="T83" fmla="*/ 230 h 268"/>
                <a:gd name="T84" fmla="*/ 200 w 330"/>
                <a:gd name="T85" fmla="*/ 254 h 268"/>
                <a:gd name="T86" fmla="*/ 170 w 330"/>
                <a:gd name="T87" fmla="*/ 248 h 268"/>
                <a:gd name="T88" fmla="*/ 136 w 330"/>
                <a:gd name="T89" fmla="*/ 250 h 268"/>
                <a:gd name="T90" fmla="*/ 128 w 330"/>
                <a:gd name="T91" fmla="*/ 268 h 268"/>
                <a:gd name="T92" fmla="*/ 120 w 330"/>
                <a:gd name="T93" fmla="*/ 250 h 268"/>
                <a:gd name="T94" fmla="*/ 106 w 330"/>
                <a:gd name="T95" fmla="*/ 232 h 268"/>
                <a:gd name="T96" fmla="*/ 96 w 330"/>
                <a:gd name="T97" fmla="*/ 212 h 268"/>
                <a:gd name="T98" fmla="*/ 88 w 330"/>
                <a:gd name="T99" fmla="*/ 202 h 268"/>
                <a:gd name="T100" fmla="*/ 76 w 330"/>
                <a:gd name="T101" fmla="*/ 200 h 268"/>
                <a:gd name="T102" fmla="*/ 68 w 330"/>
                <a:gd name="T103" fmla="*/ 184 h 268"/>
                <a:gd name="T104" fmla="*/ 68 w 330"/>
                <a:gd name="T105" fmla="*/ 160 h 268"/>
                <a:gd name="T106" fmla="*/ 56 w 330"/>
                <a:gd name="T107" fmla="*/ 142 h 268"/>
                <a:gd name="T108" fmla="*/ 42 w 330"/>
                <a:gd name="T109" fmla="*/ 136 h 268"/>
                <a:gd name="T110" fmla="*/ 38 w 330"/>
                <a:gd name="T111" fmla="*/ 126 h 268"/>
                <a:gd name="T112" fmla="*/ 38 w 330"/>
                <a:gd name="T113" fmla="*/ 114 h 268"/>
                <a:gd name="T114" fmla="*/ 18 w 330"/>
                <a:gd name="T115" fmla="*/ 90 h 268"/>
                <a:gd name="T116" fmla="*/ 8 w 330"/>
                <a:gd name="T117" fmla="*/ 70 h 268"/>
                <a:gd name="T118" fmla="*/ 0 w 330"/>
                <a:gd name="T119" fmla="*/ 68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30" h="268">
                  <a:moveTo>
                    <a:pt x="0" y="68"/>
                  </a:moveTo>
                  <a:lnTo>
                    <a:pt x="4" y="46"/>
                  </a:lnTo>
                  <a:lnTo>
                    <a:pt x="22" y="52"/>
                  </a:lnTo>
                  <a:lnTo>
                    <a:pt x="26" y="48"/>
                  </a:lnTo>
                  <a:lnTo>
                    <a:pt x="32" y="40"/>
                  </a:lnTo>
                  <a:lnTo>
                    <a:pt x="44" y="38"/>
                  </a:lnTo>
                  <a:lnTo>
                    <a:pt x="46" y="32"/>
                  </a:lnTo>
                  <a:lnTo>
                    <a:pt x="52" y="26"/>
                  </a:lnTo>
                  <a:lnTo>
                    <a:pt x="40" y="10"/>
                  </a:lnTo>
                  <a:lnTo>
                    <a:pt x="68" y="6"/>
                  </a:lnTo>
                  <a:lnTo>
                    <a:pt x="70" y="0"/>
                  </a:lnTo>
                  <a:lnTo>
                    <a:pt x="90" y="4"/>
                  </a:lnTo>
                  <a:lnTo>
                    <a:pt x="126" y="24"/>
                  </a:lnTo>
                  <a:lnTo>
                    <a:pt x="134" y="36"/>
                  </a:lnTo>
                  <a:lnTo>
                    <a:pt x="136" y="40"/>
                  </a:lnTo>
                  <a:lnTo>
                    <a:pt x="144" y="42"/>
                  </a:lnTo>
                  <a:lnTo>
                    <a:pt x="158" y="52"/>
                  </a:lnTo>
                  <a:lnTo>
                    <a:pt x="174" y="52"/>
                  </a:lnTo>
                  <a:lnTo>
                    <a:pt x="190" y="52"/>
                  </a:lnTo>
                  <a:lnTo>
                    <a:pt x="200" y="54"/>
                  </a:lnTo>
                  <a:lnTo>
                    <a:pt x="208" y="62"/>
                  </a:lnTo>
                  <a:lnTo>
                    <a:pt x="216" y="62"/>
                  </a:lnTo>
                  <a:lnTo>
                    <a:pt x="226" y="82"/>
                  </a:lnTo>
                  <a:lnTo>
                    <a:pt x="234" y="88"/>
                  </a:lnTo>
                  <a:lnTo>
                    <a:pt x="242" y="96"/>
                  </a:lnTo>
                  <a:lnTo>
                    <a:pt x="244" y="110"/>
                  </a:lnTo>
                  <a:lnTo>
                    <a:pt x="248" y="118"/>
                  </a:lnTo>
                  <a:lnTo>
                    <a:pt x="256" y="128"/>
                  </a:lnTo>
                  <a:lnTo>
                    <a:pt x="260" y="132"/>
                  </a:lnTo>
                  <a:lnTo>
                    <a:pt x="282" y="158"/>
                  </a:lnTo>
                  <a:lnTo>
                    <a:pt x="290" y="160"/>
                  </a:lnTo>
                  <a:lnTo>
                    <a:pt x="302" y="164"/>
                  </a:lnTo>
                  <a:lnTo>
                    <a:pt x="308" y="166"/>
                  </a:lnTo>
                  <a:lnTo>
                    <a:pt x="326" y="164"/>
                  </a:lnTo>
                  <a:lnTo>
                    <a:pt x="330" y="172"/>
                  </a:lnTo>
                  <a:lnTo>
                    <a:pt x="330" y="186"/>
                  </a:lnTo>
                  <a:lnTo>
                    <a:pt x="322" y="204"/>
                  </a:lnTo>
                  <a:lnTo>
                    <a:pt x="306" y="208"/>
                  </a:lnTo>
                  <a:lnTo>
                    <a:pt x="290" y="216"/>
                  </a:lnTo>
                  <a:lnTo>
                    <a:pt x="274" y="226"/>
                  </a:lnTo>
                  <a:lnTo>
                    <a:pt x="258" y="224"/>
                  </a:lnTo>
                  <a:lnTo>
                    <a:pt x="226" y="230"/>
                  </a:lnTo>
                  <a:lnTo>
                    <a:pt x="200" y="254"/>
                  </a:lnTo>
                  <a:lnTo>
                    <a:pt x="170" y="248"/>
                  </a:lnTo>
                  <a:lnTo>
                    <a:pt x="136" y="250"/>
                  </a:lnTo>
                  <a:lnTo>
                    <a:pt x="128" y="268"/>
                  </a:lnTo>
                  <a:lnTo>
                    <a:pt x="120" y="250"/>
                  </a:lnTo>
                  <a:lnTo>
                    <a:pt x="106" y="232"/>
                  </a:lnTo>
                  <a:lnTo>
                    <a:pt x="96" y="212"/>
                  </a:lnTo>
                  <a:lnTo>
                    <a:pt x="88" y="202"/>
                  </a:lnTo>
                  <a:lnTo>
                    <a:pt x="76" y="200"/>
                  </a:lnTo>
                  <a:lnTo>
                    <a:pt x="68" y="184"/>
                  </a:lnTo>
                  <a:lnTo>
                    <a:pt x="68" y="160"/>
                  </a:lnTo>
                  <a:lnTo>
                    <a:pt x="56" y="142"/>
                  </a:lnTo>
                  <a:lnTo>
                    <a:pt x="42" y="136"/>
                  </a:lnTo>
                  <a:lnTo>
                    <a:pt x="38" y="126"/>
                  </a:lnTo>
                  <a:lnTo>
                    <a:pt x="38" y="114"/>
                  </a:lnTo>
                  <a:lnTo>
                    <a:pt x="18" y="90"/>
                  </a:lnTo>
                  <a:lnTo>
                    <a:pt x="8" y="70"/>
                  </a:lnTo>
                  <a:lnTo>
                    <a:pt x="0" y="6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34" name="Freeform 127">
              <a:extLst>
                <a:ext uri="{FF2B5EF4-FFF2-40B4-BE49-F238E27FC236}">
                  <a16:creationId xmlns:a16="http://schemas.microsoft.com/office/drawing/2014/main" id="{FDB607A6-8958-4F29-8D04-2574ABB97934}"/>
                </a:ext>
              </a:extLst>
            </p:cNvPr>
            <p:cNvSpPr>
              <a:spLocks/>
            </p:cNvSpPr>
            <p:nvPr/>
          </p:nvSpPr>
          <p:spPr bwMode="gray">
            <a:xfrm>
              <a:off x="6738003" y="3811647"/>
              <a:ext cx="13209" cy="26557"/>
            </a:xfrm>
            <a:custGeom>
              <a:avLst/>
              <a:gdLst>
                <a:gd name="T0" fmla="*/ 8 w 8"/>
                <a:gd name="T1" fmla="*/ 0 h 16"/>
                <a:gd name="T2" fmla="*/ 2 w 8"/>
                <a:gd name="T3" fmla="*/ 0 h 16"/>
                <a:gd name="T4" fmla="*/ 0 w 8"/>
                <a:gd name="T5" fmla="*/ 4 h 16"/>
                <a:gd name="T6" fmla="*/ 0 w 8"/>
                <a:gd name="T7" fmla="*/ 10 h 16"/>
                <a:gd name="T8" fmla="*/ 2 w 8"/>
                <a:gd name="T9" fmla="*/ 16 h 16"/>
                <a:gd name="T10" fmla="*/ 6 w 8"/>
                <a:gd name="T11" fmla="*/ 16 h 16"/>
                <a:gd name="T12" fmla="*/ 8 w 8"/>
                <a:gd name="T13" fmla="*/ 8 h 16"/>
                <a:gd name="T14" fmla="*/ 8 w 8"/>
                <a:gd name="T15" fmla="*/ 2 h 16"/>
                <a:gd name="T16" fmla="*/ 8 w 8"/>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6">
                  <a:moveTo>
                    <a:pt x="8" y="0"/>
                  </a:moveTo>
                  <a:lnTo>
                    <a:pt x="2" y="0"/>
                  </a:lnTo>
                  <a:lnTo>
                    <a:pt x="0" y="4"/>
                  </a:lnTo>
                  <a:lnTo>
                    <a:pt x="0" y="10"/>
                  </a:lnTo>
                  <a:lnTo>
                    <a:pt x="2" y="16"/>
                  </a:lnTo>
                  <a:lnTo>
                    <a:pt x="6" y="16"/>
                  </a:lnTo>
                  <a:lnTo>
                    <a:pt x="8" y="8"/>
                  </a:lnTo>
                  <a:lnTo>
                    <a:pt x="8" y="2"/>
                  </a:lnTo>
                  <a:lnTo>
                    <a:pt x="8"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35" name="Freeform 128">
              <a:extLst>
                <a:ext uri="{FF2B5EF4-FFF2-40B4-BE49-F238E27FC236}">
                  <a16:creationId xmlns:a16="http://schemas.microsoft.com/office/drawing/2014/main" id="{B8353495-181E-4C4F-82A6-61DC67866717}"/>
                </a:ext>
              </a:extLst>
            </p:cNvPr>
            <p:cNvSpPr>
              <a:spLocks/>
            </p:cNvSpPr>
            <p:nvPr/>
          </p:nvSpPr>
          <p:spPr bwMode="gray">
            <a:xfrm>
              <a:off x="7154073" y="3994226"/>
              <a:ext cx="16510" cy="43155"/>
            </a:xfrm>
            <a:custGeom>
              <a:avLst/>
              <a:gdLst>
                <a:gd name="T0" fmla="*/ 0 w 10"/>
                <a:gd name="T1" fmla="*/ 22 h 26"/>
                <a:gd name="T2" fmla="*/ 0 w 10"/>
                <a:gd name="T3" fmla="*/ 10 h 26"/>
                <a:gd name="T4" fmla="*/ 4 w 10"/>
                <a:gd name="T5" fmla="*/ 0 h 26"/>
                <a:gd name="T6" fmla="*/ 8 w 10"/>
                <a:gd name="T7" fmla="*/ 0 h 26"/>
                <a:gd name="T8" fmla="*/ 10 w 10"/>
                <a:gd name="T9" fmla="*/ 8 h 26"/>
                <a:gd name="T10" fmla="*/ 10 w 10"/>
                <a:gd name="T11" fmla="*/ 14 h 26"/>
                <a:gd name="T12" fmla="*/ 8 w 10"/>
                <a:gd name="T13" fmla="*/ 22 h 26"/>
                <a:gd name="T14" fmla="*/ 4 w 10"/>
                <a:gd name="T15" fmla="*/ 26 h 26"/>
                <a:gd name="T16" fmla="*/ 0 w 10"/>
                <a:gd name="T17" fmla="*/ 2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26">
                  <a:moveTo>
                    <a:pt x="0" y="22"/>
                  </a:moveTo>
                  <a:lnTo>
                    <a:pt x="0" y="10"/>
                  </a:lnTo>
                  <a:lnTo>
                    <a:pt x="4" y="0"/>
                  </a:lnTo>
                  <a:lnTo>
                    <a:pt x="8" y="0"/>
                  </a:lnTo>
                  <a:lnTo>
                    <a:pt x="10" y="8"/>
                  </a:lnTo>
                  <a:lnTo>
                    <a:pt x="10" y="14"/>
                  </a:lnTo>
                  <a:lnTo>
                    <a:pt x="8" y="22"/>
                  </a:lnTo>
                  <a:lnTo>
                    <a:pt x="4" y="26"/>
                  </a:lnTo>
                  <a:lnTo>
                    <a:pt x="0" y="2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36" name="Freeform 129">
              <a:extLst>
                <a:ext uri="{FF2B5EF4-FFF2-40B4-BE49-F238E27FC236}">
                  <a16:creationId xmlns:a16="http://schemas.microsoft.com/office/drawing/2014/main" id="{F31F9323-A812-4616-80C9-47C07A21D7C0}"/>
                </a:ext>
              </a:extLst>
            </p:cNvPr>
            <p:cNvSpPr>
              <a:spLocks/>
            </p:cNvSpPr>
            <p:nvPr/>
          </p:nvSpPr>
          <p:spPr bwMode="gray">
            <a:xfrm>
              <a:off x="7140864" y="3980949"/>
              <a:ext cx="13209" cy="19918"/>
            </a:xfrm>
            <a:custGeom>
              <a:avLst/>
              <a:gdLst>
                <a:gd name="T0" fmla="*/ 0 w 8"/>
                <a:gd name="T1" fmla="*/ 0 h 12"/>
                <a:gd name="T2" fmla="*/ 8 w 8"/>
                <a:gd name="T3" fmla="*/ 2 h 12"/>
                <a:gd name="T4" fmla="*/ 4 w 8"/>
                <a:gd name="T5" fmla="*/ 12 h 12"/>
                <a:gd name="T6" fmla="*/ 0 w 8"/>
                <a:gd name="T7" fmla="*/ 0 h 12"/>
              </a:gdLst>
              <a:ahLst/>
              <a:cxnLst>
                <a:cxn ang="0">
                  <a:pos x="T0" y="T1"/>
                </a:cxn>
                <a:cxn ang="0">
                  <a:pos x="T2" y="T3"/>
                </a:cxn>
                <a:cxn ang="0">
                  <a:pos x="T4" y="T5"/>
                </a:cxn>
                <a:cxn ang="0">
                  <a:pos x="T6" y="T7"/>
                </a:cxn>
              </a:cxnLst>
              <a:rect l="0" t="0" r="r" b="b"/>
              <a:pathLst>
                <a:path w="8" h="12">
                  <a:moveTo>
                    <a:pt x="0" y="0"/>
                  </a:moveTo>
                  <a:lnTo>
                    <a:pt x="8" y="2"/>
                  </a:lnTo>
                  <a:lnTo>
                    <a:pt x="4" y="12"/>
                  </a:lnTo>
                  <a:lnTo>
                    <a:pt x="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grpSp>
          <p:nvGrpSpPr>
            <p:cNvPr id="1257" name="Group 1256">
              <a:extLst>
                <a:ext uri="{FF2B5EF4-FFF2-40B4-BE49-F238E27FC236}">
                  <a16:creationId xmlns:a16="http://schemas.microsoft.com/office/drawing/2014/main" id="{CBEC5149-7E3F-4489-B66A-993500B374F8}"/>
                </a:ext>
              </a:extLst>
            </p:cNvPr>
            <p:cNvGrpSpPr/>
            <p:nvPr/>
          </p:nvGrpSpPr>
          <p:grpSpPr>
            <a:xfrm>
              <a:off x="5411884" y="3671397"/>
              <a:ext cx="1739395" cy="1920749"/>
              <a:chOff x="5369265" y="3665581"/>
              <a:chExt cx="1794714" cy="1981836"/>
            </a:xfrm>
            <a:grpFill/>
          </p:grpSpPr>
          <p:sp>
            <p:nvSpPr>
              <p:cNvPr id="937" name="Freeform 130">
                <a:extLst>
                  <a:ext uri="{FF2B5EF4-FFF2-40B4-BE49-F238E27FC236}">
                    <a16:creationId xmlns:a16="http://schemas.microsoft.com/office/drawing/2014/main" id="{5D24B105-2F29-47CA-918E-E20DEF2A097C}"/>
                  </a:ext>
                </a:extLst>
              </p:cNvPr>
              <p:cNvSpPr>
                <a:spLocks/>
              </p:cNvSpPr>
              <p:nvPr/>
            </p:nvSpPr>
            <p:spPr bwMode="gray">
              <a:xfrm>
                <a:off x="6467227" y="3828244"/>
                <a:ext cx="283984" cy="285491"/>
              </a:xfrm>
              <a:custGeom>
                <a:avLst/>
                <a:gdLst>
                  <a:gd name="T0" fmla="*/ 6 w 172"/>
                  <a:gd name="T1" fmla="*/ 0 h 172"/>
                  <a:gd name="T2" fmla="*/ 16 w 172"/>
                  <a:gd name="T3" fmla="*/ 4 h 172"/>
                  <a:gd name="T4" fmla="*/ 24 w 172"/>
                  <a:gd name="T5" fmla="*/ 2 h 172"/>
                  <a:gd name="T6" fmla="*/ 48 w 172"/>
                  <a:gd name="T7" fmla="*/ 12 h 172"/>
                  <a:gd name="T8" fmla="*/ 66 w 172"/>
                  <a:gd name="T9" fmla="*/ 16 h 172"/>
                  <a:gd name="T10" fmla="*/ 80 w 172"/>
                  <a:gd name="T11" fmla="*/ 14 h 172"/>
                  <a:gd name="T12" fmla="*/ 90 w 172"/>
                  <a:gd name="T13" fmla="*/ 8 h 172"/>
                  <a:gd name="T14" fmla="*/ 112 w 172"/>
                  <a:gd name="T15" fmla="*/ 6 h 172"/>
                  <a:gd name="T16" fmla="*/ 122 w 172"/>
                  <a:gd name="T17" fmla="*/ 12 h 172"/>
                  <a:gd name="T18" fmla="*/ 134 w 172"/>
                  <a:gd name="T19" fmla="*/ 10 h 172"/>
                  <a:gd name="T20" fmla="*/ 150 w 172"/>
                  <a:gd name="T21" fmla="*/ 12 h 172"/>
                  <a:gd name="T22" fmla="*/ 154 w 172"/>
                  <a:gd name="T23" fmla="*/ 20 h 172"/>
                  <a:gd name="T24" fmla="*/ 162 w 172"/>
                  <a:gd name="T25" fmla="*/ 40 h 172"/>
                  <a:gd name="T26" fmla="*/ 158 w 172"/>
                  <a:gd name="T27" fmla="*/ 44 h 172"/>
                  <a:gd name="T28" fmla="*/ 152 w 172"/>
                  <a:gd name="T29" fmla="*/ 56 h 172"/>
                  <a:gd name="T30" fmla="*/ 150 w 172"/>
                  <a:gd name="T31" fmla="*/ 66 h 172"/>
                  <a:gd name="T32" fmla="*/ 146 w 172"/>
                  <a:gd name="T33" fmla="*/ 70 h 172"/>
                  <a:gd name="T34" fmla="*/ 140 w 172"/>
                  <a:gd name="T35" fmla="*/ 60 h 172"/>
                  <a:gd name="T36" fmla="*/ 136 w 172"/>
                  <a:gd name="T37" fmla="*/ 48 h 172"/>
                  <a:gd name="T38" fmla="*/ 130 w 172"/>
                  <a:gd name="T39" fmla="*/ 40 h 172"/>
                  <a:gd name="T40" fmla="*/ 126 w 172"/>
                  <a:gd name="T41" fmla="*/ 28 h 172"/>
                  <a:gd name="T42" fmla="*/ 122 w 172"/>
                  <a:gd name="T43" fmla="*/ 16 h 172"/>
                  <a:gd name="T44" fmla="*/ 122 w 172"/>
                  <a:gd name="T45" fmla="*/ 24 h 172"/>
                  <a:gd name="T46" fmla="*/ 124 w 172"/>
                  <a:gd name="T47" fmla="*/ 42 h 172"/>
                  <a:gd name="T48" fmla="*/ 128 w 172"/>
                  <a:gd name="T49" fmla="*/ 54 h 172"/>
                  <a:gd name="T50" fmla="*/ 136 w 172"/>
                  <a:gd name="T51" fmla="*/ 64 h 172"/>
                  <a:gd name="T52" fmla="*/ 142 w 172"/>
                  <a:gd name="T53" fmla="*/ 72 h 172"/>
                  <a:gd name="T54" fmla="*/ 150 w 172"/>
                  <a:gd name="T55" fmla="*/ 96 h 172"/>
                  <a:gd name="T56" fmla="*/ 170 w 172"/>
                  <a:gd name="T57" fmla="*/ 130 h 172"/>
                  <a:gd name="T58" fmla="*/ 172 w 172"/>
                  <a:gd name="T59" fmla="*/ 136 h 172"/>
                  <a:gd name="T60" fmla="*/ 172 w 172"/>
                  <a:gd name="T61" fmla="*/ 152 h 172"/>
                  <a:gd name="T62" fmla="*/ 164 w 172"/>
                  <a:gd name="T63" fmla="*/ 152 h 172"/>
                  <a:gd name="T64" fmla="*/ 144 w 172"/>
                  <a:gd name="T65" fmla="*/ 172 h 172"/>
                  <a:gd name="T66" fmla="*/ 134 w 172"/>
                  <a:gd name="T67" fmla="*/ 166 h 172"/>
                  <a:gd name="T68" fmla="*/ 6 w 172"/>
                  <a:gd name="T69" fmla="*/ 164 h 172"/>
                  <a:gd name="T70" fmla="*/ 6 w 172"/>
                  <a:gd name="T71" fmla="*/ 38 h 172"/>
                  <a:gd name="T72" fmla="*/ 2 w 172"/>
                  <a:gd name="T73" fmla="*/ 36 h 172"/>
                  <a:gd name="T74" fmla="*/ 0 w 172"/>
                  <a:gd name="T75" fmla="*/ 24 h 172"/>
                  <a:gd name="T76" fmla="*/ 6 w 172"/>
                  <a:gd name="T77" fmla="*/ 20 h 172"/>
                  <a:gd name="T78" fmla="*/ 6 w 172"/>
                  <a:gd name="T79"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72" h="172">
                    <a:moveTo>
                      <a:pt x="6" y="0"/>
                    </a:moveTo>
                    <a:lnTo>
                      <a:pt x="16" y="4"/>
                    </a:lnTo>
                    <a:lnTo>
                      <a:pt x="24" y="2"/>
                    </a:lnTo>
                    <a:lnTo>
                      <a:pt x="48" y="12"/>
                    </a:lnTo>
                    <a:lnTo>
                      <a:pt x="66" y="16"/>
                    </a:lnTo>
                    <a:lnTo>
                      <a:pt x="80" y="14"/>
                    </a:lnTo>
                    <a:lnTo>
                      <a:pt x="90" y="8"/>
                    </a:lnTo>
                    <a:lnTo>
                      <a:pt x="112" y="6"/>
                    </a:lnTo>
                    <a:lnTo>
                      <a:pt x="122" y="12"/>
                    </a:lnTo>
                    <a:lnTo>
                      <a:pt x="134" y="10"/>
                    </a:lnTo>
                    <a:lnTo>
                      <a:pt x="150" y="12"/>
                    </a:lnTo>
                    <a:lnTo>
                      <a:pt x="154" y="20"/>
                    </a:lnTo>
                    <a:lnTo>
                      <a:pt x="162" y="40"/>
                    </a:lnTo>
                    <a:lnTo>
                      <a:pt x="158" y="44"/>
                    </a:lnTo>
                    <a:lnTo>
                      <a:pt x="152" y="56"/>
                    </a:lnTo>
                    <a:lnTo>
                      <a:pt x="150" y="66"/>
                    </a:lnTo>
                    <a:lnTo>
                      <a:pt x="146" y="70"/>
                    </a:lnTo>
                    <a:lnTo>
                      <a:pt x="140" y="60"/>
                    </a:lnTo>
                    <a:lnTo>
                      <a:pt x="136" y="48"/>
                    </a:lnTo>
                    <a:lnTo>
                      <a:pt x="130" y="40"/>
                    </a:lnTo>
                    <a:lnTo>
                      <a:pt x="126" y="28"/>
                    </a:lnTo>
                    <a:lnTo>
                      <a:pt x="122" y="16"/>
                    </a:lnTo>
                    <a:lnTo>
                      <a:pt x="122" y="24"/>
                    </a:lnTo>
                    <a:lnTo>
                      <a:pt x="124" y="42"/>
                    </a:lnTo>
                    <a:lnTo>
                      <a:pt x="128" y="54"/>
                    </a:lnTo>
                    <a:lnTo>
                      <a:pt x="136" y="64"/>
                    </a:lnTo>
                    <a:lnTo>
                      <a:pt x="142" y="72"/>
                    </a:lnTo>
                    <a:lnTo>
                      <a:pt x="150" y="96"/>
                    </a:lnTo>
                    <a:lnTo>
                      <a:pt x="170" y="130"/>
                    </a:lnTo>
                    <a:lnTo>
                      <a:pt x="172" y="136"/>
                    </a:lnTo>
                    <a:lnTo>
                      <a:pt x="172" y="152"/>
                    </a:lnTo>
                    <a:lnTo>
                      <a:pt x="164" y="152"/>
                    </a:lnTo>
                    <a:lnTo>
                      <a:pt x="144" y="172"/>
                    </a:lnTo>
                    <a:lnTo>
                      <a:pt x="134" y="166"/>
                    </a:lnTo>
                    <a:lnTo>
                      <a:pt x="6" y="164"/>
                    </a:lnTo>
                    <a:lnTo>
                      <a:pt x="6" y="38"/>
                    </a:lnTo>
                    <a:lnTo>
                      <a:pt x="2" y="36"/>
                    </a:lnTo>
                    <a:lnTo>
                      <a:pt x="0" y="24"/>
                    </a:lnTo>
                    <a:lnTo>
                      <a:pt x="6" y="20"/>
                    </a:lnTo>
                    <a:lnTo>
                      <a:pt x="6"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38" name="Freeform 131">
                <a:extLst>
                  <a:ext uri="{FF2B5EF4-FFF2-40B4-BE49-F238E27FC236}">
                    <a16:creationId xmlns:a16="http://schemas.microsoft.com/office/drawing/2014/main" id="{BC1425CB-C18E-4618-A99F-CFED40E72133}"/>
                  </a:ext>
                </a:extLst>
              </p:cNvPr>
              <p:cNvSpPr>
                <a:spLocks/>
              </p:cNvSpPr>
              <p:nvPr/>
            </p:nvSpPr>
            <p:spPr bwMode="gray">
              <a:xfrm>
                <a:off x="6066016" y="3788408"/>
                <a:ext cx="411117" cy="368482"/>
              </a:xfrm>
              <a:custGeom>
                <a:avLst/>
                <a:gdLst>
                  <a:gd name="T0" fmla="*/ 35 w 249"/>
                  <a:gd name="T1" fmla="*/ 0 h 222"/>
                  <a:gd name="T2" fmla="*/ 51 w 249"/>
                  <a:gd name="T3" fmla="*/ 4 h 222"/>
                  <a:gd name="T4" fmla="*/ 79 w 249"/>
                  <a:gd name="T5" fmla="*/ 8 h 222"/>
                  <a:gd name="T6" fmla="*/ 93 w 249"/>
                  <a:gd name="T7" fmla="*/ 16 h 222"/>
                  <a:gd name="T8" fmla="*/ 99 w 249"/>
                  <a:gd name="T9" fmla="*/ 28 h 222"/>
                  <a:gd name="T10" fmla="*/ 107 w 249"/>
                  <a:gd name="T11" fmla="*/ 34 h 222"/>
                  <a:gd name="T12" fmla="*/ 125 w 249"/>
                  <a:gd name="T13" fmla="*/ 34 h 222"/>
                  <a:gd name="T14" fmla="*/ 137 w 249"/>
                  <a:gd name="T15" fmla="*/ 42 h 222"/>
                  <a:gd name="T16" fmla="*/ 157 w 249"/>
                  <a:gd name="T17" fmla="*/ 54 h 222"/>
                  <a:gd name="T18" fmla="*/ 171 w 249"/>
                  <a:gd name="T19" fmla="*/ 40 h 222"/>
                  <a:gd name="T20" fmla="*/ 173 w 249"/>
                  <a:gd name="T21" fmla="*/ 30 h 222"/>
                  <a:gd name="T22" fmla="*/ 167 w 249"/>
                  <a:gd name="T23" fmla="*/ 22 h 222"/>
                  <a:gd name="T24" fmla="*/ 177 w 249"/>
                  <a:gd name="T25" fmla="*/ 12 h 222"/>
                  <a:gd name="T26" fmla="*/ 191 w 249"/>
                  <a:gd name="T27" fmla="*/ 6 h 222"/>
                  <a:gd name="T28" fmla="*/ 209 w 249"/>
                  <a:gd name="T29" fmla="*/ 8 h 222"/>
                  <a:gd name="T30" fmla="*/ 223 w 249"/>
                  <a:gd name="T31" fmla="*/ 16 h 222"/>
                  <a:gd name="T32" fmla="*/ 237 w 249"/>
                  <a:gd name="T33" fmla="*/ 22 h 222"/>
                  <a:gd name="T34" fmla="*/ 249 w 249"/>
                  <a:gd name="T35" fmla="*/ 24 h 222"/>
                  <a:gd name="T36" fmla="*/ 249 w 249"/>
                  <a:gd name="T37" fmla="*/ 44 h 222"/>
                  <a:gd name="T38" fmla="*/ 243 w 249"/>
                  <a:gd name="T39" fmla="*/ 48 h 222"/>
                  <a:gd name="T40" fmla="*/ 245 w 249"/>
                  <a:gd name="T41" fmla="*/ 60 h 222"/>
                  <a:gd name="T42" fmla="*/ 249 w 249"/>
                  <a:gd name="T43" fmla="*/ 62 h 222"/>
                  <a:gd name="T44" fmla="*/ 249 w 249"/>
                  <a:gd name="T45" fmla="*/ 188 h 222"/>
                  <a:gd name="T46" fmla="*/ 249 w 249"/>
                  <a:gd name="T47" fmla="*/ 222 h 222"/>
                  <a:gd name="T48" fmla="*/ 231 w 249"/>
                  <a:gd name="T49" fmla="*/ 222 h 222"/>
                  <a:gd name="T50" fmla="*/ 97 w 249"/>
                  <a:gd name="T51" fmla="*/ 168 h 222"/>
                  <a:gd name="T52" fmla="*/ 91 w 249"/>
                  <a:gd name="T53" fmla="*/ 174 h 222"/>
                  <a:gd name="T54" fmla="*/ 79 w 249"/>
                  <a:gd name="T55" fmla="*/ 180 h 222"/>
                  <a:gd name="T56" fmla="*/ 69 w 249"/>
                  <a:gd name="T57" fmla="*/ 172 h 222"/>
                  <a:gd name="T58" fmla="*/ 59 w 249"/>
                  <a:gd name="T59" fmla="*/ 168 h 222"/>
                  <a:gd name="T60" fmla="*/ 43 w 249"/>
                  <a:gd name="T61" fmla="*/ 164 h 222"/>
                  <a:gd name="T62" fmla="*/ 37 w 249"/>
                  <a:gd name="T63" fmla="*/ 158 h 222"/>
                  <a:gd name="T64" fmla="*/ 33 w 249"/>
                  <a:gd name="T65" fmla="*/ 150 h 222"/>
                  <a:gd name="T66" fmla="*/ 14 w 249"/>
                  <a:gd name="T67" fmla="*/ 148 h 222"/>
                  <a:gd name="T68" fmla="*/ 8 w 249"/>
                  <a:gd name="T69" fmla="*/ 136 h 222"/>
                  <a:gd name="T70" fmla="*/ 4 w 249"/>
                  <a:gd name="T71" fmla="*/ 126 h 222"/>
                  <a:gd name="T72" fmla="*/ 0 w 249"/>
                  <a:gd name="T73" fmla="*/ 116 h 222"/>
                  <a:gd name="T74" fmla="*/ 8 w 249"/>
                  <a:gd name="T75" fmla="*/ 112 h 222"/>
                  <a:gd name="T76" fmla="*/ 8 w 249"/>
                  <a:gd name="T77" fmla="*/ 66 h 222"/>
                  <a:gd name="T78" fmla="*/ 4 w 249"/>
                  <a:gd name="T79" fmla="*/ 48 h 222"/>
                  <a:gd name="T80" fmla="*/ 12 w 249"/>
                  <a:gd name="T81" fmla="*/ 42 h 222"/>
                  <a:gd name="T82" fmla="*/ 12 w 249"/>
                  <a:gd name="T83" fmla="*/ 26 h 222"/>
                  <a:gd name="T84" fmla="*/ 33 w 249"/>
                  <a:gd name="T85" fmla="*/ 12 h 222"/>
                  <a:gd name="T86" fmla="*/ 35 w 249"/>
                  <a:gd name="T87" fmla="*/ 10 h 222"/>
                  <a:gd name="T88" fmla="*/ 35 w 249"/>
                  <a:gd name="T89" fmla="*/ 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49" h="222">
                    <a:moveTo>
                      <a:pt x="35" y="0"/>
                    </a:moveTo>
                    <a:lnTo>
                      <a:pt x="51" y="4"/>
                    </a:lnTo>
                    <a:lnTo>
                      <a:pt x="79" y="8"/>
                    </a:lnTo>
                    <a:lnTo>
                      <a:pt x="93" y="16"/>
                    </a:lnTo>
                    <a:lnTo>
                      <a:pt x="99" y="28"/>
                    </a:lnTo>
                    <a:lnTo>
                      <a:pt x="107" y="34"/>
                    </a:lnTo>
                    <a:lnTo>
                      <a:pt x="125" y="34"/>
                    </a:lnTo>
                    <a:lnTo>
                      <a:pt x="137" y="42"/>
                    </a:lnTo>
                    <a:lnTo>
                      <a:pt x="157" y="54"/>
                    </a:lnTo>
                    <a:lnTo>
                      <a:pt x="171" y="40"/>
                    </a:lnTo>
                    <a:lnTo>
                      <a:pt x="173" y="30"/>
                    </a:lnTo>
                    <a:lnTo>
                      <a:pt x="167" y="22"/>
                    </a:lnTo>
                    <a:lnTo>
                      <a:pt x="177" y="12"/>
                    </a:lnTo>
                    <a:lnTo>
                      <a:pt x="191" y="6"/>
                    </a:lnTo>
                    <a:lnTo>
                      <a:pt x="209" y="8"/>
                    </a:lnTo>
                    <a:lnTo>
                      <a:pt x="223" y="16"/>
                    </a:lnTo>
                    <a:lnTo>
                      <a:pt x="237" y="22"/>
                    </a:lnTo>
                    <a:lnTo>
                      <a:pt x="249" y="24"/>
                    </a:lnTo>
                    <a:lnTo>
                      <a:pt x="249" y="44"/>
                    </a:lnTo>
                    <a:lnTo>
                      <a:pt x="243" y="48"/>
                    </a:lnTo>
                    <a:lnTo>
                      <a:pt x="245" y="60"/>
                    </a:lnTo>
                    <a:lnTo>
                      <a:pt x="249" y="62"/>
                    </a:lnTo>
                    <a:lnTo>
                      <a:pt x="249" y="188"/>
                    </a:lnTo>
                    <a:lnTo>
                      <a:pt x="249" y="222"/>
                    </a:lnTo>
                    <a:lnTo>
                      <a:pt x="231" y="222"/>
                    </a:lnTo>
                    <a:lnTo>
                      <a:pt x="97" y="168"/>
                    </a:lnTo>
                    <a:lnTo>
                      <a:pt x="91" y="174"/>
                    </a:lnTo>
                    <a:lnTo>
                      <a:pt x="79" y="180"/>
                    </a:lnTo>
                    <a:lnTo>
                      <a:pt x="69" y="172"/>
                    </a:lnTo>
                    <a:lnTo>
                      <a:pt x="59" y="168"/>
                    </a:lnTo>
                    <a:lnTo>
                      <a:pt x="43" y="164"/>
                    </a:lnTo>
                    <a:lnTo>
                      <a:pt x="37" y="158"/>
                    </a:lnTo>
                    <a:lnTo>
                      <a:pt x="33" y="150"/>
                    </a:lnTo>
                    <a:lnTo>
                      <a:pt x="14" y="148"/>
                    </a:lnTo>
                    <a:lnTo>
                      <a:pt x="8" y="136"/>
                    </a:lnTo>
                    <a:lnTo>
                      <a:pt x="4" y="126"/>
                    </a:lnTo>
                    <a:lnTo>
                      <a:pt x="0" y="116"/>
                    </a:lnTo>
                    <a:lnTo>
                      <a:pt x="8" y="112"/>
                    </a:lnTo>
                    <a:lnTo>
                      <a:pt x="8" y="66"/>
                    </a:lnTo>
                    <a:lnTo>
                      <a:pt x="4" y="48"/>
                    </a:lnTo>
                    <a:lnTo>
                      <a:pt x="12" y="42"/>
                    </a:lnTo>
                    <a:lnTo>
                      <a:pt x="12" y="26"/>
                    </a:lnTo>
                    <a:lnTo>
                      <a:pt x="33" y="12"/>
                    </a:lnTo>
                    <a:lnTo>
                      <a:pt x="35" y="10"/>
                    </a:lnTo>
                    <a:lnTo>
                      <a:pt x="35"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39" name="Freeform 132">
                <a:extLst>
                  <a:ext uri="{FF2B5EF4-FFF2-40B4-BE49-F238E27FC236}">
                    <a16:creationId xmlns:a16="http://schemas.microsoft.com/office/drawing/2014/main" id="{B00C06F7-0EEE-43FF-A767-2BF63E6F4C74}"/>
                  </a:ext>
                </a:extLst>
              </p:cNvPr>
              <p:cNvSpPr>
                <a:spLocks/>
              </p:cNvSpPr>
              <p:nvPr/>
            </p:nvSpPr>
            <p:spPr bwMode="gray">
              <a:xfrm>
                <a:off x="6016485" y="3665581"/>
                <a:ext cx="107320" cy="202500"/>
              </a:xfrm>
              <a:custGeom>
                <a:avLst/>
                <a:gdLst>
                  <a:gd name="T0" fmla="*/ 16 w 65"/>
                  <a:gd name="T1" fmla="*/ 6 h 122"/>
                  <a:gd name="T2" fmla="*/ 30 w 65"/>
                  <a:gd name="T3" fmla="*/ 0 h 122"/>
                  <a:gd name="T4" fmla="*/ 38 w 65"/>
                  <a:gd name="T5" fmla="*/ 0 h 122"/>
                  <a:gd name="T6" fmla="*/ 42 w 65"/>
                  <a:gd name="T7" fmla="*/ 8 h 122"/>
                  <a:gd name="T8" fmla="*/ 48 w 65"/>
                  <a:gd name="T9" fmla="*/ 10 h 122"/>
                  <a:gd name="T10" fmla="*/ 54 w 65"/>
                  <a:gd name="T11" fmla="*/ 6 h 122"/>
                  <a:gd name="T12" fmla="*/ 58 w 65"/>
                  <a:gd name="T13" fmla="*/ 8 h 122"/>
                  <a:gd name="T14" fmla="*/ 56 w 65"/>
                  <a:gd name="T15" fmla="*/ 14 h 122"/>
                  <a:gd name="T16" fmla="*/ 50 w 65"/>
                  <a:gd name="T17" fmla="*/ 16 h 122"/>
                  <a:gd name="T18" fmla="*/ 46 w 65"/>
                  <a:gd name="T19" fmla="*/ 24 h 122"/>
                  <a:gd name="T20" fmla="*/ 50 w 65"/>
                  <a:gd name="T21" fmla="*/ 28 h 122"/>
                  <a:gd name="T22" fmla="*/ 58 w 65"/>
                  <a:gd name="T23" fmla="*/ 32 h 122"/>
                  <a:gd name="T24" fmla="*/ 58 w 65"/>
                  <a:gd name="T25" fmla="*/ 38 h 122"/>
                  <a:gd name="T26" fmla="*/ 52 w 65"/>
                  <a:gd name="T27" fmla="*/ 44 h 122"/>
                  <a:gd name="T28" fmla="*/ 46 w 65"/>
                  <a:gd name="T29" fmla="*/ 46 h 122"/>
                  <a:gd name="T30" fmla="*/ 40 w 65"/>
                  <a:gd name="T31" fmla="*/ 54 h 122"/>
                  <a:gd name="T32" fmla="*/ 44 w 65"/>
                  <a:gd name="T33" fmla="*/ 64 h 122"/>
                  <a:gd name="T34" fmla="*/ 54 w 65"/>
                  <a:gd name="T35" fmla="*/ 64 h 122"/>
                  <a:gd name="T36" fmla="*/ 58 w 65"/>
                  <a:gd name="T37" fmla="*/ 70 h 122"/>
                  <a:gd name="T38" fmla="*/ 65 w 65"/>
                  <a:gd name="T39" fmla="*/ 74 h 122"/>
                  <a:gd name="T40" fmla="*/ 65 w 65"/>
                  <a:gd name="T41" fmla="*/ 84 h 122"/>
                  <a:gd name="T42" fmla="*/ 42 w 65"/>
                  <a:gd name="T43" fmla="*/ 100 h 122"/>
                  <a:gd name="T44" fmla="*/ 42 w 65"/>
                  <a:gd name="T45" fmla="*/ 116 h 122"/>
                  <a:gd name="T46" fmla="*/ 34 w 65"/>
                  <a:gd name="T47" fmla="*/ 122 h 122"/>
                  <a:gd name="T48" fmla="*/ 28 w 65"/>
                  <a:gd name="T49" fmla="*/ 120 h 122"/>
                  <a:gd name="T50" fmla="*/ 26 w 65"/>
                  <a:gd name="T51" fmla="*/ 108 h 122"/>
                  <a:gd name="T52" fmla="*/ 24 w 65"/>
                  <a:gd name="T53" fmla="*/ 92 h 122"/>
                  <a:gd name="T54" fmla="*/ 10 w 65"/>
                  <a:gd name="T55" fmla="*/ 76 h 122"/>
                  <a:gd name="T56" fmla="*/ 0 w 65"/>
                  <a:gd name="T57" fmla="*/ 64 h 122"/>
                  <a:gd name="T58" fmla="*/ 0 w 65"/>
                  <a:gd name="T59" fmla="*/ 56 h 122"/>
                  <a:gd name="T60" fmla="*/ 12 w 65"/>
                  <a:gd name="T61" fmla="*/ 46 h 122"/>
                  <a:gd name="T62" fmla="*/ 12 w 65"/>
                  <a:gd name="T63" fmla="*/ 10 h 122"/>
                  <a:gd name="T64" fmla="*/ 16 w 65"/>
                  <a:gd name="T65" fmla="*/ 6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5" h="122">
                    <a:moveTo>
                      <a:pt x="16" y="6"/>
                    </a:moveTo>
                    <a:lnTo>
                      <a:pt x="30" y="0"/>
                    </a:lnTo>
                    <a:lnTo>
                      <a:pt x="38" y="0"/>
                    </a:lnTo>
                    <a:lnTo>
                      <a:pt x="42" y="8"/>
                    </a:lnTo>
                    <a:lnTo>
                      <a:pt x="48" y="10"/>
                    </a:lnTo>
                    <a:lnTo>
                      <a:pt x="54" y="6"/>
                    </a:lnTo>
                    <a:lnTo>
                      <a:pt x="58" y="8"/>
                    </a:lnTo>
                    <a:lnTo>
                      <a:pt x="56" y="14"/>
                    </a:lnTo>
                    <a:lnTo>
                      <a:pt x="50" y="16"/>
                    </a:lnTo>
                    <a:lnTo>
                      <a:pt x="46" y="24"/>
                    </a:lnTo>
                    <a:lnTo>
                      <a:pt x="50" y="28"/>
                    </a:lnTo>
                    <a:lnTo>
                      <a:pt x="58" y="32"/>
                    </a:lnTo>
                    <a:lnTo>
                      <a:pt x="58" y="38"/>
                    </a:lnTo>
                    <a:lnTo>
                      <a:pt x="52" y="44"/>
                    </a:lnTo>
                    <a:lnTo>
                      <a:pt x="46" y="46"/>
                    </a:lnTo>
                    <a:lnTo>
                      <a:pt x="40" y="54"/>
                    </a:lnTo>
                    <a:lnTo>
                      <a:pt x="44" y="64"/>
                    </a:lnTo>
                    <a:lnTo>
                      <a:pt x="54" y="64"/>
                    </a:lnTo>
                    <a:lnTo>
                      <a:pt x="58" y="70"/>
                    </a:lnTo>
                    <a:lnTo>
                      <a:pt x="65" y="74"/>
                    </a:lnTo>
                    <a:lnTo>
                      <a:pt x="65" y="84"/>
                    </a:lnTo>
                    <a:lnTo>
                      <a:pt x="42" y="100"/>
                    </a:lnTo>
                    <a:lnTo>
                      <a:pt x="42" y="116"/>
                    </a:lnTo>
                    <a:lnTo>
                      <a:pt x="34" y="122"/>
                    </a:lnTo>
                    <a:lnTo>
                      <a:pt x="28" y="120"/>
                    </a:lnTo>
                    <a:lnTo>
                      <a:pt x="26" y="108"/>
                    </a:lnTo>
                    <a:lnTo>
                      <a:pt x="24" y="92"/>
                    </a:lnTo>
                    <a:lnTo>
                      <a:pt x="10" y="76"/>
                    </a:lnTo>
                    <a:lnTo>
                      <a:pt x="0" y="64"/>
                    </a:lnTo>
                    <a:lnTo>
                      <a:pt x="0" y="56"/>
                    </a:lnTo>
                    <a:lnTo>
                      <a:pt x="12" y="46"/>
                    </a:lnTo>
                    <a:lnTo>
                      <a:pt x="12" y="10"/>
                    </a:lnTo>
                    <a:lnTo>
                      <a:pt x="16" y="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40" name="Freeform 133">
                <a:extLst>
                  <a:ext uri="{FF2B5EF4-FFF2-40B4-BE49-F238E27FC236}">
                    <a16:creationId xmlns:a16="http://schemas.microsoft.com/office/drawing/2014/main" id="{4B7ADB65-23BD-4E79-9E9F-5CFA236DCA6F}"/>
                  </a:ext>
                </a:extLst>
              </p:cNvPr>
              <p:cNvSpPr>
                <a:spLocks/>
              </p:cNvSpPr>
              <p:nvPr/>
            </p:nvSpPr>
            <p:spPr bwMode="gray">
              <a:xfrm>
                <a:off x="5590507" y="3675540"/>
                <a:ext cx="546505" cy="514547"/>
              </a:xfrm>
              <a:custGeom>
                <a:avLst/>
                <a:gdLst>
                  <a:gd name="T0" fmla="*/ 0 w 331"/>
                  <a:gd name="T1" fmla="*/ 164 h 310"/>
                  <a:gd name="T2" fmla="*/ 0 w 331"/>
                  <a:gd name="T3" fmla="*/ 146 h 310"/>
                  <a:gd name="T4" fmla="*/ 32 w 331"/>
                  <a:gd name="T5" fmla="*/ 126 h 310"/>
                  <a:gd name="T6" fmla="*/ 54 w 331"/>
                  <a:gd name="T7" fmla="*/ 124 h 310"/>
                  <a:gd name="T8" fmla="*/ 78 w 331"/>
                  <a:gd name="T9" fmla="*/ 104 h 310"/>
                  <a:gd name="T10" fmla="*/ 80 w 331"/>
                  <a:gd name="T11" fmla="*/ 96 h 310"/>
                  <a:gd name="T12" fmla="*/ 96 w 331"/>
                  <a:gd name="T13" fmla="*/ 86 h 310"/>
                  <a:gd name="T14" fmla="*/ 120 w 331"/>
                  <a:gd name="T15" fmla="*/ 84 h 310"/>
                  <a:gd name="T16" fmla="*/ 120 w 331"/>
                  <a:gd name="T17" fmla="*/ 76 h 310"/>
                  <a:gd name="T18" fmla="*/ 112 w 331"/>
                  <a:gd name="T19" fmla="*/ 66 h 310"/>
                  <a:gd name="T20" fmla="*/ 112 w 331"/>
                  <a:gd name="T21" fmla="*/ 40 h 310"/>
                  <a:gd name="T22" fmla="*/ 110 w 331"/>
                  <a:gd name="T23" fmla="*/ 34 h 310"/>
                  <a:gd name="T24" fmla="*/ 126 w 331"/>
                  <a:gd name="T25" fmla="*/ 22 h 310"/>
                  <a:gd name="T26" fmla="*/ 138 w 331"/>
                  <a:gd name="T27" fmla="*/ 20 h 310"/>
                  <a:gd name="T28" fmla="*/ 154 w 331"/>
                  <a:gd name="T29" fmla="*/ 10 h 310"/>
                  <a:gd name="T30" fmla="*/ 180 w 331"/>
                  <a:gd name="T31" fmla="*/ 6 h 310"/>
                  <a:gd name="T32" fmla="*/ 204 w 331"/>
                  <a:gd name="T33" fmla="*/ 2 h 310"/>
                  <a:gd name="T34" fmla="*/ 218 w 331"/>
                  <a:gd name="T35" fmla="*/ 4 h 310"/>
                  <a:gd name="T36" fmla="*/ 226 w 331"/>
                  <a:gd name="T37" fmla="*/ 6 h 310"/>
                  <a:gd name="T38" fmla="*/ 238 w 331"/>
                  <a:gd name="T39" fmla="*/ 0 h 310"/>
                  <a:gd name="T40" fmla="*/ 254 w 331"/>
                  <a:gd name="T41" fmla="*/ 0 h 310"/>
                  <a:gd name="T42" fmla="*/ 262 w 331"/>
                  <a:gd name="T43" fmla="*/ 0 h 310"/>
                  <a:gd name="T44" fmla="*/ 270 w 331"/>
                  <a:gd name="T45" fmla="*/ 4 h 310"/>
                  <a:gd name="T46" fmla="*/ 270 w 331"/>
                  <a:gd name="T47" fmla="*/ 40 h 310"/>
                  <a:gd name="T48" fmla="*/ 258 w 331"/>
                  <a:gd name="T49" fmla="*/ 50 h 310"/>
                  <a:gd name="T50" fmla="*/ 258 w 331"/>
                  <a:gd name="T51" fmla="*/ 58 h 310"/>
                  <a:gd name="T52" fmla="*/ 282 w 331"/>
                  <a:gd name="T53" fmla="*/ 86 h 310"/>
                  <a:gd name="T54" fmla="*/ 286 w 331"/>
                  <a:gd name="T55" fmla="*/ 114 h 310"/>
                  <a:gd name="T56" fmla="*/ 292 w 331"/>
                  <a:gd name="T57" fmla="*/ 116 h 310"/>
                  <a:gd name="T58" fmla="*/ 294 w 331"/>
                  <a:gd name="T59" fmla="*/ 132 h 310"/>
                  <a:gd name="T60" fmla="*/ 296 w 331"/>
                  <a:gd name="T61" fmla="*/ 180 h 310"/>
                  <a:gd name="T62" fmla="*/ 288 w 331"/>
                  <a:gd name="T63" fmla="*/ 184 h 310"/>
                  <a:gd name="T64" fmla="*/ 292 w 331"/>
                  <a:gd name="T65" fmla="*/ 194 h 310"/>
                  <a:gd name="T66" fmla="*/ 302 w 331"/>
                  <a:gd name="T67" fmla="*/ 216 h 310"/>
                  <a:gd name="T68" fmla="*/ 321 w 331"/>
                  <a:gd name="T69" fmla="*/ 218 h 310"/>
                  <a:gd name="T70" fmla="*/ 325 w 331"/>
                  <a:gd name="T71" fmla="*/ 226 h 310"/>
                  <a:gd name="T72" fmla="*/ 331 w 331"/>
                  <a:gd name="T73" fmla="*/ 232 h 310"/>
                  <a:gd name="T74" fmla="*/ 264 w 331"/>
                  <a:gd name="T75" fmla="*/ 272 h 310"/>
                  <a:gd name="T76" fmla="*/ 226 w 331"/>
                  <a:gd name="T77" fmla="*/ 304 h 310"/>
                  <a:gd name="T78" fmla="*/ 206 w 331"/>
                  <a:gd name="T79" fmla="*/ 308 h 310"/>
                  <a:gd name="T80" fmla="*/ 188 w 331"/>
                  <a:gd name="T81" fmla="*/ 310 h 310"/>
                  <a:gd name="T82" fmla="*/ 190 w 331"/>
                  <a:gd name="T83" fmla="*/ 294 h 310"/>
                  <a:gd name="T84" fmla="*/ 170 w 331"/>
                  <a:gd name="T85" fmla="*/ 286 h 310"/>
                  <a:gd name="T86" fmla="*/ 160 w 331"/>
                  <a:gd name="T87" fmla="*/ 276 h 310"/>
                  <a:gd name="T88" fmla="*/ 0 w 331"/>
                  <a:gd name="T89" fmla="*/ 164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31" h="310">
                    <a:moveTo>
                      <a:pt x="0" y="164"/>
                    </a:moveTo>
                    <a:lnTo>
                      <a:pt x="0" y="146"/>
                    </a:lnTo>
                    <a:lnTo>
                      <a:pt x="32" y="126"/>
                    </a:lnTo>
                    <a:lnTo>
                      <a:pt x="54" y="124"/>
                    </a:lnTo>
                    <a:lnTo>
                      <a:pt x="78" y="104"/>
                    </a:lnTo>
                    <a:lnTo>
                      <a:pt x="80" y="96"/>
                    </a:lnTo>
                    <a:lnTo>
                      <a:pt x="96" y="86"/>
                    </a:lnTo>
                    <a:lnTo>
                      <a:pt x="120" y="84"/>
                    </a:lnTo>
                    <a:lnTo>
                      <a:pt x="120" y="76"/>
                    </a:lnTo>
                    <a:lnTo>
                      <a:pt x="112" y="66"/>
                    </a:lnTo>
                    <a:lnTo>
                      <a:pt x="112" y="40"/>
                    </a:lnTo>
                    <a:lnTo>
                      <a:pt x="110" y="34"/>
                    </a:lnTo>
                    <a:lnTo>
                      <a:pt x="126" y="22"/>
                    </a:lnTo>
                    <a:lnTo>
                      <a:pt x="138" y="20"/>
                    </a:lnTo>
                    <a:lnTo>
                      <a:pt x="154" y="10"/>
                    </a:lnTo>
                    <a:lnTo>
                      <a:pt x="180" y="6"/>
                    </a:lnTo>
                    <a:lnTo>
                      <a:pt x="204" y="2"/>
                    </a:lnTo>
                    <a:lnTo>
                      <a:pt x="218" y="4"/>
                    </a:lnTo>
                    <a:lnTo>
                      <a:pt x="226" y="6"/>
                    </a:lnTo>
                    <a:lnTo>
                      <a:pt x="238" y="0"/>
                    </a:lnTo>
                    <a:lnTo>
                      <a:pt x="254" y="0"/>
                    </a:lnTo>
                    <a:lnTo>
                      <a:pt x="262" y="0"/>
                    </a:lnTo>
                    <a:lnTo>
                      <a:pt x="270" y="4"/>
                    </a:lnTo>
                    <a:lnTo>
                      <a:pt x="270" y="40"/>
                    </a:lnTo>
                    <a:lnTo>
                      <a:pt x="258" y="50"/>
                    </a:lnTo>
                    <a:lnTo>
                      <a:pt x="258" y="58"/>
                    </a:lnTo>
                    <a:lnTo>
                      <a:pt x="282" y="86"/>
                    </a:lnTo>
                    <a:lnTo>
                      <a:pt x="286" y="114"/>
                    </a:lnTo>
                    <a:lnTo>
                      <a:pt x="292" y="116"/>
                    </a:lnTo>
                    <a:lnTo>
                      <a:pt x="294" y="132"/>
                    </a:lnTo>
                    <a:lnTo>
                      <a:pt x="296" y="180"/>
                    </a:lnTo>
                    <a:lnTo>
                      <a:pt x="288" y="184"/>
                    </a:lnTo>
                    <a:lnTo>
                      <a:pt x="292" y="194"/>
                    </a:lnTo>
                    <a:lnTo>
                      <a:pt x="302" y="216"/>
                    </a:lnTo>
                    <a:lnTo>
                      <a:pt x="321" y="218"/>
                    </a:lnTo>
                    <a:lnTo>
                      <a:pt x="325" y="226"/>
                    </a:lnTo>
                    <a:lnTo>
                      <a:pt x="331" y="232"/>
                    </a:lnTo>
                    <a:lnTo>
                      <a:pt x="264" y="272"/>
                    </a:lnTo>
                    <a:lnTo>
                      <a:pt x="226" y="304"/>
                    </a:lnTo>
                    <a:lnTo>
                      <a:pt x="206" y="308"/>
                    </a:lnTo>
                    <a:lnTo>
                      <a:pt x="188" y="310"/>
                    </a:lnTo>
                    <a:lnTo>
                      <a:pt x="190" y="294"/>
                    </a:lnTo>
                    <a:lnTo>
                      <a:pt x="170" y="286"/>
                    </a:lnTo>
                    <a:lnTo>
                      <a:pt x="160" y="276"/>
                    </a:lnTo>
                    <a:lnTo>
                      <a:pt x="0" y="16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41" name="Freeform 134">
                <a:extLst>
                  <a:ext uri="{FF2B5EF4-FFF2-40B4-BE49-F238E27FC236}">
                    <a16:creationId xmlns:a16="http://schemas.microsoft.com/office/drawing/2014/main" id="{27D8226A-7FA7-4A5F-9C0D-0E6BACEFD5EF}"/>
                  </a:ext>
                </a:extLst>
              </p:cNvPr>
              <p:cNvSpPr>
                <a:spLocks/>
              </p:cNvSpPr>
              <p:nvPr/>
            </p:nvSpPr>
            <p:spPr bwMode="gray">
              <a:xfrm>
                <a:off x="5478235" y="3708737"/>
                <a:ext cx="310401" cy="239015"/>
              </a:xfrm>
              <a:custGeom>
                <a:avLst/>
                <a:gdLst>
                  <a:gd name="T0" fmla="*/ 68 w 188"/>
                  <a:gd name="T1" fmla="*/ 144 h 144"/>
                  <a:gd name="T2" fmla="*/ 0 w 188"/>
                  <a:gd name="T3" fmla="*/ 144 h 144"/>
                  <a:gd name="T4" fmla="*/ 10 w 188"/>
                  <a:gd name="T5" fmla="*/ 138 h 144"/>
                  <a:gd name="T6" fmla="*/ 28 w 188"/>
                  <a:gd name="T7" fmla="*/ 128 h 144"/>
                  <a:gd name="T8" fmla="*/ 50 w 188"/>
                  <a:gd name="T9" fmla="*/ 110 h 144"/>
                  <a:gd name="T10" fmla="*/ 52 w 188"/>
                  <a:gd name="T11" fmla="*/ 104 h 144"/>
                  <a:gd name="T12" fmla="*/ 52 w 188"/>
                  <a:gd name="T13" fmla="*/ 68 h 144"/>
                  <a:gd name="T14" fmla="*/ 62 w 188"/>
                  <a:gd name="T15" fmla="*/ 56 h 144"/>
                  <a:gd name="T16" fmla="*/ 74 w 188"/>
                  <a:gd name="T17" fmla="*/ 44 h 144"/>
                  <a:gd name="T18" fmla="*/ 88 w 188"/>
                  <a:gd name="T19" fmla="*/ 40 h 144"/>
                  <a:gd name="T20" fmla="*/ 102 w 188"/>
                  <a:gd name="T21" fmla="*/ 30 h 144"/>
                  <a:gd name="T22" fmla="*/ 108 w 188"/>
                  <a:gd name="T23" fmla="*/ 14 h 144"/>
                  <a:gd name="T24" fmla="*/ 112 w 188"/>
                  <a:gd name="T25" fmla="*/ 4 h 144"/>
                  <a:gd name="T26" fmla="*/ 116 w 188"/>
                  <a:gd name="T27" fmla="*/ 0 h 144"/>
                  <a:gd name="T28" fmla="*/ 122 w 188"/>
                  <a:gd name="T29" fmla="*/ 0 h 144"/>
                  <a:gd name="T30" fmla="*/ 126 w 188"/>
                  <a:gd name="T31" fmla="*/ 8 h 144"/>
                  <a:gd name="T32" fmla="*/ 132 w 188"/>
                  <a:gd name="T33" fmla="*/ 12 h 144"/>
                  <a:gd name="T34" fmla="*/ 154 w 188"/>
                  <a:gd name="T35" fmla="*/ 10 h 144"/>
                  <a:gd name="T36" fmla="*/ 164 w 188"/>
                  <a:gd name="T37" fmla="*/ 10 h 144"/>
                  <a:gd name="T38" fmla="*/ 168 w 188"/>
                  <a:gd name="T39" fmla="*/ 14 h 144"/>
                  <a:gd name="T40" fmla="*/ 178 w 188"/>
                  <a:gd name="T41" fmla="*/ 14 h 144"/>
                  <a:gd name="T42" fmla="*/ 180 w 188"/>
                  <a:gd name="T43" fmla="*/ 20 h 144"/>
                  <a:gd name="T44" fmla="*/ 180 w 188"/>
                  <a:gd name="T45" fmla="*/ 46 h 144"/>
                  <a:gd name="T46" fmla="*/ 188 w 188"/>
                  <a:gd name="T47" fmla="*/ 56 h 144"/>
                  <a:gd name="T48" fmla="*/ 188 w 188"/>
                  <a:gd name="T49" fmla="*/ 64 h 144"/>
                  <a:gd name="T50" fmla="*/ 164 w 188"/>
                  <a:gd name="T51" fmla="*/ 66 h 144"/>
                  <a:gd name="T52" fmla="*/ 148 w 188"/>
                  <a:gd name="T53" fmla="*/ 76 h 144"/>
                  <a:gd name="T54" fmla="*/ 146 w 188"/>
                  <a:gd name="T55" fmla="*/ 84 h 144"/>
                  <a:gd name="T56" fmla="*/ 122 w 188"/>
                  <a:gd name="T57" fmla="*/ 104 h 144"/>
                  <a:gd name="T58" fmla="*/ 100 w 188"/>
                  <a:gd name="T59" fmla="*/ 106 h 144"/>
                  <a:gd name="T60" fmla="*/ 68 w 188"/>
                  <a:gd name="T61" fmla="*/ 126 h 144"/>
                  <a:gd name="T62" fmla="*/ 68 w 188"/>
                  <a:gd name="T63"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8" h="144">
                    <a:moveTo>
                      <a:pt x="68" y="144"/>
                    </a:moveTo>
                    <a:lnTo>
                      <a:pt x="0" y="144"/>
                    </a:lnTo>
                    <a:lnTo>
                      <a:pt x="10" y="138"/>
                    </a:lnTo>
                    <a:lnTo>
                      <a:pt x="28" y="128"/>
                    </a:lnTo>
                    <a:lnTo>
                      <a:pt x="50" y="110"/>
                    </a:lnTo>
                    <a:lnTo>
                      <a:pt x="52" y="104"/>
                    </a:lnTo>
                    <a:lnTo>
                      <a:pt x="52" y="68"/>
                    </a:lnTo>
                    <a:lnTo>
                      <a:pt x="62" y="56"/>
                    </a:lnTo>
                    <a:lnTo>
                      <a:pt x="74" y="44"/>
                    </a:lnTo>
                    <a:lnTo>
                      <a:pt x="88" y="40"/>
                    </a:lnTo>
                    <a:lnTo>
                      <a:pt x="102" y="30"/>
                    </a:lnTo>
                    <a:lnTo>
                      <a:pt x="108" y="14"/>
                    </a:lnTo>
                    <a:lnTo>
                      <a:pt x="112" y="4"/>
                    </a:lnTo>
                    <a:lnTo>
                      <a:pt x="116" y="0"/>
                    </a:lnTo>
                    <a:lnTo>
                      <a:pt x="122" y="0"/>
                    </a:lnTo>
                    <a:lnTo>
                      <a:pt x="126" y="8"/>
                    </a:lnTo>
                    <a:lnTo>
                      <a:pt x="132" y="12"/>
                    </a:lnTo>
                    <a:lnTo>
                      <a:pt x="154" y="10"/>
                    </a:lnTo>
                    <a:lnTo>
                      <a:pt x="164" y="10"/>
                    </a:lnTo>
                    <a:lnTo>
                      <a:pt x="168" y="14"/>
                    </a:lnTo>
                    <a:lnTo>
                      <a:pt x="178" y="14"/>
                    </a:lnTo>
                    <a:lnTo>
                      <a:pt x="180" y="20"/>
                    </a:lnTo>
                    <a:lnTo>
                      <a:pt x="180" y="46"/>
                    </a:lnTo>
                    <a:lnTo>
                      <a:pt x="188" y="56"/>
                    </a:lnTo>
                    <a:lnTo>
                      <a:pt x="188" y="64"/>
                    </a:lnTo>
                    <a:lnTo>
                      <a:pt x="164" y="66"/>
                    </a:lnTo>
                    <a:lnTo>
                      <a:pt x="148" y="76"/>
                    </a:lnTo>
                    <a:lnTo>
                      <a:pt x="146" y="84"/>
                    </a:lnTo>
                    <a:lnTo>
                      <a:pt x="122" y="104"/>
                    </a:lnTo>
                    <a:lnTo>
                      <a:pt x="100" y="106"/>
                    </a:lnTo>
                    <a:lnTo>
                      <a:pt x="68" y="126"/>
                    </a:lnTo>
                    <a:lnTo>
                      <a:pt x="68" y="14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42" name="Freeform 135">
                <a:extLst>
                  <a:ext uri="{FF2B5EF4-FFF2-40B4-BE49-F238E27FC236}">
                    <a16:creationId xmlns:a16="http://schemas.microsoft.com/office/drawing/2014/main" id="{AE38F373-A35E-4879-853A-AE80848E3ACF}"/>
                  </a:ext>
                </a:extLst>
              </p:cNvPr>
              <p:cNvSpPr>
                <a:spLocks/>
              </p:cNvSpPr>
              <p:nvPr/>
            </p:nvSpPr>
            <p:spPr bwMode="gray">
              <a:xfrm>
                <a:off x="5372566" y="3947752"/>
                <a:ext cx="217941" cy="175942"/>
              </a:xfrm>
              <a:custGeom>
                <a:avLst/>
                <a:gdLst>
                  <a:gd name="T0" fmla="*/ 0 w 132"/>
                  <a:gd name="T1" fmla="*/ 106 h 106"/>
                  <a:gd name="T2" fmla="*/ 4 w 132"/>
                  <a:gd name="T3" fmla="*/ 94 h 106"/>
                  <a:gd name="T4" fmla="*/ 14 w 132"/>
                  <a:gd name="T5" fmla="*/ 78 h 106"/>
                  <a:gd name="T6" fmla="*/ 20 w 132"/>
                  <a:gd name="T7" fmla="*/ 62 h 106"/>
                  <a:gd name="T8" fmla="*/ 30 w 132"/>
                  <a:gd name="T9" fmla="*/ 54 h 106"/>
                  <a:gd name="T10" fmla="*/ 36 w 132"/>
                  <a:gd name="T11" fmla="*/ 38 h 106"/>
                  <a:gd name="T12" fmla="*/ 46 w 132"/>
                  <a:gd name="T13" fmla="*/ 24 h 106"/>
                  <a:gd name="T14" fmla="*/ 52 w 132"/>
                  <a:gd name="T15" fmla="*/ 18 h 106"/>
                  <a:gd name="T16" fmla="*/ 60 w 132"/>
                  <a:gd name="T17" fmla="*/ 8 h 106"/>
                  <a:gd name="T18" fmla="*/ 64 w 132"/>
                  <a:gd name="T19" fmla="*/ 0 h 106"/>
                  <a:gd name="T20" fmla="*/ 132 w 132"/>
                  <a:gd name="T21" fmla="*/ 0 h 106"/>
                  <a:gd name="T22" fmla="*/ 132 w 132"/>
                  <a:gd name="T23" fmla="*/ 28 h 106"/>
                  <a:gd name="T24" fmla="*/ 82 w 132"/>
                  <a:gd name="T25" fmla="*/ 28 h 106"/>
                  <a:gd name="T26" fmla="*/ 82 w 132"/>
                  <a:gd name="T27" fmla="*/ 70 h 106"/>
                  <a:gd name="T28" fmla="*/ 72 w 132"/>
                  <a:gd name="T29" fmla="*/ 70 h 106"/>
                  <a:gd name="T30" fmla="*/ 64 w 132"/>
                  <a:gd name="T31" fmla="*/ 74 h 106"/>
                  <a:gd name="T32" fmla="*/ 64 w 132"/>
                  <a:gd name="T33" fmla="*/ 82 h 106"/>
                  <a:gd name="T34" fmla="*/ 64 w 132"/>
                  <a:gd name="T35" fmla="*/ 106 h 106"/>
                  <a:gd name="T36" fmla="*/ 0 w 132"/>
                  <a:gd name="T37"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2" h="106">
                    <a:moveTo>
                      <a:pt x="0" y="106"/>
                    </a:moveTo>
                    <a:lnTo>
                      <a:pt x="4" y="94"/>
                    </a:lnTo>
                    <a:lnTo>
                      <a:pt x="14" y="78"/>
                    </a:lnTo>
                    <a:lnTo>
                      <a:pt x="20" y="62"/>
                    </a:lnTo>
                    <a:lnTo>
                      <a:pt x="30" y="54"/>
                    </a:lnTo>
                    <a:lnTo>
                      <a:pt x="36" y="38"/>
                    </a:lnTo>
                    <a:lnTo>
                      <a:pt x="46" y="24"/>
                    </a:lnTo>
                    <a:lnTo>
                      <a:pt x="52" y="18"/>
                    </a:lnTo>
                    <a:lnTo>
                      <a:pt x="60" y="8"/>
                    </a:lnTo>
                    <a:lnTo>
                      <a:pt x="64" y="0"/>
                    </a:lnTo>
                    <a:lnTo>
                      <a:pt x="132" y="0"/>
                    </a:lnTo>
                    <a:lnTo>
                      <a:pt x="132" y="28"/>
                    </a:lnTo>
                    <a:lnTo>
                      <a:pt x="82" y="28"/>
                    </a:lnTo>
                    <a:lnTo>
                      <a:pt x="82" y="70"/>
                    </a:lnTo>
                    <a:lnTo>
                      <a:pt x="72" y="70"/>
                    </a:lnTo>
                    <a:lnTo>
                      <a:pt x="64" y="74"/>
                    </a:lnTo>
                    <a:lnTo>
                      <a:pt x="64" y="82"/>
                    </a:lnTo>
                    <a:lnTo>
                      <a:pt x="64" y="106"/>
                    </a:lnTo>
                    <a:lnTo>
                      <a:pt x="0" y="10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43" name="Freeform 136">
                <a:extLst>
                  <a:ext uri="{FF2B5EF4-FFF2-40B4-BE49-F238E27FC236}">
                    <a16:creationId xmlns:a16="http://schemas.microsoft.com/office/drawing/2014/main" id="{2AE08152-B7BD-4B82-83E2-FAE0E0AAA137}"/>
                  </a:ext>
                </a:extLst>
              </p:cNvPr>
              <p:cNvSpPr>
                <a:spLocks/>
              </p:cNvSpPr>
              <p:nvPr/>
            </p:nvSpPr>
            <p:spPr bwMode="gray">
              <a:xfrm>
                <a:off x="5385775" y="4356070"/>
                <a:ext cx="79252" cy="46475"/>
              </a:xfrm>
              <a:custGeom>
                <a:avLst/>
                <a:gdLst>
                  <a:gd name="T0" fmla="*/ 0 w 48"/>
                  <a:gd name="T1" fmla="*/ 6 h 28"/>
                  <a:gd name="T2" fmla="*/ 18 w 48"/>
                  <a:gd name="T3" fmla="*/ 4 h 28"/>
                  <a:gd name="T4" fmla="*/ 22 w 48"/>
                  <a:gd name="T5" fmla="*/ 0 h 28"/>
                  <a:gd name="T6" fmla="*/ 48 w 48"/>
                  <a:gd name="T7" fmla="*/ 0 h 28"/>
                  <a:gd name="T8" fmla="*/ 44 w 48"/>
                  <a:gd name="T9" fmla="*/ 10 h 28"/>
                  <a:gd name="T10" fmla="*/ 42 w 48"/>
                  <a:gd name="T11" fmla="*/ 16 h 28"/>
                  <a:gd name="T12" fmla="*/ 30 w 48"/>
                  <a:gd name="T13" fmla="*/ 20 h 28"/>
                  <a:gd name="T14" fmla="*/ 22 w 48"/>
                  <a:gd name="T15" fmla="*/ 28 h 28"/>
                  <a:gd name="T16" fmla="*/ 16 w 48"/>
                  <a:gd name="T17" fmla="*/ 22 h 28"/>
                  <a:gd name="T18" fmla="*/ 8 w 48"/>
                  <a:gd name="T19" fmla="*/ 14 h 28"/>
                  <a:gd name="T20" fmla="*/ 6 w 48"/>
                  <a:gd name="T21" fmla="*/ 12 h 28"/>
                  <a:gd name="T22" fmla="*/ 0 w 48"/>
                  <a:gd name="T23" fmla="*/ 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28">
                    <a:moveTo>
                      <a:pt x="0" y="6"/>
                    </a:moveTo>
                    <a:lnTo>
                      <a:pt x="18" y="4"/>
                    </a:lnTo>
                    <a:lnTo>
                      <a:pt x="22" y="0"/>
                    </a:lnTo>
                    <a:lnTo>
                      <a:pt x="48" y="0"/>
                    </a:lnTo>
                    <a:lnTo>
                      <a:pt x="44" y="10"/>
                    </a:lnTo>
                    <a:lnTo>
                      <a:pt x="42" y="16"/>
                    </a:lnTo>
                    <a:lnTo>
                      <a:pt x="30" y="20"/>
                    </a:lnTo>
                    <a:lnTo>
                      <a:pt x="22" y="28"/>
                    </a:lnTo>
                    <a:lnTo>
                      <a:pt x="16" y="22"/>
                    </a:lnTo>
                    <a:lnTo>
                      <a:pt x="8" y="14"/>
                    </a:lnTo>
                    <a:lnTo>
                      <a:pt x="6" y="12"/>
                    </a:lnTo>
                    <a:lnTo>
                      <a:pt x="0" y="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44" name="Freeform 137">
                <a:extLst>
                  <a:ext uri="{FF2B5EF4-FFF2-40B4-BE49-F238E27FC236}">
                    <a16:creationId xmlns:a16="http://schemas.microsoft.com/office/drawing/2014/main" id="{64404911-E177-4AFD-A9F1-F361A2F05E87}"/>
                  </a:ext>
                </a:extLst>
              </p:cNvPr>
              <p:cNvSpPr>
                <a:spLocks/>
              </p:cNvSpPr>
              <p:nvPr/>
            </p:nvSpPr>
            <p:spPr bwMode="gray">
              <a:xfrm>
                <a:off x="5474933" y="4429103"/>
                <a:ext cx="72648" cy="79672"/>
              </a:xfrm>
              <a:custGeom>
                <a:avLst/>
                <a:gdLst>
                  <a:gd name="T0" fmla="*/ 0 w 44"/>
                  <a:gd name="T1" fmla="*/ 16 h 48"/>
                  <a:gd name="T2" fmla="*/ 8 w 44"/>
                  <a:gd name="T3" fmla="*/ 8 h 48"/>
                  <a:gd name="T4" fmla="*/ 16 w 44"/>
                  <a:gd name="T5" fmla="*/ 2 h 48"/>
                  <a:gd name="T6" fmla="*/ 30 w 44"/>
                  <a:gd name="T7" fmla="*/ 0 h 48"/>
                  <a:gd name="T8" fmla="*/ 38 w 44"/>
                  <a:gd name="T9" fmla="*/ 8 h 48"/>
                  <a:gd name="T10" fmla="*/ 44 w 44"/>
                  <a:gd name="T11" fmla="*/ 16 h 48"/>
                  <a:gd name="T12" fmla="*/ 42 w 44"/>
                  <a:gd name="T13" fmla="*/ 24 h 48"/>
                  <a:gd name="T14" fmla="*/ 40 w 44"/>
                  <a:gd name="T15" fmla="*/ 32 h 48"/>
                  <a:gd name="T16" fmla="*/ 34 w 44"/>
                  <a:gd name="T17" fmla="*/ 40 h 48"/>
                  <a:gd name="T18" fmla="*/ 24 w 44"/>
                  <a:gd name="T19" fmla="*/ 48 h 48"/>
                  <a:gd name="T20" fmla="*/ 16 w 44"/>
                  <a:gd name="T21" fmla="*/ 44 h 48"/>
                  <a:gd name="T22" fmla="*/ 4 w 44"/>
                  <a:gd name="T23" fmla="*/ 32 h 48"/>
                  <a:gd name="T24" fmla="*/ 0 w 44"/>
                  <a:gd name="T25" fmla="*/ 24 h 48"/>
                  <a:gd name="T26" fmla="*/ 0 w 44"/>
                  <a:gd name="T2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48">
                    <a:moveTo>
                      <a:pt x="0" y="16"/>
                    </a:moveTo>
                    <a:lnTo>
                      <a:pt x="8" y="8"/>
                    </a:lnTo>
                    <a:lnTo>
                      <a:pt x="16" y="2"/>
                    </a:lnTo>
                    <a:lnTo>
                      <a:pt x="30" y="0"/>
                    </a:lnTo>
                    <a:lnTo>
                      <a:pt x="38" y="8"/>
                    </a:lnTo>
                    <a:lnTo>
                      <a:pt x="44" y="16"/>
                    </a:lnTo>
                    <a:lnTo>
                      <a:pt x="42" y="24"/>
                    </a:lnTo>
                    <a:lnTo>
                      <a:pt x="40" y="32"/>
                    </a:lnTo>
                    <a:lnTo>
                      <a:pt x="34" y="40"/>
                    </a:lnTo>
                    <a:lnTo>
                      <a:pt x="24" y="48"/>
                    </a:lnTo>
                    <a:lnTo>
                      <a:pt x="16" y="44"/>
                    </a:lnTo>
                    <a:lnTo>
                      <a:pt x="4" y="32"/>
                    </a:lnTo>
                    <a:lnTo>
                      <a:pt x="0" y="24"/>
                    </a:lnTo>
                    <a:lnTo>
                      <a:pt x="0" y="1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45" name="Freeform 138">
                <a:extLst>
                  <a:ext uri="{FF2B5EF4-FFF2-40B4-BE49-F238E27FC236}">
                    <a16:creationId xmlns:a16="http://schemas.microsoft.com/office/drawing/2014/main" id="{B5059AE7-8FBC-4752-AC7A-2D83638B5272}"/>
                  </a:ext>
                </a:extLst>
              </p:cNvPr>
              <p:cNvSpPr>
                <a:spLocks/>
              </p:cNvSpPr>
              <p:nvPr/>
            </p:nvSpPr>
            <p:spPr bwMode="gray">
              <a:xfrm>
                <a:off x="5372566" y="3947752"/>
                <a:ext cx="326912" cy="355203"/>
              </a:xfrm>
              <a:custGeom>
                <a:avLst/>
                <a:gdLst>
                  <a:gd name="T0" fmla="*/ 0 w 198"/>
                  <a:gd name="T1" fmla="*/ 106 h 214"/>
                  <a:gd name="T2" fmla="*/ 64 w 198"/>
                  <a:gd name="T3" fmla="*/ 106 h 214"/>
                  <a:gd name="T4" fmla="*/ 64 w 198"/>
                  <a:gd name="T5" fmla="*/ 82 h 214"/>
                  <a:gd name="T6" fmla="*/ 64 w 198"/>
                  <a:gd name="T7" fmla="*/ 74 h 214"/>
                  <a:gd name="T8" fmla="*/ 68 w 198"/>
                  <a:gd name="T9" fmla="*/ 72 h 214"/>
                  <a:gd name="T10" fmla="*/ 72 w 198"/>
                  <a:gd name="T11" fmla="*/ 70 h 214"/>
                  <a:gd name="T12" fmla="*/ 82 w 198"/>
                  <a:gd name="T13" fmla="*/ 70 h 214"/>
                  <a:gd name="T14" fmla="*/ 82 w 198"/>
                  <a:gd name="T15" fmla="*/ 28 h 214"/>
                  <a:gd name="T16" fmla="*/ 132 w 198"/>
                  <a:gd name="T17" fmla="*/ 28 h 214"/>
                  <a:gd name="T18" fmla="*/ 132 w 198"/>
                  <a:gd name="T19" fmla="*/ 0 h 214"/>
                  <a:gd name="T20" fmla="*/ 198 w 198"/>
                  <a:gd name="T21" fmla="*/ 48 h 214"/>
                  <a:gd name="T22" fmla="*/ 168 w 198"/>
                  <a:gd name="T23" fmla="*/ 48 h 214"/>
                  <a:gd name="T24" fmla="*/ 180 w 198"/>
                  <a:gd name="T25" fmla="*/ 184 h 214"/>
                  <a:gd name="T26" fmla="*/ 186 w 198"/>
                  <a:gd name="T27" fmla="*/ 192 h 214"/>
                  <a:gd name="T28" fmla="*/ 184 w 198"/>
                  <a:gd name="T29" fmla="*/ 202 h 214"/>
                  <a:gd name="T30" fmla="*/ 84 w 198"/>
                  <a:gd name="T31" fmla="*/ 200 h 214"/>
                  <a:gd name="T32" fmla="*/ 78 w 198"/>
                  <a:gd name="T33" fmla="*/ 214 h 214"/>
                  <a:gd name="T34" fmla="*/ 68 w 198"/>
                  <a:gd name="T35" fmla="*/ 206 h 214"/>
                  <a:gd name="T36" fmla="*/ 60 w 198"/>
                  <a:gd name="T37" fmla="*/ 194 h 214"/>
                  <a:gd name="T38" fmla="*/ 52 w 198"/>
                  <a:gd name="T39" fmla="*/ 188 h 214"/>
                  <a:gd name="T40" fmla="*/ 40 w 198"/>
                  <a:gd name="T41" fmla="*/ 182 h 214"/>
                  <a:gd name="T42" fmla="*/ 26 w 198"/>
                  <a:gd name="T43" fmla="*/ 182 h 214"/>
                  <a:gd name="T44" fmla="*/ 12 w 198"/>
                  <a:gd name="T45" fmla="*/ 184 h 214"/>
                  <a:gd name="T46" fmla="*/ 12 w 198"/>
                  <a:gd name="T47" fmla="*/ 172 h 214"/>
                  <a:gd name="T48" fmla="*/ 18 w 198"/>
                  <a:gd name="T49" fmla="*/ 152 h 214"/>
                  <a:gd name="T50" fmla="*/ 12 w 198"/>
                  <a:gd name="T51" fmla="*/ 144 h 214"/>
                  <a:gd name="T52" fmla="*/ 8 w 198"/>
                  <a:gd name="T53" fmla="*/ 138 h 214"/>
                  <a:gd name="T54" fmla="*/ 12 w 198"/>
                  <a:gd name="T55" fmla="*/ 130 h 214"/>
                  <a:gd name="T56" fmla="*/ 12 w 198"/>
                  <a:gd name="T57" fmla="*/ 122 h 214"/>
                  <a:gd name="T58" fmla="*/ 8 w 198"/>
                  <a:gd name="T59" fmla="*/ 116 h 214"/>
                  <a:gd name="T60" fmla="*/ 0 w 198"/>
                  <a:gd name="T61" fmla="*/ 112 h 214"/>
                  <a:gd name="T62" fmla="*/ 0 w 198"/>
                  <a:gd name="T63" fmla="*/ 106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8" h="214">
                    <a:moveTo>
                      <a:pt x="0" y="106"/>
                    </a:moveTo>
                    <a:lnTo>
                      <a:pt x="64" y="106"/>
                    </a:lnTo>
                    <a:lnTo>
                      <a:pt x="64" y="82"/>
                    </a:lnTo>
                    <a:lnTo>
                      <a:pt x="64" y="74"/>
                    </a:lnTo>
                    <a:lnTo>
                      <a:pt x="68" y="72"/>
                    </a:lnTo>
                    <a:lnTo>
                      <a:pt x="72" y="70"/>
                    </a:lnTo>
                    <a:lnTo>
                      <a:pt x="82" y="70"/>
                    </a:lnTo>
                    <a:lnTo>
                      <a:pt x="82" y="28"/>
                    </a:lnTo>
                    <a:lnTo>
                      <a:pt x="132" y="28"/>
                    </a:lnTo>
                    <a:lnTo>
                      <a:pt x="132" y="0"/>
                    </a:lnTo>
                    <a:lnTo>
                      <a:pt x="198" y="48"/>
                    </a:lnTo>
                    <a:lnTo>
                      <a:pt x="168" y="48"/>
                    </a:lnTo>
                    <a:lnTo>
                      <a:pt x="180" y="184"/>
                    </a:lnTo>
                    <a:lnTo>
                      <a:pt x="186" y="192"/>
                    </a:lnTo>
                    <a:lnTo>
                      <a:pt x="184" y="202"/>
                    </a:lnTo>
                    <a:lnTo>
                      <a:pt x="84" y="200"/>
                    </a:lnTo>
                    <a:lnTo>
                      <a:pt x="78" y="214"/>
                    </a:lnTo>
                    <a:lnTo>
                      <a:pt x="68" y="206"/>
                    </a:lnTo>
                    <a:lnTo>
                      <a:pt x="60" y="194"/>
                    </a:lnTo>
                    <a:lnTo>
                      <a:pt x="52" y="188"/>
                    </a:lnTo>
                    <a:lnTo>
                      <a:pt x="40" y="182"/>
                    </a:lnTo>
                    <a:lnTo>
                      <a:pt x="26" y="182"/>
                    </a:lnTo>
                    <a:lnTo>
                      <a:pt x="12" y="184"/>
                    </a:lnTo>
                    <a:lnTo>
                      <a:pt x="12" y="172"/>
                    </a:lnTo>
                    <a:lnTo>
                      <a:pt x="18" y="152"/>
                    </a:lnTo>
                    <a:lnTo>
                      <a:pt x="12" y="144"/>
                    </a:lnTo>
                    <a:lnTo>
                      <a:pt x="8" y="138"/>
                    </a:lnTo>
                    <a:lnTo>
                      <a:pt x="12" y="130"/>
                    </a:lnTo>
                    <a:lnTo>
                      <a:pt x="12" y="122"/>
                    </a:lnTo>
                    <a:lnTo>
                      <a:pt x="8" y="116"/>
                    </a:lnTo>
                    <a:lnTo>
                      <a:pt x="0" y="112"/>
                    </a:lnTo>
                    <a:lnTo>
                      <a:pt x="0" y="10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46" name="Freeform 139">
                <a:extLst>
                  <a:ext uri="{FF2B5EF4-FFF2-40B4-BE49-F238E27FC236}">
                    <a16:creationId xmlns:a16="http://schemas.microsoft.com/office/drawing/2014/main" id="{3F75917B-D5A4-4BB8-9CDF-28752ECD68F3}"/>
                  </a:ext>
                </a:extLst>
              </p:cNvPr>
              <p:cNvSpPr>
                <a:spLocks/>
              </p:cNvSpPr>
              <p:nvPr/>
            </p:nvSpPr>
            <p:spPr bwMode="gray">
              <a:xfrm>
                <a:off x="5422098" y="4356070"/>
                <a:ext cx="191523" cy="146065"/>
              </a:xfrm>
              <a:custGeom>
                <a:avLst/>
                <a:gdLst>
                  <a:gd name="T0" fmla="*/ 60 w 116"/>
                  <a:gd name="T1" fmla="*/ 6 h 88"/>
                  <a:gd name="T2" fmla="*/ 60 w 116"/>
                  <a:gd name="T3" fmla="*/ 8 h 88"/>
                  <a:gd name="T4" fmla="*/ 72 w 116"/>
                  <a:gd name="T5" fmla="*/ 12 h 88"/>
                  <a:gd name="T6" fmla="*/ 84 w 116"/>
                  <a:gd name="T7" fmla="*/ 8 h 88"/>
                  <a:gd name="T8" fmla="*/ 98 w 116"/>
                  <a:gd name="T9" fmla="*/ 6 h 88"/>
                  <a:gd name="T10" fmla="*/ 100 w 116"/>
                  <a:gd name="T11" fmla="*/ 14 h 88"/>
                  <a:gd name="T12" fmla="*/ 106 w 116"/>
                  <a:gd name="T13" fmla="*/ 24 h 88"/>
                  <a:gd name="T14" fmla="*/ 112 w 116"/>
                  <a:gd name="T15" fmla="*/ 38 h 88"/>
                  <a:gd name="T16" fmla="*/ 110 w 116"/>
                  <a:gd name="T17" fmla="*/ 46 h 88"/>
                  <a:gd name="T18" fmla="*/ 112 w 116"/>
                  <a:gd name="T19" fmla="*/ 50 h 88"/>
                  <a:gd name="T20" fmla="*/ 114 w 116"/>
                  <a:gd name="T21" fmla="*/ 54 h 88"/>
                  <a:gd name="T22" fmla="*/ 116 w 116"/>
                  <a:gd name="T23" fmla="*/ 68 h 88"/>
                  <a:gd name="T24" fmla="*/ 110 w 116"/>
                  <a:gd name="T25" fmla="*/ 70 h 88"/>
                  <a:gd name="T26" fmla="*/ 112 w 116"/>
                  <a:gd name="T27" fmla="*/ 80 h 88"/>
                  <a:gd name="T28" fmla="*/ 106 w 116"/>
                  <a:gd name="T29" fmla="*/ 84 h 88"/>
                  <a:gd name="T30" fmla="*/ 100 w 116"/>
                  <a:gd name="T31" fmla="*/ 82 h 88"/>
                  <a:gd name="T32" fmla="*/ 96 w 116"/>
                  <a:gd name="T33" fmla="*/ 88 h 88"/>
                  <a:gd name="T34" fmla="*/ 90 w 116"/>
                  <a:gd name="T35" fmla="*/ 86 h 88"/>
                  <a:gd name="T36" fmla="*/ 88 w 116"/>
                  <a:gd name="T37" fmla="*/ 72 h 88"/>
                  <a:gd name="T38" fmla="*/ 82 w 116"/>
                  <a:gd name="T39" fmla="*/ 70 h 88"/>
                  <a:gd name="T40" fmla="*/ 74 w 116"/>
                  <a:gd name="T41" fmla="*/ 68 h 88"/>
                  <a:gd name="T42" fmla="*/ 76 w 116"/>
                  <a:gd name="T43" fmla="*/ 60 h 88"/>
                  <a:gd name="T44" fmla="*/ 70 w 116"/>
                  <a:gd name="T45" fmla="*/ 52 h 88"/>
                  <a:gd name="T46" fmla="*/ 62 w 116"/>
                  <a:gd name="T47" fmla="*/ 44 h 88"/>
                  <a:gd name="T48" fmla="*/ 48 w 116"/>
                  <a:gd name="T49" fmla="*/ 46 h 88"/>
                  <a:gd name="T50" fmla="*/ 40 w 116"/>
                  <a:gd name="T51" fmla="*/ 52 h 88"/>
                  <a:gd name="T52" fmla="*/ 32 w 116"/>
                  <a:gd name="T53" fmla="*/ 60 h 88"/>
                  <a:gd name="T54" fmla="*/ 24 w 116"/>
                  <a:gd name="T55" fmla="*/ 50 h 88"/>
                  <a:gd name="T56" fmla="*/ 14 w 116"/>
                  <a:gd name="T57" fmla="*/ 40 h 88"/>
                  <a:gd name="T58" fmla="*/ 6 w 116"/>
                  <a:gd name="T59" fmla="*/ 38 h 88"/>
                  <a:gd name="T60" fmla="*/ 0 w 116"/>
                  <a:gd name="T61" fmla="*/ 28 h 88"/>
                  <a:gd name="T62" fmla="*/ 8 w 116"/>
                  <a:gd name="T63" fmla="*/ 20 h 88"/>
                  <a:gd name="T64" fmla="*/ 20 w 116"/>
                  <a:gd name="T65" fmla="*/ 16 h 88"/>
                  <a:gd name="T66" fmla="*/ 22 w 116"/>
                  <a:gd name="T67" fmla="*/ 10 h 88"/>
                  <a:gd name="T68" fmla="*/ 26 w 116"/>
                  <a:gd name="T69" fmla="*/ 0 h 88"/>
                  <a:gd name="T70" fmla="*/ 32 w 116"/>
                  <a:gd name="T71" fmla="*/ 0 h 88"/>
                  <a:gd name="T72" fmla="*/ 38 w 116"/>
                  <a:gd name="T73" fmla="*/ 4 h 88"/>
                  <a:gd name="T74" fmla="*/ 50 w 116"/>
                  <a:gd name="T75" fmla="*/ 4 h 88"/>
                  <a:gd name="T76" fmla="*/ 60 w 116"/>
                  <a:gd name="T77" fmla="*/ 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6" h="88">
                    <a:moveTo>
                      <a:pt x="60" y="6"/>
                    </a:moveTo>
                    <a:lnTo>
                      <a:pt x="60" y="8"/>
                    </a:lnTo>
                    <a:lnTo>
                      <a:pt x="72" y="12"/>
                    </a:lnTo>
                    <a:lnTo>
                      <a:pt x="84" y="8"/>
                    </a:lnTo>
                    <a:lnTo>
                      <a:pt x="98" y="6"/>
                    </a:lnTo>
                    <a:lnTo>
                      <a:pt x="100" y="14"/>
                    </a:lnTo>
                    <a:lnTo>
                      <a:pt x="106" y="24"/>
                    </a:lnTo>
                    <a:lnTo>
                      <a:pt x="112" y="38"/>
                    </a:lnTo>
                    <a:lnTo>
                      <a:pt x="110" y="46"/>
                    </a:lnTo>
                    <a:lnTo>
                      <a:pt x="112" y="50"/>
                    </a:lnTo>
                    <a:lnTo>
                      <a:pt x="114" y="54"/>
                    </a:lnTo>
                    <a:lnTo>
                      <a:pt x="116" y="68"/>
                    </a:lnTo>
                    <a:lnTo>
                      <a:pt x="110" y="70"/>
                    </a:lnTo>
                    <a:lnTo>
                      <a:pt x="112" y="80"/>
                    </a:lnTo>
                    <a:lnTo>
                      <a:pt x="106" y="84"/>
                    </a:lnTo>
                    <a:lnTo>
                      <a:pt x="100" y="82"/>
                    </a:lnTo>
                    <a:lnTo>
                      <a:pt x="96" y="88"/>
                    </a:lnTo>
                    <a:lnTo>
                      <a:pt x="90" y="86"/>
                    </a:lnTo>
                    <a:lnTo>
                      <a:pt x="88" y="72"/>
                    </a:lnTo>
                    <a:lnTo>
                      <a:pt x="82" y="70"/>
                    </a:lnTo>
                    <a:lnTo>
                      <a:pt x="74" y="68"/>
                    </a:lnTo>
                    <a:lnTo>
                      <a:pt x="76" y="60"/>
                    </a:lnTo>
                    <a:lnTo>
                      <a:pt x="70" y="52"/>
                    </a:lnTo>
                    <a:lnTo>
                      <a:pt x="62" y="44"/>
                    </a:lnTo>
                    <a:lnTo>
                      <a:pt x="48" y="46"/>
                    </a:lnTo>
                    <a:lnTo>
                      <a:pt x="40" y="52"/>
                    </a:lnTo>
                    <a:lnTo>
                      <a:pt x="32" y="60"/>
                    </a:lnTo>
                    <a:lnTo>
                      <a:pt x="24" y="50"/>
                    </a:lnTo>
                    <a:lnTo>
                      <a:pt x="14" y="40"/>
                    </a:lnTo>
                    <a:lnTo>
                      <a:pt x="6" y="38"/>
                    </a:lnTo>
                    <a:lnTo>
                      <a:pt x="0" y="28"/>
                    </a:lnTo>
                    <a:lnTo>
                      <a:pt x="8" y="20"/>
                    </a:lnTo>
                    <a:lnTo>
                      <a:pt x="20" y="16"/>
                    </a:lnTo>
                    <a:lnTo>
                      <a:pt x="22" y="10"/>
                    </a:lnTo>
                    <a:lnTo>
                      <a:pt x="26" y="0"/>
                    </a:lnTo>
                    <a:lnTo>
                      <a:pt x="32" y="0"/>
                    </a:lnTo>
                    <a:lnTo>
                      <a:pt x="38" y="4"/>
                    </a:lnTo>
                    <a:lnTo>
                      <a:pt x="50" y="4"/>
                    </a:lnTo>
                    <a:lnTo>
                      <a:pt x="60" y="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47" name="Freeform 140">
                <a:extLst>
                  <a:ext uri="{FF2B5EF4-FFF2-40B4-BE49-F238E27FC236}">
                    <a16:creationId xmlns:a16="http://schemas.microsoft.com/office/drawing/2014/main" id="{9CE64D02-F3CF-4B63-A686-509E22C12719}"/>
                  </a:ext>
                </a:extLst>
              </p:cNvPr>
              <p:cNvSpPr>
                <a:spLocks/>
              </p:cNvSpPr>
              <p:nvPr/>
            </p:nvSpPr>
            <p:spPr bwMode="gray">
              <a:xfrm>
                <a:off x="5514558" y="4468939"/>
                <a:ext cx="108970" cy="109548"/>
              </a:xfrm>
              <a:custGeom>
                <a:avLst/>
                <a:gdLst>
                  <a:gd name="T0" fmla="*/ 50 w 66"/>
                  <a:gd name="T1" fmla="*/ 16 h 66"/>
                  <a:gd name="T2" fmla="*/ 50 w 66"/>
                  <a:gd name="T3" fmla="*/ 26 h 66"/>
                  <a:gd name="T4" fmla="*/ 50 w 66"/>
                  <a:gd name="T5" fmla="*/ 34 h 66"/>
                  <a:gd name="T6" fmla="*/ 58 w 66"/>
                  <a:gd name="T7" fmla="*/ 36 h 66"/>
                  <a:gd name="T8" fmla="*/ 64 w 66"/>
                  <a:gd name="T9" fmla="*/ 40 h 66"/>
                  <a:gd name="T10" fmla="*/ 66 w 66"/>
                  <a:gd name="T11" fmla="*/ 46 h 66"/>
                  <a:gd name="T12" fmla="*/ 66 w 66"/>
                  <a:gd name="T13" fmla="*/ 54 h 66"/>
                  <a:gd name="T14" fmla="*/ 62 w 66"/>
                  <a:gd name="T15" fmla="*/ 66 h 66"/>
                  <a:gd name="T16" fmla="*/ 50 w 66"/>
                  <a:gd name="T17" fmla="*/ 62 h 66"/>
                  <a:gd name="T18" fmla="*/ 38 w 66"/>
                  <a:gd name="T19" fmla="*/ 54 h 66"/>
                  <a:gd name="T20" fmla="*/ 30 w 66"/>
                  <a:gd name="T21" fmla="*/ 44 h 66"/>
                  <a:gd name="T22" fmla="*/ 18 w 66"/>
                  <a:gd name="T23" fmla="*/ 36 h 66"/>
                  <a:gd name="T24" fmla="*/ 8 w 66"/>
                  <a:gd name="T25" fmla="*/ 32 h 66"/>
                  <a:gd name="T26" fmla="*/ 0 w 66"/>
                  <a:gd name="T27" fmla="*/ 24 h 66"/>
                  <a:gd name="T28" fmla="*/ 16 w 66"/>
                  <a:gd name="T29" fmla="*/ 8 h 66"/>
                  <a:gd name="T30" fmla="*/ 18 w 66"/>
                  <a:gd name="T31" fmla="*/ 0 h 66"/>
                  <a:gd name="T32" fmla="*/ 24 w 66"/>
                  <a:gd name="T33" fmla="*/ 0 h 66"/>
                  <a:gd name="T34" fmla="*/ 32 w 66"/>
                  <a:gd name="T35" fmla="*/ 4 h 66"/>
                  <a:gd name="T36" fmla="*/ 34 w 66"/>
                  <a:gd name="T37" fmla="*/ 18 h 66"/>
                  <a:gd name="T38" fmla="*/ 40 w 66"/>
                  <a:gd name="T39" fmla="*/ 20 h 66"/>
                  <a:gd name="T40" fmla="*/ 44 w 66"/>
                  <a:gd name="T41" fmla="*/ 14 h 66"/>
                  <a:gd name="T42" fmla="*/ 50 w 66"/>
                  <a:gd name="T43" fmla="*/ 1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6" h="66">
                    <a:moveTo>
                      <a:pt x="50" y="16"/>
                    </a:moveTo>
                    <a:lnTo>
                      <a:pt x="50" y="26"/>
                    </a:lnTo>
                    <a:lnTo>
                      <a:pt x="50" y="34"/>
                    </a:lnTo>
                    <a:lnTo>
                      <a:pt x="58" y="36"/>
                    </a:lnTo>
                    <a:lnTo>
                      <a:pt x="64" y="40"/>
                    </a:lnTo>
                    <a:lnTo>
                      <a:pt x="66" y="46"/>
                    </a:lnTo>
                    <a:lnTo>
                      <a:pt x="66" y="54"/>
                    </a:lnTo>
                    <a:lnTo>
                      <a:pt x="62" y="66"/>
                    </a:lnTo>
                    <a:lnTo>
                      <a:pt x="50" y="62"/>
                    </a:lnTo>
                    <a:lnTo>
                      <a:pt x="38" y="54"/>
                    </a:lnTo>
                    <a:lnTo>
                      <a:pt x="30" y="44"/>
                    </a:lnTo>
                    <a:lnTo>
                      <a:pt x="18" y="36"/>
                    </a:lnTo>
                    <a:lnTo>
                      <a:pt x="8" y="32"/>
                    </a:lnTo>
                    <a:lnTo>
                      <a:pt x="0" y="24"/>
                    </a:lnTo>
                    <a:lnTo>
                      <a:pt x="16" y="8"/>
                    </a:lnTo>
                    <a:lnTo>
                      <a:pt x="18" y="0"/>
                    </a:lnTo>
                    <a:lnTo>
                      <a:pt x="24" y="0"/>
                    </a:lnTo>
                    <a:lnTo>
                      <a:pt x="32" y="4"/>
                    </a:lnTo>
                    <a:lnTo>
                      <a:pt x="34" y="18"/>
                    </a:lnTo>
                    <a:lnTo>
                      <a:pt x="40" y="20"/>
                    </a:lnTo>
                    <a:lnTo>
                      <a:pt x="44" y="14"/>
                    </a:lnTo>
                    <a:lnTo>
                      <a:pt x="50" y="1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48" name="Freeform 141">
                <a:extLst>
                  <a:ext uri="{FF2B5EF4-FFF2-40B4-BE49-F238E27FC236}">
                    <a16:creationId xmlns:a16="http://schemas.microsoft.com/office/drawing/2014/main" id="{89DD6D5B-5CAC-4D1B-83AA-E80BDB2F3737}"/>
                  </a:ext>
                </a:extLst>
              </p:cNvPr>
              <p:cNvSpPr>
                <a:spLocks/>
              </p:cNvSpPr>
              <p:nvPr/>
            </p:nvSpPr>
            <p:spPr bwMode="gray">
              <a:xfrm>
                <a:off x="6170033" y="4067260"/>
                <a:ext cx="277380" cy="428236"/>
              </a:xfrm>
              <a:custGeom>
                <a:avLst/>
                <a:gdLst>
                  <a:gd name="T0" fmla="*/ 166 w 168"/>
                  <a:gd name="T1" fmla="*/ 128 h 258"/>
                  <a:gd name="T2" fmla="*/ 152 w 168"/>
                  <a:gd name="T3" fmla="*/ 130 h 258"/>
                  <a:gd name="T4" fmla="*/ 148 w 168"/>
                  <a:gd name="T5" fmla="*/ 142 h 258"/>
                  <a:gd name="T6" fmla="*/ 136 w 168"/>
                  <a:gd name="T7" fmla="*/ 170 h 258"/>
                  <a:gd name="T8" fmla="*/ 144 w 168"/>
                  <a:gd name="T9" fmla="*/ 178 h 258"/>
                  <a:gd name="T10" fmla="*/ 148 w 168"/>
                  <a:gd name="T11" fmla="*/ 204 h 258"/>
                  <a:gd name="T12" fmla="*/ 136 w 168"/>
                  <a:gd name="T13" fmla="*/ 206 h 258"/>
                  <a:gd name="T14" fmla="*/ 112 w 168"/>
                  <a:gd name="T15" fmla="*/ 230 h 258"/>
                  <a:gd name="T16" fmla="*/ 88 w 168"/>
                  <a:gd name="T17" fmla="*/ 234 h 258"/>
                  <a:gd name="T18" fmla="*/ 86 w 168"/>
                  <a:gd name="T19" fmla="*/ 246 h 258"/>
                  <a:gd name="T20" fmla="*/ 40 w 168"/>
                  <a:gd name="T21" fmla="*/ 258 h 258"/>
                  <a:gd name="T22" fmla="*/ 30 w 168"/>
                  <a:gd name="T23" fmla="*/ 246 h 258"/>
                  <a:gd name="T24" fmla="*/ 10 w 168"/>
                  <a:gd name="T25" fmla="*/ 226 h 258"/>
                  <a:gd name="T26" fmla="*/ 12 w 168"/>
                  <a:gd name="T27" fmla="*/ 216 h 258"/>
                  <a:gd name="T28" fmla="*/ 32 w 168"/>
                  <a:gd name="T29" fmla="*/ 216 h 258"/>
                  <a:gd name="T30" fmla="*/ 26 w 168"/>
                  <a:gd name="T31" fmla="*/ 206 h 258"/>
                  <a:gd name="T32" fmla="*/ 24 w 168"/>
                  <a:gd name="T33" fmla="*/ 182 h 258"/>
                  <a:gd name="T34" fmla="*/ 16 w 168"/>
                  <a:gd name="T35" fmla="*/ 170 h 258"/>
                  <a:gd name="T36" fmla="*/ 2 w 168"/>
                  <a:gd name="T37" fmla="*/ 156 h 258"/>
                  <a:gd name="T38" fmla="*/ 0 w 168"/>
                  <a:gd name="T39" fmla="*/ 144 h 258"/>
                  <a:gd name="T40" fmla="*/ 32 w 168"/>
                  <a:gd name="T41" fmla="*/ 106 h 258"/>
                  <a:gd name="T42" fmla="*/ 36 w 168"/>
                  <a:gd name="T43" fmla="*/ 66 h 258"/>
                  <a:gd name="T44" fmla="*/ 40 w 168"/>
                  <a:gd name="T45" fmla="*/ 50 h 258"/>
                  <a:gd name="T46" fmla="*/ 28 w 168"/>
                  <a:gd name="T47" fmla="*/ 6 h 258"/>
                  <a:gd name="T48" fmla="*/ 34 w 168"/>
                  <a:gd name="T49" fmla="*/ 0 h 258"/>
                  <a:gd name="T50" fmla="*/ 168 w 168"/>
                  <a:gd name="T51" fmla="*/ 54 h 258"/>
                  <a:gd name="T52" fmla="*/ 166 w 168"/>
                  <a:gd name="T53" fmla="*/ 12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8" h="258">
                    <a:moveTo>
                      <a:pt x="166" y="128"/>
                    </a:moveTo>
                    <a:lnTo>
                      <a:pt x="152" y="130"/>
                    </a:lnTo>
                    <a:lnTo>
                      <a:pt x="148" y="142"/>
                    </a:lnTo>
                    <a:lnTo>
                      <a:pt x="136" y="170"/>
                    </a:lnTo>
                    <a:lnTo>
                      <a:pt x="144" y="178"/>
                    </a:lnTo>
                    <a:lnTo>
                      <a:pt x="148" y="204"/>
                    </a:lnTo>
                    <a:lnTo>
                      <a:pt x="136" y="206"/>
                    </a:lnTo>
                    <a:lnTo>
                      <a:pt x="112" y="230"/>
                    </a:lnTo>
                    <a:lnTo>
                      <a:pt x="88" y="234"/>
                    </a:lnTo>
                    <a:lnTo>
                      <a:pt x="86" y="246"/>
                    </a:lnTo>
                    <a:lnTo>
                      <a:pt x="40" y="258"/>
                    </a:lnTo>
                    <a:lnTo>
                      <a:pt x="30" y="246"/>
                    </a:lnTo>
                    <a:lnTo>
                      <a:pt x="10" y="226"/>
                    </a:lnTo>
                    <a:lnTo>
                      <a:pt x="12" y="216"/>
                    </a:lnTo>
                    <a:lnTo>
                      <a:pt x="32" y="216"/>
                    </a:lnTo>
                    <a:lnTo>
                      <a:pt x="26" y="206"/>
                    </a:lnTo>
                    <a:lnTo>
                      <a:pt x="24" y="182"/>
                    </a:lnTo>
                    <a:lnTo>
                      <a:pt x="16" y="170"/>
                    </a:lnTo>
                    <a:lnTo>
                      <a:pt x="2" y="156"/>
                    </a:lnTo>
                    <a:lnTo>
                      <a:pt x="0" y="144"/>
                    </a:lnTo>
                    <a:lnTo>
                      <a:pt x="32" y="106"/>
                    </a:lnTo>
                    <a:lnTo>
                      <a:pt x="36" y="66"/>
                    </a:lnTo>
                    <a:lnTo>
                      <a:pt x="40" y="50"/>
                    </a:lnTo>
                    <a:lnTo>
                      <a:pt x="28" y="6"/>
                    </a:lnTo>
                    <a:lnTo>
                      <a:pt x="34" y="0"/>
                    </a:lnTo>
                    <a:lnTo>
                      <a:pt x="168" y="54"/>
                    </a:lnTo>
                    <a:lnTo>
                      <a:pt x="166" y="12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49" name="Freeform 142">
                <a:extLst>
                  <a:ext uri="{FF2B5EF4-FFF2-40B4-BE49-F238E27FC236}">
                    <a16:creationId xmlns:a16="http://schemas.microsoft.com/office/drawing/2014/main" id="{75EC9D64-9DC2-4789-B17F-2A4FAF46C30C}"/>
                  </a:ext>
                </a:extLst>
              </p:cNvPr>
              <p:cNvSpPr>
                <a:spLocks/>
              </p:cNvSpPr>
              <p:nvPr/>
            </p:nvSpPr>
            <p:spPr bwMode="gray">
              <a:xfrm>
                <a:off x="5821658" y="4060621"/>
                <a:ext cx="414419" cy="322007"/>
              </a:xfrm>
              <a:custGeom>
                <a:avLst/>
                <a:gdLst>
                  <a:gd name="T0" fmla="*/ 4 w 251"/>
                  <a:gd name="T1" fmla="*/ 142 h 194"/>
                  <a:gd name="T2" fmla="*/ 18 w 251"/>
                  <a:gd name="T3" fmla="*/ 142 h 194"/>
                  <a:gd name="T4" fmla="*/ 52 w 251"/>
                  <a:gd name="T5" fmla="*/ 136 h 194"/>
                  <a:gd name="T6" fmla="*/ 64 w 251"/>
                  <a:gd name="T7" fmla="*/ 118 h 194"/>
                  <a:gd name="T8" fmla="*/ 66 w 251"/>
                  <a:gd name="T9" fmla="*/ 76 h 194"/>
                  <a:gd name="T10" fmla="*/ 86 w 251"/>
                  <a:gd name="T11" fmla="*/ 72 h 194"/>
                  <a:gd name="T12" fmla="*/ 124 w 251"/>
                  <a:gd name="T13" fmla="*/ 40 h 194"/>
                  <a:gd name="T14" fmla="*/ 191 w 251"/>
                  <a:gd name="T15" fmla="*/ 0 h 194"/>
                  <a:gd name="T16" fmla="*/ 199 w 251"/>
                  <a:gd name="T17" fmla="*/ 2 h 194"/>
                  <a:gd name="T18" fmla="*/ 207 w 251"/>
                  <a:gd name="T19" fmla="*/ 4 h 194"/>
                  <a:gd name="T20" fmla="*/ 217 w 251"/>
                  <a:gd name="T21" fmla="*/ 8 h 194"/>
                  <a:gd name="T22" fmla="*/ 227 w 251"/>
                  <a:gd name="T23" fmla="*/ 16 h 194"/>
                  <a:gd name="T24" fmla="*/ 239 w 251"/>
                  <a:gd name="T25" fmla="*/ 10 h 194"/>
                  <a:gd name="T26" fmla="*/ 251 w 251"/>
                  <a:gd name="T27" fmla="*/ 54 h 194"/>
                  <a:gd name="T28" fmla="*/ 247 w 251"/>
                  <a:gd name="T29" fmla="*/ 70 h 194"/>
                  <a:gd name="T30" fmla="*/ 243 w 251"/>
                  <a:gd name="T31" fmla="*/ 110 h 194"/>
                  <a:gd name="T32" fmla="*/ 211 w 251"/>
                  <a:gd name="T33" fmla="*/ 148 h 194"/>
                  <a:gd name="T34" fmla="*/ 213 w 251"/>
                  <a:gd name="T35" fmla="*/ 160 h 194"/>
                  <a:gd name="T36" fmla="*/ 191 w 251"/>
                  <a:gd name="T37" fmla="*/ 174 h 194"/>
                  <a:gd name="T38" fmla="*/ 156 w 251"/>
                  <a:gd name="T39" fmla="*/ 170 h 194"/>
                  <a:gd name="T40" fmla="*/ 150 w 251"/>
                  <a:gd name="T41" fmla="*/ 178 h 194"/>
                  <a:gd name="T42" fmla="*/ 122 w 251"/>
                  <a:gd name="T43" fmla="*/ 168 h 194"/>
                  <a:gd name="T44" fmla="*/ 112 w 251"/>
                  <a:gd name="T45" fmla="*/ 174 h 194"/>
                  <a:gd name="T46" fmla="*/ 96 w 251"/>
                  <a:gd name="T47" fmla="*/ 162 h 194"/>
                  <a:gd name="T48" fmla="*/ 66 w 251"/>
                  <a:gd name="T49" fmla="*/ 162 h 194"/>
                  <a:gd name="T50" fmla="*/ 54 w 251"/>
                  <a:gd name="T51" fmla="*/ 194 h 194"/>
                  <a:gd name="T52" fmla="*/ 44 w 251"/>
                  <a:gd name="T53" fmla="*/ 184 h 194"/>
                  <a:gd name="T54" fmla="*/ 30 w 251"/>
                  <a:gd name="T55" fmla="*/ 186 h 194"/>
                  <a:gd name="T56" fmla="*/ 16 w 251"/>
                  <a:gd name="T57" fmla="*/ 178 h 194"/>
                  <a:gd name="T58" fmla="*/ 12 w 251"/>
                  <a:gd name="T59" fmla="*/ 176 h 194"/>
                  <a:gd name="T60" fmla="*/ 14 w 251"/>
                  <a:gd name="T61" fmla="*/ 170 h 194"/>
                  <a:gd name="T62" fmla="*/ 4 w 251"/>
                  <a:gd name="T63" fmla="*/ 158 h 194"/>
                  <a:gd name="T64" fmla="*/ 0 w 251"/>
                  <a:gd name="T65" fmla="*/ 150 h 194"/>
                  <a:gd name="T66" fmla="*/ 4 w 251"/>
                  <a:gd name="T67" fmla="*/ 142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1" h="194">
                    <a:moveTo>
                      <a:pt x="4" y="142"/>
                    </a:moveTo>
                    <a:lnTo>
                      <a:pt x="18" y="142"/>
                    </a:lnTo>
                    <a:lnTo>
                      <a:pt x="52" y="136"/>
                    </a:lnTo>
                    <a:lnTo>
                      <a:pt x="64" y="118"/>
                    </a:lnTo>
                    <a:lnTo>
                      <a:pt x="66" y="76"/>
                    </a:lnTo>
                    <a:lnTo>
                      <a:pt x="86" y="72"/>
                    </a:lnTo>
                    <a:lnTo>
                      <a:pt x="124" y="40"/>
                    </a:lnTo>
                    <a:lnTo>
                      <a:pt x="191" y="0"/>
                    </a:lnTo>
                    <a:lnTo>
                      <a:pt x="199" y="2"/>
                    </a:lnTo>
                    <a:lnTo>
                      <a:pt x="207" y="4"/>
                    </a:lnTo>
                    <a:lnTo>
                      <a:pt x="217" y="8"/>
                    </a:lnTo>
                    <a:lnTo>
                      <a:pt x="227" y="16"/>
                    </a:lnTo>
                    <a:lnTo>
                      <a:pt x="239" y="10"/>
                    </a:lnTo>
                    <a:lnTo>
                      <a:pt x="251" y="54"/>
                    </a:lnTo>
                    <a:lnTo>
                      <a:pt x="247" y="70"/>
                    </a:lnTo>
                    <a:lnTo>
                      <a:pt x="243" y="110"/>
                    </a:lnTo>
                    <a:lnTo>
                      <a:pt x="211" y="148"/>
                    </a:lnTo>
                    <a:lnTo>
                      <a:pt x="213" y="160"/>
                    </a:lnTo>
                    <a:lnTo>
                      <a:pt x="191" y="174"/>
                    </a:lnTo>
                    <a:lnTo>
                      <a:pt x="156" y="170"/>
                    </a:lnTo>
                    <a:lnTo>
                      <a:pt x="150" y="178"/>
                    </a:lnTo>
                    <a:lnTo>
                      <a:pt x="122" y="168"/>
                    </a:lnTo>
                    <a:lnTo>
                      <a:pt x="112" y="174"/>
                    </a:lnTo>
                    <a:lnTo>
                      <a:pt x="96" y="162"/>
                    </a:lnTo>
                    <a:lnTo>
                      <a:pt x="66" y="162"/>
                    </a:lnTo>
                    <a:lnTo>
                      <a:pt x="54" y="194"/>
                    </a:lnTo>
                    <a:lnTo>
                      <a:pt x="44" y="184"/>
                    </a:lnTo>
                    <a:lnTo>
                      <a:pt x="30" y="186"/>
                    </a:lnTo>
                    <a:lnTo>
                      <a:pt x="16" y="178"/>
                    </a:lnTo>
                    <a:lnTo>
                      <a:pt x="12" y="176"/>
                    </a:lnTo>
                    <a:lnTo>
                      <a:pt x="14" y="170"/>
                    </a:lnTo>
                    <a:lnTo>
                      <a:pt x="4" y="158"/>
                    </a:lnTo>
                    <a:lnTo>
                      <a:pt x="0" y="150"/>
                    </a:lnTo>
                    <a:lnTo>
                      <a:pt x="4" y="14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50" name="Freeform 143">
                <a:extLst>
                  <a:ext uri="{FF2B5EF4-FFF2-40B4-BE49-F238E27FC236}">
                    <a16:creationId xmlns:a16="http://schemas.microsoft.com/office/drawing/2014/main" id="{F4EF538D-4C02-4A14-9467-53E72CB317F7}"/>
                  </a:ext>
                </a:extLst>
              </p:cNvPr>
              <p:cNvSpPr>
                <a:spLocks/>
              </p:cNvSpPr>
              <p:nvPr/>
            </p:nvSpPr>
            <p:spPr bwMode="gray">
              <a:xfrm>
                <a:off x="6203055" y="4405864"/>
                <a:ext cx="333517" cy="212458"/>
              </a:xfrm>
              <a:custGeom>
                <a:avLst/>
                <a:gdLst>
                  <a:gd name="T0" fmla="*/ 20 w 202"/>
                  <a:gd name="T1" fmla="*/ 54 h 128"/>
                  <a:gd name="T2" fmla="*/ 66 w 202"/>
                  <a:gd name="T3" fmla="*/ 42 h 128"/>
                  <a:gd name="T4" fmla="*/ 68 w 202"/>
                  <a:gd name="T5" fmla="*/ 30 h 128"/>
                  <a:gd name="T6" fmla="*/ 92 w 202"/>
                  <a:gd name="T7" fmla="*/ 26 h 128"/>
                  <a:gd name="T8" fmla="*/ 116 w 202"/>
                  <a:gd name="T9" fmla="*/ 2 h 128"/>
                  <a:gd name="T10" fmla="*/ 128 w 202"/>
                  <a:gd name="T11" fmla="*/ 0 h 128"/>
                  <a:gd name="T12" fmla="*/ 140 w 202"/>
                  <a:gd name="T13" fmla="*/ 8 h 128"/>
                  <a:gd name="T14" fmla="*/ 142 w 202"/>
                  <a:gd name="T15" fmla="*/ 22 h 128"/>
                  <a:gd name="T16" fmla="*/ 142 w 202"/>
                  <a:gd name="T17" fmla="*/ 34 h 128"/>
                  <a:gd name="T18" fmla="*/ 180 w 202"/>
                  <a:gd name="T19" fmla="*/ 60 h 128"/>
                  <a:gd name="T20" fmla="*/ 202 w 202"/>
                  <a:gd name="T21" fmla="*/ 92 h 128"/>
                  <a:gd name="T22" fmla="*/ 172 w 202"/>
                  <a:gd name="T23" fmla="*/ 90 h 128"/>
                  <a:gd name="T24" fmla="*/ 138 w 202"/>
                  <a:gd name="T25" fmla="*/ 100 h 128"/>
                  <a:gd name="T26" fmla="*/ 126 w 202"/>
                  <a:gd name="T27" fmla="*/ 108 h 128"/>
                  <a:gd name="T28" fmla="*/ 104 w 202"/>
                  <a:gd name="T29" fmla="*/ 106 h 128"/>
                  <a:gd name="T30" fmla="*/ 92 w 202"/>
                  <a:gd name="T31" fmla="*/ 102 h 128"/>
                  <a:gd name="T32" fmla="*/ 78 w 202"/>
                  <a:gd name="T33" fmla="*/ 88 h 128"/>
                  <a:gd name="T34" fmla="*/ 64 w 202"/>
                  <a:gd name="T35" fmla="*/ 104 h 128"/>
                  <a:gd name="T36" fmla="*/ 62 w 202"/>
                  <a:gd name="T37" fmla="*/ 118 h 128"/>
                  <a:gd name="T38" fmla="*/ 32 w 202"/>
                  <a:gd name="T39" fmla="*/ 116 h 128"/>
                  <a:gd name="T40" fmla="*/ 24 w 202"/>
                  <a:gd name="T41" fmla="*/ 128 h 128"/>
                  <a:gd name="T42" fmla="*/ 10 w 202"/>
                  <a:gd name="T43" fmla="*/ 112 h 128"/>
                  <a:gd name="T44" fmla="*/ 0 w 202"/>
                  <a:gd name="T45" fmla="*/ 86 h 128"/>
                  <a:gd name="T46" fmla="*/ 0 w 202"/>
                  <a:gd name="T47" fmla="*/ 70 h 128"/>
                  <a:gd name="T48" fmla="*/ 20 w 202"/>
                  <a:gd name="T49" fmla="*/ 5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2" h="128">
                    <a:moveTo>
                      <a:pt x="20" y="54"/>
                    </a:moveTo>
                    <a:lnTo>
                      <a:pt x="66" y="42"/>
                    </a:lnTo>
                    <a:lnTo>
                      <a:pt x="68" y="30"/>
                    </a:lnTo>
                    <a:lnTo>
                      <a:pt x="92" y="26"/>
                    </a:lnTo>
                    <a:lnTo>
                      <a:pt x="116" y="2"/>
                    </a:lnTo>
                    <a:lnTo>
                      <a:pt x="128" y="0"/>
                    </a:lnTo>
                    <a:lnTo>
                      <a:pt x="140" y="8"/>
                    </a:lnTo>
                    <a:lnTo>
                      <a:pt x="142" y="22"/>
                    </a:lnTo>
                    <a:lnTo>
                      <a:pt x="142" y="34"/>
                    </a:lnTo>
                    <a:lnTo>
                      <a:pt x="180" y="60"/>
                    </a:lnTo>
                    <a:lnTo>
                      <a:pt x="202" y="92"/>
                    </a:lnTo>
                    <a:lnTo>
                      <a:pt x="172" y="90"/>
                    </a:lnTo>
                    <a:lnTo>
                      <a:pt x="138" y="100"/>
                    </a:lnTo>
                    <a:lnTo>
                      <a:pt x="126" y="108"/>
                    </a:lnTo>
                    <a:lnTo>
                      <a:pt x="104" y="106"/>
                    </a:lnTo>
                    <a:lnTo>
                      <a:pt x="92" y="102"/>
                    </a:lnTo>
                    <a:lnTo>
                      <a:pt x="78" y="88"/>
                    </a:lnTo>
                    <a:lnTo>
                      <a:pt x="64" y="104"/>
                    </a:lnTo>
                    <a:lnTo>
                      <a:pt x="62" y="118"/>
                    </a:lnTo>
                    <a:lnTo>
                      <a:pt x="32" y="116"/>
                    </a:lnTo>
                    <a:lnTo>
                      <a:pt x="24" y="128"/>
                    </a:lnTo>
                    <a:lnTo>
                      <a:pt x="10" y="112"/>
                    </a:lnTo>
                    <a:lnTo>
                      <a:pt x="0" y="86"/>
                    </a:lnTo>
                    <a:lnTo>
                      <a:pt x="0" y="70"/>
                    </a:lnTo>
                    <a:lnTo>
                      <a:pt x="20" y="5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51" name="Freeform 144">
                <a:extLst>
                  <a:ext uri="{FF2B5EF4-FFF2-40B4-BE49-F238E27FC236}">
                    <a16:creationId xmlns:a16="http://schemas.microsoft.com/office/drawing/2014/main" id="{1EA1C605-7BC3-402B-9863-0A9CB0535A6C}"/>
                  </a:ext>
                </a:extLst>
              </p:cNvPr>
              <p:cNvSpPr>
                <a:spLocks/>
              </p:cNvSpPr>
              <p:nvPr/>
            </p:nvSpPr>
            <p:spPr bwMode="gray">
              <a:xfrm>
                <a:off x="6394580" y="4080539"/>
                <a:ext cx="435883" cy="511227"/>
              </a:xfrm>
              <a:custGeom>
                <a:avLst/>
                <a:gdLst>
                  <a:gd name="T0" fmla="*/ 188 w 264"/>
                  <a:gd name="T1" fmla="*/ 20 h 308"/>
                  <a:gd name="T2" fmla="*/ 208 w 264"/>
                  <a:gd name="T3" fmla="*/ 0 h 308"/>
                  <a:gd name="T4" fmla="*/ 216 w 264"/>
                  <a:gd name="T5" fmla="*/ 0 h 308"/>
                  <a:gd name="T6" fmla="*/ 238 w 264"/>
                  <a:gd name="T7" fmla="*/ 18 h 308"/>
                  <a:gd name="T8" fmla="*/ 242 w 264"/>
                  <a:gd name="T9" fmla="*/ 32 h 308"/>
                  <a:gd name="T10" fmla="*/ 240 w 264"/>
                  <a:gd name="T11" fmla="*/ 60 h 308"/>
                  <a:gd name="T12" fmla="*/ 264 w 264"/>
                  <a:gd name="T13" fmla="*/ 86 h 308"/>
                  <a:gd name="T14" fmla="*/ 236 w 264"/>
                  <a:gd name="T15" fmla="*/ 98 h 308"/>
                  <a:gd name="T16" fmla="*/ 230 w 264"/>
                  <a:gd name="T17" fmla="*/ 128 h 308"/>
                  <a:gd name="T18" fmla="*/ 230 w 264"/>
                  <a:gd name="T19" fmla="*/ 142 h 308"/>
                  <a:gd name="T20" fmla="*/ 206 w 264"/>
                  <a:gd name="T21" fmla="*/ 180 h 308"/>
                  <a:gd name="T22" fmla="*/ 206 w 264"/>
                  <a:gd name="T23" fmla="*/ 196 h 308"/>
                  <a:gd name="T24" fmla="*/ 194 w 264"/>
                  <a:gd name="T25" fmla="*/ 198 h 308"/>
                  <a:gd name="T26" fmla="*/ 194 w 264"/>
                  <a:gd name="T27" fmla="*/ 234 h 308"/>
                  <a:gd name="T28" fmla="*/ 174 w 264"/>
                  <a:gd name="T29" fmla="*/ 234 h 308"/>
                  <a:gd name="T30" fmla="*/ 178 w 264"/>
                  <a:gd name="T31" fmla="*/ 248 h 308"/>
                  <a:gd name="T32" fmla="*/ 188 w 264"/>
                  <a:gd name="T33" fmla="*/ 250 h 308"/>
                  <a:gd name="T34" fmla="*/ 212 w 264"/>
                  <a:gd name="T35" fmla="*/ 282 h 308"/>
                  <a:gd name="T36" fmla="*/ 218 w 264"/>
                  <a:gd name="T37" fmla="*/ 282 h 308"/>
                  <a:gd name="T38" fmla="*/ 218 w 264"/>
                  <a:gd name="T39" fmla="*/ 296 h 308"/>
                  <a:gd name="T40" fmla="*/ 198 w 264"/>
                  <a:gd name="T41" fmla="*/ 296 h 308"/>
                  <a:gd name="T42" fmla="*/ 190 w 264"/>
                  <a:gd name="T43" fmla="*/ 304 h 308"/>
                  <a:gd name="T44" fmla="*/ 138 w 264"/>
                  <a:gd name="T45" fmla="*/ 308 h 308"/>
                  <a:gd name="T46" fmla="*/ 122 w 264"/>
                  <a:gd name="T47" fmla="*/ 296 h 308"/>
                  <a:gd name="T48" fmla="*/ 94 w 264"/>
                  <a:gd name="T49" fmla="*/ 298 h 308"/>
                  <a:gd name="T50" fmla="*/ 86 w 264"/>
                  <a:gd name="T51" fmla="*/ 288 h 308"/>
                  <a:gd name="T52" fmla="*/ 64 w 264"/>
                  <a:gd name="T53" fmla="*/ 256 h 308"/>
                  <a:gd name="T54" fmla="*/ 26 w 264"/>
                  <a:gd name="T55" fmla="*/ 230 h 308"/>
                  <a:gd name="T56" fmla="*/ 24 w 264"/>
                  <a:gd name="T57" fmla="*/ 204 h 308"/>
                  <a:gd name="T58" fmla="*/ 12 w 264"/>
                  <a:gd name="T59" fmla="*/ 196 h 308"/>
                  <a:gd name="T60" fmla="*/ 8 w 264"/>
                  <a:gd name="T61" fmla="*/ 170 h 308"/>
                  <a:gd name="T62" fmla="*/ 0 w 264"/>
                  <a:gd name="T63" fmla="*/ 162 h 308"/>
                  <a:gd name="T64" fmla="*/ 16 w 264"/>
                  <a:gd name="T65" fmla="*/ 122 h 308"/>
                  <a:gd name="T66" fmla="*/ 30 w 264"/>
                  <a:gd name="T67" fmla="*/ 120 h 308"/>
                  <a:gd name="T68" fmla="*/ 32 w 264"/>
                  <a:gd name="T69" fmla="*/ 46 h 308"/>
                  <a:gd name="T70" fmla="*/ 50 w 264"/>
                  <a:gd name="T71" fmla="*/ 46 h 308"/>
                  <a:gd name="T72" fmla="*/ 50 w 264"/>
                  <a:gd name="T73" fmla="*/ 12 h 308"/>
                  <a:gd name="T74" fmla="*/ 178 w 264"/>
                  <a:gd name="T75" fmla="*/ 14 h 308"/>
                  <a:gd name="T76" fmla="*/ 188 w 264"/>
                  <a:gd name="T77" fmla="*/ 2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64" h="308">
                    <a:moveTo>
                      <a:pt x="188" y="20"/>
                    </a:moveTo>
                    <a:lnTo>
                      <a:pt x="208" y="0"/>
                    </a:lnTo>
                    <a:lnTo>
                      <a:pt x="216" y="0"/>
                    </a:lnTo>
                    <a:lnTo>
                      <a:pt x="238" y="18"/>
                    </a:lnTo>
                    <a:lnTo>
                      <a:pt x="242" y="32"/>
                    </a:lnTo>
                    <a:lnTo>
                      <a:pt x="240" y="60"/>
                    </a:lnTo>
                    <a:lnTo>
                      <a:pt x="264" y="86"/>
                    </a:lnTo>
                    <a:lnTo>
                      <a:pt x="236" y="98"/>
                    </a:lnTo>
                    <a:lnTo>
                      <a:pt x="230" y="128"/>
                    </a:lnTo>
                    <a:lnTo>
                      <a:pt x="230" y="142"/>
                    </a:lnTo>
                    <a:lnTo>
                      <a:pt x="206" y="180"/>
                    </a:lnTo>
                    <a:lnTo>
                      <a:pt x="206" y="196"/>
                    </a:lnTo>
                    <a:lnTo>
                      <a:pt x="194" y="198"/>
                    </a:lnTo>
                    <a:lnTo>
                      <a:pt x="194" y="234"/>
                    </a:lnTo>
                    <a:lnTo>
                      <a:pt x="174" y="234"/>
                    </a:lnTo>
                    <a:lnTo>
                      <a:pt x="178" y="248"/>
                    </a:lnTo>
                    <a:lnTo>
                      <a:pt x="188" y="250"/>
                    </a:lnTo>
                    <a:lnTo>
                      <a:pt x="212" y="282"/>
                    </a:lnTo>
                    <a:lnTo>
                      <a:pt x="218" y="282"/>
                    </a:lnTo>
                    <a:lnTo>
                      <a:pt x="218" y="296"/>
                    </a:lnTo>
                    <a:lnTo>
                      <a:pt x="198" y="296"/>
                    </a:lnTo>
                    <a:lnTo>
                      <a:pt x="190" y="304"/>
                    </a:lnTo>
                    <a:lnTo>
                      <a:pt x="138" y="308"/>
                    </a:lnTo>
                    <a:lnTo>
                      <a:pt x="122" y="296"/>
                    </a:lnTo>
                    <a:lnTo>
                      <a:pt x="94" y="298"/>
                    </a:lnTo>
                    <a:lnTo>
                      <a:pt x="86" y="288"/>
                    </a:lnTo>
                    <a:lnTo>
                      <a:pt x="64" y="256"/>
                    </a:lnTo>
                    <a:lnTo>
                      <a:pt x="26" y="230"/>
                    </a:lnTo>
                    <a:lnTo>
                      <a:pt x="24" y="204"/>
                    </a:lnTo>
                    <a:lnTo>
                      <a:pt x="12" y="196"/>
                    </a:lnTo>
                    <a:lnTo>
                      <a:pt x="8" y="170"/>
                    </a:lnTo>
                    <a:lnTo>
                      <a:pt x="0" y="162"/>
                    </a:lnTo>
                    <a:lnTo>
                      <a:pt x="16" y="122"/>
                    </a:lnTo>
                    <a:lnTo>
                      <a:pt x="30" y="120"/>
                    </a:lnTo>
                    <a:lnTo>
                      <a:pt x="32" y="46"/>
                    </a:lnTo>
                    <a:lnTo>
                      <a:pt x="50" y="46"/>
                    </a:lnTo>
                    <a:lnTo>
                      <a:pt x="50" y="12"/>
                    </a:lnTo>
                    <a:lnTo>
                      <a:pt x="178" y="14"/>
                    </a:lnTo>
                    <a:lnTo>
                      <a:pt x="188" y="2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52" name="Freeform 145">
                <a:extLst>
                  <a:ext uri="{FF2B5EF4-FFF2-40B4-BE49-F238E27FC236}">
                    <a16:creationId xmlns:a16="http://schemas.microsoft.com/office/drawing/2014/main" id="{C3997325-9344-41E1-B9AC-0307D557DE66}"/>
                  </a:ext>
                </a:extLst>
              </p:cNvPr>
              <p:cNvSpPr>
                <a:spLocks/>
              </p:cNvSpPr>
              <p:nvPr/>
            </p:nvSpPr>
            <p:spPr bwMode="gray">
              <a:xfrm>
                <a:off x="6774325" y="4223284"/>
                <a:ext cx="165108" cy="142746"/>
              </a:xfrm>
              <a:custGeom>
                <a:avLst/>
                <a:gdLst>
                  <a:gd name="T0" fmla="*/ 34 w 100"/>
                  <a:gd name="T1" fmla="*/ 0 h 86"/>
                  <a:gd name="T2" fmla="*/ 42 w 100"/>
                  <a:gd name="T3" fmla="*/ 12 h 86"/>
                  <a:gd name="T4" fmla="*/ 48 w 100"/>
                  <a:gd name="T5" fmla="*/ 26 h 86"/>
                  <a:gd name="T6" fmla="*/ 50 w 100"/>
                  <a:gd name="T7" fmla="*/ 44 h 86"/>
                  <a:gd name="T8" fmla="*/ 64 w 100"/>
                  <a:gd name="T9" fmla="*/ 44 h 86"/>
                  <a:gd name="T10" fmla="*/ 100 w 100"/>
                  <a:gd name="T11" fmla="*/ 76 h 86"/>
                  <a:gd name="T12" fmla="*/ 94 w 100"/>
                  <a:gd name="T13" fmla="*/ 86 h 86"/>
                  <a:gd name="T14" fmla="*/ 76 w 100"/>
                  <a:gd name="T15" fmla="*/ 68 h 86"/>
                  <a:gd name="T16" fmla="*/ 58 w 100"/>
                  <a:gd name="T17" fmla="*/ 52 h 86"/>
                  <a:gd name="T18" fmla="*/ 24 w 100"/>
                  <a:gd name="T19" fmla="*/ 50 h 86"/>
                  <a:gd name="T20" fmla="*/ 22 w 100"/>
                  <a:gd name="T21" fmla="*/ 56 h 86"/>
                  <a:gd name="T22" fmla="*/ 0 w 100"/>
                  <a:gd name="T23" fmla="*/ 56 h 86"/>
                  <a:gd name="T24" fmla="*/ 0 w 100"/>
                  <a:gd name="T25" fmla="*/ 42 h 86"/>
                  <a:gd name="T26" fmla="*/ 4 w 100"/>
                  <a:gd name="T27" fmla="*/ 28 h 86"/>
                  <a:gd name="T28" fmla="*/ 6 w 100"/>
                  <a:gd name="T29" fmla="*/ 12 h 86"/>
                  <a:gd name="T30" fmla="*/ 34 w 100"/>
                  <a:gd name="T31"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0" h="86">
                    <a:moveTo>
                      <a:pt x="34" y="0"/>
                    </a:moveTo>
                    <a:lnTo>
                      <a:pt x="42" y="12"/>
                    </a:lnTo>
                    <a:lnTo>
                      <a:pt x="48" y="26"/>
                    </a:lnTo>
                    <a:lnTo>
                      <a:pt x="50" y="44"/>
                    </a:lnTo>
                    <a:lnTo>
                      <a:pt x="64" y="44"/>
                    </a:lnTo>
                    <a:lnTo>
                      <a:pt x="100" y="76"/>
                    </a:lnTo>
                    <a:lnTo>
                      <a:pt x="94" y="86"/>
                    </a:lnTo>
                    <a:lnTo>
                      <a:pt x="76" y="68"/>
                    </a:lnTo>
                    <a:lnTo>
                      <a:pt x="58" y="52"/>
                    </a:lnTo>
                    <a:lnTo>
                      <a:pt x="24" y="50"/>
                    </a:lnTo>
                    <a:lnTo>
                      <a:pt x="22" y="56"/>
                    </a:lnTo>
                    <a:lnTo>
                      <a:pt x="0" y="56"/>
                    </a:lnTo>
                    <a:lnTo>
                      <a:pt x="0" y="42"/>
                    </a:lnTo>
                    <a:lnTo>
                      <a:pt x="4" y="28"/>
                    </a:lnTo>
                    <a:lnTo>
                      <a:pt x="6" y="12"/>
                    </a:lnTo>
                    <a:lnTo>
                      <a:pt x="34"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53" name="Freeform 146">
                <a:extLst>
                  <a:ext uri="{FF2B5EF4-FFF2-40B4-BE49-F238E27FC236}">
                    <a16:creationId xmlns:a16="http://schemas.microsoft.com/office/drawing/2014/main" id="{CB75B9F6-9EAA-4B63-B23F-FCFA405864E7}"/>
                  </a:ext>
                </a:extLst>
              </p:cNvPr>
              <p:cNvSpPr>
                <a:spLocks/>
              </p:cNvSpPr>
              <p:nvPr/>
            </p:nvSpPr>
            <p:spPr bwMode="gray">
              <a:xfrm>
                <a:off x="6916317" y="4349431"/>
                <a:ext cx="36323" cy="56435"/>
              </a:xfrm>
              <a:custGeom>
                <a:avLst/>
                <a:gdLst>
                  <a:gd name="T0" fmla="*/ 22 w 22"/>
                  <a:gd name="T1" fmla="*/ 16 h 34"/>
                  <a:gd name="T2" fmla="*/ 14 w 22"/>
                  <a:gd name="T3" fmla="*/ 22 h 34"/>
                  <a:gd name="T4" fmla="*/ 16 w 22"/>
                  <a:gd name="T5" fmla="*/ 34 h 34"/>
                  <a:gd name="T6" fmla="*/ 0 w 22"/>
                  <a:gd name="T7" fmla="*/ 32 h 34"/>
                  <a:gd name="T8" fmla="*/ 0 w 22"/>
                  <a:gd name="T9" fmla="*/ 20 h 34"/>
                  <a:gd name="T10" fmla="*/ 8 w 22"/>
                  <a:gd name="T11" fmla="*/ 10 h 34"/>
                  <a:gd name="T12" fmla="*/ 14 w 22"/>
                  <a:gd name="T13" fmla="*/ 0 h 34"/>
                  <a:gd name="T14" fmla="*/ 22 w 22"/>
                  <a:gd name="T15" fmla="*/ 16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34">
                    <a:moveTo>
                      <a:pt x="22" y="16"/>
                    </a:moveTo>
                    <a:lnTo>
                      <a:pt x="14" y="22"/>
                    </a:lnTo>
                    <a:lnTo>
                      <a:pt x="16" y="34"/>
                    </a:lnTo>
                    <a:lnTo>
                      <a:pt x="0" y="32"/>
                    </a:lnTo>
                    <a:lnTo>
                      <a:pt x="0" y="20"/>
                    </a:lnTo>
                    <a:lnTo>
                      <a:pt x="8" y="10"/>
                    </a:lnTo>
                    <a:lnTo>
                      <a:pt x="14" y="0"/>
                    </a:lnTo>
                    <a:lnTo>
                      <a:pt x="22" y="1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54" name="Freeform 147">
                <a:extLst>
                  <a:ext uri="{FF2B5EF4-FFF2-40B4-BE49-F238E27FC236}">
                    <a16:creationId xmlns:a16="http://schemas.microsoft.com/office/drawing/2014/main" id="{95ACDB8E-5996-4A32-9D76-353F68ED099B}"/>
                  </a:ext>
                </a:extLst>
              </p:cNvPr>
              <p:cNvSpPr>
                <a:spLocks/>
              </p:cNvSpPr>
              <p:nvPr/>
            </p:nvSpPr>
            <p:spPr bwMode="gray">
              <a:xfrm>
                <a:off x="6889901" y="4379308"/>
                <a:ext cx="274078" cy="358523"/>
              </a:xfrm>
              <a:custGeom>
                <a:avLst/>
                <a:gdLst>
                  <a:gd name="T0" fmla="*/ 60 w 166"/>
                  <a:gd name="T1" fmla="*/ 26 h 216"/>
                  <a:gd name="T2" fmla="*/ 78 w 166"/>
                  <a:gd name="T3" fmla="*/ 18 h 216"/>
                  <a:gd name="T4" fmla="*/ 146 w 166"/>
                  <a:gd name="T5" fmla="*/ 8 h 216"/>
                  <a:gd name="T6" fmla="*/ 164 w 166"/>
                  <a:gd name="T7" fmla="*/ 0 h 216"/>
                  <a:gd name="T8" fmla="*/ 166 w 166"/>
                  <a:gd name="T9" fmla="*/ 22 h 216"/>
                  <a:gd name="T10" fmla="*/ 158 w 166"/>
                  <a:gd name="T11" fmla="*/ 30 h 216"/>
                  <a:gd name="T12" fmla="*/ 132 w 166"/>
                  <a:gd name="T13" fmla="*/ 80 h 216"/>
                  <a:gd name="T14" fmla="*/ 80 w 166"/>
                  <a:gd name="T15" fmla="*/ 152 h 216"/>
                  <a:gd name="T16" fmla="*/ 12 w 166"/>
                  <a:gd name="T17" fmla="*/ 216 h 216"/>
                  <a:gd name="T18" fmla="*/ 2 w 166"/>
                  <a:gd name="T19" fmla="*/ 202 h 216"/>
                  <a:gd name="T20" fmla="*/ 0 w 166"/>
                  <a:gd name="T21" fmla="*/ 146 h 216"/>
                  <a:gd name="T22" fmla="*/ 16 w 166"/>
                  <a:gd name="T23" fmla="*/ 136 h 216"/>
                  <a:gd name="T24" fmla="*/ 16 w 166"/>
                  <a:gd name="T25" fmla="*/ 126 h 216"/>
                  <a:gd name="T26" fmla="*/ 40 w 166"/>
                  <a:gd name="T27" fmla="*/ 112 h 216"/>
                  <a:gd name="T28" fmla="*/ 66 w 166"/>
                  <a:gd name="T29" fmla="*/ 108 h 216"/>
                  <a:gd name="T30" fmla="*/ 108 w 166"/>
                  <a:gd name="T31" fmla="*/ 62 h 216"/>
                  <a:gd name="T32" fmla="*/ 52 w 166"/>
                  <a:gd name="T33" fmla="*/ 48 h 216"/>
                  <a:gd name="T34" fmla="*/ 32 w 166"/>
                  <a:gd name="T35" fmla="*/ 26 h 216"/>
                  <a:gd name="T36" fmla="*/ 32 w 166"/>
                  <a:gd name="T37" fmla="*/ 16 h 216"/>
                  <a:gd name="T38" fmla="*/ 40 w 166"/>
                  <a:gd name="T39" fmla="*/ 8 h 216"/>
                  <a:gd name="T40" fmla="*/ 60 w 166"/>
                  <a:gd name="T41" fmla="*/ 2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6" h="216">
                    <a:moveTo>
                      <a:pt x="60" y="26"/>
                    </a:moveTo>
                    <a:lnTo>
                      <a:pt x="78" y="18"/>
                    </a:lnTo>
                    <a:lnTo>
                      <a:pt x="146" y="8"/>
                    </a:lnTo>
                    <a:lnTo>
                      <a:pt x="164" y="0"/>
                    </a:lnTo>
                    <a:lnTo>
                      <a:pt x="166" y="22"/>
                    </a:lnTo>
                    <a:lnTo>
                      <a:pt x="158" y="30"/>
                    </a:lnTo>
                    <a:lnTo>
                      <a:pt x="132" y="80"/>
                    </a:lnTo>
                    <a:lnTo>
                      <a:pt x="80" y="152"/>
                    </a:lnTo>
                    <a:lnTo>
                      <a:pt x="12" y="216"/>
                    </a:lnTo>
                    <a:lnTo>
                      <a:pt x="2" y="202"/>
                    </a:lnTo>
                    <a:lnTo>
                      <a:pt x="0" y="146"/>
                    </a:lnTo>
                    <a:lnTo>
                      <a:pt x="16" y="136"/>
                    </a:lnTo>
                    <a:lnTo>
                      <a:pt x="16" y="126"/>
                    </a:lnTo>
                    <a:lnTo>
                      <a:pt x="40" y="112"/>
                    </a:lnTo>
                    <a:lnTo>
                      <a:pt x="66" y="108"/>
                    </a:lnTo>
                    <a:lnTo>
                      <a:pt x="108" y="62"/>
                    </a:lnTo>
                    <a:lnTo>
                      <a:pt x="52" y="48"/>
                    </a:lnTo>
                    <a:lnTo>
                      <a:pt x="32" y="26"/>
                    </a:lnTo>
                    <a:lnTo>
                      <a:pt x="32" y="16"/>
                    </a:lnTo>
                    <a:lnTo>
                      <a:pt x="40" y="8"/>
                    </a:lnTo>
                    <a:lnTo>
                      <a:pt x="60" y="2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55" name="Freeform 148">
                <a:extLst>
                  <a:ext uri="{FF2B5EF4-FFF2-40B4-BE49-F238E27FC236}">
                    <a16:creationId xmlns:a16="http://schemas.microsoft.com/office/drawing/2014/main" id="{90481255-D60D-4BA6-B34F-0BE5ED63B1DE}"/>
                  </a:ext>
                </a:extLst>
              </p:cNvPr>
              <p:cNvSpPr>
                <a:spLocks/>
              </p:cNvSpPr>
              <p:nvPr/>
            </p:nvSpPr>
            <p:spPr bwMode="gray">
              <a:xfrm>
                <a:off x="6681865" y="4306275"/>
                <a:ext cx="386350" cy="295449"/>
              </a:xfrm>
              <a:custGeom>
                <a:avLst/>
                <a:gdLst>
                  <a:gd name="T0" fmla="*/ 56 w 234"/>
                  <a:gd name="T1" fmla="*/ 6 h 178"/>
                  <a:gd name="T2" fmla="*/ 78 w 234"/>
                  <a:gd name="T3" fmla="*/ 6 h 178"/>
                  <a:gd name="T4" fmla="*/ 80 w 234"/>
                  <a:gd name="T5" fmla="*/ 0 h 178"/>
                  <a:gd name="T6" fmla="*/ 114 w 234"/>
                  <a:gd name="T7" fmla="*/ 2 h 178"/>
                  <a:gd name="T8" fmla="*/ 150 w 234"/>
                  <a:gd name="T9" fmla="*/ 36 h 178"/>
                  <a:gd name="T10" fmla="*/ 142 w 234"/>
                  <a:gd name="T11" fmla="*/ 46 h 178"/>
                  <a:gd name="T12" fmla="*/ 142 w 234"/>
                  <a:gd name="T13" fmla="*/ 58 h 178"/>
                  <a:gd name="T14" fmla="*/ 158 w 234"/>
                  <a:gd name="T15" fmla="*/ 60 h 178"/>
                  <a:gd name="T16" fmla="*/ 158 w 234"/>
                  <a:gd name="T17" fmla="*/ 70 h 178"/>
                  <a:gd name="T18" fmla="*/ 178 w 234"/>
                  <a:gd name="T19" fmla="*/ 92 h 178"/>
                  <a:gd name="T20" fmla="*/ 234 w 234"/>
                  <a:gd name="T21" fmla="*/ 106 h 178"/>
                  <a:gd name="T22" fmla="*/ 192 w 234"/>
                  <a:gd name="T23" fmla="*/ 152 h 178"/>
                  <a:gd name="T24" fmla="*/ 166 w 234"/>
                  <a:gd name="T25" fmla="*/ 156 h 178"/>
                  <a:gd name="T26" fmla="*/ 142 w 234"/>
                  <a:gd name="T27" fmla="*/ 170 h 178"/>
                  <a:gd name="T28" fmla="*/ 130 w 234"/>
                  <a:gd name="T29" fmla="*/ 174 h 178"/>
                  <a:gd name="T30" fmla="*/ 124 w 234"/>
                  <a:gd name="T31" fmla="*/ 166 h 178"/>
                  <a:gd name="T32" fmla="*/ 104 w 234"/>
                  <a:gd name="T33" fmla="*/ 178 h 178"/>
                  <a:gd name="T34" fmla="*/ 80 w 234"/>
                  <a:gd name="T35" fmla="*/ 176 h 178"/>
                  <a:gd name="T36" fmla="*/ 44 w 234"/>
                  <a:gd name="T37" fmla="*/ 160 h 178"/>
                  <a:gd name="T38" fmla="*/ 44 w 234"/>
                  <a:gd name="T39" fmla="*/ 146 h 178"/>
                  <a:gd name="T40" fmla="*/ 38 w 234"/>
                  <a:gd name="T41" fmla="*/ 146 h 178"/>
                  <a:gd name="T42" fmla="*/ 14 w 234"/>
                  <a:gd name="T43" fmla="*/ 114 h 178"/>
                  <a:gd name="T44" fmla="*/ 4 w 234"/>
                  <a:gd name="T45" fmla="*/ 112 h 178"/>
                  <a:gd name="T46" fmla="*/ 0 w 234"/>
                  <a:gd name="T47" fmla="*/ 98 h 178"/>
                  <a:gd name="T48" fmla="*/ 20 w 234"/>
                  <a:gd name="T49" fmla="*/ 98 h 178"/>
                  <a:gd name="T50" fmla="*/ 20 w 234"/>
                  <a:gd name="T51" fmla="*/ 62 h 178"/>
                  <a:gd name="T52" fmla="*/ 32 w 234"/>
                  <a:gd name="T53" fmla="*/ 60 h 178"/>
                  <a:gd name="T54" fmla="*/ 32 w 234"/>
                  <a:gd name="T55" fmla="*/ 44 h 178"/>
                  <a:gd name="T56" fmla="*/ 56 w 234"/>
                  <a:gd name="T57" fmla="*/ 6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34" h="178">
                    <a:moveTo>
                      <a:pt x="56" y="6"/>
                    </a:moveTo>
                    <a:lnTo>
                      <a:pt x="78" y="6"/>
                    </a:lnTo>
                    <a:lnTo>
                      <a:pt x="80" y="0"/>
                    </a:lnTo>
                    <a:lnTo>
                      <a:pt x="114" y="2"/>
                    </a:lnTo>
                    <a:lnTo>
                      <a:pt x="150" y="36"/>
                    </a:lnTo>
                    <a:lnTo>
                      <a:pt x="142" y="46"/>
                    </a:lnTo>
                    <a:lnTo>
                      <a:pt x="142" y="58"/>
                    </a:lnTo>
                    <a:lnTo>
                      <a:pt x="158" y="60"/>
                    </a:lnTo>
                    <a:lnTo>
                      <a:pt x="158" y="70"/>
                    </a:lnTo>
                    <a:lnTo>
                      <a:pt x="178" y="92"/>
                    </a:lnTo>
                    <a:lnTo>
                      <a:pt x="234" y="106"/>
                    </a:lnTo>
                    <a:lnTo>
                      <a:pt x="192" y="152"/>
                    </a:lnTo>
                    <a:lnTo>
                      <a:pt x="166" y="156"/>
                    </a:lnTo>
                    <a:lnTo>
                      <a:pt x="142" y="170"/>
                    </a:lnTo>
                    <a:lnTo>
                      <a:pt x="130" y="174"/>
                    </a:lnTo>
                    <a:lnTo>
                      <a:pt x="124" y="166"/>
                    </a:lnTo>
                    <a:lnTo>
                      <a:pt x="104" y="178"/>
                    </a:lnTo>
                    <a:lnTo>
                      <a:pt x="80" y="176"/>
                    </a:lnTo>
                    <a:lnTo>
                      <a:pt x="44" y="160"/>
                    </a:lnTo>
                    <a:lnTo>
                      <a:pt x="44" y="146"/>
                    </a:lnTo>
                    <a:lnTo>
                      <a:pt x="38" y="146"/>
                    </a:lnTo>
                    <a:lnTo>
                      <a:pt x="14" y="114"/>
                    </a:lnTo>
                    <a:lnTo>
                      <a:pt x="4" y="112"/>
                    </a:lnTo>
                    <a:lnTo>
                      <a:pt x="0" y="98"/>
                    </a:lnTo>
                    <a:lnTo>
                      <a:pt x="20" y="98"/>
                    </a:lnTo>
                    <a:lnTo>
                      <a:pt x="20" y="62"/>
                    </a:lnTo>
                    <a:lnTo>
                      <a:pt x="32" y="60"/>
                    </a:lnTo>
                    <a:lnTo>
                      <a:pt x="32" y="44"/>
                    </a:lnTo>
                    <a:lnTo>
                      <a:pt x="56" y="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56" name="Freeform 149">
                <a:extLst>
                  <a:ext uri="{FF2B5EF4-FFF2-40B4-BE49-F238E27FC236}">
                    <a16:creationId xmlns:a16="http://schemas.microsoft.com/office/drawing/2014/main" id="{5E368153-D955-4893-9C72-726163090567}"/>
                  </a:ext>
                </a:extLst>
              </p:cNvPr>
              <p:cNvSpPr>
                <a:spLocks/>
              </p:cNvSpPr>
              <p:nvPr/>
            </p:nvSpPr>
            <p:spPr bwMode="gray">
              <a:xfrm>
                <a:off x="6046203" y="4349431"/>
                <a:ext cx="196478" cy="295449"/>
              </a:xfrm>
              <a:custGeom>
                <a:avLst/>
                <a:gdLst>
                  <a:gd name="T0" fmla="*/ 91 w 119"/>
                  <a:gd name="T1" fmla="*/ 0 h 178"/>
                  <a:gd name="T2" fmla="*/ 99 w 119"/>
                  <a:gd name="T3" fmla="*/ 12 h 178"/>
                  <a:gd name="T4" fmla="*/ 101 w 119"/>
                  <a:gd name="T5" fmla="*/ 36 h 178"/>
                  <a:gd name="T6" fmla="*/ 107 w 119"/>
                  <a:gd name="T7" fmla="*/ 46 h 178"/>
                  <a:gd name="T8" fmla="*/ 87 w 119"/>
                  <a:gd name="T9" fmla="*/ 46 h 178"/>
                  <a:gd name="T10" fmla="*/ 85 w 119"/>
                  <a:gd name="T11" fmla="*/ 56 h 178"/>
                  <a:gd name="T12" fmla="*/ 115 w 119"/>
                  <a:gd name="T13" fmla="*/ 88 h 178"/>
                  <a:gd name="T14" fmla="*/ 95 w 119"/>
                  <a:gd name="T15" fmla="*/ 104 h 178"/>
                  <a:gd name="T16" fmla="*/ 95 w 119"/>
                  <a:gd name="T17" fmla="*/ 120 h 178"/>
                  <a:gd name="T18" fmla="*/ 105 w 119"/>
                  <a:gd name="T19" fmla="*/ 146 h 178"/>
                  <a:gd name="T20" fmla="*/ 119 w 119"/>
                  <a:gd name="T21" fmla="*/ 162 h 178"/>
                  <a:gd name="T22" fmla="*/ 117 w 119"/>
                  <a:gd name="T23" fmla="*/ 176 h 178"/>
                  <a:gd name="T24" fmla="*/ 99 w 119"/>
                  <a:gd name="T25" fmla="*/ 178 h 178"/>
                  <a:gd name="T26" fmla="*/ 99 w 119"/>
                  <a:gd name="T27" fmla="*/ 170 h 178"/>
                  <a:gd name="T28" fmla="*/ 18 w 119"/>
                  <a:gd name="T29" fmla="*/ 170 h 178"/>
                  <a:gd name="T30" fmla="*/ 18 w 119"/>
                  <a:gd name="T31" fmla="*/ 146 h 178"/>
                  <a:gd name="T32" fmla="*/ 10 w 119"/>
                  <a:gd name="T33" fmla="*/ 138 h 178"/>
                  <a:gd name="T34" fmla="*/ 0 w 119"/>
                  <a:gd name="T35" fmla="*/ 132 h 178"/>
                  <a:gd name="T36" fmla="*/ 2 w 119"/>
                  <a:gd name="T37" fmla="*/ 114 h 178"/>
                  <a:gd name="T38" fmla="*/ 22 w 119"/>
                  <a:gd name="T39" fmla="*/ 96 h 178"/>
                  <a:gd name="T40" fmla="*/ 32 w 119"/>
                  <a:gd name="T41" fmla="*/ 96 h 178"/>
                  <a:gd name="T42" fmla="*/ 43 w 119"/>
                  <a:gd name="T43" fmla="*/ 104 h 178"/>
                  <a:gd name="T44" fmla="*/ 83 w 119"/>
                  <a:gd name="T45" fmla="*/ 28 h 178"/>
                  <a:gd name="T46" fmla="*/ 93 w 119"/>
                  <a:gd name="T47" fmla="*/ 26 h 178"/>
                  <a:gd name="T48" fmla="*/ 91 w 119"/>
                  <a:gd name="T49" fmla="*/ 12 h 178"/>
                  <a:gd name="T50" fmla="*/ 91 w 119"/>
                  <a:gd name="T51"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9" h="178">
                    <a:moveTo>
                      <a:pt x="91" y="0"/>
                    </a:moveTo>
                    <a:lnTo>
                      <a:pt x="99" y="12"/>
                    </a:lnTo>
                    <a:lnTo>
                      <a:pt x="101" y="36"/>
                    </a:lnTo>
                    <a:lnTo>
                      <a:pt x="107" y="46"/>
                    </a:lnTo>
                    <a:lnTo>
                      <a:pt x="87" y="46"/>
                    </a:lnTo>
                    <a:lnTo>
                      <a:pt x="85" y="56"/>
                    </a:lnTo>
                    <a:lnTo>
                      <a:pt x="115" y="88"/>
                    </a:lnTo>
                    <a:lnTo>
                      <a:pt x="95" y="104"/>
                    </a:lnTo>
                    <a:lnTo>
                      <a:pt x="95" y="120"/>
                    </a:lnTo>
                    <a:lnTo>
                      <a:pt x="105" y="146"/>
                    </a:lnTo>
                    <a:lnTo>
                      <a:pt x="119" y="162"/>
                    </a:lnTo>
                    <a:lnTo>
                      <a:pt x="117" y="176"/>
                    </a:lnTo>
                    <a:lnTo>
                      <a:pt x="99" y="178"/>
                    </a:lnTo>
                    <a:lnTo>
                      <a:pt x="99" y="170"/>
                    </a:lnTo>
                    <a:lnTo>
                      <a:pt x="18" y="170"/>
                    </a:lnTo>
                    <a:lnTo>
                      <a:pt x="18" y="146"/>
                    </a:lnTo>
                    <a:lnTo>
                      <a:pt x="10" y="138"/>
                    </a:lnTo>
                    <a:lnTo>
                      <a:pt x="0" y="132"/>
                    </a:lnTo>
                    <a:lnTo>
                      <a:pt x="2" y="114"/>
                    </a:lnTo>
                    <a:lnTo>
                      <a:pt x="22" y="96"/>
                    </a:lnTo>
                    <a:lnTo>
                      <a:pt x="32" y="96"/>
                    </a:lnTo>
                    <a:lnTo>
                      <a:pt x="43" y="104"/>
                    </a:lnTo>
                    <a:lnTo>
                      <a:pt x="83" y="28"/>
                    </a:lnTo>
                    <a:lnTo>
                      <a:pt x="93" y="26"/>
                    </a:lnTo>
                    <a:lnTo>
                      <a:pt x="91" y="12"/>
                    </a:lnTo>
                    <a:lnTo>
                      <a:pt x="91"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57" name="Freeform 150">
                <a:extLst>
                  <a:ext uri="{FF2B5EF4-FFF2-40B4-BE49-F238E27FC236}">
                    <a16:creationId xmlns:a16="http://schemas.microsoft.com/office/drawing/2014/main" id="{3C8F2B86-7299-436D-BC3D-70F0A3870DA9}"/>
                  </a:ext>
                </a:extLst>
              </p:cNvPr>
              <p:cNvSpPr>
                <a:spLocks/>
              </p:cNvSpPr>
              <p:nvPr/>
            </p:nvSpPr>
            <p:spPr bwMode="gray">
              <a:xfrm>
                <a:off x="5891003" y="4326193"/>
                <a:ext cx="308750" cy="248974"/>
              </a:xfrm>
              <a:custGeom>
                <a:avLst/>
                <a:gdLst>
                  <a:gd name="T0" fmla="*/ 94 w 187"/>
                  <a:gd name="T1" fmla="*/ 146 h 150"/>
                  <a:gd name="T2" fmla="*/ 64 w 187"/>
                  <a:gd name="T3" fmla="*/ 150 h 150"/>
                  <a:gd name="T4" fmla="*/ 44 w 187"/>
                  <a:gd name="T5" fmla="*/ 148 h 150"/>
                  <a:gd name="T6" fmla="*/ 46 w 187"/>
                  <a:gd name="T7" fmla="*/ 132 h 150"/>
                  <a:gd name="T8" fmla="*/ 22 w 187"/>
                  <a:gd name="T9" fmla="*/ 118 h 150"/>
                  <a:gd name="T10" fmla="*/ 2 w 187"/>
                  <a:gd name="T11" fmla="*/ 116 h 150"/>
                  <a:gd name="T12" fmla="*/ 0 w 187"/>
                  <a:gd name="T13" fmla="*/ 78 h 150"/>
                  <a:gd name="T14" fmla="*/ 22 w 187"/>
                  <a:gd name="T15" fmla="*/ 52 h 150"/>
                  <a:gd name="T16" fmla="*/ 10 w 187"/>
                  <a:gd name="T17" fmla="*/ 42 h 150"/>
                  <a:gd name="T18" fmla="*/ 12 w 187"/>
                  <a:gd name="T19" fmla="*/ 34 h 150"/>
                  <a:gd name="T20" fmla="*/ 24 w 187"/>
                  <a:gd name="T21" fmla="*/ 2 h 150"/>
                  <a:gd name="T22" fmla="*/ 54 w 187"/>
                  <a:gd name="T23" fmla="*/ 2 h 150"/>
                  <a:gd name="T24" fmla="*/ 70 w 187"/>
                  <a:gd name="T25" fmla="*/ 14 h 150"/>
                  <a:gd name="T26" fmla="*/ 80 w 187"/>
                  <a:gd name="T27" fmla="*/ 8 h 150"/>
                  <a:gd name="T28" fmla="*/ 108 w 187"/>
                  <a:gd name="T29" fmla="*/ 18 h 150"/>
                  <a:gd name="T30" fmla="*/ 114 w 187"/>
                  <a:gd name="T31" fmla="*/ 10 h 150"/>
                  <a:gd name="T32" fmla="*/ 149 w 187"/>
                  <a:gd name="T33" fmla="*/ 14 h 150"/>
                  <a:gd name="T34" fmla="*/ 171 w 187"/>
                  <a:gd name="T35" fmla="*/ 0 h 150"/>
                  <a:gd name="T36" fmla="*/ 185 w 187"/>
                  <a:gd name="T37" fmla="*/ 14 h 150"/>
                  <a:gd name="T38" fmla="*/ 187 w 187"/>
                  <a:gd name="T39" fmla="*/ 40 h 150"/>
                  <a:gd name="T40" fmla="*/ 177 w 187"/>
                  <a:gd name="T41" fmla="*/ 42 h 150"/>
                  <a:gd name="T42" fmla="*/ 137 w 187"/>
                  <a:gd name="T43" fmla="*/ 118 h 150"/>
                  <a:gd name="T44" fmla="*/ 126 w 187"/>
                  <a:gd name="T45" fmla="*/ 110 h 150"/>
                  <a:gd name="T46" fmla="*/ 116 w 187"/>
                  <a:gd name="T47" fmla="*/ 110 h 150"/>
                  <a:gd name="T48" fmla="*/ 96 w 187"/>
                  <a:gd name="T49" fmla="*/ 128 h 150"/>
                  <a:gd name="T50" fmla="*/ 94 w 187"/>
                  <a:gd name="T51" fmla="*/ 146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87" h="150">
                    <a:moveTo>
                      <a:pt x="94" y="146"/>
                    </a:moveTo>
                    <a:lnTo>
                      <a:pt x="64" y="150"/>
                    </a:lnTo>
                    <a:lnTo>
                      <a:pt x="44" y="148"/>
                    </a:lnTo>
                    <a:lnTo>
                      <a:pt x="46" y="132"/>
                    </a:lnTo>
                    <a:lnTo>
                      <a:pt x="22" y="118"/>
                    </a:lnTo>
                    <a:lnTo>
                      <a:pt x="2" y="116"/>
                    </a:lnTo>
                    <a:lnTo>
                      <a:pt x="0" y="78"/>
                    </a:lnTo>
                    <a:lnTo>
                      <a:pt x="22" y="52"/>
                    </a:lnTo>
                    <a:lnTo>
                      <a:pt x="10" y="42"/>
                    </a:lnTo>
                    <a:lnTo>
                      <a:pt x="12" y="34"/>
                    </a:lnTo>
                    <a:lnTo>
                      <a:pt x="24" y="2"/>
                    </a:lnTo>
                    <a:lnTo>
                      <a:pt x="54" y="2"/>
                    </a:lnTo>
                    <a:lnTo>
                      <a:pt x="70" y="14"/>
                    </a:lnTo>
                    <a:lnTo>
                      <a:pt x="80" y="8"/>
                    </a:lnTo>
                    <a:lnTo>
                      <a:pt x="108" y="18"/>
                    </a:lnTo>
                    <a:lnTo>
                      <a:pt x="114" y="10"/>
                    </a:lnTo>
                    <a:lnTo>
                      <a:pt x="149" y="14"/>
                    </a:lnTo>
                    <a:lnTo>
                      <a:pt x="171" y="0"/>
                    </a:lnTo>
                    <a:lnTo>
                      <a:pt x="185" y="14"/>
                    </a:lnTo>
                    <a:lnTo>
                      <a:pt x="187" y="40"/>
                    </a:lnTo>
                    <a:lnTo>
                      <a:pt x="177" y="42"/>
                    </a:lnTo>
                    <a:lnTo>
                      <a:pt x="137" y="118"/>
                    </a:lnTo>
                    <a:lnTo>
                      <a:pt x="126" y="110"/>
                    </a:lnTo>
                    <a:lnTo>
                      <a:pt x="116" y="110"/>
                    </a:lnTo>
                    <a:lnTo>
                      <a:pt x="96" y="128"/>
                    </a:lnTo>
                    <a:lnTo>
                      <a:pt x="94" y="14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58" name="Freeform 151">
                <a:extLst>
                  <a:ext uri="{FF2B5EF4-FFF2-40B4-BE49-F238E27FC236}">
                    <a16:creationId xmlns:a16="http://schemas.microsoft.com/office/drawing/2014/main" id="{D1E831C4-3922-4B24-9138-E07AAAB7800B}"/>
                  </a:ext>
                </a:extLst>
              </p:cNvPr>
              <p:cNvSpPr>
                <a:spLocks/>
              </p:cNvSpPr>
              <p:nvPr/>
            </p:nvSpPr>
            <p:spPr bwMode="gray">
              <a:xfrm>
                <a:off x="5838168" y="4366029"/>
                <a:ext cx="89158" cy="159344"/>
              </a:xfrm>
              <a:custGeom>
                <a:avLst/>
                <a:gdLst>
                  <a:gd name="T0" fmla="*/ 20 w 54"/>
                  <a:gd name="T1" fmla="*/ 2 h 96"/>
                  <a:gd name="T2" fmla="*/ 34 w 54"/>
                  <a:gd name="T3" fmla="*/ 0 h 96"/>
                  <a:gd name="T4" fmla="*/ 44 w 54"/>
                  <a:gd name="T5" fmla="*/ 10 h 96"/>
                  <a:gd name="T6" fmla="*/ 42 w 54"/>
                  <a:gd name="T7" fmla="*/ 18 h 96"/>
                  <a:gd name="T8" fmla="*/ 54 w 54"/>
                  <a:gd name="T9" fmla="*/ 28 h 96"/>
                  <a:gd name="T10" fmla="*/ 32 w 54"/>
                  <a:gd name="T11" fmla="*/ 54 h 96"/>
                  <a:gd name="T12" fmla="*/ 34 w 54"/>
                  <a:gd name="T13" fmla="*/ 92 h 96"/>
                  <a:gd name="T14" fmla="*/ 12 w 54"/>
                  <a:gd name="T15" fmla="*/ 96 h 96"/>
                  <a:gd name="T16" fmla="*/ 12 w 54"/>
                  <a:gd name="T17" fmla="*/ 48 h 96"/>
                  <a:gd name="T18" fmla="*/ 0 w 54"/>
                  <a:gd name="T19" fmla="*/ 32 h 96"/>
                  <a:gd name="T20" fmla="*/ 4 w 54"/>
                  <a:gd name="T21" fmla="*/ 20 h 96"/>
                  <a:gd name="T22" fmla="*/ 20 w 54"/>
                  <a:gd name="T23" fmla="*/ 16 h 96"/>
                  <a:gd name="T24" fmla="*/ 20 w 54"/>
                  <a:gd name="T25" fmla="*/ 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96">
                    <a:moveTo>
                      <a:pt x="20" y="2"/>
                    </a:moveTo>
                    <a:lnTo>
                      <a:pt x="34" y="0"/>
                    </a:lnTo>
                    <a:lnTo>
                      <a:pt x="44" y="10"/>
                    </a:lnTo>
                    <a:lnTo>
                      <a:pt x="42" y="18"/>
                    </a:lnTo>
                    <a:lnTo>
                      <a:pt x="54" y="28"/>
                    </a:lnTo>
                    <a:lnTo>
                      <a:pt x="32" y="54"/>
                    </a:lnTo>
                    <a:lnTo>
                      <a:pt x="34" y="92"/>
                    </a:lnTo>
                    <a:lnTo>
                      <a:pt x="12" y="96"/>
                    </a:lnTo>
                    <a:lnTo>
                      <a:pt x="12" y="48"/>
                    </a:lnTo>
                    <a:lnTo>
                      <a:pt x="0" y="32"/>
                    </a:lnTo>
                    <a:lnTo>
                      <a:pt x="4" y="20"/>
                    </a:lnTo>
                    <a:lnTo>
                      <a:pt x="20" y="16"/>
                    </a:lnTo>
                    <a:lnTo>
                      <a:pt x="20" y="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59" name="Freeform 152">
                <a:extLst>
                  <a:ext uri="{FF2B5EF4-FFF2-40B4-BE49-F238E27FC236}">
                    <a16:creationId xmlns:a16="http://schemas.microsoft.com/office/drawing/2014/main" id="{28D3DDDF-32C7-414D-850A-5A8E0A78C993}"/>
                  </a:ext>
                </a:extLst>
              </p:cNvPr>
              <p:cNvSpPr>
                <a:spLocks/>
              </p:cNvSpPr>
              <p:nvPr/>
            </p:nvSpPr>
            <p:spPr bwMode="gray">
              <a:xfrm>
                <a:off x="5808450" y="4399226"/>
                <a:ext cx="49532" cy="132786"/>
              </a:xfrm>
              <a:custGeom>
                <a:avLst/>
                <a:gdLst>
                  <a:gd name="T0" fmla="*/ 30 w 30"/>
                  <a:gd name="T1" fmla="*/ 76 h 80"/>
                  <a:gd name="T2" fmla="*/ 16 w 30"/>
                  <a:gd name="T3" fmla="*/ 80 h 80"/>
                  <a:gd name="T4" fmla="*/ 12 w 30"/>
                  <a:gd name="T5" fmla="*/ 48 h 80"/>
                  <a:gd name="T6" fmla="*/ 8 w 30"/>
                  <a:gd name="T7" fmla="*/ 34 h 80"/>
                  <a:gd name="T8" fmla="*/ 12 w 30"/>
                  <a:gd name="T9" fmla="*/ 18 h 80"/>
                  <a:gd name="T10" fmla="*/ 0 w 30"/>
                  <a:gd name="T11" fmla="*/ 0 h 80"/>
                  <a:gd name="T12" fmla="*/ 22 w 30"/>
                  <a:gd name="T13" fmla="*/ 0 h 80"/>
                  <a:gd name="T14" fmla="*/ 18 w 30"/>
                  <a:gd name="T15" fmla="*/ 12 h 80"/>
                  <a:gd name="T16" fmla="*/ 30 w 30"/>
                  <a:gd name="T17" fmla="*/ 28 h 80"/>
                  <a:gd name="T18" fmla="*/ 30 w 30"/>
                  <a:gd name="T19" fmla="*/ 76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80">
                    <a:moveTo>
                      <a:pt x="30" y="76"/>
                    </a:moveTo>
                    <a:lnTo>
                      <a:pt x="16" y="80"/>
                    </a:lnTo>
                    <a:lnTo>
                      <a:pt x="12" y="48"/>
                    </a:lnTo>
                    <a:lnTo>
                      <a:pt x="8" y="34"/>
                    </a:lnTo>
                    <a:lnTo>
                      <a:pt x="12" y="18"/>
                    </a:lnTo>
                    <a:lnTo>
                      <a:pt x="0" y="0"/>
                    </a:lnTo>
                    <a:lnTo>
                      <a:pt x="22" y="0"/>
                    </a:lnTo>
                    <a:lnTo>
                      <a:pt x="18" y="12"/>
                    </a:lnTo>
                    <a:lnTo>
                      <a:pt x="30" y="28"/>
                    </a:lnTo>
                    <a:lnTo>
                      <a:pt x="30" y="7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60" name="Freeform 153">
                <a:extLst>
                  <a:ext uri="{FF2B5EF4-FFF2-40B4-BE49-F238E27FC236}">
                    <a16:creationId xmlns:a16="http://schemas.microsoft.com/office/drawing/2014/main" id="{A2C7CE92-0297-4EE3-96D8-1DC0CA1873E3}"/>
                  </a:ext>
                </a:extLst>
              </p:cNvPr>
              <p:cNvSpPr>
                <a:spLocks/>
              </p:cNvSpPr>
              <p:nvPr/>
            </p:nvSpPr>
            <p:spPr bwMode="gray">
              <a:xfrm>
                <a:off x="5501349" y="4027424"/>
                <a:ext cx="425976" cy="391720"/>
              </a:xfrm>
              <a:custGeom>
                <a:avLst/>
                <a:gdLst>
                  <a:gd name="T0" fmla="*/ 120 w 258"/>
                  <a:gd name="T1" fmla="*/ 0 h 236"/>
                  <a:gd name="T2" fmla="*/ 210 w 258"/>
                  <a:gd name="T3" fmla="*/ 60 h 236"/>
                  <a:gd name="T4" fmla="*/ 224 w 258"/>
                  <a:gd name="T5" fmla="*/ 74 h 236"/>
                  <a:gd name="T6" fmla="*/ 244 w 258"/>
                  <a:gd name="T7" fmla="*/ 82 h 236"/>
                  <a:gd name="T8" fmla="*/ 242 w 258"/>
                  <a:gd name="T9" fmla="*/ 98 h 236"/>
                  <a:gd name="T10" fmla="*/ 258 w 258"/>
                  <a:gd name="T11" fmla="*/ 96 h 236"/>
                  <a:gd name="T12" fmla="*/ 258 w 258"/>
                  <a:gd name="T13" fmla="*/ 138 h 236"/>
                  <a:gd name="T14" fmla="*/ 246 w 258"/>
                  <a:gd name="T15" fmla="*/ 156 h 236"/>
                  <a:gd name="T16" fmla="*/ 212 w 258"/>
                  <a:gd name="T17" fmla="*/ 162 h 236"/>
                  <a:gd name="T18" fmla="*/ 198 w 258"/>
                  <a:gd name="T19" fmla="*/ 162 h 236"/>
                  <a:gd name="T20" fmla="*/ 178 w 258"/>
                  <a:gd name="T21" fmla="*/ 162 h 236"/>
                  <a:gd name="T22" fmla="*/ 154 w 258"/>
                  <a:gd name="T23" fmla="*/ 172 h 236"/>
                  <a:gd name="T24" fmla="*/ 136 w 258"/>
                  <a:gd name="T25" fmla="*/ 190 h 236"/>
                  <a:gd name="T26" fmla="*/ 128 w 258"/>
                  <a:gd name="T27" fmla="*/ 186 h 236"/>
                  <a:gd name="T28" fmla="*/ 118 w 258"/>
                  <a:gd name="T29" fmla="*/ 210 h 236"/>
                  <a:gd name="T30" fmla="*/ 108 w 258"/>
                  <a:gd name="T31" fmla="*/ 212 h 236"/>
                  <a:gd name="T32" fmla="*/ 104 w 258"/>
                  <a:gd name="T33" fmla="*/ 234 h 236"/>
                  <a:gd name="T34" fmla="*/ 64 w 258"/>
                  <a:gd name="T35" fmla="*/ 236 h 236"/>
                  <a:gd name="T36" fmla="*/ 56 w 258"/>
                  <a:gd name="T37" fmla="*/ 218 h 236"/>
                  <a:gd name="T38" fmla="*/ 50 w 258"/>
                  <a:gd name="T39" fmla="*/ 204 h 236"/>
                  <a:gd name="T40" fmla="*/ 24 w 258"/>
                  <a:gd name="T41" fmla="*/ 210 h 236"/>
                  <a:gd name="T42" fmla="*/ 12 w 258"/>
                  <a:gd name="T43" fmla="*/ 206 h 236"/>
                  <a:gd name="T44" fmla="*/ 12 w 258"/>
                  <a:gd name="T45" fmla="*/ 204 h 236"/>
                  <a:gd name="T46" fmla="*/ 12 w 258"/>
                  <a:gd name="T47" fmla="*/ 200 h 236"/>
                  <a:gd name="T48" fmla="*/ 10 w 258"/>
                  <a:gd name="T49" fmla="*/ 192 h 236"/>
                  <a:gd name="T50" fmla="*/ 4 w 258"/>
                  <a:gd name="T51" fmla="*/ 184 h 236"/>
                  <a:gd name="T52" fmla="*/ 2 w 258"/>
                  <a:gd name="T53" fmla="*/ 172 h 236"/>
                  <a:gd name="T54" fmla="*/ 0 w 258"/>
                  <a:gd name="T55" fmla="*/ 166 h 236"/>
                  <a:gd name="T56" fmla="*/ 6 w 258"/>
                  <a:gd name="T57" fmla="*/ 152 h 236"/>
                  <a:gd name="T58" fmla="*/ 106 w 258"/>
                  <a:gd name="T59" fmla="*/ 154 h 236"/>
                  <a:gd name="T60" fmla="*/ 108 w 258"/>
                  <a:gd name="T61" fmla="*/ 144 h 236"/>
                  <a:gd name="T62" fmla="*/ 102 w 258"/>
                  <a:gd name="T63" fmla="*/ 136 h 236"/>
                  <a:gd name="T64" fmla="*/ 90 w 258"/>
                  <a:gd name="T65" fmla="*/ 0 h 236"/>
                  <a:gd name="T66" fmla="*/ 120 w 258"/>
                  <a:gd name="T67" fmla="*/ 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8" h="236">
                    <a:moveTo>
                      <a:pt x="120" y="0"/>
                    </a:moveTo>
                    <a:lnTo>
                      <a:pt x="210" y="60"/>
                    </a:lnTo>
                    <a:lnTo>
                      <a:pt x="224" y="74"/>
                    </a:lnTo>
                    <a:lnTo>
                      <a:pt x="244" y="82"/>
                    </a:lnTo>
                    <a:lnTo>
                      <a:pt x="242" y="98"/>
                    </a:lnTo>
                    <a:lnTo>
                      <a:pt x="258" y="96"/>
                    </a:lnTo>
                    <a:lnTo>
                      <a:pt x="258" y="138"/>
                    </a:lnTo>
                    <a:lnTo>
                      <a:pt x="246" y="156"/>
                    </a:lnTo>
                    <a:lnTo>
                      <a:pt x="212" y="162"/>
                    </a:lnTo>
                    <a:lnTo>
                      <a:pt x="198" y="162"/>
                    </a:lnTo>
                    <a:lnTo>
                      <a:pt x="178" y="162"/>
                    </a:lnTo>
                    <a:lnTo>
                      <a:pt x="154" y="172"/>
                    </a:lnTo>
                    <a:lnTo>
                      <a:pt x="136" y="190"/>
                    </a:lnTo>
                    <a:lnTo>
                      <a:pt x="128" y="186"/>
                    </a:lnTo>
                    <a:lnTo>
                      <a:pt x="118" y="210"/>
                    </a:lnTo>
                    <a:lnTo>
                      <a:pt x="108" y="212"/>
                    </a:lnTo>
                    <a:lnTo>
                      <a:pt x="104" y="234"/>
                    </a:lnTo>
                    <a:lnTo>
                      <a:pt x="64" y="236"/>
                    </a:lnTo>
                    <a:lnTo>
                      <a:pt x="56" y="218"/>
                    </a:lnTo>
                    <a:lnTo>
                      <a:pt x="50" y="204"/>
                    </a:lnTo>
                    <a:lnTo>
                      <a:pt x="24" y="210"/>
                    </a:lnTo>
                    <a:lnTo>
                      <a:pt x="12" y="206"/>
                    </a:lnTo>
                    <a:lnTo>
                      <a:pt x="12" y="204"/>
                    </a:lnTo>
                    <a:lnTo>
                      <a:pt x="12" y="200"/>
                    </a:lnTo>
                    <a:lnTo>
                      <a:pt x="10" y="192"/>
                    </a:lnTo>
                    <a:lnTo>
                      <a:pt x="4" y="184"/>
                    </a:lnTo>
                    <a:lnTo>
                      <a:pt x="2" y="172"/>
                    </a:lnTo>
                    <a:lnTo>
                      <a:pt x="0" y="166"/>
                    </a:lnTo>
                    <a:lnTo>
                      <a:pt x="6" y="152"/>
                    </a:lnTo>
                    <a:lnTo>
                      <a:pt x="106" y="154"/>
                    </a:lnTo>
                    <a:lnTo>
                      <a:pt x="108" y="144"/>
                    </a:lnTo>
                    <a:lnTo>
                      <a:pt x="102" y="136"/>
                    </a:lnTo>
                    <a:lnTo>
                      <a:pt x="90" y="0"/>
                    </a:lnTo>
                    <a:lnTo>
                      <a:pt x="12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61" name="Freeform 154">
                <a:extLst>
                  <a:ext uri="{FF2B5EF4-FFF2-40B4-BE49-F238E27FC236}">
                    <a16:creationId xmlns:a16="http://schemas.microsoft.com/office/drawing/2014/main" id="{8988295B-46A9-42AC-B564-FCE9BF553CF4}"/>
                  </a:ext>
                </a:extLst>
              </p:cNvPr>
              <p:cNvSpPr>
                <a:spLocks/>
              </p:cNvSpPr>
              <p:nvPr/>
            </p:nvSpPr>
            <p:spPr bwMode="gray">
              <a:xfrm>
                <a:off x="5673062" y="4296316"/>
                <a:ext cx="198128" cy="142746"/>
              </a:xfrm>
              <a:custGeom>
                <a:avLst/>
                <a:gdLst>
                  <a:gd name="T0" fmla="*/ 44 w 120"/>
                  <a:gd name="T1" fmla="*/ 62 h 86"/>
                  <a:gd name="T2" fmla="*/ 44 w 120"/>
                  <a:gd name="T3" fmla="*/ 84 h 86"/>
                  <a:gd name="T4" fmla="*/ 30 w 120"/>
                  <a:gd name="T5" fmla="*/ 78 h 86"/>
                  <a:gd name="T6" fmla="*/ 20 w 120"/>
                  <a:gd name="T7" fmla="*/ 86 h 86"/>
                  <a:gd name="T8" fmla="*/ 0 w 120"/>
                  <a:gd name="T9" fmla="*/ 72 h 86"/>
                  <a:gd name="T10" fmla="*/ 4 w 120"/>
                  <a:gd name="T11" fmla="*/ 50 h 86"/>
                  <a:gd name="T12" fmla="*/ 14 w 120"/>
                  <a:gd name="T13" fmla="*/ 48 h 86"/>
                  <a:gd name="T14" fmla="*/ 24 w 120"/>
                  <a:gd name="T15" fmla="*/ 24 h 86"/>
                  <a:gd name="T16" fmla="*/ 32 w 120"/>
                  <a:gd name="T17" fmla="*/ 28 h 86"/>
                  <a:gd name="T18" fmla="*/ 50 w 120"/>
                  <a:gd name="T19" fmla="*/ 10 h 86"/>
                  <a:gd name="T20" fmla="*/ 74 w 120"/>
                  <a:gd name="T21" fmla="*/ 0 h 86"/>
                  <a:gd name="T22" fmla="*/ 94 w 120"/>
                  <a:gd name="T23" fmla="*/ 0 h 86"/>
                  <a:gd name="T24" fmla="*/ 90 w 120"/>
                  <a:gd name="T25" fmla="*/ 8 h 86"/>
                  <a:gd name="T26" fmla="*/ 92 w 120"/>
                  <a:gd name="T27" fmla="*/ 14 h 86"/>
                  <a:gd name="T28" fmla="*/ 104 w 120"/>
                  <a:gd name="T29" fmla="*/ 28 h 86"/>
                  <a:gd name="T30" fmla="*/ 102 w 120"/>
                  <a:gd name="T31" fmla="*/ 34 h 86"/>
                  <a:gd name="T32" fmla="*/ 120 w 120"/>
                  <a:gd name="T33" fmla="*/ 44 h 86"/>
                  <a:gd name="T34" fmla="*/ 120 w 120"/>
                  <a:gd name="T35" fmla="*/ 58 h 86"/>
                  <a:gd name="T36" fmla="*/ 104 w 120"/>
                  <a:gd name="T37" fmla="*/ 62 h 86"/>
                  <a:gd name="T38" fmla="*/ 82 w 120"/>
                  <a:gd name="T39" fmla="*/ 62 h 86"/>
                  <a:gd name="T40" fmla="*/ 44 w 120"/>
                  <a:gd name="T41" fmla="*/ 6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0" h="86">
                    <a:moveTo>
                      <a:pt x="44" y="62"/>
                    </a:moveTo>
                    <a:lnTo>
                      <a:pt x="44" y="84"/>
                    </a:lnTo>
                    <a:lnTo>
                      <a:pt x="30" y="78"/>
                    </a:lnTo>
                    <a:lnTo>
                      <a:pt x="20" y="86"/>
                    </a:lnTo>
                    <a:lnTo>
                      <a:pt x="0" y="72"/>
                    </a:lnTo>
                    <a:lnTo>
                      <a:pt x="4" y="50"/>
                    </a:lnTo>
                    <a:lnTo>
                      <a:pt x="14" y="48"/>
                    </a:lnTo>
                    <a:lnTo>
                      <a:pt x="24" y="24"/>
                    </a:lnTo>
                    <a:lnTo>
                      <a:pt x="32" y="28"/>
                    </a:lnTo>
                    <a:lnTo>
                      <a:pt x="50" y="10"/>
                    </a:lnTo>
                    <a:lnTo>
                      <a:pt x="74" y="0"/>
                    </a:lnTo>
                    <a:lnTo>
                      <a:pt x="94" y="0"/>
                    </a:lnTo>
                    <a:lnTo>
                      <a:pt x="90" y="8"/>
                    </a:lnTo>
                    <a:lnTo>
                      <a:pt x="92" y="14"/>
                    </a:lnTo>
                    <a:lnTo>
                      <a:pt x="104" y="28"/>
                    </a:lnTo>
                    <a:lnTo>
                      <a:pt x="102" y="34"/>
                    </a:lnTo>
                    <a:lnTo>
                      <a:pt x="120" y="44"/>
                    </a:lnTo>
                    <a:lnTo>
                      <a:pt x="120" y="58"/>
                    </a:lnTo>
                    <a:lnTo>
                      <a:pt x="104" y="62"/>
                    </a:lnTo>
                    <a:lnTo>
                      <a:pt x="82" y="62"/>
                    </a:lnTo>
                    <a:lnTo>
                      <a:pt x="44" y="6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62" name="Freeform 155">
                <a:extLst>
                  <a:ext uri="{FF2B5EF4-FFF2-40B4-BE49-F238E27FC236}">
                    <a16:creationId xmlns:a16="http://schemas.microsoft.com/office/drawing/2014/main" id="{330C1619-F7DF-4984-AEEF-8FC30C87FA66}"/>
                  </a:ext>
                </a:extLst>
              </p:cNvPr>
              <p:cNvSpPr>
                <a:spLocks/>
              </p:cNvSpPr>
              <p:nvPr/>
            </p:nvSpPr>
            <p:spPr bwMode="gray">
              <a:xfrm>
                <a:off x="5735802" y="4399226"/>
                <a:ext cx="99064" cy="165983"/>
              </a:xfrm>
              <a:custGeom>
                <a:avLst/>
                <a:gdLst>
                  <a:gd name="T0" fmla="*/ 60 w 60"/>
                  <a:gd name="T1" fmla="*/ 80 h 100"/>
                  <a:gd name="T2" fmla="*/ 48 w 60"/>
                  <a:gd name="T3" fmla="*/ 86 h 100"/>
                  <a:gd name="T4" fmla="*/ 36 w 60"/>
                  <a:gd name="T5" fmla="*/ 96 h 100"/>
                  <a:gd name="T6" fmla="*/ 20 w 60"/>
                  <a:gd name="T7" fmla="*/ 100 h 100"/>
                  <a:gd name="T8" fmla="*/ 8 w 60"/>
                  <a:gd name="T9" fmla="*/ 94 h 100"/>
                  <a:gd name="T10" fmla="*/ 0 w 60"/>
                  <a:gd name="T11" fmla="*/ 72 h 100"/>
                  <a:gd name="T12" fmla="*/ 10 w 60"/>
                  <a:gd name="T13" fmla="*/ 50 h 100"/>
                  <a:gd name="T14" fmla="*/ 6 w 60"/>
                  <a:gd name="T15" fmla="*/ 22 h 100"/>
                  <a:gd name="T16" fmla="*/ 6 w 60"/>
                  <a:gd name="T17" fmla="*/ 0 h 100"/>
                  <a:gd name="T18" fmla="*/ 44 w 60"/>
                  <a:gd name="T19" fmla="*/ 0 h 100"/>
                  <a:gd name="T20" fmla="*/ 56 w 60"/>
                  <a:gd name="T21" fmla="*/ 18 h 100"/>
                  <a:gd name="T22" fmla="*/ 52 w 60"/>
                  <a:gd name="T23" fmla="*/ 30 h 100"/>
                  <a:gd name="T24" fmla="*/ 54 w 60"/>
                  <a:gd name="T25" fmla="*/ 40 h 100"/>
                  <a:gd name="T26" fmla="*/ 56 w 60"/>
                  <a:gd name="T27" fmla="*/ 48 h 100"/>
                  <a:gd name="T28" fmla="*/ 60 w 60"/>
                  <a:gd name="T29" fmla="*/ 8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0" h="100">
                    <a:moveTo>
                      <a:pt x="60" y="80"/>
                    </a:moveTo>
                    <a:lnTo>
                      <a:pt x="48" y="86"/>
                    </a:lnTo>
                    <a:lnTo>
                      <a:pt x="36" y="96"/>
                    </a:lnTo>
                    <a:lnTo>
                      <a:pt x="20" y="100"/>
                    </a:lnTo>
                    <a:lnTo>
                      <a:pt x="8" y="94"/>
                    </a:lnTo>
                    <a:lnTo>
                      <a:pt x="0" y="72"/>
                    </a:lnTo>
                    <a:lnTo>
                      <a:pt x="10" y="50"/>
                    </a:lnTo>
                    <a:lnTo>
                      <a:pt x="6" y="22"/>
                    </a:lnTo>
                    <a:lnTo>
                      <a:pt x="6" y="0"/>
                    </a:lnTo>
                    <a:lnTo>
                      <a:pt x="44" y="0"/>
                    </a:lnTo>
                    <a:lnTo>
                      <a:pt x="56" y="18"/>
                    </a:lnTo>
                    <a:lnTo>
                      <a:pt x="52" y="30"/>
                    </a:lnTo>
                    <a:lnTo>
                      <a:pt x="54" y="40"/>
                    </a:lnTo>
                    <a:lnTo>
                      <a:pt x="56" y="48"/>
                    </a:lnTo>
                    <a:lnTo>
                      <a:pt x="60" y="8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63" name="Freeform 156">
                <a:extLst>
                  <a:ext uri="{FF2B5EF4-FFF2-40B4-BE49-F238E27FC236}">
                    <a16:creationId xmlns:a16="http://schemas.microsoft.com/office/drawing/2014/main" id="{06F72D32-569D-4F87-89FE-CFF2083FB22B}"/>
                  </a:ext>
                </a:extLst>
              </p:cNvPr>
              <p:cNvSpPr>
                <a:spLocks/>
              </p:cNvSpPr>
              <p:nvPr/>
            </p:nvSpPr>
            <p:spPr bwMode="gray">
              <a:xfrm>
                <a:off x="5597112" y="4415823"/>
                <a:ext cx="155201" cy="162664"/>
              </a:xfrm>
              <a:custGeom>
                <a:avLst/>
                <a:gdLst>
                  <a:gd name="T0" fmla="*/ 92 w 94"/>
                  <a:gd name="T1" fmla="*/ 84 h 98"/>
                  <a:gd name="T2" fmla="*/ 50 w 94"/>
                  <a:gd name="T3" fmla="*/ 84 h 98"/>
                  <a:gd name="T4" fmla="*/ 24 w 94"/>
                  <a:gd name="T5" fmla="*/ 94 h 98"/>
                  <a:gd name="T6" fmla="*/ 12 w 94"/>
                  <a:gd name="T7" fmla="*/ 98 h 98"/>
                  <a:gd name="T8" fmla="*/ 16 w 94"/>
                  <a:gd name="T9" fmla="*/ 78 h 98"/>
                  <a:gd name="T10" fmla="*/ 14 w 94"/>
                  <a:gd name="T11" fmla="*/ 72 h 98"/>
                  <a:gd name="T12" fmla="*/ 8 w 94"/>
                  <a:gd name="T13" fmla="*/ 68 h 98"/>
                  <a:gd name="T14" fmla="*/ 0 w 94"/>
                  <a:gd name="T15" fmla="*/ 66 h 98"/>
                  <a:gd name="T16" fmla="*/ 0 w 94"/>
                  <a:gd name="T17" fmla="*/ 56 h 98"/>
                  <a:gd name="T18" fmla="*/ 0 w 94"/>
                  <a:gd name="T19" fmla="*/ 48 h 98"/>
                  <a:gd name="T20" fmla="*/ 6 w 94"/>
                  <a:gd name="T21" fmla="*/ 44 h 98"/>
                  <a:gd name="T22" fmla="*/ 4 w 94"/>
                  <a:gd name="T23" fmla="*/ 34 h 98"/>
                  <a:gd name="T24" fmla="*/ 10 w 94"/>
                  <a:gd name="T25" fmla="*/ 32 h 98"/>
                  <a:gd name="T26" fmla="*/ 8 w 94"/>
                  <a:gd name="T27" fmla="*/ 18 h 98"/>
                  <a:gd name="T28" fmla="*/ 4 w 94"/>
                  <a:gd name="T29" fmla="*/ 10 h 98"/>
                  <a:gd name="T30" fmla="*/ 6 w 94"/>
                  <a:gd name="T31" fmla="*/ 2 h 98"/>
                  <a:gd name="T32" fmla="*/ 46 w 94"/>
                  <a:gd name="T33" fmla="*/ 0 h 98"/>
                  <a:gd name="T34" fmla="*/ 66 w 94"/>
                  <a:gd name="T35" fmla="*/ 14 h 98"/>
                  <a:gd name="T36" fmla="*/ 76 w 94"/>
                  <a:gd name="T37" fmla="*/ 6 h 98"/>
                  <a:gd name="T38" fmla="*/ 90 w 94"/>
                  <a:gd name="T39" fmla="*/ 12 h 98"/>
                  <a:gd name="T40" fmla="*/ 94 w 94"/>
                  <a:gd name="T41" fmla="*/ 40 h 98"/>
                  <a:gd name="T42" fmla="*/ 84 w 94"/>
                  <a:gd name="T43" fmla="*/ 62 h 98"/>
                  <a:gd name="T44" fmla="*/ 92 w 94"/>
                  <a:gd name="T45" fmla="*/ 84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4" h="98">
                    <a:moveTo>
                      <a:pt x="92" y="84"/>
                    </a:moveTo>
                    <a:lnTo>
                      <a:pt x="50" y="84"/>
                    </a:lnTo>
                    <a:lnTo>
                      <a:pt x="24" y="94"/>
                    </a:lnTo>
                    <a:lnTo>
                      <a:pt x="12" y="98"/>
                    </a:lnTo>
                    <a:lnTo>
                      <a:pt x="16" y="78"/>
                    </a:lnTo>
                    <a:lnTo>
                      <a:pt x="14" y="72"/>
                    </a:lnTo>
                    <a:lnTo>
                      <a:pt x="8" y="68"/>
                    </a:lnTo>
                    <a:lnTo>
                      <a:pt x="0" y="66"/>
                    </a:lnTo>
                    <a:lnTo>
                      <a:pt x="0" y="56"/>
                    </a:lnTo>
                    <a:lnTo>
                      <a:pt x="0" y="48"/>
                    </a:lnTo>
                    <a:lnTo>
                      <a:pt x="6" y="44"/>
                    </a:lnTo>
                    <a:lnTo>
                      <a:pt x="4" y="34"/>
                    </a:lnTo>
                    <a:lnTo>
                      <a:pt x="10" y="32"/>
                    </a:lnTo>
                    <a:lnTo>
                      <a:pt x="8" y="18"/>
                    </a:lnTo>
                    <a:lnTo>
                      <a:pt x="4" y="10"/>
                    </a:lnTo>
                    <a:lnTo>
                      <a:pt x="6" y="2"/>
                    </a:lnTo>
                    <a:lnTo>
                      <a:pt x="46" y="0"/>
                    </a:lnTo>
                    <a:lnTo>
                      <a:pt x="66" y="14"/>
                    </a:lnTo>
                    <a:lnTo>
                      <a:pt x="76" y="6"/>
                    </a:lnTo>
                    <a:lnTo>
                      <a:pt x="90" y="12"/>
                    </a:lnTo>
                    <a:lnTo>
                      <a:pt x="94" y="40"/>
                    </a:lnTo>
                    <a:lnTo>
                      <a:pt x="84" y="62"/>
                    </a:lnTo>
                    <a:lnTo>
                      <a:pt x="92" y="8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64" name="Freeform 157">
                <a:extLst>
                  <a:ext uri="{FF2B5EF4-FFF2-40B4-BE49-F238E27FC236}">
                    <a16:creationId xmlns:a16="http://schemas.microsoft.com/office/drawing/2014/main" id="{765E549D-7EFE-46A8-967D-E2413B47A008}"/>
                  </a:ext>
                </a:extLst>
              </p:cNvPr>
              <p:cNvSpPr>
                <a:spLocks/>
              </p:cNvSpPr>
              <p:nvPr/>
            </p:nvSpPr>
            <p:spPr bwMode="gray">
              <a:xfrm>
                <a:off x="6069320" y="4631601"/>
                <a:ext cx="47881" cy="39836"/>
              </a:xfrm>
              <a:custGeom>
                <a:avLst/>
                <a:gdLst>
                  <a:gd name="T0" fmla="*/ 4 w 29"/>
                  <a:gd name="T1" fmla="*/ 0 h 24"/>
                  <a:gd name="T2" fmla="*/ 29 w 29"/>
                  <a:gd name="T3" fmla="*/ 0 h 24"/>
                  <a:gd name="T4" fmla="*/ 26 w 29"/>
                  <a:gd name="T5" fmla="*/ 22 h 24"/>
                  <a:gd name="T6" fmla="*/ 2 w 29"/>
                  <a:gd name="T7" fmla="*/ 24 h 24"/>
                  <a:gd name="T8" fmla="*/ 0 w 29"/>
                  <a:gd name="T9" fmla="*/ 10 h 24"/>
                  <a:gd name="T10" fmla="*/ 4 w 29"/>
                  <a:gd name="T11" fmla="*/ 0 h 24"/>
                </a:gdLst>
                <a:ahLst/>
                <a:cxnLst>
                  <a:cxn ang="0">
                    <a:pos x="T0" y="T1"/>
                  </a:cxn>
                  <a:cxn ang="0">
                    <a:pos x="T2" y="T3"/>
                  </a:cxn>
                  <a:cxn ang="0">
                    <a:pos x="T4" y="T5"/>
                  </a:cxn>
                  <a:cxn ang="0">
                    <a:pos x="T6" y="T7"/>
                  </a:cxn>
                  <a:cxn ang="0">
                    <a:pos x="T8" y="T9"/>
                  </a:cxn>
                  <a:cxn ang="0">
                    <a:pos x="T10" y="T11"/>
                  </a:cxn>
                </a:cxnLst>
                <a:rect l="0" t="0" r="r" b="b"/>
                <a:pathLst>
                  <a:path w="29" h="24">
                    <a:moveTo>
                      <a:pt x="4" y="0"/>
                    </a:moveTo>
                    <a:lnTo>
                      <a:pt x="29" y="0"/>
                    </a:lnTo>
                    <a:lnTo>
                      <a:pt x="26" y="22"/>
                    </a:lnTo>
                    <a:lnTo>
                      <a:pt x="2" y="24"/>
                    </a:lnTo>
                    <a:lnTo>
                      <a:pt x="0" y="10"/>
                    </a:lnTo>
                    <a:lnTo>
                      <a:pt x="4"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65" name="Freeform 158">
                <a:extLst>
                  <a:ext uri="{FF2B5EF4-FFF2-40B4-BE49-F238E27FC236}">
                    <a16:creationId xmlns:a16="http://schemas.microsoft.com/office/drawing/2014/main" id="{51FC3635-E051-4748-B9DE-C45CC594AEA4}"/>
                  </a:ext>
                </a:extLst>
              </p:cNvPr>
              <p:cNvSpPr>
                <a:spLocks/>
              </p:cNvSpPr>
              <p:nvPr/>
            </p:nvSpPr>
            <p:spPr bwMode="gray">
              <a:xfrm>
                <a:off x="6952642" y="5010043"/>
                <a:ext cx="188222" cy="371802"/>
              </a:xfrm>
              <a:custGeom>
                <a:avLst/>
                <a:gdLst>
                  <a:gd name="T0" fmla="*/ 22 w 114"/>
                  <a:gd name="T1" fmla="*/ 70 h 224"/>
                  <a:gd name="T2" fmla="*/ 46 w 114"/>
                  <a:gd name="T3" fmla="*/ 60 h 224"/>
                  <a:gd name="T4" fmla="*/ 70 w 114"/>
                  <a:gd name="T5" fmla="*/ 44 h 224"/>
                  <a:gd name="T6" fmla="*/ 78 w 114"/>
                  <a:gd name="T7" fmla="*/ 30 h 224"/>
                  <a:gd name="T8" fmla="*/ 86 w 114"/>
                  <a:gd name="T9" fmla="*/ 26 h 224"/>
                  <a:gd name="T10" fmla="*/ 94 w 114"/>
                  <a:gd name="T11" fmla="*/ 10 h 224"/>
                  <a:gd name="T12" fmla="*/ 96 w 114"/>
                  <a:gd name="T13" fmla="*/ 0 h 224"/>
                  <a:gd name="T14" fmla="*/ 108 w 114"/>
                  <a:gd name="T15" fmla="*/ 20 h 224"/>
                  <a:gd name="T16" fmla="*/ 112 w 114"/>
                  <a:gd name="T17" fmla="*/ 40 h 224"/>
                  <a:gd name="T18" fmla="*/ 114 w 114"/>
                  <a:gd name="T19" fmla="*/ 52 h 224"/>
                  <a:gd name="T20" fmla="*/ 114 w 114"/>
                  <a:gd name="T21" fmla="*/ 64 h 224"/>
                  <a:gd name="T22" fmla="*/ 102 w 114"/>
                  <a:gd name="T23" fmla="*/ 66 h 224"/>
                  <a:gd name="T24" fmla="*/ 102 w 114"/>
                  <a:gd name="T25" fmla="*/ 82 h 224"/>
                  <a:gd name="T26" fmla="*/ 82 w 114"/>
                  <a:gd name="T27" fmla="*/ 150 h 224"/>
                  <a:gd name="T28" fmla="*/ 74 w 114"/>
                  <a:gd name="T29" fmla="*/ 182 h 224"/>
                  <a:gd name="T30" fmla="*/ 62 w 114"/>
                  <a:gd name="T31" fmla="*/ 214 h 224"/>
                  <a:gd name="T32" fmla="*/ 40 w 114"/>
                  <a:gd name="T33" fmla="*/ 224 h 224"/>
                  <a:gd name="T34" fmla="*/ 18 w 114"/>
                  <a:gd name="T35" fmla="*/ 222 h 224"/>
                  <a:gd name="T36" fmla="*/ 8 w 114"/>
                  <a:gd name="T37" fmla="*/ 202 h 224"/>
                  <a:gd name="T38" fmla="*/ 6 w 114"/>
                  <a:gd name="T39" fmla="*/ 182 h 224"/>
                  <a:gd name="T40" fmla="*/ 0 w 114"/>
                  <a:gd name="T41" fmla="*/ 164 h 224"/>
                  <a:gd name="T42" fmla="*/ 16 w 114"/>
                  <a:gd name="T43" fmla="*/ 142 h 224"/>
                  <a:gd name="T44" fmla="*/ 20 w 114"/>
                  <a:gd name="T45" fmla="*/ 122 h 224"/>
                  <a:gd name="T46" fmla="*/ 16 w 114"/>
                  <a:gd name="T47" fmla="*/ 106 h 224"/>
                  <a:gd name="T48" fmla="*/ 10 w 114"/>
                  <a:gd name="T49" fmla="*/ 90 h 224"/>
                  <a:gd name="T50" fmla="*/ 18 w 114"/>
                  <a:gd name="T51" fmla="*/ 80 h 224"/>
                  <a:gd name="T52" fmla="*/ 22 w 114"/>
                  <a:gd name="T53" fmla="*/ 7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4" h="224">
                    <a:moveTo>
                      <a:pt x="22" y="70"/>
                    </a:moveTo>
                    <a:lnTo>
                      <a:pt x="46" y="60"/>
                    </a:lnTo>
                    <a:lnTo>
                      <a:pt x="70" y="44"/>
                    </a:lnTo>
                    <a:lnTo>
                      <a:pt x="78" y="30"/>
                    </a:lnTo>
                    <a:lnTo>
                      <a:pt x="86" y="26"/>
                    </a:lnTo>
                    <a:lnTo>
                      <a:pt x="94" y="10"/>
                    </a:lnTo>
                    <a:lnTo>
                      <a:pt x="96" y="0"/>
                    </a:lnTo>
                    <a:lnTo>
                      <a:pt x="108" y="20"/>
                    </a:lnTo>
                    <a:lnTo>
                      <a:pt x="112" y="40"/>
                    </a:lnTo>
                    <a:lnTo>
                      <a:pt x="114" y="52"/>
                    </a:lnTo>
                    <a:lnTo>
                      <a:pt x="114" y="64"/>
                    </a:lnTo>
                    <a:lnTo>
                      <a:pt x="102" y="66"/>
                    </a:lnTo>
                    <a:lnTo>
                      <a:pt x="102" y="82"/>
                    </a:lnTo>
                    <a:lnTo>
                      <a:pt x="82" y="150"/>
                    </a:lnTo>
                    <a:lnTo>
                      <a:pt x="74" y="182"/>
                    </a:lnTo>
                    <a:lnTo>
                      <a:pt x="62" y="214"/>
                    </a:lnTo>
                    <a:lnTo>
                      <a:pt x="40" y="224"/>
                    </a:lnTo>
                    <a:lnTo>
                      <a:pt x="18" y="222"/>
                    </a:lnTo>
                    <a:lnTo>
                      <a:pt x="8" y="202"/>
                    </a:lnTo>
                    <a:lnTo>
                      <a:pt x="6" y="182"/>
                    </a:lnTo>
                    <a:lnTo>
                      <a:pt x="0" y="164"/>
                    </a:lnTo>
                    <a:lnTo>
                      <a:pt x="16" y="142"/>
                    </a:lnTo>
                    <a:lnTo>
                      <a:pt x="20" y="122"/>
                    </a:lnTo>
                    <a:lnTo>
                      <a:pt x="16" y="106"/>
                    </a:lnTo>
                    <a:lnTo>
                      <a:pt x="10" y="90"/>
                    </a:lnTo>
                    <a:lnTo>
                      <a:pt x="18" y="80"/>
                    </a:lnTo>
                    <a:lnTo>
                      <a:pt x="22" y="7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66" name="Freeform 159">
                <a:extLst>
                  <a:ext uri="{FF2B5EF4-FFF2-40B4-BE49-F238E27FC236}">
                    <a16:creationId xmlns:a16="http://schemas.microsoft.com/office/drawing/2014/main" id="{3ABF0F2C-249D-4D11-82F8-9F33E8367543}"/>
                  </a:ext>
                </a:extLst>
              </p:cNvPr>
              <p:cNvSpPr>
                <a:spLocks/>
              </p:cNvSpPr>
              <p:nvPr/>
            </p:nvSpPr>
            <p:spPr bwMode="gray">
              <a:xfrm>
                <a:off x="6255890" y="5285574"/>
                <a:ext cx="429279" cy="361843"/>
              </a:xfrm>
              <a:custGeom>
                <a:avLst/>
                <a:gdLst>
                  <a:gd name="T0" fmla="*/ 0 w 260"/>
                  <a:gd name="T1" fmla="*/ 108 h 218"/>
                  <a:gd name="T2" fmla="*/ 2 w 260"/>
                  <a:gd name="T3" fmla="*/ 104 h 218"/>
                  <a:gd name="T4" fmla="*/ 6 w 260"/>
                  <a:gd name="T5" fmla="*/ 102 h 218"/>
                  <a:gd name="T6" fmla="*/ 8 w 260"/>
                  <a:gd name="T7" fmla="*/ 102 h 218"/>
                  <a:gd name="T8" fmla="*/ 14 w 260"/>
                  <a:gd name="T9" fmla="*/ 110 h 218"/>
                  <a:gd name="T10" fmla="*/ 22 w 260"/>
                  <a:gd name="T11" fmla="*/ 114 h 218"/>
                  <a:gd name="T12" fmla="*/ 38 w 260"/>
                  <a:gd name="T13" fmla="*/ 114 h 218"/>
                  <a:gd name="T14" fmla="*/ 54 w 260"/>
                  <a:gd name="T15" fmla="*/ 104 h 218"/>
                  <a:gd name="T16" fmla="*/ 54 w 260"/>
                  <a:gd name="T17" fmla="*/ 46 h 218"/>
                  <a:gd name="T18" fmla="*/ 66 w 260"/>
                  <a:gd name="T19" fmla="*/ 58 h 218"/>
                  <a:gd name="T20" fmla="*/ 66 w 260"/>
                  <a:gd name="T21" fmla="*/ 78 h 218"/>
                  <a:gd name="T22" fmla="*/ 82 w 260"/>
                  <a:gd name="T23" fmla="*/ 78 h 218"/>
                  <a:gd name="T24" fmla="*/ 96 w 260"/>
                  <a:gd name="T25" fmla="*/ 66 h 218"/>
                  <a:gd name="T26" fmla="*/ 100 w 260"/>
                  <a:gd name="T27" fmla="*/ 54 h 218"/>
                  <a:gd name="T28" fmla="*/ 110 w 260"/>
                  <a:gd name="T29" fmla="*/ 54 h 218"/>
                  <a:gd name="T30" fmla="*/ 120 w 260"/>
                  <a:gd name="T31" fmla="*/ 62 h 218"/>
                  <a:gd name="T32" fmla="*/ 140 w 260"/>
                  <a:gd name="T33" fmla="*/ 60 h 218"/>
                  <a:gd name="T34" fmla="*/ 148 w 260"/>
                  <a:gd name="T35" fmla="*/ 46 h 218"/>
                  <a:gd name="T36" fmla="*/ 186 w 260"/>
                  <a:gd name="T37" fmla="*/ 6 h 218"/>
                  <a:gd name="T38" fmla="*/ 196 w 260"/>
                  <a:gd name="T39" fmla="*/ 6 h 218"/>
                  <a:gd name="T40" fmla="*/ 198 w 260"/>
                  <a:gd name="T41" fmla="*/ 0 h 218"/>
                  <a:gd name="T42" fmla="*/ 228 w 260"/>
                  <a:gd name="T43" fmla="*/ 2 h 218"/>
                  <a:gd name="T44" fmla="*/ 236 w 260"/>
                  <a:gd name="T45" fmla="*/ 8 h 218"/>
                  <a:gd name="T46" fmla="*/ 241 w 260"/>
                  <a:gd name="T47" fmla="*/ 31 h 218"/>
                  <a:gd name="T48" fmla="*/ 241 w 260"/>
                  <a:gd name="T49" fmla="*/ 55 h 218"/>
                  <a:gd name="T50" fmla="*/ 217 w 260"/>
                  <a:gd name="T51" fmla="*/ 69 h 218"/>
                  <a:gd name="T52" fmla="*/ 227 w 260"/>
                  <a:gd name="T53" fmla="*/ 93 h 218"/>
                  <a:gd name="T54" fmla="*/ 260 w 260"/>
                  <a:gd name="T55" fmla="*/ 80 h 218"/>
                  <a:gd name="T56" fmla="*/ 254 w 260"/>
                  <a:gd name="T57" fmla="*/ 90 h 218"/>
                  <a:gd name="T58" fmla="*/ 254 w 260"/>
                  <a:gd name="T59" fmla="*/ 104 h 218"/>
                  <a:gd name="T60" fmla="*/ 246 w 260"/>
                  <a:gd name="T61" fmla="*/ 110 h 218"/>
                  <a:gd name="T62" fmla="*/ 230 w 260"/>
                  <a:gd name="T63" fmla="*/ 130 h 218"/>
                  <a:gd name="T64" fmla="*/ 224 w 260"/>
                  <a:gd name="T65" fmla="*/ 142 h 218"/>
                  <a:gd name="T66" fmla="*/ 210 w 260"/>
                  <a:gd name="T67" fmla="*/ 160 h 218"/>
                  <a:gd name="T68" fmla="*/ 188 w 260"/>
                  <a:gd name="T69" fmla="*/ 176 h 218"/>
                  <a:gd name="T70" fmla="*/ 164 w 260"/>
                  <a:gd name="T71" fmla="*/ 198 h 218"/>
                  <a:gd name="T72" fmla="*/ 142 w 260"/>
                  <a:gd name="T73" fmla="*/ 202 h 218"/>
                  <a:gd name="T74" fmla="*/ 128 w 260"/>
                  <a:gd name="T75" fmla="*/ 208 h 218"/>
                  <a:gd name="T76" fmla="*/ 110 w 260"/>
                  <a:gd name="T77" fmla="*/ 206 h 218"/>
                  <a:gd name="T78" fmla="*/ 88 w 260"/>
                  <a:gd name="T79" fmla="*/ 206 h 218"/>
                  <a:gd name="T80" fmla="*/ 70 w 260"/>
                  <a:gd name="T81" fmla="*/ 212 h 218"/>
                  <a:gd name="T82" fmla="*/ 50 w 260"/>
                  <a:gd name="T83" fmla="*/ 218 h 218"/>
                  <a:gd name="T84" fmla="*/ 34 w 260"/>
                  <a:gd name="T85" fmla="*/ 210 h 218"/>
                  <a:gd name="T86" fmla="*/ 28 w 260"/>
                  <a:gd name="T87" fmla="*/ 198 h 218"/>
                  <a:gd name="T88" fmla="*/ 20 w 260"/>
                  <a:gd name="T89" fmla="*/ 184 h 218"/>
                  <a:gd name="T90" fmla="*/ 30 w 260"/>
                  <a:gd name="T91" fmla="*/ 172 h 218"/>
                  <a:gd name="T92" fmla="*/ 22 w 260"/>
                  <a:gd name="T93" fmla="*/ 158 h 218"/>
                  <a:gd name="T94" fmla="*/ 12 w 260"/>
                  <a:gd name="T95" fmla="*/ 144 h 218"/>
                  <a:gd name="T96" fmla="*/ 6 w 260"/>
                  <a:gd name="T97" fmla="*/ 122 h 218"/>
                  <a:gd name="T98" fmla="*/ 0 w 260"/>
                  <a:gd name="T99" fmla="*/ 10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60" h="218">
                    <a:moveTo>
                      <a:pt x="0" y="108"/>
                    </a:moveTo>
                    <a:lnTo>
                      <a:pt x="2" y="104"/>
                    </a:lnTo>
                    <a:lnTo>
                      <a:pt x="6" y="102"/>
                    </a:lnTo>
                    <a:lnTo>
                      <a:pt x="8" y="102"/>
                    </a:lnTo>
                    <a:lnTo>
                      <a:pt x="14" y="110"/>
                    </a:lnTo>
                    <a:lnTo>
                      <a:pt x="22" y="114"/>
                    </a:lnTo>
                    <a:lnTo>
                      <a:pt x="38" y="114"/>
                    </a:lnTo>
                    <a:lnTo>
                      <a:pt x="54" y="104"/>
                    </a:lnTo>
                    <a:lnTo>
                      <a:pt x="54" y="46"/>
                    </a:lnTo>
                    <a:lnTo>
                      <a:pt x="66" y="58"/>
                    </a:lnTo>
                    <a:lnTo>
                      <a:pt x="66" y="78"/>
                    </a:lnTo>
                    <a:lnTo>
                      <a:pt x="82" y="78"/>
                    </a:lnTo>
                    <a:lnTo>
                      <a:pt x="96" y="66"/>
                    </a:lnTo>
                    <a:lnTo>
                      <a:pt x="100" y="54"/>
                    </a:lnTo>
                    <a:lnTo>
                      <a:pt x="110" y="54"/>
                    </a:lnTo>
                    <a:lnTo>
                      <a:pt x="120" y="62"/>
                    </a:lnTo>
                    <a:lnTo>
                      <a:pt x="140" y="60"/>
                    </a:lnTo>
                    <a:lnTo>
                      <a:pt x="148" y="46"/>
                    </a:lnTo>
                    <a:lnTo>
                      <a:pt x="186" y="6"/>
                    </a:lnTo>
                    <a:lnTo>
                      <a:pt x="196" y="6"/>
                    </a:lnTo>
                    <a:lnTo>
                      <a:pt x="198" y="0"/>
                    </a:lnTo>
                    <a:lnTo>
                      <a:pt x="228" y="2"/>
                    </a:lnTo>
                    <a:lnTo>
                      <a:pt x="236" y="8"/>
                    </a:lnTo>
                    <a:lnTo>
                      <a:pt x="241" y="31"/>
                    </a:lnTo>
                    <a:lnTo>
                      <a:pt x="241" y="55"/>
                    </a:lnTo>
                    <a:lnTo>
                      <a:pt x="217" y="69"/>
                    </a:lnTo>
                    <a:lnTo>
                      <a:pt x="227" y="93"/>
                    </a:lnTo>
                    <a:lnTo>
                      <a:pt x="260" y="80"/>
                    </a:lnTo>
                    <a:lnTo>
                      <a:pt x="254" y="90"/>
                    </a:lnTo>
                    <a:lnTo>
                      <a:pt x="254" y="104"/>
                    </a:lnTo>
                    <a:lnTo>
                      <a:pt x="246" y="110"/>
                    </a:lnTo>
                    <a:lnTo>
                      <a:pt x="230" y="130"/>
                    </a:lnTo>
                    <a:lnTo>
                      <a:pt x="224" y="142"/>
                    </a:lnTo>
                    <a:lnTo>
                      <a:pt x="210" y="160"/>
                    </a:lnTo>
                    <a:lnTo>
                      <a:pt x="188" y="176"/>
                    </a:lnTo>
                    <a:lnTo>
                      <a:pt x="164" y="198"/>
                    </a:lnTo>
                    <a:lnTo>
                      <a:pt x="142" y="202"/>
                    </a:lnTo>
                    <a:lnTo>
                      <a:pt x="128" y="208"/>
                    </a:lnTo>
                    <a:lnTo>
                      <a:pt x="110" y="206"/>
                    </a:lnTo>
                    <a:lnTo>
                      <a:pt x="88" y="206"/>
                    </a:lnTo>
                    <a:lnTo>
                      <a:pt x="70" y="212"/>
                    </a:lnTo>
                    <a:lnTo>
                      <a:pt x="50" y="218"/>
                    </a:lnTo>
                    <a:lnTo>
                      <a:pt x="34" y="210"/>
                    </a:lnTo>
                    <a:lnTo>
                      <a:pt x="28" y="198"/>
                    </a:lnTo>
                    <a:lnTo>
                      <a:pt x="20" y="184"/>
                    </a:lnTo>
                    <a:lnTo>
                      <a:pt x="30" y="172"/>
                    </a:lnTo>
                    <a:lnTo>
                      <a:pt x="22" y="158"/>
                    </a:lnTo>
                    <a:lnTo>
                      <a:pt x="12" y="144"/>
                    </a:lnTo>
                    <a:lnTo>
                      <a:pt x="6" y="122"/>
                    </a:lnTo>
                    <a:lnTo>
                      <a:pt x="0" y="10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67" name="Freeform 160">
                <a:extLst>
                  <a:ext uri="{FF2B5EF4-FFF2-40B4-BE49-F238E27FC236}">
                    <a16:creationId xmlns:a16="http://schemas.microsoft.com/office/drawing/2014/main" id="{93A587C1-116A-4277-BE5C-D647CC3C6DA7}"/>
                  </a:ext>
                </a:extLst>
              </p:cNvPr>
              <p:cNvSpPr>
                <a:spLocks/>
              </p:cNvSpPr>
              <p:nvPr/>
            </p:nvSpPr>
            <p:spPr bwMode="gray">
              <a:xfrm>
                <a:off x="6483737" y="5112952"/>
                <a:ext cx="198128" cy="175942"/>
              </a:xfrm>
              <a:custGeom>
                <a:avLst/>
                <a:gdLst>
                  <a:gd name="T0" fmla="*/ 60 w 120"/>
                  <a:gd name="T1" fmla="*/ 104 h 106"/>
                  <a:gd name="T2" fmla="*/ 58 w 120"/>
                  <a:gd name="T3" fmla="*/ 98 h 106"/>
                  <a:gd name="T4" fmla="*/ 44 w 120"/>
                  <a:gd name="T5" fmla="*/ 96 h 106"/>
                  <a:gd name="T6" fmla="*/ 36 w 120"/>
                  <a:gd name="T7" fmla="*/ 76 h 106"/>
                  <a:gd name="T8" fmla="*/ 12 w 120"/>
                  <a:gd name="T9" fmla="*/ 64 h 106"/>
                  <a:gd name="T10" fmla="*/ 8 w 120"/>
                  <a:gd name="T11" fmla="*/ 48 h 106"/>
                  <a:gd name="T12" fmla="*/ 0 w 120"/>
                  <a:gd name="T13" fmla="*/ 36 h 106"/>
                  <a:gd name="T14" fmla="*/ 28 w 120"/>
                  <a:gd name="T15" fmla="*/ 34 h 106"/>
                  <a:gd name="T16" fmla="*/ 42 w 120"/>
                  <a:gd name="T17" fmla="*/ 16 h 106"/>
                  <a:gd name="T18" fmla="*/ 54 w 120"/>
                  <a:gd name="T19" fmla="*/ 14 h 106"/>
                  <a:gd name="T20" fmla="*/ 62 w 120"/>
                  <a:gd name="T21" fmla="*/ 0 h 106"/>
                  <a:gd name="T22" fmla="*/ 78 w 120"/>
                  <a:gd name="T23" fmla="*/ 0 h 106"/>
                  <a:gd name="T24" fmla="*/ 118 w 120"/>
                  <a:gd name="T25" fmla="*/ 14 h 106"/>
                  <a:gd name="T26" fmla="*/ 120 w 120"/>
                  <a:gd name="T27" fmla="*/ 42 h 106"/>
                  <a:gd name="T28" fmla="*/ 120 w 120"/>
                  <a:gd name="T29" fmla="*/ 72 h 106"/>
                  <a:gd name="T30" fmla="*/ 112 w 120"/>
                  <a:gd name="T31" fmla="*/ 90 h 106"/>
                  <a:gd name="T32" fmla="*/ 90 w 120"/>
                  <a:gd name="T33" fmla="*/ 106 h 106"/>
                  <a:gd name="T34" fmla="*/ 60 w 120"/>
                  <a:gd name="T35" fmla="*/ 104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 h="106">
                    <a:moveTo>
                      <a:pt x="60" y="104"/>
                    </a:moveTo>
                    <a:lnTo>
                      <a:pt x="58" y="98"/>
                    </a:lnTo>
                    <a:lnTo>
                      <a:pt x="44" y="96"/>
                    </a:lnTo>
                    <a:lnTo>
                      <a:pt x="36" y="76"/>
                    </a:lnTo>
                    <a:lnTo>
                      <a:pt x="12" y="64"/>
                    </a:lnTo>
                    <a:lnTo>
                      <a:pt x="8" y="48"/>
                    </a:lnTo>
                    <a:lnTo>
                      <a:pt x="0" y="36"/>
                    </a:lnTo>
                    <a:lnTo>
                      <a:pt x="28" y="34"/>
                    </a:lnTo>
                    <a:lnTo>
                      <a:pt x="42" y="16"/>
                    </a:lnTo>
                    <a:lnTo>
                      <a:pt x="54" y="14"/>
                    </a:lnTo>
                    <a:lnTo>
                      <a:pt x="62" y="0"/>
                    </a:lnTo>
                    <a:lnTo>
                      <a:pt x="78" y="0"/>
                    </a:lnTo>
                    <a:lnTo>
                      <a:pt x="118" y="14"/>
                    </a:lnTo>
                    <a:lnTo>
                      <a:pt x="120" y="42"/>
                    </a:lnTo>
                    <a:lnTo>
                      <a:pt x="120" y="72"/>
                    </a:lnTo>
                    <a:lnTo>
                      <a:pt x="112" y="90"/>
                    </a:lnTo>
                    <a:lnTo>
                      <a:pt x="90" y="106"/>
                    </a:lnTo>
                    <a:lnTo>
                      <a:pt x="60" y="10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68" name="Freeform 161">
                <a:extLst>
                  <a:ext uri="{FF2B5EF4-FFF2-40B4-BE49-F238E27FC236}">
                    <a16:creationId xmlns:a16="http://schemas.microsoft.com/office/drawing/2014/main" id="{C7C29C65-876F-4664-B8B0-3C5C2AD4DABB}"/>
                  </a:ext>
                </a:extLst>
              </p:cNvPr>
              <p:cNvSpPr>
                <a:spLocks/>
              </p:cNvSpPr>
              <p:nvPr/>
            </p:nvSpPr>
            <p:spPr bwMode="gray">
              <a:xfrm>
                <a:off x="6345047" y="5172706"/>
                <a:ext cx="237754" cy="242335"/>
              </a:xfrm>
              <a:custGeom>
                <a:avLst/>
                <a:gdLst>
                  <a:gd name="T0" fmla="*/ 0 w 144"/>
                  <a:gd name="T1" fmla="*/ 114 h 146"/>
                  <a:gd name="T2" fmla="*/ 0 w 144"/>
                  <a:gd name="T3" fmla="*/ 66 h 146"/>
                  <a:gd name="T4" fmla="*/ 14 w 144"/>
                  <a:gd name="T5" fmla="*/ 66 h 146"/>
                  <a:gd name="T6" fmla="*/ 16 w 144"/>
                  <a:gd name="T7" fmla="*/ 4 h 146"/>
                  <a:gd name="T8" fmla="*/ 50 w 144"/>
                  <a:gd name="T9" fmla="*/ 0 h 146"/>
                  <a:gd name="T10" fmla="*/ 56 w 144"/>
                  <a:gd name="T11" fmla="*/ 8 h 146"/>
                  <a:gd name="T12" fmla="*/ 84 w 144"/>
                  <a:gd name="T13" fmla="*/ 0 h 146"/>
                  <a:gd name="T14" fmla="*/ 92 w 144"/>
                  <a:gd name="T15" fmla="*/ 12 h 146"/>
                  <a:gd name="T16" fmla="*/ 96 w 144"/>
                  <a:gd name="T17" fmla="*/ 28 h 146"/>
                  <a:gd name="T18" fmla="*/ 120 w 144"/>
                  <a:gd name="T19" fmla="*/ 40 h 146"/>
                  <a:gd name="T20" fmla="*/ 128 w 144"/>
                  <a:gd name="T21" fmla="*/ 60 h 146"/>
                  <a:gd name="T22" fmla="*/ 142 w 144"/>
                  <a:gd name="T23" fmla="*/ 62 h 146"/>
                  <a:gd name="T24" fmla="*/ 144 w 144"/>
                  <a:gd name="T25" fmla="*/ 70 h 146"/>
                  <a:gd name="T26" fmla="*/ 142 w 144"/>
                  <a:gd name="T27" fmla="*/ 74 h 146"/>
                  <a:gd name="T28" fmla="*/ 132 w 144"/>
                  <a:gd name="T29" fmla="*/ 74 h 146"/>
                  <a:gd name="T30" fmla="*/ 94 w 144"/>
                  <a:gd name="T31" fmla="*/ 114 h 146"/>
                  <a:gd name="T32" fmla="*/ 86 w 144"/>
                  <a:gd name="T33" fmla="*/ 128 h 146"/>
                  <a:gd name="T34" fmla="*/ 66 w 144"/>
                  <a:gd name="T35" fmla="*/ 130 h 146"/>
                  <a:gd name="T36" fmla="*/ 56 w 144"/>
                  <a:gd name="T37" fmla="*/ 122 h 146"/>
                  <a:gd name="T38" fmla="*/ 46 w 144"/>
                  <a:gd name="T39" fmla="*/ 122 h 146"/>
                  <a:gd name="T40" fmla="*/ 42 w 144"/>
                  <a:gd name="T41" fmla="*/ 134 h 146"/>
                  <a:gd name="T42" fmla="*/ 28 w 144"/>
                  <a:gd name="T43" fmla="*/ 146 h 146"/>
                  <a:gd name="T44" fmla="*/ 12 w 144"/>
                  <a:gd name="T45" fmla="*/ 146 h 146"/>
                  <a:gd name="T46" fmla="*/ 12 w 144"/>
                  <a:gd name="T47" fmla="*/ 126 h 146"/>
                  <a:gd name="T48" fmla="*/ 0 w 144"/>
                  <a:gd name="T49" fmla="*/ 11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4" h="146">
                    <a:moveTo>
                      <a:pt x="0" y="114"/>
                    </a:moveTo>
                    <a:lnTo>
                      <a:pt x="0" y="66"/>
                    </a:lnTo>
                    <a:lnTo>
                      <a:pt x="14" y="66"/>
                    </a:lnTo>
                    <a:lnTo>
                      <a:pt x="16" y="4"/>
                    </a:lnTo>
                    <a:lnTo>
                      <a:pt x="50" y="0"/>
                    </a:lnTo>
                    <a:lnTo>
                      <a:pt x="56" y="8"/>
                    </a:lnTo>
                    <a:lnTo>
                      <a:pt x="84" y="0"/>
                    </a:lnTo>
                    <a:lnTo>
                      <a:pt x="92" y="12"/>
                    </a:lnTo>
                    <a:lnTo>
                      <a:pt x="96" y="28"/>
                    </a:lnTo>
                    <a:lnTo>
                      <a:pt x="120" y="40"/>
                    </a:lnTo>
                    <a:lnTo>
                      <a:pt x="128" y="60"/>
                    </a:lnTo>
                    <a:lnTo>
                      <a:pt x="142" y="62"/>
                    </a:lnTo>
                    <a:lnTo>
                      <a:pt x="144" y="70"/>
                    </a:lnTo>
                    <a:lnTo>
                      <a:pt x="142" y="74"/>
                    </a:lnTo>
                    <a:lnTo>
                      <a:pt x="132" y="74"/>
                    </a:lnTo>
                    <a:lnTo>
                      <a:pt x="94" y="114"/>
                    </a:lnTo>
                    <a:lnTo>
                      <a:pt x="86" y="128"/>
                    </a:lnTo>
                    <a:lnTo>
                      <a:pt x="66" y="130"/>
                    </a:lnTo>
                    <a:lnTo>
                      <a:pt x="56" y="122"/>
                    </a:lnTo>
                    <a:lnTo>
                      <a:pt x="46" y="122"/>
                    </a:lnTo>
                    <a:lnTo>
                      <a:pt x="42" y="134"/>
                    </a:lnTo>
                    <a:lnTo>
                      <a:pt x="28" y="146"/>
                    </a:lnTo>
                    <a:lnTo>
                      <a:pt x="12" y="146"/>
                    </a:lnTo>
                    <a:lnTo>
                      <a:pt x="12" y="126"/>
                    </a:lnTo>
                    <a:lnTo>
                      <a:pt x="0" y="11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69" name="Freeform 162">
                <a:extLst>
                  <a:ext uri="{FF2B5EF4-FFF2-40B4-BE49-F238E27FC236}">
                    <a16:creationId xmlns:a16="http://schemas.microsoft.com/office/drawing/2014/main" id="{1F752715-F5EF-4269-A7CC-95EFD3F93AE7}"/>
                  </a:ext>
                </a:extLst>
              </p:cNvPr>
              <p:cNvSpPr>
                <a:spLocks/>
              </p:cNvSpPr>
              <p:nvPr/>
            </p:nvSpPr>
            <p:spPr bwMode="gray">
              <a:xfrm>
                <a:off x="6137013" y="5156107"/>
                <a:ext cx="234452" cy="318687"/>
              </a:xfrm>
              <a:custGeom>
                <a:avLst/>
                <a:gdLst>
                  <a:gd name="T0" fmla="*/ 0 w 142"/>
                  <a:gd name="T1" fmla="*/ 0 h 192"/>
                  <a:gd name="T2" fmla="*/ 98 w 142"/>
                  <a:gd name="T3" fmla="*/ 0 h 192"/>
                  <a:gd name="T4" fmla="*/ 106 w 142"/>
                  <a:gd name="T5" fmla="*/ 6 h 192"/>
                  <a:gd name="T6" fmla="*/ 134 w 142"/>
                  <a:gd name="T7" fmla="*/ 8 h 192"/>
                  <a:gd name="T8" fmla="*/ 142 w 142"/>
                  <a:gd name="T9" fmla="*/ 14 h 192"/>
                  <a:gd name="T10" fmla="*/ 140 w 142"/>
                  <a:gd name="T11" fmla="*/ 76 h 192"/>
                  <a:gd name="T12" fmla="*/ 126 w 142"/>
                  <a:gd name="T13" fmla="*/ 76 h 192"/>
                  <a:gd name="T14" fmla="*/ 126 w 142"/>
                  <a:gd name="T15" fmla="*/ 182 h 192"/>
                  <a:gd name="T16" fmla="*/ 110 w 142"/>
                  <a:gd name="T17" fmla="*/ 192 h 192"/>
                  <a:gd name="T18" fmla="*/ 94 w 142"/>
                  <a:gd name="T19" fmla="*/ 192 h 192"/>
                  <a:gd name="T20" fmla="*/ 86 w 142"/>
                  <a:gd name="T21" fmla="*/ 188 h 192"/>
                  <a:gd name="T22" fmla="*/ 80 w 142"/>
                  <a:gd name="T23" fmla="*/ 180 h 192"/>
                  <a:gd name="T24" fmla="*/ 72 w 142"/>
                  <a:gd name="T25" fmla="*/ 186 h 192"/>
                  <a:gd name="T26" fmla="*/ 52 w 142"/>
                  <a:gd name="T27" fmla="*/ 164 h 192"/>
                  <a:gd name="T28" fmla="*/ 44 w 142"/>
                  <a:gd name="T29" fmla="*/ 126 h 192"/>
                  <a:gd name="T30" fmla="*/ 38 w 142"/>
                  <a:gd name="T31" fmla="*/ 114 h 192"/>
                  <a:gd name="T32" fmla="*/ 38 w 142"/>
                  <a:gd name="T33" fmla="*/ 82 h 192"/>
                  <a:gd name="T34" fmla="*/ 12 w 142"/>
                  <a:gd name="T35" fmla="*/ 36 h 192"/>
                  <a:gd name="T36" fmla="*/ 0 w 142"/>
                  <a:gd name="T37" fmla="*/ 16 h 192"/>
                  <a:gd name="T38" fmla="*/ 0 w 142"/>
                  <a:gd name="T3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92">
                    <a:moveTo>
                      <a:pt x="0" y="0"/>
                    </a:moveTo>
                    <a:lnTo>
                      <a:pt x="98" y="0"/>
                    </a:lnTo>
                    <a:lnTo>
                      <a:pt x="106" y="6"/>
                    </a:lnTo>
                    <a:lnTo>
                      <a:pt x="134" y="8"/>
                    </a:lnTo>
                    <a:lnTo>
                      <a:pt x="142" y="14"/>
                    </a:lnTo>
                    <a:lnTo>
                      <a:pt x="140" y="76"/>
                    </a:lnTo>
                    <a:lnTo>
                      <a:pt x="126" y="76"/>
                    </a:lnTo>
                    <a:lnTo>
                      <a:pt x="126" y="182"/>
                    </a:lnTo>
                    <a:lnTo>
                      <a:pt x="110" y="192"/>
                    </a:lnTo>
                    <a:lnTo>
                      <a:pt x="94" y="192"/>
                    </a:lnTo>
                    <a:lnTo>
                      <a:pt x="86" y="188"/>
                    </a:lnTo>
                    <a:lnTo>
                      <a:pt x="80" y="180"/>
                    </a:lnTo>
                    <a:lnTo>
                      <a:pt x="72" y="186"/>
                    </a:lnTo>
                    <a:lnTo>
                      <a:pt x="52" y="164"/>
                    </a:lnTo>
                    <a:lnTo>
                      <a:pt x="44" y="126"/>
                    </a:lnTo>
                    <a:lnTo>
                      <a:pt x="38" y="114"/>
                    </a:lnTo>
                    <a:lnTo>
                      <a:pt x="38" y="82"/>
                    </a:lnTo>
                    <a:lnTo>
                      <a:pt x="12" y="36"/>
                    </a:lnTo>
                    <a:lnTo>
                      <a:pt x="0" y="16"/>
                    </a:lnTo>
                    <a:lnTo>
                      <a:pt x="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70" name="Freeform 163">
                <a:extLst>
                  <a:ext uri="{FF2B5EF4-FFF2-40B4-BE49-F238E27FC236}">
                    <a16:creationId xmlns:a16="http://schemas.microsoft.com/office/drawing/2014/main" id="{8F990D2E-6834-45E3-BF3A-F61C3FC4777A}"/>
                  </a:ext>
                </a:extLst>
              </p:cNvPr>
              <p:cNvSpPr>
                <a:spLocks/>
              </p:cNvSpPr>
              <p:nvPr/>
            </p:nvSpPr>
            <p:spPr bwMode="gray">
              <a:xfrm>
                <a:off x="6619125" y="4970207"/>
                <a:ext cx="267473" cy="448154"/>
              </a:xfrm>
              <a:custGeom>
                <a:avLst/>
                <a:gdLst>
                  <a:gd name="T0" fmla="*/ 0 w 162"/>
                  <a:gd name="T1" fmla="*/ 88 h 270"/>
                  <a:gd name="T2" fmla="*/ 0 w 162"/>
                  <a:gd name="T3" fmla="*/ 72 h 270"/>
                  <a:gd name="T4" fmla="*/ 50 w 162"/>
                  <a:gd name="T5" fmla="*/ 64 h 270"/>
                  <a:gd name="T6" fmla="*/ 66 w 162"/>
                  <a:gd name="T7" fmla="*/ 64 h 270"/>
                  <a:gd name="T8" fmla="*/ 64 w 162"/>
                  <a:gd name="T9" fmla="*/ 94 h 270"/>
                  <a:gd name="T10" fmla="*/ 76 w 162"/>
                  <a:gd name="T11" fmla="*/ 106 h 270"/>
                  <a:gd name="T12" fmla="*/ 86 w 162"/>
                  <a:gd name="T13" fmla="*/ 92 h 270"/>
                  <a:gd name="T14" fmla="*/ 84 w 162"/>
                  <a:gd name="T15" fmla="*/ 64 h 270"/>
                  <a:gd name="T16" fmla="*/ 70 w 162"/>
                  <a:gd name="T17" fmla="*/ 48 h 270"/>
                  <a:gd name="T18" fmla="*/ 64 w 162"/>
                  <a:gd name="T19" fmla="*/ 32 h 270"/>
                  <a:gd name="T20" fmla="*/ 68 w 162"/>
                  <a:gd name="T21" fmla="*/ 16 h 270"/>
                  <a:gd name="T22" fmla="*/ 90 w 162"/>
                  <a:gd name="T23" fmla="*/ 18 h 270"/>
                  <a:gd name="T24" fmla="*/ 116 w 162"/>
                  <a:gd name="T25" fmla="*/ 20 h 270"/>
                  <a:gd name="T26" fmla="*/ 142 w 162"/>
                  <a:gd name="T27" fmla="*/ 10 h 270"/>
                  <a:gd name="T28" fmla="*/ 158 w 162"/>
                  <a:gd name="T29" fmla="*/ 0 h 270"/>
                  <a:gd name="T30" fmla="*/ 158 w 162"/>
                  <a:gd name="T31" fmla="*/ 40 h 270"/>
                  <a:gd name="T32" fmla="*/ 162 w 162"/>
                  <a:gd name="T33" fmla="*/ 80 h 270"/>
                  <a:gd name="T34" fmla="*/ 144 w 162"/>
                  <a:gd name="T35" fmla="*/ 98 h 270"/>
                  <a:gd name="T36" fmla="*/ 112 w 162"/>
                  <a:gd name="T37" fmla="*/ 118 h 270"/>
                  <a:gd name="T38" fmla="*/ 76 w 162"/>
                  <a:gd name="T39" fmla="*/ 150 h 270"/>
                  <a:gd name="T40" fmla="*/ 68 w 162"/>
                  <a:gd name="T41" fmla="*/ 154 h 270"/>
                  <a:gd name="T42" fmla="*/ 70 w 162"/>
                  <a:gd name="T43" fmla="*/ 168 h 270"/>
                  <a:gd name="T44" fmla="*/ 80 w 162"/>
                  <a:gd name="T45" fmla="*/ 196 h 270"/>
                  <a:gd name="T46" fmla="*/ 76 w 162"/>
                  <a:gd name="T47" fmla="*/ 228 h 270"/>
                  <a:gd name="T48" fmla="*/ 38 w 162"/>
                  <a:gd name="T49" fmla="*/ 248 h 270"/>
                  <a:gd name="T50" fmla="*/ 34 w 162"/>
                  <a:gd name="T51" fmla="*/ 256 h 270"/>
                  <a:gd name="T52" fmla="*/ 38 w 162"/>
                  <a:gd name="T53" fmla="*/ 264 h 270"/>
                  <a:gd name="T54" fmla="*/ 40 w 162"/>
                  <a:gd name="T55" fmla="*/ 270 h 270"/>
                  <a:gd name="T56" fmla="*/ 24 w 162"/>
                  <a:gd name="T57" fmla="*/ 268 h 270"/>
                  <a:gd name="T58" fmla="*/ 24 w 162"/>
                  <a:gd name="T59" fmla="*/ 258 h 270"/>
                  <a:gd name="T60" fmla="*/ 24 w 162"/>
                  <a:gd name="T61" fmla="*/ 222 h 270"/>
                  <a:gd name="T62" fmla="*/ 16 w 162"/>
                  <a:gd name="T63" fmla="*/ 198 h 270"/>
                  <a:gd name="T64" fmla="*/ 8 w 162"/>
                  <a:gd name="T65" fmla="*/ 192 h 270"/>
                  <a:gd name="T66" fmla="*/ 30 w 162"/>
                  <a:gd name="T67" fmla="*/ 176 h 270"/>
                  <a:gd name="T68" fmla="*/ 38 w 162"/>
                  <a:gd name="T69" fmla="*/ 158 h 270"/>
                  <a:gd name="T70" fmla="*/ 38 w 162"/>
                  <a:gd name="T71" fmla="*/ 128 h 270"/>
                  <a:gd name="T72" fmla="*/ 36 w 162"/>
                  <a:gd name="T73" fmla="*/ 100 h 270"/>
                  <a:gd name="T74" fmla="*/ 0 w 162"/>
                  <a:gd name="T75" fmla="*/ 88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2" h="270">
                    <a:moveTo>
                      <a:pt x="0" y="88"/>
                    </a:moveTo>
                    <a:lnTo>
                      <a:pt x="0" y="72"/>
                    </a:lnTo>
                    <a:lnTo>
                      <a:pt x="50" y="64"/>
                    </a:lnTo>
                    <a:lnTo>
                      <a:pt x="66" y="64"/>
                    </a:lnTo>
                    <a:lnTo>
                      <a:pt x="64" y="94"/>
                    </a:lnTo>
                    <a:lnTo>
                      <a:pt x="76" y="106"/>
                    </a:lnTo>
                    <a:lnTo>
                      <a:pt x="86" y="92"/>
                    </a:lnTo>
                    <a:lnTo>
                      <a:pt x="84" y="64"/>
                    </a:lnTo>
                    <a:lnTo>
                      <a:pt x="70" y="48"/>
                    </a:lnTo>
                    <a:lnTo>
                      <a:pt x="64" y="32"/>
                    </a:lnTo>
                    <a:lnTo>
                      <a:pt x="68" y="16"/>
                    </a:lnTo>
                    <a:lnTo>
                      <a:pt x="90" y="18"/>
                    </a:lnTo>
                    <a:lnTo>
                      <a:pt x="116" y="20"/>
                    </a:lnTo>
                    <a:lnTo>
                      <a:pt x="142" y="10"/>
                    </a:lnTo>
                    <a:lnTo>
                      <a:pt x="158" y="0"/>
                    </a:lnTo>
                    <a:lnTo>
                      <a:pt x="158" y="40"/>
                    </a:lnTo>
                    <a:lnTo>
                      <a:pt x="162" y="80"/>
                    </a:lnTo>
                    <a:lnTo>
                      <a:pt x="144" y="98"/>
                    </a:lnTo>
                    <a:lnTo>
                      <a:pt x="112" y="118"/>
                    </a:lnTo>
                    <a:lnTo>
                      <a:pt x="76" y="150"/>
                    </a:lnTo>
                    <a:lnTo>
                      <a:pt x="68" y="154"/>
                    </a:lnTo>
                    <a:lnTo>
                      <a:pt x="70" y="168"/>
                    </a:lnTo>
                    <a:lnTo>
                      <a:pt x="80" y="196"/>
                    </a:lnTo>
                    <a:lnTo>
                      <a:pt x="76" y="228"/>
                    </a:lnTo>
                    <a:lnTo>
                      <a:pt x="38" y="248"/>
                    </a:lnTo>
                    <a:lnTo>
                      <a:pt x="34" y="256"/>
                    </a:lnTo>
                    <a:lnTo>
                      <a:pt x="38" y="264"/>
                    </a:lnTo>
                    <a:lnTo>
                      <a:pt x="40" y="270"/>
                    </a:lnTo>
                    <a:lnTo>
                      <a:pt x="24" y="268"/>
                    </a:lnTo>
                    <a:lnTo>
                      <a:pt x="24" y="258"/>
                    </a:lnTo>
                    <a:lnTo>
                      <a:pt x="24" y="222"/>
                    </a:lnTo>
                    <a:lnTo>
                      <a:pt x="16" y="198"/>
                    </a:lnTo>
                    <a:lnTo>
                      <a:pt x="8" y="192"/>
                    </a:lnTo>
                    <a:lnTo>
                      <a:pt x="30" y="176"/>
                    </a:lnTo>
                    <a:lnTo>
                      <a:pt x="38" y="158"/>
                    </a:lnTo>
                    <a:lnTo>
                      <a:pt x="38" y="128"/>
                    </a:lnTo>
                    <a:lnTo>
                      <a:pt x="36" y="100"/>
                    </a:lnTo>
                    <a:lnTo>
                      <a:pt x="0" y="8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71" name="Freeform 164">
                <a:extLst>
                  <a:ext uri="{FF2B5EF4-FFF2-40B4-BE49-F238E27FC236}">
                    <a16:creationId xmlns:a16="http://schemas.microsoft.com/office/drawing/2014/main" id="{725F01C9-B993-4486-907D-1B08B80A7D0C}"/>
                  </a:ext>
                </a:extLst>
              </p:cNvPr>
              <p:cNvSpPr>
                <a:spLocks/>
              </p:cNvSpPr>
              <p:nvPr/>
            </p:nvSpPr>
            <p:spPr bwMode="gray">
              <a:xfrm>
                <a:off x="6678564" y="4946970"/>
                <a:ext cx="82553" cy="199179"/>
              </a:xfrm>
              <a:custGeom>
                <a:avLst/>
                <a:gdLst>
                  <a:gd name="T0" fmla="*/ 4 w 50"/>
                  <a:gd name="T1" fmla="*/ 50 h 120"/>
                  <a:gd name="T2" fmla="*/ 10 w 50"/>
                  <a:gd name="T3" fmla="*/ 44 h 120"/>
                  <a:gd name="T4" fmla="*/ 12 w 50"/>
                  <a:gd name="T5" fmla="*/ 18 h 120"/>
                  <a:gd name="T6" fmla="*/ 14 w 50"/>
                  <a:gd name="T7" fmla="*/ 14 h 120"/>
                  <a:gd name="T8" fmla="*/ 8 w 50"/>
                  <a:gd name="T9" fmla="*/ 0 h 120"/>
                  <a:gd name="T10" fmla="*/ 22 w 50"/>
                  <a:gd name="T11" fmla="*/ 0 h 120"/>
                  <a:gd name="T12" fmla="*/ 30 w 50"/>
                  <a:gd name="T13" fmla="*/ 12 h 120"/>
                  <a:gd name="T14" fmla="*/ 32 w 50"/>
                  <a:gd name="T15" fmla="*/ 30 h 120"/>
                  <a:gd name="T16" fmla="*/ 28 w 50"/>
                  <a:gd name="T17" fmla="*/ 46 h 120"/>
                  <a:gd name="T18" fmla="*/ 34 w 50"/>
                  <a:gd name="T19" fmla="*/ 62 h 120"/>
                  <a:gd name="T20" fmla="*/ 48 w 50"/>
                  <a:gd name="T21" fmla="*/ 78 h 120"/>
                  <a:gd name="T22" fmla="*/ 50 w 50"/>
                  <a:gd name="T23" fmla="*/ 106 h 120"/>
                  <a:gd name="T24" fmla="*/ 40 w 50"/>
                  <a:gd name="T25" fmla="*/ 120 h 120"/>
                  <a:gd name="T26" fmla="*/ 28 w 50"/>
                  <a:gd name="T27" fmla="*/ 108 h 120"/>
                  <a:gd name="T28" fmla="*/ 30 w 50"/>
                  <a:gd name="T29" fmla="*/ 78 h 120"/>
                  <a:gd name="T30" fmla="*/ 10 w 50"/>
                  <a:gd name="T31" fmla="*/ 78 h 120"/>
                  <a:gd name="T32" fmla="*/ 0 w 50"/>
                  <a:gd name="T33" fmla="*/ 64 h 120"/>
                  <a:gd name="T34" fmla="*/ 4 w 50"/>
                  <a:gd name="T35" fmla="*/ 5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 h="120">
                    <a:moveTo>
                      <a:pt x="4" y="50"/>
                    </a:moveTo>
                    <a:lnTo>
                      <a:pt x="10" y="44"/>
                    </a:lnTo>
                    <a:lnTo>
                      <a:pt x="12" y="18"/>
                    </a:lnTo>
                    <a:lnTo>
                      <a:pt x="14" y="14"/>
                    </a:lnTo>
                    <a:lnTo>
                      <a:pt x="8" y="0"/>
                    </a:lnTo>
                    <a:lnTo>
                      <a:pt x="22" y="0"/>
                    </a:lnTo>
                    <a:lnTo>
                      <a:pt x="30" y="12"/>
                    </a:lnTo>
                    <a:lnTo>
                      <a:pt x="32" y="30"/>
                    </a:lnTo>
                    <a:lnTo>
                      <a:pt x="28" y="46"/>
                    </a:lnTo>
                    <a:lnTo>
                      <a:pt x="34" y="62"/>
                    </a:lnTo>
                    <a:lnTo>
                      <a:pt x="48" y="78"/>
                    </a:lnTo>
                    <a:lnTo>
                      <a:pt x="50" y="106"/>
                    </a:lnTo>
                    <a:lnTo>
                      <a:pt x="40" y="120"/>
                    </a:lnTo>
                    <a:lnTo>
                      <a:pt x="28" y="108"/>
                    </a:lnTo>
                    <a:lnTo>
                      <a:pt x="30" y="78"/>
                    </a:lnTo>
                    <a:lnTo>
                      <a:pt x="10" y="78"/>
                    </a:lnTo>
                    <a:lnTo>
                      <a:pt x="0" y="64"/>
                    </a:lnTo>
                    <a:lnTo>
                      <a:pt x="4" y="5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72" name="Freeform 165">
                <a:extLst>
                  <a:ext uri="{FF2B5EF4-FFF2-40B4-BE49-F238E27FC236}">
                    <a16:creationId xmlns:a16="http://schemas.microsoft.com/office/drawing/2014/main" id="{47EABC7C-203D-4BE2-B3DD-58753365DD7B}"/>
                  </a:ext>
                </a:extLst>
              </p:cNvPr>
              <p:cNvSpPr>
                <a:spLocks/>
              </p:cNvSpPr>
              <p:nvPr/>
            </p:nvSpPr>
            <p:spPr bwMode="gray">
              <a:xfrm>
                <a:off x="6397882" y="4913772"/>
                <a:ext cx="303797" cy="258933"/>
              </a:xfrm>
              <a:custGeom>
                <a:avLst/>
                <a:gdLst>
                  <a:gd name="T0" fmla="*/ 52 w 184"/>
                  <a:gd name="T1" fmla="*/ 156 h 156"/>
                  <a:gd name="T2" fmla="*/ 46 w 184"/>
                  <a:gd name="T3" fmla="*/ 150 h 156"/>
                  <a:gd name="T4" fmla="*/ 20 w 184"/>
                  <a:gd name="T5" fmla="*/ 148 h 156"/>
                  <a:gd name="T6" fmla="*/ 2 w 184"/>
                  <a:gd name="T7" fmla="*/ 128 h 156"/>
                  <a:gd name="T8" fmla="*/ 0 w 184"/>
                  <a:gd name="T9" fmla="*/ 76 h 156"/>
                  <a:gd name="T10" fmla="*/ 30 w 184"/>
                  <a:gd name="T11" fmla="*/ 76 h 156"/>
                  <a:gd name="T12" fmla="*/ 30 w 184"/>
                  <a:gd name="T13" fmla="*/ 42 h 156"/>
                  <a:gd name="T14" fmla="*/ 48 w 184"/>
                  <a:gd name="T15" fmla="*/ 50 h 156"/>
                  <a:gd name="T16" fmla="*/ 68 w 184"/>
                  <a:gd name="T17" fmla="*/ 58 h 156"/>
                  <a:gd name="T18" fmla="*/ 82 w 184"/>
                  <a:gd name="T19" fmla="*/ 52 h 156"/>
                  <a:gd name="T20" fmla="*/ 90 w 184"/>
                  <a:gd name="T21" fmla="*/ 64 h 156"/>
                  <a:gd name="T22" fmla="*/ 102 w 184"/>
                  <a:gd name="T23" fmla="*/ 70 h 156"/>
                  <a:gd name="T24" fmla="*/ 110 w 184"/>
                  <a:gd name="T25" fmla="*/ 82 h 156"/>
                  <a:gd name="T26" fmla="*/ 124 w 184"/>
                  <a:gd name="T27" fmla="*/ 82 h 156"/>
                  <a:gd name="T28" fmla="*/ 124 w 184"/>
                  <a:gd name="T29" fmla="*/ 64 h 156"/>
                  <a:gd name="T30" fmla="*/ 110 w 184"/>
                  <a:gd name="T31" fmla="*/ 58 h 156"/>
                  <a:gd name="T32" fmla="*/ 100 w 184"/>
                  <a:gd name="T33" fmla="*/ 48 h 156"/>
                  <a:gd name="T34" fmla="*/ 104 w 184"/>
                  <a:gd name="T35" fmla="*/ 26 h 156"/>
                  <a:gd name="T36" fmla="*/ 102 w 184"/>
                  <a:gd name="T37" fmla="*/ 8 h 156"/>
                  <a:gd name="T38" fmla="*/ 118 w 184"/>
                  <a:gd name="T39" fmla="*/ 0 h 156"/>
                  <a:gd name="T40" fmla="*/ 136 w 184"/>
                  <a:gd name="T41" fmla="*/ 0 h 156"/>
                  <a:gd name="T42" fmla="*/ 178 w 184"/>
                  <a:gd name="T43" fmla="*/ 20 h 156"/>
                  <a:gd name="T44" fmla="*/ 184 w 184"/>
                  <a:gd name="T45" fmla="*/ 34 h 156"/>
                  <a:gd name="T46" fmla="*/ 180 w 184"/>
                  <a:gd name="T47" fmla="*/ 40 h 156"/>
                  <a:gd name="T48" fmla="*/ 180 w 184"/>
                  <a:gd name="T49" fmla="*/ 64 h 156"/>
                  <a:gd name="T50" fmla="*/ 174 w 184"/>
                  <a:gd name="T51" fmla="*/ 70 h 156"/>
                  <a:gd name="T52" fmla="*/ 170 w 184"/>
                  <a:gd name="T53" fmla="*/ 84 h 156"/>
                  <a:gd name="T54" fmla="*/ 180 w 184"/>
                  <a:gd name="T55" fmla="*/ 98 h 156"/>
                  <a:gd name="T56" fmla="*/ 134 w 184"/>
                  <a:gd name="T57" fmla="*/ 106 h 156"/>
                  <a:gd name="T58" fmla="*/ 134 w 184"/>
                  <a:gd name="T59" fmla="*/ 122 h 156"/>
                  <a:gd name="T60" fmla="*/ 114 w 184"/>
                  <a:gd name="T61" fmla="*/ 120 h 156"/>
                  <a:gd name="T62" fmla="*/ 106 w 184"/>
                  <a:gd name="T63" fmla="*/ 134 h 156"/>
                  <a:gd name="T64" fmla="*/ 94 w 184"/>
                  <a:gd name="T65" fmla="*/ 136 h 156"/>
                  <a:gd name="T66" fmla="*/ 80 w 184"/>
                  <a:gd name="T67" fmla="*/ 154 h 156"/>
                  <a:gd name="T68" fmla="*/ 52 w 184"/>
                  <a:gd name="T69"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4" h="156">
                    <a:moveTo>
                      <a:pt x="52" y="156"/>
                    </a:moveTo>
                    <a:lnTo>
                      <a:pt x="46" y="150"/>
                    </a:lnTo>
                    <a:lnTo>
                      <a:pt x="20" y="148"/>
                    </a:lnTo>
                    <a:lnTo>
                      <a:pt x="2" y="128"/>
                    </a:lnTo>
                    <a:lnTo>
                      <a:pt x="0" y="76"/>
                    </a:lnTo>
                    <a:lnTo>
                      <a:pt x="30" y="76"/>
                    </a:lnTo>
                    <a:lnTo>
                      <a:pt x="30" y="42"/>
                    </a:lnTo>
                    <a:lnTo>
                      <a:pt x="48" y="50"/>
                    </a:lnTo>
                    <a:lnTo>
                      <a:pt x="68" y="58"/>
                    </a:lnTo>
                    <a:lnTo>
                      <a:pt x="82" y="52"/>
                    </a:lnTo>
                    <a:lnTo>
                      <a:pt x="90" y="64"/>
                    </a:lnTo>
                    <a:lnTo>
                      <a:pt x="102" y="70"/>
                    </a:lnTo>
                    <a:lnTo>
                      <a:pt x="110" y="82"/>
                    </a:lnTo>
                    <a:lnTo>
                      <a:pt x="124" y="82"/>
                    </a:lnTo>
                    <a:lnTo>
                      <a:pt x="124" y="64"/>
                    </a:lnTo>
                    <a:lnTo>
                      <a:pt x="110" y="58"/>
                    </a:lnTo>
                    <a:lnTo>
                      <a:pt x="100" y="48"/>
                    </a:lnTo>
                    <a:lnTo>
                      <a:pt x="104" y="26"/>
                    </a:lnTo>
                    <a:lnTo>
                      <a:pt x="102" y="8"/>
                    </a:lnTo>
                    <a:lnTo>
                      <a:pt x="118" y="0"/>
                    </a:lnTo>
                    <a:lnTo>
                      <a:pt x="136" y="0"/>
                    </a:lnTo>
                    <a:lnTo>
                      <a:pt x="178" y="20"/>
                    </a:lnTo>
                    <a:lnTo>
                      <a:pt x="184" y="34"/>
                    </a:lnTo>
                    <a:lnTo>
                      <a:pt x="180" y="40"/>
                    </a:lnTo>
                    <a:lnTo>
                      <a:pt x="180" y="64"/>
                    </a:lnTo>
                    <a:lnTo>
                      <a:pt x="174" y="70"/>
                    </a:lnTo>
                    <a:lnTo>
                      <a:pt x="170" y="84"/>
                    </a:lnTo>
                    <a:lnTo>
                      <a:pt x="180" y="98"/>
                    </a:lnTo>
                    <a:lnTo>
                      <a:pt x="134" y="106"/>
                    </a:lnTo>
                    <a:lnTo>
                      <a:pt x="134" y="122"/>
                    </a:lnTo>
                    <a:lnTo>
                      <a:pt x="114" y="120"/>
                    </a:lnTo>
                    <a:lnTo>
                      <a:pt x="106" y="134"/>
                    </a:lnTo>
                    <a:lnTo>
                      <a:pt x="94" y="136"/>
                    </a:lnTo>
                    <a:lnTo>
                      <a:pt x="80" y="154"/>
                    </a:lnTo>
                    <a:lnTo>
                      <a:pt x="52" y="15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73" name="Freeform 166">
                <a:extLst>
                  <a:ext uri="{FF2B5EF4-FFF2-40B4-BE49-F238E27FC236}">
                    <a16:creationId xmlns:a16="http://schemas.microsoft.com/office/drawing/2014/main" id="{77C713E0-297D-4506-878B-E0CB2A1B71F7}"/>
                  </a:ext>
                </a:extLst>
              </p:cNvPr>
              <p:cNvSpPr>
                <a:spLocks/>
              </p:cNvSpPr>
              <p:nvPr/>
            </p:nvSpPr>
            <p:spPr bwMode="gray">
              <a:xfrm>
                <a:off x="6592707" y="4721233"/>
                <a:ext cx="287287" cy="282171"/>
              </a:xfrm>
              <a:custGeom>
                <a:avLst/>
                <a:gdLst>
                  <a:gd name="T0" fmla="*/ 18 w 174"/>
                  <a:gd name="T1" fmla="*/ 116 h 170"/>
                  <a:gd name="T2" fmla="*/ 16 w 174"/>
                  <a:gd name="T3" fmla="*/ 100 h 170"/>
                  <a:gd name="T4" fmla="*/ 2 w 174"/>
                  <a:gd name="T5" fmla="*/ 82 h 170"/>
                  <a:gd name="T6" fmla="*/ 0 w 174"/>
                  <a:gd name="T7" fmla="*/ 56 h 170"/>
                  <a:gd name="T8" fmla="*/ 20 w 174"/>
                  <a:gd name="T9" fmla="*/ 34 h 170"/>
                  <a:gd name="T10" fmla="*/ 16 w 174"/>
                  <a:gd name="T11" fmla="*/ 20 h 170"/>
                  <a:gd name="T12" fmla="*/ 22 w 174"/>
                  <a:gd name="T13" fmla="*/ 12 h 170"/>
                  <a:gd name="T14" fmla="*/ 16 w 174"/>
                  <a:gd name="T15" fmla="*/ 0 h 170"/>
                  <a:gd name="T16" fmla="*/ 38 w 174"/>
                  <a:gd name="T17" fmla="*/ 0 h 170"/>
                  <a:gd name="T18" fmla="*/ 76 w 174"/>
                  <a:gd name="T19" fmla="*/ 2 h 170"/>
                  <a:gd name="T20" fmla="*/ 128 w 174"/>
                  <a:gd name="T21" fmla="*/ 30 h 170"/>
                  <a:gd name="T22" fmla="*/ 132 w 174"/>
                  <a:gd name="T23" fmla="*/ 40 h 170"/>
                  <a:gd name="T24" fmla="*/ 156 w 174"/>
                  <a:gd name="T25" fmla="*/ 58 h 170"/>
                  <a:gd name="T26" fmla="*/ 150 w 174"/>
                  <a:gd name="T27" fmla="*/ 72 h 170"/>
                  <a:gd name="T28" fmla="*/ 148 w 174"/>
                  <a:gd name="T29" fmla="*/ 86 h 170"/>
                  <a:gd name="T30" fmla="*/ 156 w 174"/>
                  <a:gd name="T31" fmla="*/ 98 h 170"/>
                  <a:gd name="T32" fmla="*/ 156 w 174"/>
                  <a:gd name="T33" fmla="*/ 126 h 170"/>
                  <a:gd name="T34" fmla="*/ 174 w 174"/>
                  <a:gd name="T35" fmla="*/ 150 h 170"/>
                  <a:gd name="T36" fmla="*/ 158 w 174"/>
                  <a:gd name="T37" fmla="*/ 160 h 170"/>
                  <a:gd name="T38" fmla="*/ 132 w 174"/>
                  <a:gd name="T39" fmla="*/ 170 h 170"/>
                  <a:gd name="T40" fmla="*/ 84 w 174"/>
                  <a:gd name="T41" fmla="*/ 166 h 170"/>
                  <a:gd name="T42" fmla="*/ 82 w 174"/>
                  <a:gd name="T43" fmla="*/ 148 h 170"/>
                  <a:gd name="T44" fmla="*/ 74 w 174"/>
                  <a:gd name="T45" fmla="*/ 136 h 170"/>
                  <a:gd name="T46" fmla="*/ 60 w 174"/>
                  <a:gd name="T47" fmla="*/ 136 h 170"/>
                  <a:gd name="T48" fmla="*/ 18 w 174"/>
                  <a:gd name="T49" fmla="*/ 11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4" h="170">
                    <a:moveTo>
                      <a:pt x="18" y="116"/>
                    </a:moveTo>
                    <a:lnTo>
                      <a:pt x="16" y="100"/>
                    </a:lnTo>
                    <a:lnTo>
                      <a:pt x="2" y="82"/>
                    </a:lnTo>
                    <a:lnTo>
                      <a:pt x="0" y="56"/>
                    </a:lnTo>
                    <a:lnTo>
                      <a:pt x="20" y="34"/>
                    </a:lnTo>
                    <a:lnTo>
                      <a:pt x="16" y="20"/>
                    </a:lnTo>
                    <a:lnTo>
                      <a:pt x="22" y="12"/>
                    </a:lnTo>
                    <a:lnTo>
                      <a:pt x="16" y="0"/>
                    </a:lnTo>
                    <a:lnTo>
                      <a:pt x="38" y="0"/>
                    </a:lnTo>
                    <a:lnTo>
                      <a:pt x="76" y="2"/>
                    </a:lnTo>
                    <a:lnTo>
                      <a:pt x="128" y="30"/>
                    </a:lnTo>
                    <a:lnTo>
                      <a:pt x="132" y="40"/>
                    </a:lnTo>
                    <a:lnTo>
                      <a:pt x="156" y="58"/>
                    </a:lnTo>
                    <a:lnTo>
                      <a:pt x="150" y="72"/>
                    </a:lnTo>
                    <a:lnTo>
                      <a:pt x="148" y="86"/>
                    </a:lnTo>
                    <a:lnTo>
                      <a:pt x="156" y="98"/>
                    </a:lnTo>
                    <a:lnTo>
                      <a:pt x="156" y="126"/>
                    </a:lnTo>
                    <a:lnTo>
                      <a:pt x="174" y="150"/>
                    </a:lnTo>
                    <a:lnTo>
                      <a:pt x="158" y="160"/>
                    </a:lnTo>
                    <a:lnTo>
                      <a:pt x="132" y="170"/>
                    </a:lnTo>
                    <a:lnTo>
                      <a:pt x="84" y="166"/>
                    </a:lnTo>
                    <a:lnTo>
                      <a:pt x="82" y="148"/>
                    </a:lnTo>
                    <a:lnTo>
                      <a:pt x="74" y="136"/>
                    </a:lnTo>
                    <a:lnTo>
                      <a:pt x="60" y="136"/>
                    </a:lnTo>
                    <a:lnTo>
                      <a:pt x="18" y="11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74" name="Freeform 167">
                <a:extLst>
                  <a:ext uri="{FF2B5EF4-FFF2-40B4-BE49-F238E27FC236}">
                    <a16:creationId xmlns:a16="http://schemas.microsoft.com/office/drawing/2014/main" id="{CC53B25D-A590-408D-B22B-C994774C946E}"/>
                  </a:ext>
                </a:extLst>
              </p:cNvPr>
              <p:cNvSpPr>
                <a:spLocks/>
              </p:cNvSpPr>
              <p:nvPr/>
            </p:nvSpPr>
            <p:spPr bwMode="gray">
              <a:xfrm>
                <a:off x="6589406" y="4754428"/>
                <a:ext cx="36323" cy="59754"/>
              </a:xfrm>
              <a:custGeom>
                <a:avLst/>
                <a:gdLst>
                  <a:gd name="T0" fmla="*/ 18 w 22"/>
                  <a:gd name="T1" fmla="*/ 0 h 36"/>
                  <a:gd name="T2" fmla="*/ 10 w 22"/>
                  <a:gd name="T3" fmla="*/ 2 h 36"/>
                  <a:gd name="T4" fmla="*/ 0 w 22"/>
                  <a:gd name="T5" fmla="*/ 12 h 36"/>
                  <a:gd name="T6" fmla="*/ 2 w 22"/>
                  <a:gd name="T7" fmla="*/ 36 h 36"/>
                  <a:gd name="T8" fmla="*/ 22 w 22"/>
                  <a:gd name="T9" fmla="*/ 14 h 36"/>
                  <a:gd name="T10" fmla="*/ 18 w 22"/>
                  <a:gd name="T11" fmla="*/ 0 h 36"/>
                </a:gdLst>
                <a:ahLst/>
                <a:cxnLst>
                  <a:cxn ang="0">
                    <a:pos x="T0" y="T1"/>
                  </a:cxn>
                  <a:cxn ang="0">
                    <a:pos x="T2" y="T3"/>
                  </a:cxn>
                  <a:cxn ang="0">
                    <a:pos x="T4" y="T5"/>
                  </a:cxn>
                  <a:cxn ang="0">
                    <a:pos x="T6" y="T7"/>
                  </a:cxn>
                  <a:cxn ang="0">
                    <a:pos x="T8" y="T9"/>
                  </a:cxn>
                  <a:cxn ang="0">
                    <a:pos x="T10" y="T11"/>
                  </a:cxn>
                </a:cxnLst>
                <a:rect l="0" t="0" r="r" b="b"/>
                <a:pathLst>
                  <a:path w="22" h="36">
                    <a:moveTo>
                      <a:pt x="18" y="0"/>
                    </a:moveTo>
                    <a:lnTo>
                      <a:pt x="10" y="2"/>
                    </a:lnTo>
                    <a:lnTo>
                      <a:pt x="0" y="12"/>
                    </a:lnTo>
                    <a:lnTo>
                      <a:pt x="2" y="36"/>
                    </a:lnTo>
                    <a:lnTo>
                      <a:pt x="22" y="14"/>
                    </a:lnTo>
                    <a:lnTo>
                      <a:pt x="18"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75" name="Freeform 168">
                <a:extLst>
                  <a:ext uri="{FF2B5EF4-FFF2-40B4-BE49-F238E27FC236}">
                    <a16:creationId xmlns:a16="http://schemas.microsoft.com/office/drawing/2014/main" id="{B3641C01-4063-4814-B054-2ED1B1C0FFF2}"/>
                  </a:ext>
                </a:extLst>
              </p:cNvPr>
              <p:cNvSpPr>
                <a:spLocks/>
              </p:cNvSpPr>
              <p:nvPr/>
            </p:nvSpPr>
            <p:spPr bwMode="gray">
              <a:xfrm>
                <a:off x="6579500" y="4721233"/>
                <a:ext cx="49532" cy="53115"/>
              </a:xfrm>
              <a:custGeom>
                <a:avLst/>
                <a:gdLst>
                  <a:gd name="T0" fmla="*/ 10 w 30"/>
                  <a:gd name="T1" fmla="*/ 2 h 32"/>
                  <a:gd name="T2" fmla="*/ 24 w 30"/>
                  <a:gd name="T3" fmla="*/ 0 h 32"/>
                  <a:gd name="T4" fmla="*/ 30 w 30"/>
                  <a:gd name="T5" fmla="*/ 12 h 32"/>
                  <a:gd name="T6" fmla="*/ 24 w 30"/>
                  <a:gd name="T7" fmla="*/ 20 h 32"/>
                  <a:gd name="T8" fmla="*/ 16 w 30"/>
                  <a:gd name="T9" fmla="*/ 22 h 32"/>
                  <a:gd name="T10" fmla="*/ 6 w 30"/>
                  <a:gd name="T11" fmla="*/ 32 h 32"/>
                  <a:gd name="T12" fmla="*/ 0 w 30"/>
                  <a:gd name="T13" fmla="*/ 16 h 32"/>
                  <a:gd name="T14" fmla="*/ 10 w 30"/>
                  <a:gd name="T15" fmla="*/ 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32">
                    <a:moveTo>
                      <a:pt x="10" y="2"/>
                    </a:moveTo>
                    <a:lnTo>
                      <a:pt x="24" y="0"/>
                    </a:lnTo>
                    <a:lnTo>
                      <a:pt x="30" y="12"/>
                    </a:lnTo>
                    <a:lnTo>
                      <a:pt x="24" y="20"/>
                    </a:lnTo>
                    <a:lnTo>
                      <a:pt x="16" y="22"/>
                    </a:lnTo>
                    <a:lnTo>
                      <a:pt x="6" y="32"/>
                    </a:lnTo>
                    <a:lnTo>
                      <a:pt x="0" y="16"/>
                    </a:lnTo>
                    <a:lnTo>
                      <a:pt x="10" y="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76" name="Freeform 169">
                <a:extLst>
                  <a:ext uri="{FF2B5EF4-FFF2-40B4-BE49-F238E27FC236}">
                    <a16:creationId xmlns:a16="http://schemas.microsoft.com/office/drawing/2014/main" id="{1C42F06B-782E-4738-B892-9E8C83E89588}"/>
                  </a:ext>
                </a:extLst>
              </p:cNvPr>
              <p:cNvSpPr>
                <a:spLocks/>
              </p:cNvSpPr>
              <p:nvPr/>
            </p:nvSpPr>
            <p:spPr bwMode="gray">
              <a:xfrm>
                <a:off x="6596011" y="4585126"/>
                <a:ext cx="141992" cy="139426"/>
              </a:xfrm>
              <a:custGeom>
                <a:avLst/>
                <a:gdLst>
                  <a:gd name="T0" fmla="*/ 0 w 86"/>
                  <a:gd name="T1" fmla="*/ 84 h 84"/>
                  <a:gd name="T2" fmla="*/ 2 w 86"/>
                  <a:gd name="T3" fmla="*/ 64 h 84"/>
                  <a:gd name="T4" fmla="*/ 6 w 86"/>
                  <a:gd name="T5" fmla="*/ 52 h 84"/>
                  <a:gd name="T6" fmla="*/ 26 w 86"/>
                  <a:gd name="T7" fmla="*/ 34 h 84"/>
                  <a:gd name="T8" fmla="*/ 26 w 86"/>
                  <a:gd name="T9" fmla="*/ 30 h 84"/>
                  <a:gd name="T10" fmla="*/ 20 w 86"/>
                  <a:gd name="T11" fmla="*/ 28 h 84"/>
                  <a:gd name="T12" fmla="*/ 16 w 86"/>
                  <a:gd name="T13" fmla="*/ 4 h 84"/>
                  <a:gd name="T14" fmla="*/ 68 w 86"/>
                  <a:gd name="T15" fmla="*/ 0 h 84"/>
                  <a:gd name="T16" fmla="*/ 80 w 86"/>
                  <a:gd name="T17" fmla="*/ 20 h 84"/>
                  <a:gd name="T18" fmla="*/ 86 w 86"/>
                  <a:gd name="T19" fmla="*/ 42 h 84"/>
                  <a:gd name="T20" fmla="*/ 72 w 86"/>
                  <a:gd name="T21" fmla="*/ 58 h 84"/>
                  <a:gd name="T22" fmla="*/ 76 w 86"/>
                  <a:gd name="T23" fmla="*/ 72 h 84"/>
                  <a:gd name="T24" fmla="*/ 70 w 86"/>
                  <a:gd name="T25" fmla="*/ 84 h 84"/>
                  <a:gd name="T26" fmla="*/ 36 w 86"/>
                  <a:gd name="T27" fmla="*/ 82 h 84"/>
                  <a:gd name="T28" fmla="*/ 14 w 86"/>
                  <a:gd name="T29" fmla="*/ 82 h 84"/>
                  <a:gd name="T30" fmla="*/ 0 w 86"/>
                  <a:gd name="T3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6" h="84">
                    <a:moveTo>
                      <a:pt x="0" y="84"/>
                    </a:moveTo>
                    <a:lnTo>
                      <a:pt x="2" y="64"/>
                    </a:lnTo>
                    <a:lnTo>
                      <a:pt x="6" y="52"/>
                    </a:lnTo>
                    <a:lnTo>
                      <a:pt x="26" y="34"/>
                    </a:lnTo>
                    <a:lnTo>
                      <a:pt x="26" y="30"/>
                    </a:lnTo>
                    <a:lnTo>
                      <a:pt x="20" y="28"/>
                    </a:lnTo>
                    <a:lnTo>
                      <a:pt x="16" y="4"/>
                    </a:lnTo>
                    <a:lnTo>
                      <a:pt x="68" y="0"/>
                    </a:lnTo>
                    <a:lnTo>
                      <a:pt x="80" y="20"/>
                    </a:lnTo>
                    <a:lnTo>
                      <a:pt x="86" y="42"/>
                    </a:lnTo>
                    <a:lnTo>
                      <a:pt x="72" y="58"/>
                    </a:lnTo>
                    <a:lnTo>
                      <a:pt x="76" y="72"/>
                    </a:lnTo>
                    <a:lnTo>
                      <a:pt x="70" y="84"/>
                    </a:lnTo>
                    <a:lnTo>
                      <a:pt x="36" y="82"/>
                    </a:lnTo>
                    <a:lnTo>
                      <a:pt x="14" y="82"/>
                    </a:lnTo>
                    <a:lnTo>
                      <a:pt x="0" y="8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77" name="Freeform 170">
                <a:extLst>
                  <a:ext uri="{FF2B5EF4-FFF2-40B4-BE49-F238E27FC236}">
                    <a16:creationId xmlns:a16="http://schemas.microsoft.com/office/drawing/2014/main" id="{75CA18AA-EAAB-4279-949A-15988C167180}"/>
                  </a:ext>
                </a:extLst>
              </p:cNvPr>
              <p:cNvSpPr>
                <a:spLocks/>
              </p:cNvSpPr>
              <p:nvPr/>
            </p:nvSpPr>
            <p:spPr bwMode="gray">
              <a:xfrm>
                <a:off x="6137013" y="4847379"/>
                <a:ext cx="346724" cy="338605"/>
              </a:xfrm>
              <a:custGeom>
                <a:avLst/>
                <a:gdLst>
                  <a:gd name="T0" fmla="*/ 0 w 210"/>
                  <a:gd name="T1" fmla="*/ 186 h 204"/>
                  <a:gd name="T2" fmla="*/ 0 w 210"/>
                  <a:gd name="T3" fmla="*/ 162 h 204"/>
                  <a:gd name="T4" fmla="*/ 8 w 210"/>
                  <a:gd name="T5" fmla="*/ 126 h 204"/>
                  <a:gd name="T6" fmla="*/ 28 w 210"/>
                  <a:gd name="T7" fmla="*/ 94 h 204"/>
                  <a:gd name="T8" fmla="*/ 28 w 210"/>
                  <a:gd name="T9" fmla="*/ 78 h 204"/>
                  <a:gd name="T10" fmla="*/ 16 w 210"/>
                  <a:gd name="T11" fmla="*/ 52 h 204"/>
                  <a:gd name="T12" fmla="*/ 20 w 210"/>
                  <a:gd name="T13" fmla="*/ 38 h 204"/>
                  <a:gd name="T14" fmla="*/ 0 w 210"/>
                  <a:gd name="T15" fmla="*/ 2 h 204"/>
                  <a:gd name="T16" fmla="*/ 10 w 210"/>
                  <a:gd name="T17" fmla="*/ 0 h 204"/>
                  <a:gd name="T18" fmla="*/ 72 w 210"/>
                  <a:gd name="T19" fmla="*/ 0 h 204"/>
                  <a:gd name="T20" fmla="*/ 76 w 210"/>
                  <a:gd name="T21" fmla="*/ 14 h 204"/>
                  <a:gd name="T22" fmla="*/ 86 w 210"/>
                  <a:gd name="T23" fmla="*/ 32 h 204"/>
                  <a:gd name="T24" fmla="*/ 116 w 210"/>
                  <a:gd name="T25" fmla="*/ 34 h 204"/>
                  <a:gd name="T26" fmla="*/ 126 w 210"/>
                  <a:gd name="T27" fmla="*/ 18 h 204"/>
                  <a:gd name="T28" fmla="*/ 152 w 210"/>
                  <a:gd name="T29" fmla="*/ 24 h 204"/>
                  <a:gd name="T30" fmla="*/ 154 w 210"/>
                  <a:gd name="T31" fmla="*/ 64 h 204"/>
                  <a:gd name="T32" fmla="*/ 164 w 210"/>
                  <a:gd name="T33" fmla="*/ 70 h 204"/>
                  <a:gd name="T34" fmla="*/ 162 w 210"/>
                  <a:gd name="T35" fmla="*/ 82 h 204"/>
                  <a:gd name="T36" fmla="*/ 188 w 210"/>
                  <a:gd name="T37" fmla="*/ 82 h 204"/>
                  <a:gd name="T38" fmla="*/ 188 w 210"/>
                  <a:gd name="T39" fmla="*/ 116 h 204"/>
                  <a:gd name="T40" fmla="*/ 158 w 210"/>
                  <a:gd name="T41" fmla="*/ 116 h 204"/>
                  <a:gd name="T42" fmla="*/ 160 w 210"/>
                  <a:gd name="T43" fmla="*/ 168 h 204"/>
                  <a:gd name="T44" fmla="*/ 178 w 210"/>
                  <a:gd name="T45" fmla="*/ 188 h 204"/>
                  <a:gd name="T46" fmla="*/ 204 w 210"/>
                  <a:gd name="T47" fmla="*/ 190 h 204"/>
                  <a:gd name="T48" fmla="*/ 210 w 210"/>
                  <a:gd name="T49" fmla="*/ 196 h 204"/>
                  <a:gd name="T50" fmla="*/ 204 w 210"/>
                  <a:gd name="T51" fmla="*/ 196 h 204"/>
                  <a:gd name="T52" fmla="*/ 182 w 210"/>
                  <a:gd name="T53" fmla="*/ 204 h 204"/>
                  <a:gd name="T54" fmla="*/ 176 w 210"/>
                  <a:gd name="T55" fmla="*/ 196 h 204"/>
                  <a:gd name="T56" fmla="*/ 142 w 210"/>
                  <a:gd name="T57" fmla="*/ 200 h 204"/>
                  <a:gd name="T58" fmla="*/ 134 w 210"/>
                  <a:gd name="T59" fmla="*/ 194 h 204"/>
                  <a:gd name="T60" fmla="*/ 106 w 210"/>
                  <a:gd name="T61" fmla="*/ 192 h 204"/>
                  <a:gd name="T62" fmla="*/ 98 w 210"/>
                  <a:gd name="T63" fmla="*/ 186 h 204"/>
                  <a:gd name="T64" fmla="*/ 0 w 210"/>
                  <a:gd name="T65" fmla="*/ 186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0" h="204">
                    <a:moveTo>
                      <a:pt x="0" y="186"/>
                    </a:moveTo>
                    <a:lnTo>
                      <a:pt x="0" y="162"/>
                    </a:lnTo>
                    <a:lnTo>
                      <a:pt x="8" y="126"/>
                    </a:lnTo>
                    <a:lnTo>
                      <a:pt x="28" y="94"/>
                    </a:lnTo>
                    <a:lnTo>
                      <a:pt x="28" y="78"/>
                    </a:lnTo>
                    <a:lnTo>
                      <a:pt x="16" y="52"/>
                    </a:lnTo>
                    <a:lnTo>
                      <a:pt x="20" y="38"/>
                    </a:lnTo>
                    <a:lnTo>
                      <a:pt x="0" y="2"/>
                    </a:lnTo>
                    <a:lnTo>
                      <a:pt x="10" y="0"/>
                    </a:lnTo>
                    <a:lnTo>
                      <a:pt x="72" y="0"/>
                    </a:lnTo>
                    <a:lnTo>
                      <a:pt x="76" y="14"/>
                    </a:lnTo>
                    <a:lnTo>
                      <a:pt x="86" y="32"/>
                    </a:lnTo>
                    <a:lnTo>
                      <a:pt x="116" y="34"/>
                    </a:lnTo>
                    <a:lnTo>
                      <a:pt x="126" y="18"/>
                    </a:lnTo>
                    <a:lnTo>
                      <a:pt x="152" y="24"/>
                    </a:lnTo>
                    <a:lnTo>
                      <a:pt x="154" y="64"/>
                    </a:lnTo>
                    <a:lnTo>
                      <a:pt x="164" y="70"/>
                    </a:lnTo>
                    <a:lnTo>
                      <a:pt x="162" y="82"/>
                    </a:lnTo>
                    <a:lnTo>
                      <a:pt x="188" y="82"/>
                    </a:lnTo>
                    <a:lnTo>
                      <a:pt x="188" y="116"/>
                    </a:lnTo>
                    <a:lnTo>
                      <a:pt x="158" y="116"/>
                    </a:lnTo>
                    <a:lnTo>
                      <a:pt x="160" y="168"/>
                    </a:lnTo>
                    <a:lnTo>
                      <a:pt x="178" y="188"/>
                    </a:lnTo>
                    <a:lnTo>
                      <a:pt x="204" y="190"/>
                    </a:lnTo>
                    <a:lnTo>
                      <a:pt x="210" y="196"/>
                    </a:lnTo>
                    <a:lnTo>
                      <a:pt x="204" y="196"/>
                    </a:lnTo>
                    <a:lnTo>
                      <a:pt x="182" y="204"/>
                    </a:lnTo>
                    <a:lnTo>
                      <a:pt x="176" y="196"/>
                    </a:lnTo>
                    <a:lnTo>
                      <a:pt x="142" y="200"/>
                    </a:lnTo>
                    <a:lnTo>
                      <a:pt x="134" y="194"/>
                    </a:lnTo>
                    <a:lnTo>
                      <a:pt x="106" y="192"/>
                    </a:lnTo>
                    <a:lnTo>
                      <a:pt x="98" y="186"/>
                    </a:lnTo>
                    <a:lnTo>
                      <a:pt x="0" y="18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78" name="Freeform 171">
                <a:extLst>
                  <a:ext uri="{FF2B5EF4-FFF2-40B4-BE49-F238E27FC236}">
                    <a16:creationId xmlns:a16="http://schemas.microsoft.com/office/drawing/2014/main" id="{96BBE507-5D14-4F29-A589-0FD28F5C050E}"/>
                  </a:ext>
                </a:extLst>
              </p:cNvPr>
              <p:cNvSpPr>
                <a:spLocks/>
              </p:cNvSpPr>
              <p:nvPr/>
            </p:nvSpPr>
            <p:spPr bwMode="gray">
              <a:xfrm>
                <a:off x="6146918" y="4551930"/>
                <a:ext cx="492019" cy="497949"/>
              </a:xfrm>
              <a:custGeom>
                <a:avLst/>
                <a:gdLst>
                  <a:gd name="T0" fmla="*/ 0 w 298"/>
                  <a:gd name="T1" fmla="*/ 176 h 300"/>
                  <a:gd name="T2" fmla="*/ 6 w 298"/>
                  <a:gd name="T3" fmla="*/ 162 h 300"/>
                  <a:gd name="T4" fmla="*/ 14 w 298"/>
                  <a:gd name="T5" fmla="*/ 160 h 300"/>
                  <a:gd name="T6" fmla="*/ 34 w 298"/>
                  <a:gd name="T7" fmla="*/ 156 h 300"/>
                  <a:gd name="T8" fmla="*/ 60 w 298"/>
                  <a:gd name="T9" fmla="*/ 144 h 300"/>
                  <a:gd name="T10" fmla="*/ 64 w 298"/>
                  <a:gd name="T11" fmla="*/ 112 h 300"/>
                  <a:gd name="T12" fmla="*/ 88 w 298"/>
                  <a:gd name="T13" fmla="*/ 74 h 300"/>
                  <a:gd name="T14" fmla="*/ 94 w 298"/>
                  <a:gd name="T15" fmla="*/ 42 h 300"/>
                  <a:gd name="T16" fmla="*/ 96 w 298"/>
                  <a:gd name="T17" fmla="*/ 30 h 300"/>
                  <a:gd name="T18" fmla="*/ 98 w 298"/>
                  <a:gd name="T19" fmla="*/ 16 h 300"/>
                  <a:gd name="T20" fmla="*/ 112 w 298"/>
                  <a:gd name="T21" fmla="*/ 0 h 300"/>
                  <a:gd name="T22" fmla="*/ 126 w 298"/>
                  <a:gd name="T23" fmla="*/ 14 h 300"/>
                  <a:gd name="T24" fmla="*/ 138 w 298"/>
                  <a:gd name="T25" fmla="*/ 18 h 300"/>
                  <a:gd name="T26" fmla="*/ 160 w 298"/>
                  <a:gd name="T27" fmla="*/ 20 h 300"/>
                  <a:gd name="T28" fmla="*/ 172 w 298"/>
                  <a:gd name="T29" fmla="*/ 12 h 300"/>
                  <a:gd name="T30" fmla="*/ 206 w 298"/>
                  <a:gd name="T31" fmla="*/ 2 h 300"/>
                  <a:gd name="T32" fmla="*/ 236 w 298"/>
                  <a:gd name="T33" fmla="*/ 4 h 300"/>
                  <a:gd name="T34" fmla="*/ 244 w 298"/>
                  <a:gd name="T35" fmla="*/ 14 h 300"/>
                  <a:gd name="T36" fmla="*/ 272 w 298"/>
                  <a:gd name="T37" fmla="*/ 12 h 300"/>
                  <a:gd name="T38" fmla="*/ 288 w 298"/>
                  <a:gd name="T39" fmla="*/ 24 h 300"/>
                  <a:gd name="T40" fmla="*/ 292 w 298"/>
                  <a:gd name="T41" fmla="*/ 48 h 300"/>
                  <a:gd name="T42" fmla="*/ 298 w 298"/>
                  <a:gd name="T43" fmla="*/ 50 h 300"/>
                  <a:gd name="T44" fmla="*/ 298 w 298"/>
                  <a:gd name="T45" fmla="*/ 54 h 300"/>
                  <a:gd name="T46" fmla="*/ 278 w 298"/>
                  <a:gd name="T47" fmla="*/ 72 h 300"/>
                  <a:gd name="T48" fmla="*/ 274 w 298"/>
                  <a:gd name="T49" fmla="*/ 84 h 300"/>
                  <a:gd name="T50" fmla="*/ 272 w 298"/>
                  <a:gd name="T51" fmla="*/ 104 h 300"/>
                  <a:gd name="T52" fmla="*/ 262 w 298"/>
                  <a:gd name="T53" fmla="*/ 118 h 300"/>
                  <a:gd name="T54" fmla="*/ 268 w 298"/>
                  <a:gd name="T55" fmla="*/ 134 h 300"/>
                  <a:gd name="T56" fmla="*/ 270 w 298"/>
                  <a:gd name="T57" fmla="*/ 158 h 300"/>
                  <a:gd name="T58" fmla="*/ 270 w 298"/>
                  <a:gd name="T59" fmla="*/ 172 h 300"/>
                  <a:gd name="T60" fmla="*/ 272 w 298"/>
                  <a:gd name="T61" fmla="*/ 184 h 300"/>
                  <a:gd name="T62" fmla="*/ 286 w 298"/>
                  <a:gd name="T63" fmla="*/ 202 h 300"/>
                  <a:gd name="T64" fmla="*/ 288 w 298"/>
                  <a:gd name="T65" fmla="*/ 218 h 300"/>
                  <a:gd name="T66" fmla="*/ 270 w 298"/>
                  <a:gd name="T67" fmla="*/ 218 h 300"/>
                  <a:gd name="T68" fmla="*/ 254 w 298"/>
                  <a:gd name="T69" fmla="*/ 226 h 300"/>
                  <a:gd name="T70" fmla="*/ 256 w 298"/>
                  <a:gd name="T71" fmla="*/ 244 h 300"/>
                  <a:gd name="T72" fmla="*/ 252 w 298"/>
                  <a:gd name="T73" fmla="*/ 266 h 300"/>
                  <a:gd name="T74" fmla="*/ 262 w 298"/>
                  <a:gd name="T75" fmla="*/ 276 h 300"/>
                  <a:gd name="T76" fmla="*/ 276 w 298"/>
                  <a:gd name="T77" fmla="*/ 282 h 300"/>
                  <a:gd name="T78" fmla="*/ 276 w 298"/>
                  <a:gd name="T79" fmla="*/ 300 h 300"/>
                  <a:gd name="T80" fmla="*/ 262 w 298"/>
                  <a:gd name="T81" fmla="*/ 300 h 300"/>
                  <a:gd name="T82" fmla="*/ 254 w 298"/>
                  <a:gd name="T83" fmla="*/ 288 h 300"/>
                  <a:gd name="T84" fmla="*/ 242 w 298"/>
                  <a:gd name="T85" fmla="*/ 282 h 300"/>
                  <a:gd name="T86" fmla="*/ 234 w 298"/>
                  <a:gd name="T87" fmla="*/ 270 h 300"/>
                  <a:gd name="T88" fmla="*/ 220 w 298"/>
                  <a:gd name="T89" fmla="*/ 276 h 300"/>
                  <a:gd name="T90" fmla="*/ 182 w 298"/>
                  <a:gd name="T91" fmla="*/ 260 h 300"/>
                  <a:gd name="T92" fmla="*/ 156 w 298"/>
                  <a:gd name="T93" fmla="*/ 260 h 300"/>
                  <a:gd name="T94" fmla="*/ 158 w 298"/>
                  <a:gd name="T95" fmla="*/ 248 h 300"/>
                  <a:gd name="T96" fmla="*/ 148 w 298"/>
                  <a:gd name="T97" fmla="*/ 242 h 300"/>
                  <a:gd name="T98" fmla="*/ 146 w 298"/>
                  <a:gd name="T99" fmla="*/ 202 h 300"/>
                  <a:gd name="T100" fmla="*/ 120 w 298"/>
                  <a:gd name="T101" fmla="*/ 196 h 300"/>
                  <a:gd name="T102" fmla="*/ 110 w 298"/>
                  <a:gd name="T103" fmla="*/ 212 h 300"/>
                  <a:gd name="T104" fmla="*/ 80 w 298"/>
                  <a:gd name="T105" fmla="*/ 210 h 300"/>
                  <a:gd name="T106" fmla="*/ 70 w 298"/>
                  <a:gd name="T107" fmla="*/ 192 h 300"/>
                  <a:gd name="T108" fmla="*/ 66 w 298"/>
                  <a:gd name="T109" fmla="*/ 178 h 300"/>
                  <a:gd name="T110" fmla="*/ 6 w 298"/>
                  <a:gd name="T111" fmla="*/ 178 h 300"/>
                  <a:gd name="T112" fmla="*/ 0 w 298"/>
                  <a:gd name="T113" fmla="*/ 176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98" h="300">
                    <a:moveTo>
                      <a:pt x="0" y="176"/>
                    </a:moveTo>
                    <a:lnTo>
                      <a:pt x="6" y="162"/>
                    </a:lnTo>
                    <a:lnTo>
                      <a:pt x="14" y="160"/>
                    </a:lnTo>
                    <a:lnTo>
                      <a:pt x="34" y="156"/>
                    </a:lnTo>
                    <a:lnTo>
                      <a:pt x="60" y="144"/>
                    </a:lnTo>
                    <a:lnTo>
                      <a:pt x="64" y="112"/>
                    </a:lnTo>
                    <a:lnTo>
                      <a:pt x="88" y="74"/>
                    </a:lnTo>
                    <a:lnTo>
                      <a:pt x="94" y="42"/>
                    </a:lnTo>
                    <a:lnTo>
                      <a:pt x="96" y="30"/>
                    </a:lnTo>
                    <a:lnTo>
                      <a:pt x="98" y="16"/>
                    </a:lnTo>
                    <a:lnTo>
                      <a:pt x="112" y="0"/>
                    </a:lnTo>
                    <a:lnTo>
                      <a:pt x="126" y="14"/>
                    </a:lnTo>
                    <a:lnTo>
                      <a:pt x="138" y="18"/>
                    </a:lnTo>
                    <a:lnTo>
                      <a:pt x="160" y="20"/>
                    </a:lnTo>
                    <a:lnTo>
                      <a:pt x="172" y="12"/>
                    </a:lnTo>
                    <a:lnTo>
                      <a:pt x="206" y="2"/>
                    </a:lnTo>
                    <a:lnTo>
                      <a:pt x="236" y="4"/>
                    </a:lnTo>
                    <a:lnTo>
                      <a:pt x="244" y="14"/>
                    </a:lnTo>
                    <a:lnTo>
                      <a:pt x="272" y="12"/>
                    </a:lnTo>
                    <a:lnTo>
                      <a:pt x="288" y="24"/>
                    </a:lnTo>
                    <a:lnTo>
                      <a:pt x="292" y="48"/>
                    </a:lnTo>
                    <a:lnTo>
                      <a:pt x="298" y="50"/>
                    </a:lnTo>
                    <a:lnTo>
                      <a:pt x="298" y="54"/>
                    </a:lnTo>
                    <a:lnTo>
                      <a:pt x="278" y="72"/>
                    </a:lnTo>
                    <a:lnTo>
                      <a:pt x="274" y="84"/>
                    </a:lnTo>
                    <a:lnTo>
                      <a:pt x="272" y="104"/>
                    </a:lnTo>
                    <a:lnTo>
                      <a:pt x="262" y="118"/>
                    </a:lnTo>
                    <a:lnTo>
                      <a:pt x="268" y="134"/>
                    </a:lnTo>
                    <a:lnTo>
                      <a:pt x="270" y="158"/>
                    </a:lnTo>
                    <a:lnTo>
                      <a:pt x="270" y="172"/>
                    </a:lnTo>
                    <a:lnTo>
                      <a:pt x="272" y="184"/>
                    </a:lnTo>
                    <a:lnTo>
                      <a:pt x="286" y="202"/>
                    </a:lnTo>
                    <a:lnTo>
                      <a:pt x="288" y="218"/>
                    </a:lnTo>
                    <a:lnTo>
                      <a:pt x="270" y="218"/>
                    </a:lnTo>
                    <a:lnTo>
                      <a:pt x="254" y="226"/>
                    </a:lnTo>
                    <a:lnTo>
                      <a:pt x="256" y="244"/>
                    </a:lnTo>
                    <a:lnTo>
                      <a:pt x="252" y="266"/>
                    </a:lnTo>
                    <a:lnTo>
                      <a:pt x="262" y="276"/>
                    </a:lnTo>
                    <a:lnTo>
                      <a:pt x="276" y="282"/>
                    </a:lnTo>
                    <a:lnTo>
                      <a:pt x="276" y="300"/>
                    </a:lnTo>
                    <a:lnTo>
                      <a:pt x="262" y="300"/>
                    </a:lnTo>
                    <a:lnTo>
                      <a:pt x="254" y="288"/>
                    </a:lnTo>
                    <a:lnTo>
                      <a:pt x="242" y="282"/>
                    </a:lnTo>
                    <a:lnTo>
                      <a:pt x="234" y="270"/>
                    </a:lnTo>
                    <a:lnTo>
                      <a:pt x="220" y="276"/>
                    </a:lnTo>
                    <a:lnTo>
                      <a:pt x="182" y="260"/>
                    </a:lnTo>
                    <a:lnTo>
                      <a:pt x="156" y="260"/>
                    </a:lnTo>
                    <a:lnTo>
                      <a:pt x="158" y="248"/>
                    </a:lnTo>
                    <a:lnTo>
                      <a:pt x="148" y="242"/>
                    </a:lnTo>
                    <a:lnTo>
                      <a:pt x="146" y="202"/>
                    </a:lnTo>
                    <a:lnTo>
                      <a:pt x="120" y="196"/>
                    </a:lnTo>
                    <a:lnTo>
                      <a:pt x="110" y="212"/>
                    </a:lnTo>
                    <a:lnTo>
                      <a:pt x="80" y="210"/>
                    </a:lnTo>
                    <a:lnTo>
                      <a:pt x="70" y="192"/>
                    </a:lnTo>
                    <a:lnTo>
                      <a:pt x="66" y="178"/>
                    </a:lnTo>
                    <a:lnTo>
                      <a:pt x="6" y="178"/>
                    </a:lnTo>
                    <a:lnTo>
                      <a:pt x="0" y="17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79" name="Freeform 172">
                <a:extLst>
                  <a:ext uri="{FF2B5EF4-FFF2-40B4-BE49-F238E27FC236}">
                    <a16:creationId xmlns:a16="http://schemas.microsoft.com/office/drawing/2014/main" id="{235D61A2-F09C-4DB7-A058-C539EE9326AA}"/>
                  </a:ext>
                </a:extLst>
              </p:cNvPr>
              <p:cNvSpPr>
                <a:spLocks/>
              </p:cNvSpPr>
              <p:nvPr/>
            </p:nvSpPr>
            <p:spPr bwMode="gray">
              <a:xfrm>
                <a:off x="6137013" y="4810863"/>
                <a:ext cx="19813" cy="33197"/>
              </a:xfrm>
              <a:custGeom>
                <a:avLst/>
                <a:gdLst>
                  <a:gd name="T0" fmla="*/ 0 w 12"/>
                  <a:gd name="T1" fmla="*/ 4 h 20"/>
                  <a:gd name="T2" fmla="*/ 10 w 12"/>
                  <a:gd name="T3" fmla="*/ 0 h 20"/>
                  <a:gd name="T4" fmla="*/ 12 w 12"/>
                  <a:gd name="T5" fmla="*/ 4 h 20"/>
                  <a:gd name="T6" fmla="*/ 10 w 12"/>
                  <a:gd name="T7" fmla="*/ 12 h 20"/>
                  <a:gd name="T8" fmla="*/ 0 w 12"/>
                  <a:gd name="T9" fmla="*/ 20 h 20"/>
                  <a:gd name="T10" fmla="*/ 0 w 12"/>
                  <a:gd name="T11" fmla="*/ 4 h 20"/>
                </a:gdLst>
                <a:ahLst/>
                <a:cxnLst>
                  <a:cxn ang="0">
                    <a:pos x="T0" y="T1"/>
                  </a:cxn>
                  <a:cxn ang="0">
                    <a:pos x="T2" y="T3"/>
                  </a:cxn>
                  <a:cxn ang="0">
                    <a:pos x="T4" y="T5"/>
                  </a:cxn>
                  <a:cxn ang="0">
                    <a:pos x="T6" y="T7"/>
                  </a:cxn>
                  <a:cxn ang="0">
                    <a:pos x="T8" y="T9"/>
                  </a:cxn>
                  <a:cxn ang="0">
                    <a:pos x="T10" y="T11"/>
                  </a:cxn>
                </a:cxnLst>
                <a:rect l="0" t="0" r="r" b="b"/>
                <a:pathLst>
                  <a:path w="12" h="20">
                    <a:moveTo>
                      <a:pt x="0" y="4"/>
                    </a:moveTo>
                    <a:lnTo>
                      <a:pt x="10" y="0"/>
                    </a:lnTo>
                    <a:lnTo>
                      <a:pt x="12" y="4"/>
                    </a:lnTo>
                    <a:lnTo>
                      <a:pt x="10" y="12"/>
                    </a:lnTo>
                    <a:lnTo>
                      <a:pt x="0" y="20"/>
                    </a:lnTo>
                    <a:lnTo>
                      <a:pt x="0" y="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80" name="Freeform 173">
                <a:extLst>
                  <a:ext uri="{FF2B5EF4-FFF2-40B4-BE49-F238E27FC236}">
                    <a16:creationId xmlns:a16="http://schemas.microsoft.com/office/drawing/2014/main" id="{3738DF10-2AAE-4BB7-8DE0-DA139D5A8686}"/>
                  </a:ext>
                </a:extLst>
              </p:cNvPr>
              <p:cNvSpPr>
                <a:spLocks/>
              </p:cNvSpPr>
              <p:nvPr/>
            </p:nvSpPr>
            <p:spPr bwMode="gray">
              <a:xfrm>
                <a:off x="6112246" y="4598405"/>
                <a:ext cx="193176" cy="219097"/>
              </a:xfrm>
              <a:custGeom>
                <a:avLst/>
                <a:gdLst>
                  <a:gd name="T0" fmla="*/ 0 w 117"/>
                  <a:gd name="T1" fmla="*/ 116 h 132"/>
                  <a:gd name="T2" fmla="*/ 15 w 117"/>
                  <a:gd name="T3" fmla="*/ 116 h 132"/>
                  <a:gd name="T4" fmla="*/ 15 w 117"/>
                  <a:gd name="T5" fmla="*/ 106 h 132"/>
                  <a:gd name="T6" fmla="*/ 7 w 117"/>
                  <a:gd name="T7" fmla="*/ 106 h 132"/>
                  <a:gd name="T8" fmla="*/ 7 w 117"/>
                  <a:gd name="T9" fmla="*/ 94 h 132"/>
                  <a:gd name="T10" fmla="*/ 15 w 117"/>
                  <a:gd name="T11" fmla="*/ 94 h 132"/>
                  <a:gd name="T12" fmla="*/ 25 w 117"/>
                  <a:gd name="T13" fmla="*/ 86 h 132"/>
                  <a:gd name="T14" fmla="*/ 31 w 117"/>
                  <a:gd name="T15" fmla="*/ 94 h 132"/>
                  <a:gd name="T16" fmla="*/ 49 w 117"/>
                  <a:gd name="T17" fmla="*/ 96 h 132"/>
                  <a:gd name="T18" fmla="*/ 53 w 117"/>
                  <a:gd name="T19" fmla="*/ 88 h 132"/>
                  <a:gd name="T20" fmla="*/ 53 w 117"/>
                  <a:gd name="T21" fmla="*/ 68 h 132"/>
                  <a:gd name="T22" fmla="*/ 45 w 117"/>
                  <a:gd name="T23" fmla="*/ 62 h 132"/>
                  <a:gd name="T24" fmla="*/ 45 w 117"/>
                  <a:gd name="T25" fmla="*/ 50 h 132"/>
                  <a:gd name="T26" fmla="*/ 53 w 117"/>
                  <a:gd name="T27" fmla="*/ 44 h 132"/>
                  <a:gd name="T28" fmla="*/ 49 w 117"/>
                  <a:gd name="T29" fmla="*/ 34 h 132"/>
                  <a:gd name="T30" fmla="*/ 35 w 117"/>
                  <a:gd name="T31" fmla="*/ 36 h 132"/>
                  <a:gd name="T32" fmla="*/ 31 w 117"/>
                  <a:gd name="T33" fmla="*/ 20 h 132"/>
                  <a:gd name="T34" fmla="*/ 59 w 117"/>
                  <a:gd name="T35" fmla="*/ 20 h 132"/>
                  <a:gd name="T36" fmla="*/ 59 w 117"/>
                  <a:gd name="T37" fmla="*/ 28 h 132"/>
                  <a:gd name="T38" fmla="*/ 77 w 117"/>
                  <a:gd name="T39" fmla="*/ 26 h 132"/>
                  <a:gd name="T40" fmla="*/ 79 w 117"/>
                  <a:gd name="T41" fmla="*/ 12 h 132"/>
                  <a:gd name="T42" fmla="*/ 87 w 117"/>
                  <a:gd name="T43" fmla="*/ 0 h 132"/>
                  <a:gd name="T44" fmla="*/ 117 w 117"/>
                  <a:gd name="T45" fmla="*/ 2 h 132"/>
                  <a:gd name="T46" fmla="*/ 109 w 117"/>
                  <a:gd name="T47" fmla="*/ 46 h 132"/>
                  <a:gd name="T48" fmla="*/ 85 w 117"/>
                  <a:gd name="T49" fmla="*/ 84 h 132"/>
                  <a:gd name="T50" fmla="*/ 81 w 117"/>
                  <a:gd name="T51" fmla="*/ 116 h 132"/>
                  <a:gd name="T52" fmla="*/ 55 w 117"/>
                  <a:gd name="T53" fmla="*/ 128 h 132"/>
                  <a:gd name="T54" fmla="*/ 27 w 117"/>
                  <a:gd name="T55" fmla="*/ 132 h 132"/>
                  <a:gd name="T56" fmla="*/ 25 w 117"/>
                  <a:gd name="T57" fmla="*/ 128 h 132"/>
                  <a:gd name="T58" fmla="*/ 15 w 117"/>
                  <a:gd name="T59" fmla="*/ 132 h 132"/>
                  <a:gd name="T60" fmla="*/ 0 w 117"/>
                  <a:gd name="T61" fmla="*/ 116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7" h="132">
                    <a:moveTo>
                      <a:pt x="0" y="116"/>
                    </a:moveTo>
                    <a:lnTo>
                      <a:pt x="15" y="116"/>
                    </a:lnTo>
                    <a:lnTo>
                      <a:pt x="15" y="106"/>
                    </a:lnTo>
                    <a:lnTo>
                      <a:pt x="7" y="106"/>
                    </a:lnTo>
                    <a:lnTo>
                      <a:pt x="7" y="94"/>
                    </a:lnTo>
                    <a:lnTo>
                      <a:pt x="15" y="94"/>
                    </a:lnTo>
                    <a:lnTo>
                      <a:pt x="25" y="86"/>
                    </a:lnTo>
                    <a:lnTo>
                      <a:pt x="31" y="94"/>
                    </a:lnTo>
                    <a:lnTo>
                      <a:pt x="49" y="96"/>
                    </a:lnTo>
                    <a:lnTo>
                      <a:pt x="53" y="88"/>
                    </a:lnTo>
                    <a:lnTo>
                      <a:pt x="53" y="68"/>
                    </a:lnTo>
                    <a:lnTo>
                      <a:pt x="45" y="62"/>
                    </a:lnTo>
                    <a:lnTo>
                      <a:pt x="45" y="50"/>
                    </a:lnTo>
                    <a:lnTo>
                      <a:pt x="53" y="44"/>
                    </a:lnTo>
                    <a:lnTo>
                      <a:pt x="49" y="34"/>
                    </a:lnTo>
                    <a:lnTo>
                      <a:pt x="35" y="36"/>
                    </a:lnTo>
                    <a:lnTo>
                      <a:pt x="31" y="20"/>
                    </a:lnTo>
                    <a:lnTo>
                      <a:pt x="59" y="20"/>
                    </a:lnTo>
                    <a:lnTo>
                      <a:pt x="59" y="28"/>
                    </a:lnTo>
                    <a:lnTo>
                      <a:pt x="77" y="26"/>
                    </a:lnTo>
                    <a:lnTo>
                      <a:pt x="79" y="12"/>
                    </a:lnTo>
                    <a:lnTo>
                      <a:pt x="87" y="0"/>
                    </a:lnTo>
                    <a:lnTo>
                      <a:pt x="117" y="2"/>
                    </a:lnTo>
                    <a:lnTo>
                      <a:pt x="109" y="46"/>
                    </a:lnTo>
                    <a:lnTo>
                      <a:pt x="85" y="84"/>
                    </a:lnTo>
                    <a:lnTo>
                      <a:pt x="81" y="116"/>
                    </a:lnTo>
                    <a:lnTo>
                      <a:pt x="55" y="128"/>
                    </a:lnTo>
                    <a:lnTo>
                      <a:pt x="27" y="132"/>
                    </a:lnTo>
                    <a:lnTo>
                      <a:pt x="25" y="128"/>
                    </a:lnTo>
                    <a:lnTo>
                      <a:pt x="15" y="132"/>
                    </a:lnTo>
                    <a:lnTo>
                      <a:pt x="0" y="11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81" name="Freeform 174">
                <a:extLst>
                  <a:ext uri="{FF2B5EF4-FFF2-40B4-BE49-F238E27FC236}">
                    <a16:creationId xmlns:a16="http://schemas.microsoft.com/office/drawing/2014/main" id="{AC15D2DD-D09B-4191-92DB-DAD76AD73F01}"/>
                  </a:ext>
                </a:extLst>
              </p:cNvPr>
              <p:cNvSpPr>
                <a:spLocks/>
              </p:cNvSpPr>
              <p:nvPr/>
            </p:nvSpPr>
            <p:spPr bwMode="gray">
              <a:xfrm>
                <a:off x="6708283" y="4571848"/>
                <a:ext cx="208036" cy="245655"/>
              </a:xfrm>
              <a:custGeom>
                <a:avLst/>
                <a:gdLst>
                  <a:gd name="T0" fmla="*/ 8 w 126"/>
                  <a:gd name="T1" fmla="*/ 0 h 148"/>
                  <a:gd name="T2" fmla="*/ 28 w 126"/>
                  <a:gd name="T3" fmla="*/ 0 h 148"/>
                  <a:gd name="T4" fmla="*/ 64 w 126"/>
                  <a:gd name="T5" fmla="*/ 16 h 148"/>
                  <a:gd name="T6" fmla="*/ 88 w 126"/>
                  <a:gd name="T7" fmla="*/ 18 h 148"/>
                  <a:gd name="T8" fmla="*/ 108 w 126"/>
                  <a:gd name="T9" fmla="*/ 6 h 148"/>
                  <a:gd name="T10" fmla="*/ 114 w 126"/>
                  <a:gd name="T11" fmla="*/ 14 h 148"/>
                  <a:gd name="T12" fmla="*/ 126 w 126"/>
                  <a:gd name="T13" fmla="*/ 10 h 148"/>
                  <a:gd name="T14" fmla="*/ 126 w 126"/>
                  <a:gd name="T15" fmla="*/ 20 h 148"/>
                  <a:gd name="T16" fmla="*/ 110 w 126"/>
                  <a:gd name="T17" fmla="*/ 30 h 148"/>
                  <a:gd name="T18" fmla="*/ 112 w 126"/>
                  <a:gd name="T19" fmla="*/ 86 h 148"/>
                  <a:gd name="T20" fmla="*/ 122 w 126"/>
                  <a:gd name="T21" fmla="*/ 98 h 148"/>
                  <a:gd name="T22" fmla="*/ 112 w 126"/>
                  <a:gd name="T23" fmla="*/ 106 h 148"/>
                  <a:gd name="T24" fmla="*/ 100 w 126"/>
                  <a:gd name="T25" fmla="*/ 118 h 148"/>
                  <a:gd name="T26" fmla="*/ 92 w 126"/>
                  <a:gd name="T27" fmla="*/ 136 h 148"/>
                  <a:gd name="T28" fmla="*/ 86 w 126"/>
                  <a:gd name="T29" fmla="*/ 148 h 148"/>
                  <a:gd name="T30" fmla="*/ 62 w 126"/>
                  <a:gd name="T31" fmla="*/ 130 h 148"/>
                  <a:gd name="T32" fmla="*/ 58 w 126"/>
                  <a:gd name="T33" fmla="*/ 120 h 148"/>
                  <a:gd name="T34" fmla="*/ 6 w 126"/>
                  <a:gd name="T35" fmla="*/ 92 h 148"/>
                  <a:gd name="T36" fmla="*/ 2 w 126"/>
                  <a:gd name="T37" fmla="*/ 92 h 148"/>
                  <a:gd name="T38" fmla="*/ 6 w 126"/>
                  <a:gd name="T39" fmla="*/ 78 h 148"/>
                  <a:gd name="T40" fmla="*/ 4 w 126"/>
                  <a:gd name="T41" fmla="*/ 66 h 148"/>
                  <a:gd name="T42" fmla="*/ 18 w 126"/>
                  <a:gd name="T43" fmla="*/ 50 h 148"/>
                  <a:gd name="T44" fmla="*/ 12 w 126"/>
                  <a:gd name="T45" fmla="*/ 28 h 148"/>
                  <a:gd name="T46" fmla="*/ 0 w 126"/>
                  <a:gd name="T47" fmla="*/ 8 h 148"/>
                  <a:gd name="T48" fmla="*/ 8 w 126"/>
                  <a:gd name="T49"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6" h="148">
                    <a:moveTo>
                      <a:pt x="8" y="0"/>
                    </a:moveTo>
                    <a:lnTo>
                      <a:pt x="28" y="0"/>
                    </a:lnTo>
                    <a:lnTo>
                      <a:pt x="64" y="16"/>
                    </a:lnTo>
                    <a:lnTo>
                      <a:pt x="88" y="18"/>
                    </a:lnTo>
                    <a:lnTo>
                      <a:pt x="108" y="6"/>
                    </a:lnTo>
                    <a:lnTo>
                      <a:pt x="114" y="14"/>
                    </a:lnTo>
                    <a:lnTo>
                      <a:pt x="126" y="10"/>
                    </a:lnTo>
                    <a:lnTo>
                      <a:pt x="126" y="20"/>
                    </a:lnTo>
                    <a:lnTo>
                      <a:pt x="110" y="30"/>
                    </a:lnTo>
                    <a:lnTo>
                      <a:pt x="112" y="86"/>
                    </a:lnTo>
                    <a:lnTo>
                      <a:pt x="122" y="98"/>
                    </a:lnTo>
                    <a:lnTo>
                      <a:pt x="112" y="106"/>
                    </a:lnTo>
                    <a:lnTo>
                      <a:pt x="100" y="118"/>
                    </a:lnTo>
                    <a:lnTo>
                      <a:pt x="92" y="136"/>
                    </a:lnTo>
                    <a:lnTo>
                      <a:pt x="86" y="148"/>
                    </a:lnTo>
                    <a:lnTo>
                      <a:pt x="62" y="130"/>
                    </a:lnTo>
                    <a:lnTo>
                      <a:pt x="58" y="120"/>
                    </a:lnTo>
                    <a:lnTo>
                      <a:pt x="6" y="92"/>
                    </a:lnTo>
                    <a:lnTo>
                      <a:pt x="2" y="92"/>
                    </a:lnTo>
                    <a:lnTo>
                      <a:pt x="6" y="78"/>
                    </a:lnTo>
                    <a:lnTo>
                      <a:pt x="4" y="66"/>
                    </a:lnTo>
                    <a:lnTo>
                      <a:pt x="18" y="50"/>
                    </a:lnTo>
                    <a:lnTo>
                      <a:pt x="12" y="28"/>
                    </a:lnTo>
                    <a:lnTo>
                      <a:pt x="0" y="8"/>
                    </a:lnTo>
                    <a:lnTo>
                      <a:pt x="8"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82" name="Freeform 175">
                <a:extLst>
                  <a:ext uri="{FF2B5EF4-FFF2-40B4-BE49-F238E27FC236}">
                    <a16:creationId xmlns:a16="http://schemas.microsoft.com/office/drawing/2014/main" id="{404F451A-D8DF-493C-91E1-BBB935A53445}"/>
                  </a:ext>
                </a:extLst>
              </p:cNvPr>
              <p:cNvSpPr>
                <a:spLocks/>
              </p:cNvSpPr>
              <p:nvPr/>
            </p:nvSpPr>
            <p:spPr bwMode="gray">
              <a:xfrm>
                <a:off x="6052807" y="4631601"/>
                <a:ext cx="146946" cy="159344"/>
              </a:xfrm>
              <a:custGeom>
                <a:avLst/>
                <a:gdLst>
                  <a:gd name="T0" fmla="*/ 39 w 89"/>
                  <a:gd name="T1" fmla="*/ 0 h 96"/>
                  <a:gd name="T2" fmla="*/ 67 w 89"/>
                  <a:gd name="T3" fmla="*/ 0 h 96"/>
                  <a:gd name="T4" fmla="*/ 71 w 89"/>
                  <a:gd name="T5" fmla="*/ 16 h 96"/>
                  <a:gd name="T6" fmla="*/ 85 w 89"/>
                  <a:gd name="T7" fmla="*/ 14 h 96"/>
                  <a:gd name="T8" fmla="*/ 89 w 89"/>
                  <a:gd name="T9" fmla="*/ 24 h 96"/>
                  <a:gd name="T10" fmla="*/ 81 w 89"/>
                  <a:gd name="T11" fmla="*/ 30 h 96"/>
                  <a:gd name="T12" fmla="*/ 81 w 89"/>
                  <a:gd name="T13" fmla="*/ 42 h 96"/>
                  <a:gd name="T14" fmla="*/ 89 w 89"/>
                  <a:gd name="T15" fmla="*/ 48 h 96"/>
                  <a:gd name="T16" fmla="*/ 89 w 89"/>
                  <a:gd name="T17" fmla="*/ 68 h 96"/>
                  <a:gd name="T18" fmla="*/ 85 w 89"/>
                  <a:gd name="T19" fmla="*/ 76 h 96"/>
                  <a:gd name="T20" fmla="*/ 67 w 89"/>
                  <a:gd name="T21" fmla="*/ 74 h 96"/>
                  <a:gd name="T22" fmla="*/ 61 w 89"/>
                  <a:gd name="T23" fmla="*/ 66 h 96"/>
                  <a:gd name="T24" fmla="*/ 51 w 89"/>
                  <a:gd name="T25" fmla="*/ 74 h 96"/>
                  <a:gd name="T26" fmla="*/ 43 w 89"/>
                  <a:gd name="T27" fmla="*/ 74 h 96"/>
                  <a:gd name="T28" fmla="*/ 43 w 89"/>
                  <a:gd name="T29" fmla="*/ 86 h 96"/>
                  <a:gd name="T30" fmla="*/ 51 w 89"/>
                  <a:gd name="T31" fmla="*/ 86 h 96"/>
                  <a:gd name="T32" fmla="*/ 51 w 89"/>
                  <a:gd name="T33" fmla="*/ 96 h 96"/>
                  <a:gd name="T34" fmla="*/ 36 w 89"/>
                  <a:gd name="T35" fmla="*/ 96 h 96"/>
                  <a:gd name="T36" fmla="*/ 18 w 89"/>
                  <a:gd name="T37" fmla="*/ 82 h 96"/>
                  <a:gd name="T38" fmla="*/ 10 w 89"/>
                  <a:gd name="T39" fmla="*/ 68 h 96"/>
                  <a:gd name="T40" fmla="*/ 0 w 89"/>
                  <a:gd name="T41" fmla="*/ 48 h 96"/>
                  <a:gd name="T42" fmla="*/ 10 w 89"/>
                  <a:gd name="T43" fmla="*/ 32 h 96"/>
                  <a:gd name="T44" fmla="*/ 12 w 89"/>
                  <a:gd name="T45" fmla="*/ 24 h 96"/>
                  <a:gd name="T46" fmla="*/ 36 w 89"/>
                  <a:gd name="T47" fmla="*/ 22 h 96"/>
                  <a:gd name="T48" fmla="*/ 39 w 89"/>
                  <a:gd name="T49"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9" h="96">
                    <a:moveTo>
                      <a:pt x="39" y="0"/>
                    </a:moveTo>
                    <a:lnTo>
                      <a:pt x="67" y="0"/>
                    </a:lnTo>
                    <a:lnTo>
                      <a:pt x="71" y="16"/>
                    </a:lnTo>
                    <a:lnTo>
                      <a:pt x="85" y="14"/>
                    </a:lnTo>
                    <a:lnTo>
                      <a:pt x="89" y="24"/>
                    </a:lnTo>
                    <a:lnTo>
                      <a:pt x="81" y="30"/>
                    </a:lnTo>
                    <a:lnTo>
                      <a:pt x="81" y="42"/>
                    </a:lnTo>
                    <a:lnTo>
                      <a:pt x="89" y="48"/>
                    </a:lnTo>
                    <a:lnTo>
                      <a:pt x="89" y="68"/>
                    </a:lnTo>
                    <a:lnTo>
                      <a:pt x="85" y="76"/>
                    </a:lnTo>
                    <a:lnTo>
                      <a:pt x="67" y="74"/>
                    </a:lnTo>
                    <a:lnTo>
                      <a:pt x="61" y="66"/>
                    </a:lnTo>
                    <a:lnTo>
                      <a:pt x="51" y="74"/>
                    </a:lnTo>
                    <a:lnTo>
                      <a:pt x="43" y="74"/>
                    </a:lnTo>
                    <a:lnTo>
                      <a:pt x="43" y="86"/>
                    </a:lnTo>
                    <a:lnTo>
                      <a:pt x="51" y="86"/>
                    </a:lnTo>
                    <a:lnTo>
                      <a:pt x="51" y="96"/>
                    </a:lnTo>
                    <a:lnTo>
                      <a:pt x="36" y="96"/>
                    </a:lnTo>
                    <a:lnTo>
                      <a:pt x="18" y="82"/>
                    </a:lnTo>
                    <a:lnTo>
                      <a:pt x="10" y="68"/>
                    </a:lnTo>
                    <a:lnTo>
                      <a:pt x="0" y="48"/>
                    </a:lnTo>
                    <a:lnTo>
                      <a:pt x="10" y="32"/>
                    </a:lnTo>
                    <a:lnTo>
                      <a:pt x="12" y="24"/>
                    </a:lnTo>
                    <a:lnTo>
                      <a:pt x="36" y="22"/>
                    </a:lnTo>
                    <a:lnTo>
                      <a:pt x="39"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83" name="Freeform 176">
                <a:extLst>
                  <a:ext uri="{FF2B5EF4-FFF2-40B4-BE49-F238E27FC236}">
                    <a16:creationId xmlns:a16="http://schemas.microsoft.com/office/drawing/2014/main" id="{370636B2-122F-4A5C-B742-D2B8D5A0A4F4}"/>
                  </a:ext>
                </a:extLst>
              </p:cNvPr>
              <p:cNvSpPr>
                <a:spLocks/>
              </p:cNvSpPr>
              <p:nvPr/>
            </p:nvSpPr>
            <p:spPr bwMode="gray">
              <a:xfrm>
                <a:off x="5375869" y="4329513"/>
                <a:ext cx="82553" cy="19918"/>
              </a:xfrm>
              <a:custGeom>
                <a:avLst/>
                <a:gdLst>
                  <a:gd name="T0" fmla="*/ 8 w 50"/>
                  <a:gd name="T1" fmla="*/ 0 h 12"/>
                  <a:gd name="T2" fmla="*/ 20 w 50"/>
                  <a:gd name="T3" fmla="*/ 0 h 12"/>
                  <a:gd name="T4" fmla="*/ 32 w 50"/>
                  <a:gd name="T5" fmla="*/ 2 h 12"/>
                  <a:gd name="T6" fmla="*/ 42 w 50"/>
                  <a:gd name="T7" fmla="*/ 4 h 12"/>
                  <a:gd name="T8" fmla="*/ 50 w 50"/>
                  <a:gd name="T9" fmla="*/ 6 h 12"/>
                  <a:gd name="T10" fmla="*/ 46 w 50"/>
                  <a:gd name="T11" fmla="*/ 8 h 12"/>
                  <a:gd name="T12" fmla="*/ 34 w 50"/>
                  <a:gd name="T13" fmla="*/ 8 h 12"/>
                  <a:gd name="T14" fmla="*/ 26 w 50"/>
                  <a:gd name="T15" fmla="*/ 8 h 12"/>
                  <a:gd name="T16" fmla="*/ 16 w 50"/>
                  <a:gd name="T17" fmla="*/ 8 h 12"/>
                  <a:gd name="T18" fmla="*/ 6 w 50"/>
                  <a:gd name="T19" fmla="*/ 12 h 12"/>
                  <a:gd name="T20" fmla="*/ 0 w 50"/>
                  <a:gd name="T21" fmla="*/ 10 h 12"/>
                  <a:gd name="T22" fmla="*/ 4 w 50"/>
                  <a:gd name="T23" fmla="*/ 0 h 12"/>
                  <a:gd name="T24" fmla="*/ 8 w 5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12">
                    <a:moveTo>
                      <a:pt x="8" y="0"/>
                    </a:moveTo>
                    <a:lnTo>
                      <a:pt x="20" y="0"/>
                    </a:lnTo>
                    <a:lnTo>
                      <a:pt x="32" y="2"/>
                    </a:lnTo>
                    <a:lnTo>
                      <a:pt x="42" y="4"/>
                    </a:lnTo>
                    <a:lnTo>
                      <a:pt x="50" y="6"/>
                    </a:lnTo>
                    <a:lnTo>
                      <a:pt x="46" y="8"/>
                    </a:lnTo>
                    <a:lnTo>
                      <a:pt x="34" y="8"/>
                    </a:lnTo>
                    <a:lnTo>
                      <a:pt x="26" y="8"/>
                    </a:lnTo>
                    <a:lnTo>
                      <a:pt x="16" y="8"/>
                    </a:lnTo>
                    <a:lnTo>
                      <a:pt x="6" y="12"/>
                    </a:lnTo>
                    <a:lnTo>
                      <a:pt x="0" y="10"/>
                    </a:lnTo>
                    <a:lnTo>
                      <a:pt x="4" y="0"/>
                    </a:lnTo>
                    <a:lnTo>
                      <a:pt x="8"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84" name="Freeform 177">
                <a:extLst>
                  <a:ext uri="{FF2B5EF4-FFF2-40B4-BE49-F238E27FC236}">
                    <a16:creationId xmlns:a16="http://schemas.microsoft.com/office/drawing/2014/main" id="{3D6B15A4-93E2-4EB0-AF64-1B4BEE23F830}"/>
                  </a:ext>
                </a:extLst>
              </p:cNvPr>
              <p:cNvSpPr>
                <a:spLocks/>
              </p:cNvSpPr>
              <p:nvPr/>
            </p:nvSpPr>
            <p:spPr bwMode="gray">
              <a:xfrm>
                <a:off x="5375869" y="4329513"/>
                <a:ext cx="82553" cy="19918"/>
              </a:xfrm>
              <a:custGeom>
                <a:avLst/>
                <a:gdLst>
                  <a:gd name="T0" fmla="*/ 8 w 50"/>
                  <a:gd name="T1" fmla="*/ 0 h 12"/>
                  <a:gd name="T2" fmla="*/ 20 w 50"/>
                  <a:gd name="T3" fmla="*/ 0 h 12"/>
                  <a:gd name="T4" fmla="*/ 32 w 50"/>
                  <a:gd name="T5" fmla="*/ 2 h 12"/>
                  <a:gd name="T6" fmla="*/ 42 w 50"/>
                  <a:gd name="T7" fmla="*/ 4 h 12"/>
                  <a:gd name="T8" fmla="*/ 50 w 50"/>
                  <a:gd name="T9" fmla="*/ 6 h 12"/>
                  <a:gd name="T10" fmla="*/ 46 w 50"/>
                  <a:gd name="T11" fmla="*/ 8 h 12"/>
                  <a:gd name="T12" fmla="*/ 34 w 50"/>
                  <a:gd name="T13" fmla="*/ 8 h 12"/>
                  <a:gd name="T14" fmla="*/ 26 w 50"/>
                  <a:gd name="T15" fmla="*/ 8 h 12"/>
                  <a:gd name="T16" fmla="*/ 16 w 50"/>
                  <a:gd name="T17" fmla="*/ 8 h 12"/>
                  <a:gd name="T18" fmla="*/ 6 w 50"/>
                  <a:gd name="T19" fmla="*/ 12 h 12"/>
                  <a:gd name="T20" fmla="*/ 0 w 50"/>
                  <a:gd name="T21" fmla="*/ 10 h 12"/>
                  <a:gd name="T22" fmla="*/ 4 w 50"/>
                  <a:gd name="T23" fmla="*/ 0 h 12"/>
                  <a:gd name="T24" fmla="*/ 8 w 5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12">
                    <a:moveTo>
                      <a:pt x="8" y="0"/>
                    </a:moveTo>
                    <a:lnTo>
                      <a:pt x="20" y="0"/>
                    </a:lnTo>
                    <a:lnTo>
                      <a:pt x="32" y="2"/>
                    </a:lnTo>
                    <a:lnTo>
                      <a:pt x="42" y="4"/>
                    </a:lnTo>
                    <a:lnTo>
                      <a:pt x="50" y="6"/>
                    </a:lnTo>
                    <a:lnTo>
                      <a:pt x="46" y="8"/>
                    </a:lnTo>
                    <a:lnTo>
                      <a:pt x="34" y="8"/>
                    </a:lnTo>
                    <a:lnTo>
                      <a:pt x="26" y="8"/>
                    </a:lnTo>
                    <a:lnTo>
                      <a:pt x="16" y="8"/>
                    </a:lnTo>
                    <a:lnTo>
                      <a:pt x="6" y="12"/>
                    </a:lnTo>
                    <a:lnTo>
                      <a:pt x="0" y="10"/>
                    </a:lnTo>
                    <a:lnTo>
                      <a:pt x="4" y="0"/>
                    </a:lnTo>
                    <a:lnTo>
                      <a:pt x="8"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85" name="Freeform 178">
                <a:extLst>
                  <a:ext uri="{FF2B5EF4-FFF2-40B4-BE49-F238E27FC236}">
                    <a16:creationId xmlns:a16="http://schemas.microsoft.com/office/drawing/2014/main" id="{2D565648-A5C3-49DC-9584-CCF8AC706B09}"/>
                  </a:ext>
                </a:extLst>
              </p:cNvPr>
              <p:cNvSpPr>
                <a:spLocks/>
              </p:cNvSpPr>
              <p:nvPr/>
            </p:nvSpPr>
            <p:spPr bwMode="gray">
              <a:xfrm>
                <a:off x="5369265" y="4249841"/>
                <a:ext cx="151899" cy="116189"/>
              </a:xfrm>
              <a:custGeom>
                <a:avLst/>
                <a:gdLst>
                  <a:gd name="T0" fmla="*/ 2 w 92"/>
                  <a:gd name="T1" fmla="*/ 34 h 70"/>
                  <a:gd name="T2" fmla="*/ 0 w 92"/>
                  <a:gd name="T3" fmla="*/ 28 h 70"/>
                  <a:gd name="T4" fmla="*/ 6 w 92"/>
                  <a:gd name="T5" fmla="*/ 20 h 70"/>
                  <a:gd name="T6" fmla="*/ 12 w 92"/>
                  <a:gd name="T7" fmla="*/ 12 h 70"/>
                  <a:gd name="T8" fmla="*/ 14 w 92"/>
                  <a:gd name="T9" fmla="*/ 2 h 70"/>
                  <a:gd name="T10" fmla="*/ 28 w 92"/>
                  <a:gd name="T11" fmla="*/ 0 h 70"/>
                  <a:gd name="T12" fmla="*/ 42 w 92"/>
                  <a:gd name="T13" fmla="*/ 0 h 70"/>
                  <a:gd name="T14" fmla="*/ 54 w 92"/>
                  <a:gd name="T15" fmla="*/ 6 h 70"/>
                  <a:gd name="T16" fmla="*/ 62 w 92"/>
                  <a:gd name="T17" fmla="*/ 12 h 70"/>
                  <a:gd name="T18" fmla="*/ 70 w 92"/>
                  <a:gd name="T19" fmla="*/ 24 h 70"/>
                  <a:gd name="T20" fmla="*/ 80 w 92"/>
                  <a:gd name="T21" fmla="*/ 32 h 70"/>
                  <a:gd name="T22" fmla="*/ 82 w 92"/>
                  <a:gd name="T23" fmla="*/ 38 h 70"/>
                  <a:gd name="T24" fmla="*/ 84 w 92"/>
                  <a:gd name="T25" fmla="*/ 50 h 70"/>
                  <a:gd name="T26" fmla="*/ 90 w 92"/>
                  <a:gd name="T27" fmla="*/ 58 h 70"/>
                  <a:gd name="T28" fmla="*/ 92 w 92"/>
                  <a:gd name="T29" fmla="*/ 66 h 70"/>
                  <a:gd name="T30" fmla="*/ 92 w 92"/>
                  <a:gd name="T31" fmla="*/ 70 h 70"/>
                  <a:gd name="T32" fmla="*/ 70 w 92"/>
                  <a:gd name="T33" fmla="*/ 68 h 70"/>
                  <a:gd name="T34" fmla="*/ 64 w 92"/>
                  <a:gd name="T35" fmla="*/ 64 h 70"/>
                  <a:gd name="T36" fmla="*/ 58 w 92"/>
                  <a:gd name="T37" fmla="*/ 64 h 70"/>
                  <a:gd name="T38" fmla="*/ 50 w 92"/>
                  <a:gd name="T39" fmla="*/ 64 h 70"/>
                  <a:gd name="T40" fmla="*/ 38 w 92"/>
                  <a:gd name="T41" fmla="*/ 64 h 70"/>
                  <a:gd name="T42" fmla="*/ 32 w 92"/>
                  <a:gd name="T43" fmla="*/ 64 h 70"/>
                  <a:gd name="T44" fmla="*/ 28 w 92"/>
                  <a:gd name="T45" fmla="*/ 68 h 70"/>
                  <a:gd name="T46" fmla="*/ 10 w 92"/>
                  <a:gd name="T47" fmla="*/ 70 h 70"/>
                  <a:gd name="T48" fmla="*/ 10 w 92"/>
                  <a:gd name="T49" fmla="*/ 60 h 70"/>
                  <a:gd name="T50" fmla="*/ 20 w 92"/>
                  <a:gd name="T51" fmla="*/ 56 h 70"/>
                  <a:gd name="T52" fmla="*/ 30 w 92"/>
                  <a:gd name="T53" fmla="*/ 56 h 70"/>
                  <a:gd name="T54" fmla="*/ 38 w 92"/>
                  <a:gd name="T55" fmla="*/ 56 h 70"/>
                  <a:gd name="T56" fmla="*/ 50 w 92"/>
                  <a:gd name="T57" fmla="*/ 56 h 70"/>
                  <a:gd name="T58" fmla="*/ 54 w 92"/>
                  <a:gd name="T59" fmla="*/ 54 h 70"/>
                  <a:gd name="T60" fmla="*/ 40 w 92"/>
                  <a:gd name="T61" fmla="*/ 50 h 70"/>
                  <a:gd name="T62" fmla="*/ 36 w 92"/>
                  <a:gd name="T63" fmla="*/ 50 h 70"/>
                  <a:gd name="T64" fmla="*/ 22 w 92"/>
                  <a:gd name="T65" fmla="*/ 48 h 70"/>
                  <a:gd name="T66" fmla="*/ 12 w 92"/>
                  <a:gd name="T67" fmla="*/ 48 h 70"/>
                  <a:gd name="T68" fmla="*/ 8 w 92"/>
                  <a:gd name="T69" fmla="*/ 48 h 70"/>
                  <a:gd name="T70" fmla="*/ 4 w 92"/>
                  <a:gd name="T71" fmla="*/ 40 h 70"/>
                  <a:gd name="T72" fmla="*/ 2 w 92"/>
                  <a:gd name="T73" fmla="*/ 3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2" h="70">
                    <a:moveTo>
                      <a:pt x="2" y="34"/>
                    </a:moveTo>
                    <a:lnTo>
                      <a:pt x="0" y="28"/>
                    </a:lnTo>
                    <a:lnTo>
                      <a:pt x="6" y="20"/>
                    </a:lnTo>
                    <a:lnTo>
                      <a:pt x="12" y="12"/>
                    </a:lnTo>
                    <a:lnTo>
                      <a:pt x="14" y="2"/>
                    </a:lnTo>
                    <a:lnTo>
                      <a:pt x="28" y="0"/>
                    </a:lnTo>
                    <a:lnTo>
                      <a:pt x="42" y="0"/>
                    </a:lnTo>
                    <a:lnTo>
                      <a:pt x="54" y="6"/>
                    </a:lnTo>
                    <a:lnTo>
                      <a:pt x="62" y="12"/>
                    </a:lnTo>
                    <a:lnTo>
                      <a:pt x="70" y="24"/>
                    </a:lnTo>
                    <a:lnTo>
                      <a:pt x="80" y="32"/>
                    </a:lnTo>
                    <a:lnTo>
                      <a:pt x="82" y="38"/>
                    </a:lnTo>
                    <a:lnTo>
                      <a:pt x="84" y="50"/>
                    </a:lnTo>
                    <a:lnTo>
                      <a:pt x="90" y="58"/>
                    </a:lnTo>
                    <a:lnTo>
                      <a:pt x="92" y="66"/>
                    </a:lnTo>
                    <a:lnTo>
                      <a:pt x="92" y="70"/>
                    </a:lnTo>
                    <a:lnTo>
                      <a:pt x="70" y="68"/>
                    </a:lnTo>
                    <a:lnTo>
                      <a:pt x="64" y="64"/>
                    </a:lnTo>
                    <a:lnTo>
                      <a:pt x="58" y="64"/>
                    </a:lnTo>
                    <a:lnTo>
                      <a:pt x="50" y="64"/>
                    </a:lnTo>
                    <a:lnTo>
                      <a:pt x="38" y="64"/>
                    </a:lnTo>
                    <a:lnTo>
                      <a:pt x="32" y="64"/>
                    </a:lnTo>
                    <a:lnTo>
                      <a:pt x="28" y="68"/>
                    </a:lnTo>
                    <a:lnTo>
                      <a:pt x="10" y="70"/>
                    </a:lnTo>
                    <a:lnTo>
                      <a:pt x="10" y="60"/>
                    </a:lnTo>
                    <a:lnTo>
                      <a:pt x="20" y="56"/>
                    </a:lnTo>
                    <a:lnTo>
                      <a:pt x="30" y="56"/>
                    </a:lnTo>
                    <a:lnTo>
                      <a:pt x="38" y="56"/>
                    </a:lnTo>
                    <a:lnTo>
                      <a:pt x="50" y="56"/>
                    </a:lnTo>
                    <a:lnTo>
                      <a:pt x="54" y="54"/>
                    </a:lnTo>
                    <a:lnTo>
                      <a:pt x="40" y="50"/>
                    </a:lnTo>
                    <a:lnTo>
                      <a:pt x="36" y="50"/>
                    </a:lnTo>
                    <a:lnTo>
                      <a:pt x="22" y="48"/>
                    </a:lnTo>
                    <a:lnTo>
                      <a:pt x="12" y="48"/>
                    </a:lnTo>
                    <a:lnTo>
                      <a:pt x="8" y="48"/>
                    </a:lnTo>
                    <a:lnTo>
                      <a:pt x="4" y="40"/>
                    </a:lnTo>
                    <a:lnTo>
                      <a:pt x="2" y="3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86" name="Freeform 179">
                <a:extLst>
                  <a:ext uri="{FF2B5EF4-FFF2-40B4-BE49-F238E27FC236}">
                    <a16:creationId xmlns:a16="http://schemas.microsoft.com/office/drawing/2014/main" id="{83098635-33D4-4CD7-AD7F-4E457518FDAE}"/>
                  </a:ext>
                </a:extLst>
              </p:cNvPr>
              <p:cNvSpPr>
                <a:spLocks/>
              </p:cNvSpPr>
              <p:nvPr/>
            </p:nvSpPr>
            <p:spPr bwMode="gray">
              <a:xfrm>
                <a:off x="6614172" y="5380184"/>
                <a:ext cx="62740" cy="59754"/>
              </a:xfrm>
              <a:custGeom>
                <a:avLst/>
                <a:gdLst>
                  <a:gd name="T0" fmla="*/ 28 w 38"/>
                  <a:gd name="T1" fmla="*/ 0 h 36"/>
                  <a:gd name="T2" fmla="*/ 0 w 38"/>
                  <a:gd name="T3" fmla="*/ 10 h 36"/>
                  <a:gd name="T4" fmla="*/ 8 w 38"/>
                  <a:gd name="T5" fmla="*/ 36 h 36"/>
                  <a:gd name="T6" fmla="*/ 38 w 38"/>
                  <a:gd name="T7" fmla="*/ 26 h 36"/>
                  <a:gd name="T8" fmla="*/ 26 w 38"/>
                  <a:gd name="T9" fmla="*/ 18 h 36"/>
                  <a:gd name="T10" fmla="*/ 28 w 38"/>
                  <a:gd name="T11" fmla="*/ 0 h 36"/>
                </a:gdLst>
                <a:ahLst/>
                <a:cxnLst>
                  <a:cxn ang="0">
                    <a:pos x="T0" y="T1"/>
                  </a:cxn>
                  <a:cxn ang="0">
                    <a:pos x="T2" y="T3"/>
                  </a:cxn>
                  <a:cxn ang="0">
                    <a:pos x="T4" y="T5"/>
                  </a:cxn>
                  <a:cxn ang="0">
                    <a:pos x="T6" y="T7"/>
                  </a:cxn>
                  <a:cxn ang="0">
                    <a:pos x="T8" y="T9"/>
                  </a:cxn>
                  <a:cxn ang="0">
                    <a:pos x="T10" y="T11"/>
                  </a:cxn>
                </a:cxnLst>
                <a:rect l="0" t="0" r="r" b="b"/>
                <a:pathLst>
                  <a:path w="38" h="36">
                    <a:moveTo>
                      <a:pt x="28" y="0"/>
                    </a:moveTo>
                    <a:lnTo>
                      <a:pt x="0" y="10"/>
                    </a:lnTo>
                    <a:lnTo>
                      <a:pt x="8" y="36"/>
                    </a:lnTo>
                    <a:lnTo>
                      <a:pt x="38" y="26"/>
                    </a:lnTo>
                    <a:lnTo>
                      <a:pt x="26" y="18"/>
                    </a:lnTo>
                    <a:lnTo>
                      <a:pt x="28" y="0"/>
                    </a:lnTo>
                    <a:close/>
                  </a:path>
                </a:pathLst>
              </a:custGeom>
              <a:grpFill/>
              <a:ln w="3175" cap="flat">
                <a:solidFill>
                  <a:srgbClr val="1A1D24"/>
                </a:solidFill>
                <a:prstDash val="solid"/>
                <a:miter lim="800000"/>
                <a:headEnd/>
                <a:tailEnd/>
              </a:ln>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algn="ctr"/>
                <a:endParaRPr lang="en-GB" sz="1000" dirty="0"/>
              </a:p>
            </p:txBody>
          </p:sp>
          <p:sp>
            <p:nvSpPr>
              <p:cNvPr id="987" name="Freeform 180">
                <a:extLst>
                  <a:ext uri="{FF2B5EF4-FFF2-40B4-BE49-F238E27FC236}">
                    <a16:creationId xmlns:a16="http://schemas.microsoft.com/office/drawing/2014/main" id="{EB93D67E-B09D-43BE-B51A-8C6C3E9851B0}"/>
                  </a:ext>
                </a:extLst>
              </p:cNvPr>
              <p:cNvSpPr>
                <a:spLocks/>
              </p:cNvSpPr>
              <p:nvPr/>
            </p:nvSpPr>
            <p:spPr bwMode="gray">
              <a:xfrm>
                <a:off x="6528316" y="5439938"/>
                <a:ext cx="52834" cy="73033"/>
              </a:xfrm>
              <a:custGeom>
                <a:avLst/>
                <a:gdLst>
                  <a:gd name="T0" fmla="*/ 32 w 32"/>
                  <a:gd name="T1" fmla="*/ 28 h 44"/>
                  <a:gd name="T2" fmla="*/ 16 w 32"/>
                  <a:gd name="T3" fmla="*/ 0 h 44"/>
                  <a:gd name="T4" fmla="*/ 0 w 32"/>
                  <a:gd name="T5" fmla="*/ 22 h 44"/>
                  <a:gd name="T6" fmla="*/ 10 w 32"/>
                  <a:gd name="T7" fmla="*/ 44 h 44"/>
                  <a:gd name="T8" fmla="*/ 18 w 32"/>
                  <a:gd name="T9" fmla="*/ 32 h 44"/>
                  <a:gd name="T10" fmla="*/ 32 w 32"/>
                  <a:gd name="T11" fmla="*/ 28 h 44"/>
                </a:gdLst>
                <a:ahLst/>
                <a:cxnLst>
                  <a:cxn ang="0">
                    <a:pos x="T0" y="T1"/>
                  </a:cxn>
                  <a:cxn ang="0">
                    <a:pos x="T2" y="T3"/>
                  </a:cxn>
                  <a:cxn ang="0">
                    <a:pos x="T4" y="T5"/>
                  </a:cxn>
                  <a:cxn ang="0">
                    <a:pos x="T6" y="T7"/>
                  </a:cxn>
                  <a:cxn ang="0">
                    <a:pos x="T8" y="T9"/>
                  </a:cxn>
                  <a:cxn ang="0">
                    <a:pos x="T10" y="T11"/>
                  </a:cxn>
                </a:cxnLst>
                <a:rect l="0" t="0" r="r" b="b"/>
                <a:pathLst>
                  <a:path w="32" h="44">
                    <a:moveTo>
                      <a:pt x="32" y="28"/>
                    </a:moveTo>
                    <a:lnTo>
                      <a:pt x="16" y="0"/>
                    </a:lnTo>
                    <a:lnTo>
                      <a:pt x="0" y="22"/>
                    </a:lnTo>
                    <a:lnTo>
                      <a:pt x="10" y="44"/>
                    </a:lnTo>
                    <a:lnTo>
                      <a:pt x="18" y="32"/>
                    </a:lnTo>
                    <a:lnTo>
                      <a:pt x="32" y="28"/>
                    </a:lnTo>
                    <a:close/>
                  </a:path>
                </a:pathLst>
              </a:custGeom>
              <a:grpFill/>
              <a:ln w="3175" cap="flat">
                <a:solidFill>
                  <a:srgbClr val="1A1D24"/>
                </a:solidFill>
                <a:prstDash val="solid"/>
                <a:miter lim="800000"/>
                <a:headEnd/>
                <a:tailEnd/>
              </a:ln>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algn="ctr"/>
                <a:endParaRPr lang="en-GB" sz="1000" dirty="0"/>
              </a:p>
            </p:txBody>
          </p:sp>
        </p:grpSp>
        <p:sp>
          <p:nvSpPr>
            <p:cNvPr id="1032" name="Freeform 225">
              <a:extLst>
                <a:ext uri="{FF2B5EF4-FFF2-40B4-BE49-F238E27FC236}">
                  <a16:creationId xmlns:a16="http://schemas.microsoft.com/office/drawing/2014/main" id="{A8E262B9-721B-4822-A3FC-4D19F16DB33F}"/>
                </a:ext>
              </a:extLst>
            </p:cNvPr>
            <p:cNvSpPr>
              <a:spLocks/>
            </p:cNvSpPr>
            <p:nvPr/>
          </p:nvSpPr>
          <p:spPr bwMode="gray">
            <a:xfrm>
              <a:off x="8504649" y="4306275"/>
              <a:ext cx="132087" cy="112868"/>
            </a:xfrm>
            <a:custGeom>
              <a:avLst/>
              <a:gdLst>
                <a:gd name="T0" fmla="*/ 40 w 80"/>
                <a:gd name="T1" fmla="*/ 66 h 68"/>
                <a:gd name="T2" fmla="*/ 34 w 80"/>
                <a:gd name="T3" fmla="*/ 66 h 68"/>
                <a:gd name="T4" fmla="*/ 32 w 80"/>
                <a:gd name="T5" fmla="*/ 68 h 68"/>
                <a:gd name="T6" fmla="*/ 18 w 80"/>
                <a:gd name="T7" fmla="*/ 64 h 68"/>
                <a:gd name="T8" fmla="*/ 12 w 80"/>
                <a:gd name="T9" fmla="*/ 54 h 68"/>
                <a:gd name="T10" fmla="*/ 8 w 80"/>
                <a:gd name="T11" fmla="*/ 44 h 68"/>
                <a:gd name="T12" fmla="*/ 0 w 80"/>
                <a:gd name="T13" fmla="*/ 24 h 68"/>
                <a:gd name="T14" fmla="*/ 0 w 80"/>
                <a:gd name="T15" fmla="*/ 18 h 68"/>
                <a:gd name="T16" fmla="*/ 8 w 80"/>
                <a:gd name="T17" fmla="*/ 4 h 68"/>
                <a:gd name="T18" fmla="*/ 48 w 80"/>
                <a:gd name="T19" fmla="*/ 2 h 68"/>
                <a:gd name="T20" fmla="*/ 48 w 80"/>
                <a:gd name="T21" fmla="*/ 8 h 68"/>
                <a:gd name="T22" fmla="*/ 58 w 80"/>
                <a:gd name="T23" fmla="*/ 8 h 68"/>
                <a:gd name="T24" fmla="*/ 62 w 80"/>
                <a:gd name="T25" fmla="*/ 0 h 68"/>
                <a:gd name="T26" fmla="*/ 66 w 80"/>
                <a:gd name="T27" fmla="*/ 2 h 68"/>
                <a:gd name="T28" fmla="*/ 68 w 80"/>
                <a:gd name="T29" fmla="*/ 6 h 68"/>
                <a:gd name="T30" fmla="*/ 80 w 80"/>
                <a:gd name="T31" fmla="*/ 6 h 68"/>
                <a:gd name="T32" fmla="*/ 80 w 80"/>
                <a:gd name="T33" fmla="*/ 16 h 68"/>
                <a:gd name="T34" fmla="*/ 76 w 80"/>
                <a:gd name="T35" fmla="*/ 26 h 68"/>
                <a:gd name="T36" fmla="*/ 70 w 80"/>
                <a:gd name="T37" fmla="*/ 38 h 68"/>
                <a:gd name="T38" fmla="*/ 64 w 80"/>
                <a:gd name="T39" fmla="*/ 46 h 68"/>
                <a:gd name="T40" fmla="*/ 54 w 80"/>
                <a:gd name="T41" fmla="*/ 50 h 68"/>
                <a:gd name="T42" fmla="*/ 54 w 80"/>
                <a:gd name="T43" fmla="*/ 58 h 68"/>
                <a:gd name="T44" fmla="*/ 44 w 80"/>
                <a:gd name="T45" fmla="*/ 62 h 68"/>
                <a:gd name="T46" fmla="*/ 40 w 80"/>
                <a:gd name="T47" fmla="*/ 6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0" h="68">
                  <a:moveTo>
                    <a:pt x="40" y="66"/>
                  </a:moveTo>
                  <a:lnTo>
                    <a:pt x="34" y="66"/>
                  </a:lnTo>
                  <a:lnTo>
                    <a:pt x="32" y="68"/>
                  </a:lnTo>
                  <a:lnTo>
                    <a:pt x="18" y="64"/>
                  </a:lnTo>
                  <a:lnTo>
                    <a:pt x="12" y="54"/>
                  </a:lnTo>
                  <a:lnTo>
                    <a:pt x="8" y="44"/>
                  </a:lnTo>
                  <a:lnTo>
                    <a:pt x="0" y="24"/>
                  </a:lnTo>
                  <a:lnTo>
                    <a:pt x="0" y="18"/>
                  </a:lnTo>
                  <a:lnTo>
                    <a:pt x="8" y="4"/>
                  </a:lnTo>
                  <a:lnTo>
                    <a:pt x="48" y="2"/>
                  </a:lnTo>
                  <a:lnTo>
                    <a:pt x="48" y="8"/>
                  </a:lnTo>
                  <a:lnTo>
                    <a:pt x="58" y="8"/>
                  </a:lnTo>
                  <a:lnTo>
                    <a:pt x="62" y="0"/>
                  </a:lnTo>
                  <a:lnTo>
                    <a:pt x="66" y="2"/>
                  </a:lnTo>
                  <a:lnTo>
                    <a:pt x="68" y="6"/>
                  </a:lnTo>
                  <a:lnTo>
                    <a:pt x="80" y="6"/>
                  </a:lnTo>
                  <a:lnTo>
                    <a:pt x="80" y="16"/>
                  </a:lnTo>
                  <a:lnTo>
                    <a:pt x="76" y="26"/>
                  </a:lnTo>
                  <a:lnTo>
                    <a:pt x="70" y="38"/>
                  </a:lnTo>
                  <a:lnTo>
                    <a:pt x="64" y="46"/>
                  </a:lnTo>
                  <a:lnTo>
                    <a:pt x="54" y="50"/>
                  </a:lnTo>
                  <a:lnTo>
                    <a:pt x="54" y="58"/>
                  </a:lnTo>
                  <a:lnTo>
                    <a:pt x="44" y="62"/>
                  </a:lnTo>
                  <a:lnTo>
                    <a:pt x="40" y="6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33" name="Freeform 226">
              <a:extLst>
                <a:ext uri="{FF2B5EF4-FFF2-40B4-BE49-F238E27FC236}">
                  <a16:creationId xmlns:a16="http://schemas.microsoft.com/office/drawing/2014/main" id="{C07A756C-0307-4340-A3CC-81002FC3FD3E}"/>
                </a:ext>
              </a:extLst>
            </p:cNvPr>
            <p:cNvSpPr>
              <a:spLocks/>
            </p:cNvSpPr>
            <p:nvPr/>
          </p:nvSpPr>
          <p:spPr bwMode="gray">
            <a:xfrm>
              <a:off x="8501347" y="4077218"/>
              <a:ext cx="184920" cy="388400"/>
            </a:xfrm>
            <a:custGeom>
              <a:avLst/>
              <a:gdLst>
                <a:gd name="T0" fmla="*/ 42 w 112"/>
                <a:gd name="T1" fmla="*/ 204 h 234"/>
                <a:gd name="T2" fmla="*/ 44 w 112"/>
                <a:gd name="T3" fmla="*/ 206 h 234"/>
                <a:gd name="T4" fmla="*/ 44 w 112"/>
                <a:gd name="T5" fmla="*/ 208 h 234"/>
                <a:gd name="T6" fmla="*/ 44 w 112"/>
                <a:gd name="T7" fmla="*/ 214 h 234"/>
                <a:gd name="T8" fmla="*/ 42 w 112"/>
                <a:gd name="T9" fmla="*/ 214 h 234"/>
                <a:gd name="T10" fmla="*/ 40 w 112"/>
                <a:gd name="T11" fmla="*/ 234 h 234"/>
                <a:gd name="T12" fmla="*/ 52 w 112"/>
                <a:gd name="T13" fmla="*/ 226 h 234"/>
                <a:gd name="T14" fmla="*/ 66 w 112"/>
                <a:gd name="T15" fmla="*/ 218 h 234"/>
                <a:gd name="T16" fmla="*/ 66 w 112"/>
                <a:gd name="T17" fmla="*/ 210 h 234"/>
                <a:gd name="T18" fmla="*/ 70 w 112"/>
                <a:gd name="T19" fmla="*/ 204 h 234"/>
                <a:gd name="T20" fmla="*/ 82 w 112"/>
                <a:gd name="T21" fmla="*/ 206 h 234"/>
                <a:gd name="T22" fmla="*/ 94 w 112"/>
                <a:gd name="T23" fmla="*/ 202 h 234"/>
                <a:gd name="T24" fmla="*/ 108 w 112"/>
                <a:gd name="T25" fmla="*/ 190 h 234"/>
                <a:gd name="T26" fmla="*/ 112 w 112"/>
                <a:gd name="T27" fmla="*/ 172 h 234"/>
                <a:gd name="T28" fmla="*/ 108 w 112"/>
                <a:gd name="T29" fmla="*/ 152 h 234"/>
                <a:gd name="T30" fmla="*/ 104 w 112"/>
                <a:gd name="T31" fmla="*/ 138 h 234"/>
                <a:gd name="T32" fmla="*/ 100 w 112"/>
                <a:gd name="T33" fmla="*/ 122 h 234"/>
                <a:gd name="T34" fmla="*/ 60 w 112"/>
                <a:gd name="T35" fmla="*/ 78 h 234"/>
                <a:gd name="T36" fmla="*/ 54 w 112"/>
                <a:gd name="T37" fmla="*/ 70 h 234"/>
                <a:gd name="T38" fmla="*/ 62 w 112"/>
                <a:gd name="T39" fmla="*/ 50 h 234"/>
                <a:gd name="T40" fmla="*/ 74 w 112"/>
                <a:gd name="T41" fmla="*/ 34 h 234"/>
                <a:gd name="T42" fmla="*/ 82 w 112"/>
                <a:gd name="T43" fmla="*/ 32 h 234"/>
                <a:gd name="T44" fmla="*/ 80 w 112"/>
                <a:gd name="T45" fmla="*/ 24 h 234"/>
                <a:gd name="T46" fmla="*/ 70 w 112"/>
                <a:gd name="T47" fmla="*/ 20 h 234"/>
                <a:gd name="T48" fmla="*/ 68 w 112"/>
                <a:gd name="T49" fmla="*/ 6 h 234"/>
                <a:gd name="T50" fmla="*/ 58 w 112"/>
                <a:gd name="T51" fmla="*/ 4 h 234"/>
                <a:gd name="T52" fmla="*/ 50 w 112"/>
                <a:gd name="T53" fmla="*/ 0 h 234"/>
                <a:gd name="T54" fmla="*/ 44 w 112"/>
                <a:gd name="T55" fmla="*/ 0 h 234"/>
                <a:gd name="T56" fmla="*/ 34 w 112"/>
                <a:gd name="T57" fmla="*/ 6 h 234"/>
                <a:gd name="T58" fmla="*/ 2 w 112"/>
                <a:gd name="T59" fmla="*/ 8 h 234"/>
                <a:gd name="T60" fmla="*/ 0 w 112"/>
                <a:gd name="T61" fmla="*/ 14 h 234"/>
                <a:gd name="T62" fmla="*/ 10 w 112"/>
                <a:gd name="T63" fmla="*/ 24 h 234"/>
                <a:gd name="T64" fmla="*/ 12 w 112"/>
                <a:gd name="T65" fmla="*/ 38 h 234"/>
                <a:gd name="T66" fmla="*/ 34 w 112"/>
                <a:gd name="T67" fmla="*/ 36 h 234"/>
                <a:gd name="T68" fmla="*/ 40 w 112"/>
                <a:gd name="T69" fmla="*/ 46 h 234"/>
                <a:gd name="T70" fmla="*/ 42 w 112"/>
                <a:gd name="T71" fmla="*/ 56 h 234"/>
                <a:gd name="T72" fmla="*/ 28 w 112"/>
                <a:gd name="T73" fmla="*/ 56 h 234"/>
                <a:gd name="T74" fmla="*/ 26 w 112"/>
                <a:gd name="T75" fmla="*/ 66 h 234"/>
                <a:gd name="T76" fmla="*/ 34 w 112"/>
                <a:gd name="T77" fmla="*/ 70 h 234"/>
                <a:gd name="T78" fmla="*/ 62 w 112"/>
                <a:gd name="T79" fmla="*/ 96 h 234"/>
                <a:gd name="T80" fmla="*/ 80 w 112"/>
                <a:gd name="T81" fmla="*/ 116 h 234"/>
                <a:gd name="T82" fmla="*/ 84 w 112"/>
                <a:gd name="T83" fmla="*/ 130 h 234"/>
                <a:gd name="T84" fmla="*/ 82 w 112"/>
                <a:gd name="T85" fmla="*/ 144 h 234"/>
                <a:gd name="T86" fmla="*/ 82 w 112"/>
                <a:gd name="T87" fmla="*/ 152 h 234"/>
                <a:gd name="T88" fmla="*/ 78 w 112"/>
                <a:gd name="T89" fmla="*/ 164 h 234"/>
                <a:gd name="T90" fmla="*/ 72 w 112"/>
                <a:gd name="T91" fmla="*/ 176 h 234"/>
                <a:gd name="T92" fmla="*/ 66 w 112"/>
                <a:gd name="T93" fmla="*/ 184 h 234"/>
                <a:gd name="T94" fmla="*/ 56 w 112"/>
                <a:gd name="T95" fmla="*/ 188 h 234"/>
                <a:gd name="T96" fmla="*/ 56 w 112"/>
                <a:gd name="T97" fmla="*/ 196 h 234"/>
                <a:gd name="T98" fmla="*/ 46 w 112"/>
                <a:gd name="T99" fmla="*/ 200 h 234"/>
                <a:gd name="T100" fmla="*/ 42 w 112"/>
                <a:gd name="T101" fmla="*/ 20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12" h="234">
                  <a:moveTo>
                    <a:pt x="42" y="204"/>
                  </a:moveTo>
                  <a:lnTo>
                    <a:pt x="44" y="206"/>
                  </a:lnTo>
                  <a:lnTo>
                    <a:pt x="44" y="208"/>
                  </a:lnTo>
                  <a:lnTo>
                    <a:pt x="44" y="214"/>
                  </a:lnTo>
                  <a:lnTo>
                    <a:pt x="42" y="214"/>
                  </a:lnTo>
                  <a:lnTo>
                    <a:pt x="40" y="234"/>
                  </a:lnTo>
                  <a:lnTo>
                    <a:pt x="52" y="226"/>
                  </a:lnTo>
                  <a:lnTo>
                    <a:pt x="66" y="218"/>
                  </a:lnTo>
                  <a:lnTo>
                    <a:pt x="66" y="210"/>
                  </a:lnTo>
                  <a:lnTo>
                    <a:pt x="70" y="204"/>
                  </a:lnTo>
                  <a:lnTo>
                    <a:pt x="82" y="206"/>
                  </a:lnTo>
                  <a:lnTo>
                    <a:pt x="94" y="202"/>
                  </a:lnTo>
                  <a:lnTo>
                    <a:pt x="108" y="190"/>
                  </a:lnTo>
                  <a:lnTo>
                    <a:pt x="112" y="172"/>
                  </a:lnTo>
                  <a:lnTo>
                    <a:pt x="108" y="152"/>
                  </a:lnTo>
                  <a:lnTo>
                    <a:pt x="104" y="138"/>
                  </a:lnTo>
                  <a:lnTo>
                    <a:pt x="100" y="122"/>
                  </a:lnTo>
                  <a:lnTo>
                    <a:pt x="60" y="78"/>
                  </a:lnTo>
                  <a:lnTo>
                    <a:pt x="54" y="70"/>
                  </a:lnTo>
                  <a:lnTo>
                    <a:pt x="62" y="50"/>
                  </a:lnTo>
                  <a:lnTo>
                    <a:pt x="74" y="34"/>
                  </a:lnTo>
                  <a:lnTo>
                    <a:pt x="82" y="32"/>
                  </a:lnTo>
                  <a:lnTo>
                    <a:pt x="80" y="24"/>
                  </a:lnTo>
                  <a:lnTo>
                    <a:pt x="70" y="20"/>
                  </a:lnTo>
                  <a:lnTo>
                    <a:pt x="68" y="6"/>
                  </a:lnTo>
                  <a:lnTo>
                    <a:pt x="58" y="4"/>
                  </a:lnTo>
                  <a:lnTo>
                    <a:pt x="50" y="0"/>
                  </a:lnTo>
                  <a:lnTo>
                    <a:pt x="44" y="0"/>
                  </a:lnTo>
                  <a:lnTo>
                    <a:pt x="34" y="6"/>
                  </a:lnTo>
                  <a:lnTo>
                    <a:pt x="2" y="8"/>
                  </a:lnTo>
                  <a:lnTo>
                    <a:pt x="0" y="14"/>
                  </a:lnTo>
                  <a:lnTo>
                    <a:pt x="10" y="24"/>
                  </a:lnTo>
                  <a:lnTo>
                    <a:pt x="12" y="38"/>
                  </a:lnTo>
                  <a:lnTo>
                    <a:pt x="34" y="36"/>
                  </a:lnTo>
                  <a:lnTo>
                    <a:pt x="40" y="46"/>
                  </a:lnTo>
                  <a:lnTo>
                    <a:pt x="42" y="56"/>
                  </a:lnTo>
                  <a:lnTo>
                    <a:pt x="28" y="56"/>
                  </a:lnTo>
                  <a:lnTo>
                    <a:pt x="26" y="66"/>
                  </a:lnTo>
                  <a:lnTo>
                    <a:pt x="34" y="70"/>
                  </a:lnTo>
                  <a:lnTo>
                    <a:pt x="62" y="96"/>
                  </a:lnTo>
                  <a:lnTo>
                    <a:pt x="80" y="116"/>
                  </a:lnTo>
                  <a:lnTo>
                    <a:pt x="84" y="130"/>
                  </a:lnTo>
                  <a:lnTo>
                    <a:pt x="82" y="144"/>
                  </a:lnTo>
                  <a:lnTo>
                    <a:pt x="82" y="152"/>
                  </a:lnTo>
                  <a:lnTo>
                    <a:pt x="78" y="164"/>
                  </a:lnTo>
                  <a:lnTo>
                    <a:pt x="72" y="176"/>
                  </a:lnTo>
                  <a:lnTo>
                    <a:pt x="66" y="184"/>
                  </a:lnTo>
                  <a:lnTo>
                    <a:pt x="56" y="188"/>
                  </a:lnTo>
                  <a:lnTo>
                    <a:pt x="56" y="196"/>
                  </a:lnTo>
                  <a:lnTo>
                    <a:pt x="46" y="200"/>
                  </a:lnTo>
                  <a:lnTo>
                    <a:pt x="42" y="20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34" name="Freeform 229">
              <a:extLst>
                <a:ext uri="{FF2B5EF4-FFF2-40B4-BE49-F238E27FC236}">
                  <a16:creationId xmlns:a16="http://schemas.microsoft.com/office/drawing/2014/main" id="{5FBDE967-8D37-4C17-8FCE-0EC5EAD4BAC6}"/>
                </a:ext>
              </a:extLst>
            </p:cNvPr>
            <p:cNvSpPr>
              <a:spLocks/>
            </p:cNvSpPr>
            <p:nvPr/>
          </p:nvSpPr>
          <p:spPr bwMode="gray">
            <a:xfrm>
              <a:off x="8154621" y="3931153"/>
              <a:ext cx="82553" cy="43155"/>
            </a:xfrm>
            <a:custGeom>
              <a:avLst/>
              <a:gdLst>
                <a:gd name="T0" fmla="*/ 10 w 50"/>
                <a:gd name="T1" fmla="*/ 0 h 26"/>
                <a:gd name="T2" fmla="*/ 4 w 50"/>
                <a:gd name="T3" fmla="*/ 6 h 26"/>
                <a:gd name="T4" fmla="*/ 2 w 50"/>
                <a:gd name="T5" fmla="*/ 6 h 26"/>
                <a:gd name="T6" fmla="*/ 0 w 50"/>
                <a:gd name="T7" fmla="*/ 14 h 26"/>
                <a:gd name="T8" fmla="*/ 2 w 50"/>
                <a:gd name="T9" fmla="*/ 20 h 26"/>
                <a:gd name="T10" fmla="*/ 8 w 50"/>
                <a:gd name="T11" fmla="*/ 24 h 26"/>
                <a:gd name="T12" fmla="*/ 16 w 50"/>
                <a:gd name="T13" fmla="*/ 26 h 26"/>
                <a:gd name="T14" fmla="*/ 32 w 50"/>
                <a:gd name="T15" fmla="*/ 24 h 26"/>
                <a:gd name="T16" fmla="*/ 46 w 50"/>
                <a:gd name="T17" fmla="*/ 22 h 26"/>
                <a:gd name="T18" fmla="*/ 50 w 50"/>
                <a:gd name="T19" fmla="*/ 16 h 26"/>
                <a:gd name="T20" fmla="*/ 46 w 50"/>
                <a:gd name="T21" fmla="*/ 6 h 26"/>
                <a:gd name="T22" fmla="*/ 32 w 50"/>
                <a:gd name="T23" fmla="*/ 4 h 26"/>
                <a:gd name="T24" fmla="*/ 20 w 50"/>
                <a:gd name="T25" fmla="*/ 0 h 26"/>
                <a:gd name="T26" fmla="*/ 10 w 50"/>
                <a:gd name="T2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0" h="26">
                  <a:moveTo>
                    <a:pt x="10" y="0"/>
                  </a:moveTo>
                  <a:lnTo>
                    <a:pt x="4" y="6"/>
                  </a:lnTo>
                  <a:lnTo>
                    <a:pt x="2" y="6"/>
                  </a:lnTo>
                  <a:lnTo>
                    <a:pt x="0" y="14"/>
                  </a:lnTo>
                  <a:lnTo>
                    <a:pt x="2" y="20"/>
                  </a:lnTo>
                  <a:lnTo>
                    <a:pt x="8" y="24"/>
                  </a:lnTo>
                  <a:lnTo>
                    <a:pt x="16" y="26"/>
                  </a:lnTo>
                  <a:lnTo>
                    <a:pt x="32" y="24"/>
                  </a:lnTo>
                  <a:lnTo>
                    <a:pt x="46" y="22"/>
                  </a:lnTo>
                  <a:lnTo>
                    <a:pt x="50" y="16"/>
                  </a:lnTo>
                  <a:lnTo>
                    <a:pt x="46" y="6"/>
                  </a:lnTo>
                  <a:lnTo>
                    <a:pt x="32" y="4"/>
                  </a:lnTo>
                  <a:lnTo>
                    <a:pt x="20" y="0"/>
                  </a:lnTo>
                  <a:lnTo>
                    <a:pt x="1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35" name="Freeform 230">
              <a:extLst>
                <a:ext uri="{FF2B5EF4-FFF2-40B4-BE49-F238E27FC236}">
                  <a16:creationId xmlns:a16="http://schemas.microsoft.com/office/drawing/2014/main" id="{AA188D99-6CA9-4737-A45C-7F8B25A53E24}"/>
                </a:ext>
              </a:extLst>
            </p:cNvPr>
            <p:cNvSpPr>
              <a:spLocks/>
            </p:cNvSpPr>
            <p:nvPr/>
          </p:nvSpPr>
          <p:spPr bwMode="gray">
            <a:xfrm>
              <a:off x="8131507" y="3980949"/>
              <a:ext cx="115574" cy="149384"/>
            </a:xfrm>
            <a:custGeom>
              <a:avLst/>
              <a:gdLst>
                <a:gd name="T0" fmla="*/ 14 w 70"/>
                <a:gd name="T1" fmla="*/ 74 h 90"/>
                <a:gd name="T2" fmla="*/ 10 w 70"/>
                <a:gd name="T3" fmla="*/ 50 h 90"/>
                <a:gd name="T4" fmla="*/ 8 w 70"/>
                <a:gd name="T5" fmla="*/ 38 h 90"/>
                <a:gd name="T6" fmla="*/ 2 w 70"/>
                <a:gd name="T7" fmla="*/ 34 h 90"/>
                <a:gd name="T8" fmla="*/ 0 w 70"/>
                <a:gd name="T9" fmla="*/ 26 h 90"/>
                <a:gd name="T10" fmla="*/ 12 w 70"/>
                <a:gd name="T11" fmla="*/ 20 h 90"/>
                <a:gd name="T12" fmla="*/ 4 w 70"/>
                <a:gd name="T13" fmla="*/ 12 h 90"/>
                <a:gd name="T14" fmla="*/ 4 w 70"/>
                <a:gd name="T15" fmla="*/ 6 h 90"/>
                <a:gd name="T16" fmla="*/ 10 w 70"/>
                <a:gd name="T17" fmla="*/ 0 h 90"/>
                <a:gd name="T18" fmla="*/ 14 w 70"/>
                <a:gd name="T19" fmla="*/ 6 h 90"/>
                <a:gd name="T20" fmla="*/ 24 w 70"/>
                <a:gd name="T21" fmla="*/ 10 h 90"/>
                <a:gd name="T22" fmla="*/ 30 w 70"/>
                <a:gd name="T23" fmla="*/ 22 h 90"/>
                <a:gd name="T24" fmla="*/ 64 w 70"/>
                <a:gd name="T25" fmla="*/ 22 h 90"/>
                <a:gd name="T26" fmla="*/ 64 w 70"/>
                <a:gd name="T27" fmla="*/ 34 h 90"/>
                <a:gd name="T28" fmla="*/ 56 w 70"/>
                <a:gd name="T29" fmla="*/ 38 h 90"/>
                <a:gd name="T30" fmla="*/ 52 w 70"/>
                <a:gd name="T31" fmla="*/ 40 h 90"/>
                <a:gd name="T32" fmla="*/ 48 w 70"/>
                <a:gd name="T33" fmla="*/ 46 h 90"/>
                <a:gd name="T34" fmla="*/ 48 w 70"/>
                <a:gd name="T35" fmla="*/ 50 h 90"/>
                <a:gd name="T36" fmla="*/ 48 w 70"/>
                <a:gd name="T37" fmla="*/ 54 h 90"/>
                <a:gd name="T38" fmla="*/ 56 w 70"/>
                <a:gd name="T39" fmla="*/ 58 h 90"/>
                <a:gd name="T40" fmla="*/ 60 w 70"/>
                <a:gd name="T41" fmla="*/ 46 h 90"/>
                <a:gd name="T42" fmla="*/ 70 w 70"/>
                <a:gd name="T43" fmla="*/ 48 h 90"/>
                <a:gd name="T44" fmla="*/ 68 w 70"/>
                <a:gd name="T45" fmla="*/ 60 h 90"/>
                <a:gd name="T46" fmla="*/ 68 w 70"/>
                <a:gd name="T47" fmla="*/ 70 h 90"/>
                <a:gd name="T48" fmla="*/ 70 w 70"/>
                <a:gd name="T49" fmla="*/ 76 h 90"/>
                <a:gd name="T50" fmla="*/ 70 w 70"/>
                <a:gd name="T51" fmla="*/ 86 h 90"/>
                <a:gd name="T52" fmla="*/ 64 w 70"/>
                <a:gd name="T53" fmla="*/ 90 h 90"/>
                <a:gd name="T54" fmla="*/ 60 w 70"/>
                <a:gd name="T55" fmla="*/ 82 h 90"/>
                <a:gd name="T56" fmla="*/ 58 w 70"/>
                <a:gd name="T57" fmla="*/ 68 h 90"/>
                <a:gd name="T58" fmla="*/ 54 w 70"/>
                <a:gd name="T59" fmla="*/ 64 h 90"/>
                <a:gd name="T60" fmla="*/ 48 w 70"/>
                <a:gd name="T61" fmla="*/ 62 h 90"/>
                <a:gd name="T62" fmla="*/ 40 w 70"/>
                <a:gd name="T63" fmla="*/ 56 h 90"/>
                <a:gd name="T64" fmla="*/ 36 w 70"/>
                <a:gd name="T65" fmla="*/ 62 h 90"/>
                <a:gd name="T66" fmla="*/ 36 w 70"/>
                <a:gd name="T67" fmla="*/ 74 h 90"/>
                <a:gd name="T68" fmla="*/ 26 w 70"/>
                <a:gd name="T69" fmla="*/ 74 h 90"/>
                <a:gd name="T70" fmla="*/ 14 w 70"/>
                <a:gd name="T71" fmla="*/ 7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0" h="90">
                  <a:moveTo>
                    <a:pt x="14" y="74"/>
                  </a:moveTo>
                  <a:lnTo>
                    <a:pt x="10" y="50"/>
                  </a:lnTo>
                  <a:lnTo>
                    <a:pt x="8" y="38"/>
                  </a:lnTo>
                  <a:lnTo>
                    <a:pt x="2" y="34"/>
                  </a:lnTo>
                  <a:lnTo>
                    <a:pt x="0" y="26"/>
                  </a:lnTo>
                  <a:lnTo>
                    <a:pt x="12" y="20"/>
                  </a:lnTo>
                  <a:lnTo>
                    <a:pt x="4" y="12"/>
                  </a:lnTo>
                  <a:lnTo>
                    <a:pt x="4" y="6"/>
                  </a:lnTo>
                  <a:lnTo>
                    <a:pt x="10" y="0"/>
                  </a:lnTo>
                  <a:lnTo>
                    <a:pt x="14" y="6"/>
                  </a:lnTo>
                  <a:lnTo>
                    <a:pt x="24" y="10"/>
                  </a:lnTo>
                  <a:lnTo>
                    <a:pt x="30" y="22"/>
                  </a:lnTo>
                  <a:lnTo>
                    <a:pt x="64" y="22"/>
                  </a:lnTo>
                  <a:lnTo>
                    <a:pt x="64" y="34"/>
                  </a:lnTo>
                  <a:lnTo>
                    <a:pt x="56" y="38"/>
                  </a:lnTo>
                  <a:lnTo>
                    <a:pt x="52" y="40"/>
                  </a:lnTo>
                  <a:lnTo>
                    <a:pt x="48" y="46"/>
                  </a:lnTo>
                  <a:lnTo>
                    <a:pt x="48" y="50"/>
                  </a:lnTo>
                  <a:lnTo>
                    <a:pt x="48" y="54"/>
                  </a:lnTo>
                  <a:lnTo>
                    <a:pt x="56" y="58"/>
                  </a:lnTo>
                  <a:lnTo>
                    <a:pt x="60" y="46"/>
                  </a:lnTo>
                  <a:lnTo>
                    <a:pt x="70" y="48"/>
                  </a:lnTo>
                  <a:lnTo>
                    <a:pt x="68" y="60"/>
                  </a:lnTo>
                  <a:lnTo>
                    <a:pt x="68" y="70"/>
                  </a:lnTo>
                  <a:lnTo>
                    <a:pt x="70" y="76"/>
                  </a:lnTo>
                  <a:lnTo>
                    <a:pt x="70" y="86"/>
                  </a:lnTo>
                  <a:lnTo>
                    <a:pt x="64" y="90"/>
                  </a:lnTo>
                  <a:lnTo>
                    <a:pt x="60" y="82"/>
                  </a:lnTo>
                  <a:lnTo>
                    <a:pt x="58" y="68"/>
                  </a:lnTo>
                  <a:lnTo>
                    <a:pt x="54" y="64"/>
                  </a:lnTo>
                  <a:lnTo>
                    <a:pt x="48" y="62"/>
                  </a:lnTo>
                  <a:lnTo>
                    <a:pt x="40" y="56"/>
                  </a:lnTo>
                  <a:lnTo>
                    <a:pt x="36" y="62"/>
                  </a:lnTo>
                  <a:lnTo>
                    <a:pt x="36" y="74"/>
                  </a:lnTo>
                  <a:lnTo>
                    <a:pt x="26" y="74"/>
                  </a:lnTo>
                  <a:lnTo>
                    <a:pt x="14" y="7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36" name="Freeform 231">
              <a:extLst>
                <a:ext uri="{FF2B5EF4-FFF2-40B4-BE49-F238E27FC236}">
                  <a16:creationId xmlns:a16="http://schemas.microsoft.com/office/drawing/2014/main" id="{A377F30D-A27F-4FB4-A85C-5005611C5993}"/>
                </a:ext>
              </a:extLst>
            </p:cNvPr>
            <p:cNvSpPr>
              <a:spLocks/>
            </p:cNvSpPr>
            <p:nvPr/>
          </p:nvSpPr>
          <p:spPr bwMode="gray">
            <a:xfrm>
              <a:off x="7913564" y="4435741"/>
              <a:ext cx="52834" cy="96271"/>
            </a:xfrm>
            <a:custGeom>
              <a:avLst/>
              <a:gdLst>
                <a:gd name="T0" fmla="*/ 6 w 32"/>
                <a:gd name="T1" fmla="*/ 0 h 58"/>
                <a:gd name="T2" fmla="*/ 16 w 32"/>
                <a:gd name="T3" fmla="*/ 12 h 58"/>
                <a:gd name="T4" fmla="*/ 26 w 32"/>
                <a:gd name="T5" fmla="*/ 26 h 58"/>
                <a:gd name="T6" fmla="*/ 32 w 32"/>
                <a:gd name="T7" fmla="*/ 40 h 58"/>
                <a:gd name="T8" fmla="*/ 26 w 32"/>
                <a:gd name="T9" fmla="*/ 56 h 58"/>
                <a:gd name="T10" fmla="*/ 16 w 32"/>
                <a:gd name="T11" fmla="*/ 58 h 58"/>
                <a:gd name="T12" fmla="*/ 6 w 32"/>
                <a:gd name="T13" fmla="*/ 56 h 58"/>
                <a:gd name="T14" fmla="*/ 0 w 32"/>
                <a:gd name="T15" fmla="*/ 44 h 58"/>
                <a:gd name="T16" fmla="*/ 0 w 32"/>
                <a:gd name="T17" fmla="*/ 26 h 58"/>
                <a:gd name="T18" fmla="*/ 4 w 32"/>
                <a:gd name="T19" fmla="*/ 12 h 58"/>
                <a:gd name="T20" fmla="*/ 6 w 32"/>
                <a:gd name="T2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58">
                  <a:moveTo>
                    <a:pt x="6" y="0"/>
                  </a:moveTo>
                  <a:lnTo>
                    <a:pt x="16" y="12"/>
                  </a:lnTo>
                  <a:lnTo>
                    <a:pt x="26" y="26"/>
                  </a:lnTo>
                  <a:lnTo>
                    <a:pt x="32" y="40"/>
                  </a:lnTo>
                  <a:lnTo>
                    <a:pt x="26" y="56"/>
                  </a:lnTo>
                  <a:lnTo>
                    <a:pt x="16" y="58"/>
                  </a:lnTo>
                  <a:lnTo>
                    <a:pt x="6" y="56"/>
                  </a:lnTo>
                  <a:lnTo>
                    <a:pt x="0" y="44"/>
                  </a:lnTo>
                  <a:lnTo>
                    <a:pt x="0" y="26"/>
                  </a:lnTo>
                  <a:lnTo>
                    <a:pt x="4" y="12"/>
                  </a:lnTo>
                  <a:lnTo>
                    <a:pt x="6"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37" name="Freeform 233">
              <a:extLst>
                <a:ext uri="{FF2B5EF4-FFF2-40B4-BE49-F238E27FC236}">
                  <a16:creationId xmlns:a16="http://schemas.microsoft.com/office/drawing/2014/main" id="{44F20A16-2B77-41A8-B6F6-BED80F1DED36}"/>
                </a:ext>
              </a:extLst>
            </p:cNvPr>
            <p:cNvSpPr>
              <a:spLocks/>
            </p:cNvSpPr>
            <p:nvPr/>
          </p:nvSpPr>
          <p:spPr bwMode="gray">
            <a:xfrm>
              <a:off x="8237174" y="3924514"/>
              <a:ext cx="221243" cy="491309"/>
            </a:xfrm>
            <a:custGeom>
              <a:avLst/>
              <a:gdLst>
                <a:gd name="T0" fmla="*/ 6 w 134"/>
                <a:gd name="T1" fmla="*/ 120 h 296"/>
                <a:gd name="T2" fmla="*/ 12 w 134"/>
                <a:gd name="T3" fmla="*/ 104 h 296"/>
                <a:gd name="T4" fmla="*/ 32 w 134"/>
                <a:gd name="T5" fmla="*/ 74 h 296"/>
                <a:gd name="T6" fmla="*/ 44 w 134"/>
                <a:gd name="T7" fmla="*/ 46 h 296"/>
                <a:gd name="T8" fmla="*/ 62 w 134"/>
                <a:gd name="T9" fmla="*/ 20 h 296"/>
                <a:gd name="T10" fmla="*/ 76 w 134"/>
                <a:gd name="T11" fmla="*/ 10 h 296"/>
                <a:gd name="T12" fmla="*/ 90 w 134"/>
                <a:gd name="T13" fmla="*/ 2 h 296"/>
                <a:gd name="T14" fmla="*/ 104 w 134"/>
                <a:gd name="T15" fmla="*/ 18 h 296"/>
                <a:gd name="T16" fmla="*/ 94 w 134"/>
                <a:gd name="T17" fmla="*/ 52 h 296"/>
                <a:gd name="T18" fmla="*/ 86 w 134"/>
                <a:gd name="T19" fmla="*/ 68 h 296"/>
                <a:gd name="T20" fmla="*/ 106 w 134"/>
                <a:gd name="T21" fmla="*/ 88 h 296"/>
                <a:gd name="T22" fmla="*/ 116 w 134"/>
                <a:gd name="T23" fmla="*/ 108 h 296"/>
                <a:gd name="T24" fmla="*/ 124 w 134"/>
                <a:gd name="T25" fmla="*/ 116 h 296"/>
                <a:gd name="T26" fmla="*/ 134 w 134"/>
                <a:gd name="T27" fmla="*/ 126 h 296"/>
                <a:gd name="T28" fmla="*/ 106 w 134"/>
                <a:gd name="T29" fmla="*/ 144 h 296"/>
                <a:gd name="T30" fmla="*/ 88 w 134"/>
                <a:gd name="T31" fmla="*/ 158 h 296"/>
                <a:gd name="T32" fmla="*/ 84 w 134"/>
                <a:gd name="T33" fmla="*/ 168 h 296"/>
                <a:gd name="T34" fmla="*/ 88 w 134"/>
                <a:gd name="T35" fmla="*/ 184 h 296"/>
                <a:gd name="T36" fmla="*/ 104 w 134"/>
                <a:gd name="T37" fmla="*/ 208 h 296"/>
                <a:gd name="T38" fmla="*/ 96 w 134"/>
                <a:gd name="T39" fmla="*/ 228 h 296"/>
                <a:gd name="T40" fmla="*/ 110 w 134"/>
                <a:gd name="T41" fmla="*/ 248 h 296"/>
                <a:gd name="T42" fmla="*/ 116 w 134"/>
                <a:gd name="T43" fmla="*/ 274 h 296"/>
                <a:gd name="T44" fmla="*/ 100 w 134"/>
                <a:gd name="T45" fmla="*/ 296 h 296"/>
                <a:gd name="T46" fmla="*/ 100 w 134"/>
                <a:gd name="T47" fmla="*/ 280 h 296"/>
                <a:gd name="T48" fmla="*/ 100 w 134"/>
                <a:gd name="T49" fmla="*/ 256 h 296"/>
                <a:gd name="T50" fmla="*/ 90 w 134"/>
                <a:gd name="T51" fmla="*/ 230 h 296"/>
                <a:gd name="T52" fmla="*/ 84 w 134"/>
                <a:gd name="T53" fmla="*/ 200 h 296"/>
                <a:gd name="T54" fmla="*/ 68 w 134"/>
                <a:gd name="T55" fmla="*/ 200 h 296"/>
                <a:gd name="T56" fmla="*/ 54 w 134"/>
                <a:gd name="T57" fmla="*/ 212 h 296"/>
                <a:gd name="T58" fmla="*/ 36 w 134"/>
                <a:gd name="T59" fmla="*/ 204 h 296"/>
                <a:gd name="T60" fmla="*/ 38 w 134"/>
                <a:gd name="T61" fmla="*/ 176 h 296"/>
                <a:gd name="T62" fmla="*/ 26 w 134"/>
                <a:gd name="T63" fmla="*/ 158 h 296"/>
                <a:gd name="T64" fmla="*/ 0 w 134"/>
                <a:gd name="T65" fmla="*/ 124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4" h="296">
                  <a:moveTo>
                    <a:pt x="0" y="124"/>
                  </a:moveTo>
                  <a:lnTo>
                    <a:pt x="6" y="120"/>
                  </a:lnTo>
                  <a:lnTo>
                    <a:pt x="6" y="110"/>
                  </a:lnTo>
                  <a:lnTo>
                    <a:pt x="12" y="104"/>
                  </a:lnTo>
                  <a:lnTo>
                    <a:pt x="18" y="76"/>
                  </a:lnTo>
                  <a:lnTo>
                    <a:pt x="32" y="74"/>
                  </a:lnTo>
                  <a:lnTo>
                    <a:pt x="36" y="54"/>
                  </a:lnTo>
                  <a:lnTo>
                    <a:pt x="44" y="46"/>
                  </a:lnTo>
                  <a:lnTo>
                    <a:pt x="46" y="34"/>
                  </a:lnTo>
                  <a:lnTo>
                    <a:pt x="62" y="20"/>
                  </a:lnTo>
                  <a:lnTo>
                    <a:pt x="76" y="20"/>
                  </a:lnTo>
                  <a:lnTo>
                    <a:pt x="76" y="10"/>
                  </a:lnTo>
                  <a:lnTo>
                    <a:pt x="82" y="0"/>
                  </a:lnTo>
                  <a:lnTo>
                    <a:pt x="90" y="2"/>
                  </a:lnTo>
                  <a:lnTo>
                    <a:pt x="96" y="12"/>
                  </a:lnTo>
                  <a:lnTo>
                    <a:pt x="104" y="18"/>
                  </a:lnTo>
                  <a:lnTo>
                    <a:pt x="102" y="42"/>
                  </a:lnTo>
                  <a:lnTo>
                    <a:pt x="94" y="52"/>
                  </a:lnTo>
                  <a:lnTo>
                    <a:pt x="86" y="64"/>
                  </a:lnTo>
                  <a:lnTo>
                    <a:pt x="86" y="68"/>
                  </a:lnTo>
                  <a:lnTo>
                    <a:pt x="106" y="74"/>
                  </a:lnTo>
                  <a:lnTo>
                    <a:pt x="106" y="88"/>
                  </a:lnTo>
                  <a:lnTo>
                    <a:pt x="116" y="92"/>
                  </a:lnTo>
                  <a:lnTo>
                    <a:pt x="116" y="108"/>
                  </a:lnTo>
                  <a:lnTo>
                    <a:pt x="124" y="110"/>
                  </a:lnTo>
                  <a:lnTo>
                    <a:pt x="124" y="116"/>
                  </a:lnTo>
                  <a:lnTo>
                    <a:pt x="132" y="116"/>
                  </a:lnTo>
                  <a:lnTo>
                    <a:pt x="134" y="126"/>
                  </a:lnTo>
                  <a:lnTo>
                    <a:pt x="116" y="136"/>
                  </a:lnTo>
                  <a:lnTo>
                    <a:pt x="106" y="144"/>
                  </a:lnTo>
                  <a:lnTo>
                    <a:pt x="88" y="146"/>
                  </a:lnTo>
                  <a:lnTo>
                    <a:pt x="88" y="158"/>
                  </a:lnTo>
                  <a:lnTo>
                    <a:pt x="86" y="162"/>
                  </a:lnTo>
                  <a:lnTo>
                    <a:pt x="84" y="168"/>
                  </a:lnTo>
                  <a:lnTo>
                    <a:pt x="86" y="178"/>
                  </a:lnTo>
                  <a:lnTo>
                    <a:pt x="88" y="184"/>
                  </a:lnTo>
                  <a:lnTo>
                    <a:pt x="98" y="192"/>
                  </a:lnTo>
                  <a:lnTo>
                    <a:pt x="104" y="208"/>
                  </a:lnTo>
                  <a:lnTo>
                    <a:pt x="100" y="218"/>
                  </a:lnTo>
                  <a:lnTo>
                    <a:pt x="96" y="228"/>
                  </a:lnTo>
                  <a:lnTo>
                    <a:pt x="102" y="236"/>
                  </a:lnTo>
                  <a:lnTo>
                    <a:pt x="110" y="248"/>
                  </a:lnTo>
                  <a:lnTo>
                    <a:pt x="110" y="264"/>
                  </a:lnTo>
                  <a:lnTo>
                    <a:pt x="116" y="274"/>
                  </a:lnTo>
                  <a:lnTo>
                    <a:pt x="112" y="286"/>
                  </a:lnTo>
                  <a:lnTo>
                    <a:pt x="100" y="296"/>
                  </a:lnTo>
                  <a:lnTo>
                    <a:pt x="98" y="288"/>
                  </a:lnTo>
                  <a:lnTo>
                    <a:pt x="100" y="280"/>
                  </a:lnTo>
                  <a:lnTo>
                    <a:pt x="100" y="270"/>
                  </a:lnTo>
                  <a:lnTo>
                    <a:pt x="100" y="256"/>
                  </a:lnTo>
                  <a:lnTo>
                    <a:pt x="98" y="250"/>
                  </a:lnTo>
                  <a:lnTo>
                    <a:pt x="90" y="230"/>
                  </a:lnTo>
                  <a:lnTo>
                    <a:pt x="90" y="214"/>
                  </a:lnTo>
                  <a:lnTo>
                    <a:pt x="84" y="200"/>
                  </a:lnTo>
                  <a:lnTo>
                    <a:pt x="74" y="188"/>
                  </a:lnTo>
                  <a:lnTo>
                    <a:pt x="68" y="200"/>
                  </a:lnTo>
                  <a:lnTo>
                    <a:pt x="56" y="204"/>
                  </a:lnTo>
                  <a:lnTo>
                    <a:pt x="54" y="212"/>
                  </a:lnTo>
                  <a:lnTo>
                    <a:pt x="42" y="212"/>
                  </a:lnTo>
                  <a:lnTo>
                    <a:pt x="36" y="204"/>
                  </a:lnTo>
                  <a:lnTo>
                    <a:pt x="36" y="190"/>
                  </a:lnTo>
                  <a:lnTo>
                    <a:pt x="38" y="176"/>
                  </a:lnTo>
                  <a:lnTo>
                    <a:pt x="34" y="166"/>
                  </a:lnTo>
                  <a:lnTo>
                    <a:pt x="26" y="158"/>
                  </a:lnTo>
                  <a:lnTo>
                    <a:pt x="14" y="138"/>
                  </a:lnTo>
                  <a:lnTo>
                    <a:pt x="0" y="12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38" name="Freeform 234">
              <a:extLst>
                <a:ext uri="{FF2B5EF4-FFF2-40B4-BE49-F238E27FC236}">
                  <a16:creationId xmlns:a16="http://schemas.microsoft.com/office/drawing/2014/main" id="{D84B26F8-0180-4F99-B274-5CE3C7145ADF}"/>
                </a:ext>
              </a:extLst>
            </p:cNvPr>
            <p:cNvSpPr>
              <a:spLocks/>
            </p:cNvSpPr>
            <p:nvPr/>
          </p:nvSpPr>
          <p:spPr bwMode="gray">
            <a:xfrm>
              <a:off x="8375865" y="4146932"/>
              <a:ext cx="214639" cy="398359"/>
            </a:xfrm>
            <a:custGeom>
              <a:avLst/>
              <a:gdLst>
                <a:gd name="T0" fmla="*/ 20 w 130"/>
                <a:gd name="T1" fmla="*/ 198 h 240"/>
                <a:gd name="T2" fmla="*/ 14 w 130"/>
                <a:gd name="T3" fmla="*/ 174 h 240"/>
                <a:gd name="T4" fmla="*/ 28 w 130"/>
                <a:gd name="T5" fmla="*/ 152 h 240"/>
                <a:gd name="T6" fmla="*/ 26 w 130"/>
                <a:gd name="T7" fmla="*/ 130 h 240"/>
                <a:gd name="T8" fmla="*/ 18 w 130"/>
                <a:gd name="T9" fmla="*/ 102 h 240"/>
                <a:gd name="T10" fmla="*/ 20 w 130"/>
                <a:gd name="T11" fmla="*/ 74 h 240"/>
                <a:gd name="T12" fmla="*/ 4 w 130"/>
                <a:gd name="T13" fmla="*/ 50 h 240"/>
                <a:gd name="T14" fmla="*/ 4 w 130"/>
                <a:gd name="T15" fmla="*/ 24 h 240"/>
                <a:gd name="T16" fmla="*/ 22 w 130"/>
                <a:gd name="T17" fmla="*/ 10 h 240"/>
                <a:gd name="T18" fmla="*/ 48 w 130"/>
                <a:gd name="T19" fmla="*/ 6 h 240"/>
                <a:gd name="T20" fmla="*/ 56 w 130"/>
                <a:gd name="T21" fmla="*/ 16 h 240"/>
                <a:gd name="T22" fmla="*/ 56 w 130"/>
                <a:gd name="T23" fmla="*/ 34 h 240"/>
                <a:gd name="T24" fmla="*/ 68 w 130"/>
                <a:gd name="T25" fmla="*/ 42 h 240"/>
                <a:gd name="T26" fmla="*/ 88 w 130"/>
                <a:gd name="T27" fmla="*/ 40 h 240"/>
                <a:gd name="T28" fmla="*/ 116 w 130"/>
                <a:gd name="T29" fmla="*/ 50 h 240"/>
                <a:gd name="T30" fmla="*/ 130 w 130"/>
                <a:gd name="T31" fmla="*/ 76 h 240"/>
                <a:gd name="T32" fmla="*/ 126 w 130"/>
                <a:gd name="T33" fmla="*/ 98 h 240"/>
                <a:gd name="T34" fmla="*/ 78 w 130"/>
                <a:gd name="T35" fmla="*/ 112 h 240"/>
                <a:gd name="T36" fmla="*/ 82 w 130"/>
                <a:gd name="T37" fmla="*/ 130 h 240"/>
                <a:gd name="T38" fmla="*/ 84 w 130"/>
                <a:gd name="T39" fmla="*/ 144 h 240"/>
                <a:gd name="T40" fmla="*/ 56 w 130"/>
                <a:gd name="T41" fmla="*/ 126 h 240"/>
                <a:gd name="T42" fmla="*/ 44 w 130"/>
                <a:gd name="T43" fmla="*/ 116 h 240"/>
                <a:gd name="T44" fmla="*/ 40 w 130"/>
                <a:gd name="T45" fmla="*/ 132 h 240"/>
                <a:gd name="T46" fmla="*/ 32 w 130"/>
                <a:gd name="T47" fmla="*/ 154 h 240"/>
                <a:gd name="T48" fmla="*/ 24 w 130"/>
                <a:gd name="T49" fmla="*/ 178 h 240"/>
                <a:gd name="T50" fmla="*/ 40 w 130"/>
                <a:gd name="T51" fmla="*/ 186 h 240"/>
                <a:gd name="T52" fmla="*/ 46 w 130"/>
                <a:gd name="T53" fmla="*/ 210 h 240"/>
                <a:gd name="T54" fmla="*/ 64 w 130"/>
                <a:gd name="T55" fmla="*/ 222 h 240"/>
                <a:gd name="T56" fmla="*/ 68 w 130"/>
                <a:gd name="T57" fmla="*/ 234 h 240"/>
                <a:gd name="T58" fmla="*/ 56 w 130"/>
                <a:gd name="T59" fmla="*/ 238 h 240"/>
                <a:gd name="T60" fmla="*/ 52 w 130"/>
                <a:gd name="T61" fmla="*/ 226 h 240"/>
                <a:gd name="T62" fmla="*/ 34 w 130"/>
                <a:gd name="T63" fmla="*/ 214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0" h="240">
                  <a:moveTo>
                    <a:pt x="34" y="214"/>
                  </a:moveTo>
                  <a:lnTo>
                    <a:pt x="20" y="198"/>
                  </a:lnTo>
                  <a:lnTo>
                    <a:pt x="12" y="194"/>
                  </a:lnTo>
                  <a:lnTo>
                    <a:pt x="14" y="174"/>
                  </a:lnTo>
                  <a:lnTo>
                    <a:pt x="16" y="162"/>
                  </a:lnTo>
                  <a:lnTo>
                    <a:pt x="28" y="152"/>
                  </a:lnTo>
                  <a:lnTo>
                    <a:pt x="32" y="140"/>
                  </a:lnTo>
                  <a:lnTo>
                    <a:pt x="26" y="130"/>
                  </a:lnTo>
                  <a:lnTo>
                    <a:pt x="26" y="114"/>
                  </a:lnTo>
                  <a:lnTo>
                    <a:pt x="18" y="102"/>
                  </a:lnTo>
                  <a:lnTo>
                    <a:pt x="12" y="94"/>
                  </a:lnTo>
                  <a:lnTo>
                    <a:pt x="20" y="74"/>
                  </a:lnTo>
                  <a:lnTo>
                    <a:pt x="14" y="58"/>
                  </a:lnTo>
                  <a:lnTo>
                    <a:pt x="4" y="50"/>
                  </a:lnTo>
                  <a:lnTo>
                    <a:pt x="0" y="30"/>
                  </a:lnTo>
                  <a:lnTo>
                    <a:pt x="4" y="24"/>
                  </a:lnTo>
                  <a:lnTo>
                    <a:pt x="4" y="12"/>
                  </a:lnTo>
                  <a:lnTo>
                    <a:pt x="22" y="10"/>
                  </a:lnTo>
                  <a:lnTo>
                    <a:pt x="36" y="0"/>
                  </a:lnTo>
                  <a:lnTo>
                    <a:pt x="48" y="6"/>
                  </a:lnTo>
                  <a:lnTo>
                    <a:pt x="48" y="14"/>
                  </a:lnTo>
                  <a:lnTo>
                    <a:pt x="56" y="16"/>
                  </a:lnTo>
                  <a:lnTo>
                    <a:pt x="60" y="30"/>
                  </a:lnTo>
                  <a:lnTo>
                    <a:pt x="56" y="34"/>
                  </a:lnTo>
                  <a:lnTo>
                    <a:pt x="56" y="48"/>
                  </a:lnTo>
                  <a:lnTo>
                    <a:pt x="68" y="42"/>
                  </a:lnTo>
                  <a:lnTo>
                    <a:pt x="76" y="36"/>
                  </a:lnTo>
                  <a:lnTo>
                    <a:pt x="88" y="40"/>
                  </a:lnTo>
                  <a:lnTo>
                    <a:pt x="100" y="32"/>
                  </a:lnTo>
                  <a:lnTo>
                    <a:pt x="116" y="50"/>
                  </a:lnTo>
                  <a:lnTo>
                    <a:pt x="120" y="66"/>
                  </a:lnTo>
                  <a:lnTo>
                    <a:pt x="130" y="76"/>
                  </a:lnTo>
                  <a:lnTo>
                    <a:pt x="130" y="86"/>
                  </a:lnTo>
                  <a:lnTo>
                    <a:pt x="126" y="98"/>
                  </a:lnTo>
                  <a:lnTo>
                    <a:pt x="86" y="100"/>
                  </a:lnTo>
                  <a:lnTo>
                    <a:pt x="78" y="112"/>
                  </a:lnTo>
                  <a:lnTo>
                    <a:pt x="78" y="120"/>
                  </a:lnTo>
                  <a:lnTo>
                    <a:pt x="82" y="130"/>
                  </a:lnTo>
                  <a:lnTo>
                    <a:pt x="86" y="140"/>
                  </a:lnTo>
                  <a:lnTo>
                    <a:pt x="84" y="144"/>
                  </a:lnTo>
                  <a:lnTo>
                    <a:pt x="72" y="128"/>
                  </a:lnTo>
                  <a:lnTo>
                    <a:pt x="56" y="126"/>
                  </a:lnTo>
                  <a:lnTo>
                    <a:pt x="56" y="116"/>
                  </a:lnTo>
                  <a:lnTo>
                    <a:pt x="44" y="116"/>
                  </a:lnTo>
                  <a:lnTo>
                    <a:pt x="40" y="120"/>
                  </a:lnTo>
                  <a:lnTo>
                    <a:pt x="40" y="132"/>
                  </a:lnTo>
                  <a:lnTo>
                    <a:pt x="38" y="140"/>
                  </a:lnTo>
                  <a:lnTo>
                    <a:pt x="32" y="154"/>
                  </a:lnTo>
                  <a:lnTo>
                    <a:pt x="28" y="162"/>
                  </a:lnTo>
                  <a:lnTo>
                    <a:pt x="24" y="178"/>
                  </a:lnTo>
                  <a:lnTo>
                    <a:pt x="30" y="182"/>
                  </a:lnTo>
                  <a:lnTo>
                    <a:pt x="40" y="186"/>
                  </a:lnTo>
                  <a:lnTo>
                    <a:pt x="42" y="192"/>
                  </a:lnTo>
                  <a:lnTo>
                    <a:pt x="46" y="210"/>
                  </a:lnTo>
                  <a:lnTo>
                    <a:pt x="52" y="218"/>
                  </a:lnTo>
                  <a:lnTo>
                    <a:pt x="64" y="222"/>
                  </a:lnTo>
                  <a:lnTo>
                    <a:pt x="72" y="230"/>
                  </a:lnTo>
                  <a:lnTo>
                    <a:pt x="68" y="234"/>
                  </a:lnTo>
                  <a:lnTo>
                    <a:pt x="66" y="240"/>
                  </a:lnTo>
                  <a:lnTo>
                    <a:pt x="56" y="238"/>
                  </a:lnTo>
                  <a:lnTo>
                    <a:pt x="58" y="230"/>
                  </a:lnTo>
                  <a:lnTo>
                    <a:pt x="52" y="226"/>
                  </a:lnTo>
                  <a:lnTo>
                    <a:pt x="42" y="224"/>
                  </a:lnTo>
                  <a:lnTo>
                    <a:pt x="34" y="21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39" name="Freeform 235">
              <a:extLst>
                <a:ext uri="{FF2B5EF4-FFF2-40B4-BE49-F238E27FC236}">
                  <a16:creationId xmlns:a16="http://schemas.microsoft.com/office/drawing/2014/main" id="{795A2B88-C08F-4E4B-B343-EC51D597C977}"/>
                </a:ext>
              </a:extLst>
            </p:cNvPr>
            <p:cNvSpPr>
              <a:spLocks/>
            </p:cNvSpPr>
            <p:nvPr/>
          </p:nvSpPr>
          <p:spPr bwMode="gray">
            <a:xfrm>
              <a:off x="8445210" y="4518733"/>
              <a:ext cx="105669" cy="136106"/>
            </a:xfrm>
            <a:custGeom>
              <a:avLst/>
              <a:gdLst>
                <a:gd name="T0" fmla="*/ 0 w 64"/>
                <a:gd name="T1" fmla="*/ 0 h 82"/>
                <a:gd name="T2" fmla="*/ 10 w 64"/>
                <a:gd name="T3" fmla="*/ 2 h 82"/>
                <a:gd name="T4" fmla="*/ 16 w 64"/>
                <a:gd name="T5" fmla="*/ 6 h 82"/>
                <a:gd name="T6" fmla="*/ 14 w 64"/>
                <a:gd name="T7" fmla="*/ 14 h 82"/>
                <a:gd name="T8" fmla="*/ 24 w 64"/>
                <a:gd name="T9" fmla="*/ 16 h 82"/>
                <a:gd name="T10" fmla="*/ 26 w 64"/>
                <a:gd name="T11" fmla="*/ 10 h 82"/>
                <a:gd name="T12" fmla="*/ 30 w 64"/>
                <a:gd name="T13" fmla="*/ 6 h 82"/>
                <a:gd name="T14" fmla="*/ 40 w 64"/>
                <a:gd name="T15" fmla="*/ 14 h 82"/>
                <a:gd name="T16" fmla="*/ 52 w 64"/>
                <a:gd name="T17" fmla="*/ 30 h 82"/>
                <a:gd name="T18" fmla="*/ 52 w 64"/>
                <a:gd name="T19" fmla="*/ 40 h 82"/>
                <a:gd name="T20" fmla="*/ 54 w 64"/>
                <a:gd name="T21" fmla="*/ 62 h 82"/>
                <a:gd name="T22" fmla="*/ 60 w 64"/>
                <a:gd name="T23" fmla="*/ 70 h 82"/>
                <a:gd name="T24" fmla="*/ 64 w 64"/>
                <a:gd name="T25" fmla="*/ 78 h 82"/>
                <a:gd name="T26" fmla="*/ 64 w 64"/>
                <a:gd name="T27" fmla="*/ 82 h 82"/>
                <a:gd name="T28" fmla="*/ 54 w 64"/>
                <a:gd name="T29" fmla="*/ 82 h 82"/>
                <a:gd name="T30" fmla="*/ 36 w 64"/>
                <a:gd name="T31" fmla="*/ 72 h 82"/>
                <a:gd name="T32" fmla="*/ 16 w 64"/>
                <a:gd name="T33" fmla="*/ 60 h 82"/>
                <a:gd name="T34" fmla="*/ 18 w 64"/>
                <a:gd name="T35" fmla="*/ 52 h 82"/>
                <a:gd name="T36" fmla="*/ 10 w 64"/>
                <a:gd name="T37" fmla="*/ 42 h 82"/>
                <a:gd name="T38" fmla="*/ 4 w 64"/>
                <a:gd name="T39" fmla="*/ 26 h 82"/>
                <a:gd name="T40" fmla="*/ 4 w 64"/>
                <a:gd name="T41" fmla="*/ 10 h 82"/>
                <a:gd name="T42" fmla="*/ 0 w 64"/>
                <a:gd name="T43"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4" h="82">
                  <a:moveTo>
                    <a:pt x="0" y="0"/>
                  </a:moveTo>
                  <a:lnTo>
                    <a:pt x="10" y="2"/>
                  </a:lnTo>
                  <a:lnTo>
                    <a:pt x="16" y="6"/>
                  </a:lnTo>
                  <a:lnTo>
                    <a:pt x="14" y="14"/>
                  </a:lnTo>
                  <a:lnTo>
                    <a:pt x="24" y="16"/>
                  </a:lnTo>
                  <a:lnTo>
                    <a:pt x="26" y="10"/>
                  </a:lnTo>
                  <a:lnTo>
                    <a:pt x="30" y="6"/>
                  </a:lnTo>
                  <a:lnTo>
                    <a:pt x="40" y="14"/>
                  </a:lnTo>
                  <a:lnTo>
                    <a:pt x="52" y="30"/>
                  </a:lnTo>
                  <a:lnTo>
                    <a:pt x="52" y="40"/>
                  </a:lnTo>
                  <a:lnTo>
                    <a:pt x="54" y="62"/>
                  </a:lnTo>
                  <a:lnTo>
                    <a:pt x="60" y="70"/>
                  </a:lnTo>
                  <a:lnTo>
                    <a:pt x="64" y="78"/>
                  </a:lnTo>
                  <a:lnTo>
                    <a:pt x="64" y="82"/>
                  </a:lnTo>
                  <a:lnTo>
                    <a:pt x="54" y="82"/>
                  </a:lnTo>
                  <a:lnTo>
                    <a:pt x="36" y="72"/>
                  </a:lnTo>
                  <a:lnTo>
                    <a:pt x="16" y="60"/>
                  </a:lnTo>
                  <a:lnTo>
                    <a:pt x="18" y="52"/>
                  </a:lnTo>
                  <a:lnTo>
                    <a:pt x="10" y="42"/>
                  </a:lnTo>
                  <a:lnTo>
                    <a:pt x="4" y="26"/>
                  </a:lnTo>
                  <a:lnTo>
                    <a:pt x="4" y="10"/>
                  </a:lnTo>
                  <a:lnTo>
                    <a:pt x="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40" name="Freeform 236">
              <a:extLst>
                <a:ext uri="{FF2B5EF4-FFF2-40B4-BE49-F238E27FC236}">
                  <a16:creationId xmlns:a16="http://schemas.microsoft.com/office/drawing/2014/main" id="{09ED6093-94B8-4462-93DC-C3715D36D057}"/>
                </a:ext>
              </a:extLst>
            </p:cNvPr>
            <p:cNvSpPr>
              <a:spLocks/>
            </p:cNvSpPr>
            <p:nvPr/>
          </p:nvSpPr>
          <p:spPr bwMode="gray">
            <a:xfrm>
              <a:off x="8696173" y="4512094"/>
              <a:ext cx="254266" cy="156024"/>
            </a:xfrm>
            <a:custGeom>
              <a:avLst/>
              <a:gdLst>
                <a:gd name="T0" fmla="*/ 0 w 154"/>
                <a:gd name="T1" fmla="*/ 84 h 94"/>
                <a:gd name="T2" fmla="*/ 10 w 154"/>
                <a:gd name="T3" fmla="*/ 94 h 94"/>
                <a:gd name="T4" fmla="*/ 22 w 154"/>
                <a:gd name="T5" fmla="*/ 94 h 94"/>
                <a:gd name="T6" fmla="*/ 30 w 154"/>
                <a:gd name="T7" fmla="*/ 92 h 94"/>
                <a:gd name="T8" fmla="*/ 44 w 154"/>
                <a:gd name="T9" fmla="*/ 86 h 94"/>
                <a:gd name="T10" fmla="*/ 52 w 154"/>
                <a:gd name="T11" fmla="*/ 84 h 94"/>
                <a:gd name="T12" fmla="*/ 60 w 154"/>
                <a:gd name="T13" fmla="*/ 92 h 94"/>
                <a:gd name="T14" fmla="*/ 72 w 154"/>
                <a:gd name="T15" fmla="*/ 86 h 94"/>
                <a:gd name="T16" fmla="*/ 84 w 154"/>
                <a:gd name="T17" fmla="*/ 74 h 94"/>
                <a:gd name="T18" fmla="*/ 94 w 154"/>
                <a:gd name="T19" fmla="*/ 56 h 94"/>
                <a:gd name="T20" fmla="*/ 96 w 154"/>
                <a:gd name="T21" fmla="*/ 44 h 94"/>
                <a:gd name="T22" fmla="*/ 102 w 154"/>
                <a:gd name="T23" fmla="*/ 40 h 94"/>
                <a:gd name="T24" fmla="*/ 118 w 154"/>
                <a:gd name="T25" fmla="*/ 38 h 94"/>
                <a:gd name="T26" fmla="*/ 126 w 154"/>
                <a:gd name="T27" fmla="*/ 44 h 94"/>
                <a:gd name="T28" fmla="*/ 138 w 154"/>
                <a:gd name="T29" fmla="*/ 44 h 94"/>
                <a:gd name="T30" fmla="*/ 142 w 154"/>
                <a:gd name="T31" fmla="*/ 40 h 94"/>
                <a:gd name="T32" fmla="*/ 134 w 154"/>
                <a:gd name="T33" fmla="*/ 34 h 94"/>
                <a:gd name="T34" fmla="*/ 140 w 154"/>
                <a:gd name="T35" fmla="*/ 30 h 94"/>
                <a:gd name="T36" fmla="*/ 148 w 154"/>
                <a:gd name="T37" fmla="*/ 30 h 94"/>
                <a:gd name="T38" fmla="*/ 154 w 154"/>
                <a:gd name="T39" fmla="*/ 28 h 94"/>
                <a:gd name="T40" fmla="*/ 140 w 154"/>
                <a:gd name="T41" fmla="*/ 20 h 94"/>
                <a:gd name="T42" fmla="*/ 132 w 154"/>
                <a:gd name="T43" fmla="*/ 16 h 94"/>
                <a:gd name="T44" fmla="*/ 124 w 154"/>
                <a:gd name="T45" fmla="*/ 8 h 94"/>
                <a:gd name="T46" fmla="*/ 120 w 154"/>
                <a:gd name="T47" fmla="*/ 2 h 94"/>
                <a:gd name="T48" fmla="*/ 110 w 154"/>
                <a:gd name="T49" fmla="*/ 0 h 94"/>
                <a:gd name="T50" fmla="*/ 102 w 154"/>
                <a:gd name="T51" fmla="*/ 10 h 94"/>
                <a:gd name="T52" fmla="*/ 96 w 154"/>
                <a:gd name="T53" fmla="*/ 18 h 94"/>
                <a:gd name="T54" fmla="*/ 92 w 154"/>
                <a:gd name="T55" fmla="*/ 22 h 94"/>
                <a:gd name="T56" fmla="*/ 88 w 154"/>
                <a:gd name="T57" fmla="*/ 28 h 94"/>
                <a:gd name="T58" fmla="*/ 98 w 154"/>
                <a:gd name="T59" fmla="*/ 36 h 94"/>
                <a:gd name="T60" fmla="*/ 94 w 154"/>
                <a:gd name="T61" fmla="*/ 40 h 94"/>
                <a:gd name="T62" fmla="*/ 88 w 154"/>
                <a:gd name="T63" fmla="*/ 36 h 94"/>
                <a:gd name="T64" fmla="*/ 84 w 154"/>
                <a:gd name="T65" fmla="*/ 38 h 94"/>
                <a:gd name="T66" fmla="*/ 82 w 154"/>
                <a:gd name="T67" fmla="*/ 46 h 94"/>
                <a:gd name="T68" fmla="*/ 76 w 154"/>
                <a:gd name="T69" fmla="*/ 46 h 94"/>
                <a:gd name="T70" fmla="*/ 68 w 154"/>
                <a:gd name="T71" fmla="*/ 40 h 94"/>
                <a:gd name="T72" fmla="*/ 60 w 154"/>
                <a:gd name="T73" fmla="*/ 54 h 94"/>
                <a:gd name="T74" fmla="*/ 52 w 154"/>
                <a:gd name="T75" fmla="*/ 64 h 94"/>
                <a:gd name="T76" fmla="*/ 40 w 154"/>
                <a:gd name="T77" fmla="*/ 62 h 94"/>
                <a:gd name="T78" fmla="*/ 28 w 154"/>
                <a:gd name="T79" fmla="*/ 66 h 94"/>
                <a:gd name="T80" fmla="*/ 22 w 154"/>
                <a:gd name="T81" fmla="*/ 78 h 94"/>
                <a:gd name="T82" fmla="*/ 26 w 154"/>
                <a:gd name="T83" fmla="*/ 84 h 94"/>
                <a:gd name="T84" fmla="*/ 28 w 154"/>
                <a:gd name="T85" fmla="*/ 88 h 94"/>
                <a:gd name="T86" fmla="*/ 20 w 154"/>
                <a:gd name="T87" fmla="*/ 92 h 94"/>
                <a:gd name="T88" fmla="*/ 14 w 154"/>
                <a:gd name="T89" fmla="*/ 84 h 94"/>
                <a:gd name="T90" fmla="*/ 10 w 154"/>
                <a:gd name="T91" fmla="*/ 80 h 94"/>
                <a:gd name="T92" fmla="*/ 0 w 154"/>
                <a:gd name="T93" fmla="*/ 8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4" h="94">
                  <a:moveTo>
                    <a:pt x="0" y="84"/>
                  </a:moveTo>
                  <a:lnTo>
                    <a:pt x="10" y="94"/>
                  </a:lnTo>
                  <a:lnTo>
                    <a:pt x="22" y="94"/>
                  </a:lnTo>
                  <a:lnTo>
                    <a:pt x="30" y="92"/>
                  </a:lnTo>
                  <a:lnTo>
                    <a:pt x="44" y="86"/>
                  </a:lnTo>
                  <a:lnTo>
                    <a:pt x="52" y="84"/>
                  </a:lnTo>
                  <a:lnTo>
                    <a:pt x="60" y="92"/>
                  </a:lnTo>
                  <a:lnTo>
                    <a:pt x="72" y="86"/>
                  </a:lnTo>
                  <a:lnTo>
                    <a:pt x="84" y="74"/>
                  </a:lnTo>
                  <a:lnTo>
                    <a:pt x="94" y="56"/>
                  </a:lnTo>
                  <a:lnTo>
                    <a:pt x="96" y="44"/>
                  </a:lnTo>
                  <a:lnTo>
                    <a:pt x="102" y="40"/>
                  </a:lnTo>
                  <a:lnTo>
                    <a:pt x="118" y="38"/>
                  </a:lnTo>
                  <a:lnTo>
                    <a:pt x="126" y="44"/>
                  </a:lnTo>
                  <a:lnTo>
                    <a:pt x="138" y="44"/>
                  </a:lnTo>
                  <a:lnTo>
                    <a:pt x="142" y="40"/>
                  </a:lnTo>
                  <a:lnTo>
                    <a:pt x="134" y="34"/>
                  </a:lnTo>
                  <a:lnTo>
                    <a:pt x="140" y="30"/>
                  </a:lnTo>
                  <a:lnTo>
                    <a:pt x="148" y="30"/>
                  </a:lnTo>
                  <a:lnTo>
                    <a:pt x="154" y="28"/>
                  </a:lnTo>
                  <a:lnTo>
                    <a:pt x="140" y="20"/>
                  </a:lnTo>
                  <a:lnTo>
                    <a:pt x="132" y="16"/>
                  </a:lnTo>
                  <a:lnTo>
                    <a:pt x="124" y="8"/>
                  </a:lnTo>
                  <a:lnTo>
                    <a:pt x="120" y="2"/>
                  </a:lnTo>
                  <a:lnTo>
                    <a:pt x="110" y="0"/>
                  </a:lnTo>
                  <a:lnTo>
                    <a:pt x="102" y="10"/>
                  </a:lnTo>
                  <a:lnTo>
                    <a:pt x="96" y="18"/>
                  </a:lnTo>
                  <a:lnTo>
                    <a:pt x="92" y="22"/>
                  </a:lnTo>
                  <a:lnTo>
                    <a:pt x="88" y="28"/>
                  </a:lnTo>
                  <a:lnTo>
                    <a:pt x="98" y="36"/>
                  </a:lnTo>
                  <a:lnTo>
                    <a:pt x="94" y="40"/>
                  </a:lnTo>
                  <a:lnTo>
                    <a:pt x="88" y="36"/>
                  </a:lnTo>
                  <a:lnTo>
                    <a:pt x="84" y="38"/>
                  </a:lnTo>
                  <a:lnTo>
                    <a:pt x="82" y="46"/>
                  </a:lnTo>
                  <a:lnTo>
                    <a:pt x="76" y="46"/>
                  </a:lnTo>
                  <a:lnTo>
                    <a:pt x="68" y="40"/>
                  </a:lnTo>
                  <a:lnTo>
                    <a:pt x="60" y="54"/>
                  </a:lnTo>
                  <a:lnTo>
                    <a:pt x="52" y="64"/>
                  </a:lnTo>
                  <a:lnTo>
                    <a:pt x="40" y="62"/>
                  </a:lnTo>
                  <a:lnTo>
                    <a:pt x="28" y="66"/>
                  </a:lnTo>
                  <a:lnTo>
                    <a:pt x="22" y="78"/>
                  </a:lnTo>
                  <a:lnTo>
                    <a:pt x="26" y="84"/>
                  </a:lnTo>
                  <a:lnTo>
                    <a:pt x="28" y="88"/>
                  </a:lnTo>
                  <a:lnTo>
                    <a:pt x="20" y="92"/>
                  </a:lnTo>
                  <a:lnTo>
                    <a:pt x="14" y="84"/>
                  </a:lnTo>
                  <a:lnTo>
                    <a:pt x="10" y="80"/>
                  </a:lnTo>
                  <a:lnTo>
                    <a:pt x="0" y="8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41" name="Freeform 237">
              <a:extLst>
                <a:ext uri="{FF2B5EF4-FFF2-40B4-BE49-F238E27FC236}">
                  <a16:creationId xmlns:a16="http://schemas.microsoft.com/office/drawing/2014/main" id="{B767C1F7-7DAB-42B2-AD34-21D25075128B}"/>
                </a:ext>
              </a:extLst>
            </p:cNvPr>
            <p:cNvSpPr>
              <a:spLocks/>
            </p:cNvSpPr>
            <p:nvPr/>
          </p:nvSpPr>
          <p:spPr bwMode="gray">
            <a:xfrm>
              <a:off x="8673058" y="4575168"/>
              <a:ext cx="264171" cy="222418"/>
            </a:xfrm>
            <a:custGeom>
              <a:avLst/>
              <a:gdLst>
                <a:gd name="T0" fmla="*/ 14 w 160"/>
                <a:gd name="T1" fmla="*/ 46 h 134"/>
                <a:gd name="T2" fmla="*/ 24 w 160"/>
                <a:gd name="T3" fmla="*/ 56 h 134"/>
                <a:gd name="T4" fmla="*/ 36 w 160"/>
                <a:gd name="T5" fmla="*/ 56 h 134"/>
                <a:gd name="T6" fmla="*/ 44 w 160"/>
                <a:gd name="T7" fmla="*/ 54 h 134"/>
                <a:gd name="T8" fmla="*/ 66 w 160"/>
                <a:gd name="T9" fmla="*/ 46 h 134"/>
                <a:gd name="T10" fmla="*/ 74 w 160"/>
                <a:gd name="T11" fmla="*/ 54 h 134"/>
                <a:gd name="T12" fmla="*/ 86 w 160"/>
                <a:gd name="T13" fmla="*/ 48 h 134"/>
                <a:gd name="T14" fmla="*/ 98 w 160"/>
                <a:gd name="T15" fmla="*/ 36 h 134"/>
                <a:gd name="T16" fmla="*/ 108 w 160"/>
                <a:gd name="T17" fmla="*/ 18 h 134"/>
                <a:gd name="T18" fmla="*/ 110 w 160"/>
                <a:gd name="T19" fmla="*/ 6 h 134"/>
                <a:gd name="T20" fmla="*/ 116 w 160"/>
                <a:gd name="T21" fmla="*/ 2 h 134"/>
                <a:gd name="T22" fmla="*/ 132 w 160"/>
                <a:gd name="T23" fmla="*/ 0 h 134"/>
                <a:gd name="T24" fmla="*/ 140 w 160"/>
                <a:gd name="T25" fmla="*/ 6 h 134"/>
                <a:gd name="T26" fmla="*/ 138 w 160"/>
                <a:gd name="T27" fmla="*/ 14 h 134"/>
                <a:gd name="T28" fmla="*/ 132 w 160"/>
                <a:gd name="T29" fmla="*/ 16 h 134"/>
                <a:gd name="T30" fmla="*/ 140 w 160"/>
                <a:gd name="T31" fmla="*/ 26 h 134"/>
                <a:gd name="T32" fmla="*/ 146 w 160"/>
                <a:gd name="T33" fmla="*/ 42 h 134"/>
                <a:gd name="T34" fmla="*/ 150 w 160"/>
                <a:gd name="T35" fmla="*/ 48 h 134"/>
                <a:gd name="T36" fmla="*/ 160 w 160"/>
                <a:gd name="T37" fmla="*/ 56 h 134"/>
                <a:gd name="T38" fmla="*/ 156 w 160"/>
                <a:gd name="T39" fmla="*/ 60 h 134"/>
                <a:gd name="T40" fmla="*/ 144 w 160"/>
                <a:gd name="T41" fmla="*/ 58 h 134"/>
                <a:gd name="T42" fmla="*/ 138 w 160"/>
                <a:gd name="T43" fmla="*/ 64 h 134"/>
                <a:gd name="T44" fmla="*/ 136 w 160"/>
                <a:gd name="T45" fmla="*/ 84 h 134"/>
                <a:gd name="T46" fmla="*/ 120 w 160"/>
                <a:gd name="T47" fmla="*/ 96 h 134"/>
                <a:gd name="T48" fmla="*/ 122 w 160"/>
                <a:gd name="T49" fmla="*/ 112 h 134"/>
                <a:gd name="T50" fmla="*/ 120 w 160"/>
                <a:gd name="T51" fmla="*/ 118 h 134"/>
                <a:gd name="T52" fmla="*/ 118 w 160"/>
                <a:gd name="T53" fmla="*/ 134 h 134"/>
                <a:gd name="T54" fmla="*/ 94 w 160"/>
                <a:gd name="T55" fmla="*/ 132 h 134"/>
                <a:gd name="T56" fmla="*/ 92 w 160"/>
                <a:gd name="T57" fmla="*/ 124 h 134"/>
                <a:gd name="T58" fmla="*/ 64 w 160"/>
                <a:gd name="T59" fmla="*/ 120 h 134"/>
                <a:gd name="T60" fmla="*/ 60 w 160"/>
                <a:gd name="T61" fmla="*/ 126 h 134"/>
                <a:gd name="T62" fmla="*/ 46 w 160"/>
                <a:gd name="T63" fmla="*/ 124 h 134"/>
                <a:gd name="T64" fmla="*/ 44 w 160"/>
                <a:gd name="T65" fmla="*/ 116 h 134"/>
                <a:gd name="T66" fmla="*/ 24 w 160"/>
                <a:gd name="T67" fmla="*/ 116 h 134"/>
                <a:gd name="T68" fmla="*/ 20 w 160"/>
                <a:gd name="T69" fmla="*/ 96 h 134"/>
                <a:gd name="T70" fmla="*/ 12 w 160"/>
                <a:gd name="T71" fmla="*/ 86 h 134"/>
                <a:gd name="T72" fmla="*/ 2 w 160"/>
                <a:gd name="T73" fmla="*/ 66 h 134"/>
                <a:gd name="T74" fmla="*/ 0 w 160"/>
                <a:gd name="T75" fmla="*/ 54 h 134"/>
                <a:gd name="T76" fmla="*/ 6 w 160"/>
                <a:gd name="T77" fmla="*/ 46 h 134"/>
                <a:gd name="T78" fmla="*/ 14 w 160"/>
                <a:gd name="T79" fmla="*/ 46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0" h="134">
                  <a:moveTo>
                    <a:pt x="14" y="46"/>
                  </a:moveTo>
                  <a:lnTo>
                    <a:pt x="24" y="56"/>
                  </a:lnTo>
                  <a:lnTo>
                    <a:pt x="36" y="56"/>
                  </a:lnTo>
                  <a:lnTo>
                    <a:pt x="44" y="54"/>
                  </a:lnTo>
                  <a:lnTo>
                    <a:pt x="66" y="46"/>
                  </a:lnTo>
                  <a:lnTo>
                    <a:pt x="74" y="54"/>
                  </a:lnTo>
                  <a:lnTo>
                    <a:pt x="86" y="48"/>
                  </a:lnTo>
                  <a:lnTo>
                    <a:pt x="98" y="36"/>
                  </a:lnTo>
                  <a:lnTo>
                    <a:pt x="108" y="18"/>
                  </a:lnTo>
                  <a:lnTo>
                    <a:pt x="110" y="6"/>
                  </a:lnTo>
                  <a:lnTo>
                    <a:pt x="116" y="2"/>
                  </a:lnTo>
                  <a:lnTo>
                    <a:pt x="132" y="0"/>
                  </a:lnTo>
                  <a:lnTo>
                    <a:pt x="140" y="6"/>
                  </a:lnTo>
                  <a:lnTo>
                    <a:pt x="138" y="14"/>
                  </a:lnTo>
                  <a:lnTo>
                    <a:pt x="132" y="16"/>
                  </a:lnTo>
                  <a:lnTo>
                    <a:pt x="140" y="26"/>
                  </a:lnTo>
                  <a:lnTo>
                    <a:pt x="146" y="42"/>
                  </a:lnTo>
                  <a:lnTo>
                    <a:pt x="150" y="48"/>
                  </a:lnTo>
                  <a:lnTo>
                    <a:pt x="160" y="56"/>
                  </a:lnTo>
                  <a:lnTo>
                    <a:pt x="156" y="60"/>
                  </a:lnTo>
                  <a:lnTo>
                    <a:pt x="144" y="58"/>
                  </a:lnTo>
                  <a:lnTo>
                    <a:pt x="138" y="64"/>
                  </a:lnTo>
                  <a:lnTo>
                    <a:pt x="136" y="84"/>
                  </a:lnTo>
                  <a:lnTo>
                    <a:pt x="120" y="96"/>
                  </a:lnTo>
                  <a:lnTo>
                    <a:pt x="122" y="112"/>
                  </a:lnTo>
                  <a:lnTo>
                    <a:pt x="120" y="118"/>
                  </a:lnTo>
                  <a:lnTo>
                    <a:pt x="118" y="134"/>
                  </a:lnTo>
                  <a:lnTo>
                    <a:pt x="94" y="132"/>
                  </a:lnTo>
                  <a:lnTo>
                    <a:pt x="92" y="124"/>
                  </a:lnTo>
                  <a:lnTo>
                    <a:pt x="64" y="120"/>
                  </a:lnTo>
                  <a:lnTo>
                    <a:pt x="60" y="126"/>
                  </a:lnTo>
                  <a:lnTo>
                    <a:pt x="46" y="124"/>
                  </a:lnTo>
                  <a:lnTo>
                    <a:pt x="44" y="116"/>
                  </a:lnTo>
                  <a:lnTo>
                    <a:pt x="24" y="116"/>
                  </a:lnTo>
                  <a:lnTo>
                    <a:pt x="20" y="96"/>
                  </a:lnTo>
                  <a:lnTo>
                    <a:pt x="12" y="86"/>
                  </a:lnTo>
                  <a:lnTo>
                    <a:pt x="2" y="66"/>
                  </a:lnTo>
                  <a:lnTo>
                    <a:pt x="0" y="54"/>
                  </a:lnTo>
                  <a:lnTo>
                    <a:pt x="6" y="46"/>
                  </a:lnTo>
                  <a:lnTo>
                    <a:pt x="14" y="4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42" name="Freeform 238">
              <a:extLst>
                <a:ext uri="{FF2B5EF4-FFF2-40B4-BE49-F238E27FC236}">
                  <a16:creationId xmlns:a16="http://schemas.microsoft.com/office/drawing/2014/main" id="{A7B9CD52-04B8-4B82-A5CE-8424A453AAB3}"/>
                </a:ext>
              </a:extLst>
            </p:cNvPr>
            <p:cNvSpPr>
              <a:spLocks/>
            </p:cNvSpPr>
            <p:nvPr/>
          </p:nvSpPr>
          <p:spPr bwMode="gray">
            <a:xfrm>
              <a:off x="8313124" y="4551930"/>
              <a:ext cx="283984" cy="292130"/>
            </a:xfrm>
            <a:custGeom>
              <a:avLst/>
              <a:gdLst>
                <a:gd name="T0" fmla="*/ 0 w 172"/>
                <a:gd name="T1" fmla="*/ 0 h 176"/>
                <a:gd name="T2" fmla="*/ 20 w 172"/>
                <a:gd name="T3" fmla="*/ 2 h 176"/>
                <a:gd name="T4" fmla="*/ 38 w 172"/>
                <a:gd name="T5" fmla="*/ 4 h 176"/>
                <a:gd name="T6" fmla="*/ 48 w 172"/>
                <a:gd name="T7" fmla="*/ 18 h 176"/>
                <a:gd name="T8" fmla="*/ 60 w 172"/>
                <a:gd name="T9" fmla="*/ 28 h 176"/>
                <a:gd name="T10" fmla="*/ 72 w 172"/>
                <a:gd name="T11" fmla="*/ 36 h 176"/>
                <a:gd name="T12" fmla="*/ 84 w 172"/>
                <a:gd name="T13" fmla="*/ 50 h 176"/>
                <a:gd name="T14" fmla="*/ 96 w 172"/>
                <a:gd name="T15" fmla="*/ 54 h 176"/>
                <a:gd name="T16" fmla="*/ 108 w 172"/>
                <a:gd name="T17" fmla="*/ 64 h 176"/>
                <a:gd name="T18" fmla="*/ 122 w 172"/>
                <a:gd name="T19" fmla="*/ 78 h 176"/>
                <a:gd name="T20" fmla="*/ 134 w 172"/>
                <a:gd name="T21" fmla="*/ 84 h 176"/>
                <a:gd name="T22" fmla="*/ 134 w 172"/>
                <a:gd name="T23" fmla="*/ 96 h 176"/>
                <a:gd name="T24" fmla="*/ 136 w 172"/>
                <a:gd name="T25" fmla="*/ 102 h 176"/>
                <a:gd name="T26" fmla="*/ 144 w 172"/>
                <a:gd name="T27" fmla="*/ 104 h 176"/>
                <a:gd name="T28" fmla="*/ 152 w 172"/>
                <a:gd name="T29" fmla="*/ 116 h 176"/>
                <a:gd name="T30" fmla="*/ 152 w 172"/>
                <a:gd name="T31" fmla="*/ 124 h 176"/>
                <a:gd name="T32" fmla="*/ 150 w 172"/>
                <a:gd name="T33" fmla="*/ 130 h 176"/>
                <a:gd name="T34" fmla="*/ 160 w 172"/>
                <a:gd name="T35" fmla="*/ 124 h 176"/>
                <a:gd name="T36" fmla="*/ 172 w 172"/>
                <a:gd name="T37" fmla="*/ 130 h 176"/>
                <a:gd name="T38" fmla="*/ 172 w 172"/>
                <a:gd name="T39" fmla="*/ 156 h 176"/>
                <a:gd name="T40" fmla="*/ 170 w 172"/>
                <a:gd name="T41" fmla="*/ 176 h 176"/>
                <a:gd name="T42" fmla="*/ 160 w 172"/>
                <a:gd name="T43" fmla="*/ 174 h 176"/>
                <a:gd name="T44" fmla="*/ 152 w 172"/>
                <a:gd name="T45" fmla="*/ 176 h 176"/>
                <a:gd name="T46" fmla="*/ 142 w 172"/>
                <a:gd name="T47" fmla="*/ 174 h 176"/>
                <a:gd name="T48" fmla="*/ 96 w 172"/>
                <a:gd name="T49" fmla="*/ 128 h 176"/>
                <a:gd name="T50" fmla="*/ 90 w 172"/>
                <a:gd name="T51" fmla="*/ 120 h 176"/>
                <a:gd name="T52" fmla="*/ 86 w 172"/>
                <a:gd name="T53" fmla="*/ 106 h 176"/>
                <a:gd name="T54" fmla="*/ 64 w 172"/>
                <a:gd name="T55" fmla="*/ 80 h 176"/>
                <a:gd name="T56" fmla="*/ 60 w 172"/>
                <a:gd name="T57" fmla="*/ 70 h 176"/>
                <a:gd name="T58" fmla="*/ 60 w 172"/>
                <a:gd name="T59" fmla="*/ 62 h 176"/>
                <a:gd name="T60" fmla="*/ 46 w 172"/>
                <a:gd name="T61" fmla="*/ 50 h 176"/>
                <a:gd name="T62" fmla="*/ 38 w 172"/>
                <a:gd name="T63" fmla="*/ 50 h 176"/>
                <a:gd name="T64" fmla="*/ 38 w 172"/>
                <a:gd name="T65" fmla="*/ 42 h 176"/>
                <a:gd name="T66" fmla="*/ 20 w 172"/>
                <a:gd name="T67" fmla="*/ 22 h 176"/>
                <a:gd name="T68" fmla="*/ 4 w 172"/>
                <a:gd name="T69" fmla="*/ 10 h 176"/>
                <a:gd name="T70" fmla="*/ 0 w 172"/>
                <a:gd name="T71" fmla="*/ 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2" h="176">
                  <a:moveTo>
                    <a:pt x="0" y="0"/>
                  </a:moveTo>
                  <a:lnTo>
                    <a:pt x="20" y="2"/>
                  </a:lnTo>
                  <a:lnTo>
                    <a:pt x="38" y="4"/>
                  </a:lnTo>
                  <a:lnTo>
                    <a:pt x="48" y="18"/>
                  </a:lnTo>
                  <a:lnTo>
                    <a:pt x="60" y="28"/>
                  </a:lnTo>
                  <a:lnTo>
                    <a:pt x="72" y="36"/>
                  </a:lnTo>
                  <a:lnTo>
                    <a:pt x="84" y="50"/>
                  </a:lnTo>
                  <a:lnTo>
                    <a:pt x="96" y="54"/>
                  </a:lnTo>
                  <a:lnTo>
                    <a:pt x="108" y="64"/>
                  </a:lnTo>
                  <a:lnTo>
                    <a:pt x="122" y="78"/>
                  </a:lnTo>
                  <a:lnTo>
                    <a:pt x="134" y="84"/>
                  </a:lnTo>
                  <a:lnTo>
                    <a:pt x="134" y="96"/>
                  </a:lnTo>
                  <a:lnTo>
                    <a:pt x="136" y="102"/>
                  </a:lnTo>
                  <a:lnTo>
                    <a:pt x="144" y="104"/>
                  </a:lnTo>
                  <a:lnTo>
                    <a:pt x="152" y="116"/>
                  </a:lnTo>
                  <a:lnTo>
                    <a:pt x="152" y="124"/>
                  </a:lnTo>
                  <a:lnTo>
                    <a:pt x="150" y="130"/>
                  </a:lnTo>
                  <a:lnTo>
                    <a:pt x="160" y="124"/>
                  </a:lnTo>
                  <a:lnTo>
                    <a:pt x="172" y="130"/>
                  </a:lnTo>
                  <a:lnTo>
                    <a:pt x="172" y="156"/>
                  </a:lnTo>
                  <a:lnTo>
                    <a:pt x="170" y="176"/>
                  </a:lnTo>
                  <a:lnTo>
                    <a:pt x="160" y="174"/>
                  </a:lnTo>
                  <a:lnTo>
                    <a:pt x="152" y="176"/>
                  </a:lnTo>
                  <a:lnTo>
                    <a:pt x="142" y="174"/>
                  </a:lnTo>
                  <a:lnTo>
                    <a:pt x="96" y="128"/>
                  </a:lnTo>
                  <a:lnTo>
                    <a:pt x="90" y="120"/>
                  </a:lnTo>
                  <a:lnTo>
                    <a:pt x="86" y="106"/>
                  </a:lnTo>
                  <a:lnTo>
                    <a:pt x="64" y="80"/>
                  </a:lnTo>
                  <a:lnTo>
                    <a:pt x="60" y="70"/>
                  </a:lnTo>
                  <a:lnTo>
                    <a:pt x="60" y="62"/>
                  </a:lnTo>
                  <a:lnTo>
                    <a:pt x="46" y="50"/>
                  </a:lnTo>
                  <a:lnTo>
                    <a:pt x="38" y="50"/>
                  </a:lnTo>
                  <a:lnTo>
                    <a:pt x="38" y="42"/>
                  </a:lnTo>
                  <a:lnTo>
                    <a:pt x="20" y="22"/>
                  </a:lnTo>
                  <a:lnTo>
                    <a:pt x="4" y="10"/>
                  </a:lnTo>
                  <a:lnTo>
                    <a:pt x="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43" name="Freeform 239">
              <a:extLst>
                <a:ext uri="{FF2B5EF4-FFF2-40B4-BE49-F238E27FC236}">
                  <a16:creationId xmlns:a16="http://schemas.microsoft.com/office/drawing/2014/main" id="{A761F2E8-2BE5-420C-ADF5-1437C1764801}"/>
                </a:ext>
              </a:extLst>
            </p:cNvPr>
            <p:cNvSpPr>
              <a:spLocks/>
            </p:cNvSpPr>
            <p:nvPr/>
          </p:nvSpPr>
          <p:spPr bwMode="gray">
            <a:xfrm>
              <a:off x="8636734" y="4761069"/>
              <a:ext cx="26417" cy="23237"/>
            </a:xfrm>
            <a:custGeom>
              <a:avLst/>
              <a:gdLst>
                <a:gd name="T0" fmla="*/ 0 w 16"/>
                <a:gd name="T1" fmla="*/ 6 h 14"/>
                <a:gd name="T2" fmla="*/ 6 w 16"/>
                <a:gd name="T3" fmla="*/ 0 h 14"/>
                <a:gd name="T4" fmla="*/ 16 w 16"/>
                <a:gd name="T5" fmla="*/ 4 h 14"/>
                <a:gd name="T6" fmla="*/ 14 w 16"/>
                <a:gd name="T7" fmla="*/ 12 h 14"/>
                <a:gd name="T8" fmla="*/ 6 w 16"/>
                <a:gd name="T9" fmla="*/ 14 h 14"/>
                <a:gd name="T10" fmla="*/ 0 w 16"/>
                <a:gd name="T11" fmla="*/ 6 h 14"/>
              </a:gdLst>
              <a:ahLst/>
              <a:cxnLst>
                <a:cxn ang="0">
                  <a:pos x="T0" y="T1"/>
                </a:cxn>
                <a:cxn ang="0">
                  <a:pos x="T2" y="T3"/>
                </a:cxn>
                <a:cxn ang="0">
                  <a:pos x="T4" y="T5"/>
                </a:cxn>
                <a:cxn ang="0">
                  <a:pos x="T6" y="T7"/>
                </a:cxn>
                <a:cxn ang="0">
                  <a:pos x="T8" y="T9"/>
                </a:cxn>
                <a:cxn ang="0">
                  <a:pos x="T10" y="T11"/>
                </a:cxn>
              </a:cxnLst>
              <a:rect l="0" t="0" r="r" b="b"/>
              <a:pathLst>
                <a:path w="16" h="14">
                  <a:moveTo>
                    <a:pt x="0" y="6"/>
                  </a:moveTo>
                  <a:lnTo>
                    <a:pt x="6" y="0"/>
                  </a:lnTo>
                  <a:lnTo>
                    <a:pt x="16" y="4"/>
                  </a:lnTo>
                  <a:lnTo>
                    <a:pt x="14" y="12"/>
                  </a:lnTo>
                  <a:lnTo>
                    <a:pt x="6" y="14"/>
                  </a:lnTo>
                  <a:lnTo>
                    <a:pt x="0" y="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44" name="Freeform 240">
              <a:extLst>
                <a:ext uri="{FF2B5EF4-FFF2-40B4-BE49-F238E27FC236}">
                  <a16:creationId xmlns:a16="http://schemas.microsoft.com/office/drawing/2014/main" id="{5BE99C42-6EA5-4867-806E-C576B6BBEEC8}"/>
                </a:ext>
              </a:extLst>
            </p:cNvPr>
            <p:cNvSpPr>
              <a:spLocks/>
            </p:cNvSpPr>
            <p:nvPr/>
          </p:nvSpPr>
          <p:spPr bwMode="gray">
            <a:xfrm>
              <a:off x="8580598" y="4734510"/>
              <a:ext cx="42928" cy="46475"/>
            </a:xfrm>
            <a:custGeom>
              <a:avLst/>
              <a:gdLst>
                <a:gd name="T0" fmla="*/ 0 w 26"/>
                <a:gd name="T1" fmla="*/ 0 h 28"/>
                <a:gd name="T2" fmla="*/ 12 w 26"/>
                <a:gd name="T3" fmla="*/ 0 h 28"/>
                <a:gd name="T4" fmla="*/ 14 w 26"/>
                <a:gd name="T5" fmla="*/ 10 h 28"/>
                <a:gd name="T6" fmla="*/ 18 w 26"/>
                <a:gd name="T7" fmla="*/ 16 h 28"/>
                <a:gd name="T8" fmla="*/ 24 w 26"/>
                <a:gd name="T9" fmla="*/ 18 h 28"/>
                <a:gd name="T10" fmla="*/ 26 w 26"/>
                <a:gd name="T11" fmla="*/ 26 h 28"/>
                <a:gd name="T12" fmla="*/ 20 w 26"/>
                <a:gd name="T13" fmla="*/ 28 h 28"/>
                <a:gd name="T14" fmla="*/ 14 w 26"/>
                <a:gd name="T15" fmla="*/ 24 h 28"/>
                <a:gd name="T16" fmla="*/ 12 w 26"/>
                <a:gd name="T17" fmla="*/ 16 h 28"/>
                <a:gd name="T18" fmla="*/ 6 w 26"/>
                <a:gd name="T19" fmla="*/ 10 h 28"/>
                <a:gd name="T20" fmla="*/ 0 w 26"/>
                <a:gd name="T21" fmla="*/ 8 h 28"/>
                <a:gd name="T22" fmla="*/ 0 w 26"/>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28">
                  <a:moveTo>
                    <a:pt x="0" y="0"/>
                  </a:moveTo>
                  <a:lnTo>
                    <a:pt x="12" y="0"/>
                  </a:lnTo>
                  <a:lnTo>
                    <a:pt x="14" y="10"/>
                  </a:lnTo>
                  <a:lnTo>
                    <a:pt x="18" y="16"/>
                  </a:lnTo>
                  <a:lnTo>
                    <a:pt x="24" y="18"/>
                  </a:lnTo>
                  <a:lnTo>
                    <a:pt x="26" y="26"/>
                  </a:lnTo>
                  <a:lnTo>
                    <a:pt x="20" y="28"/>
                  </a:lnTo>
                  <a:lnTo>
                    <a:pt x="14" y="24"/>
                  </a:lnTo>
                  <a:lnTo>
                    <a:pt x="12" y="16"/>
                  </a:lnTo>
                  <a:lnTo>
                    <a:pt x="6" y="10"/>
                  </a:lnTo>
                  <a:lnTo>
                    <a:pt x="0" y="8"/>
                  </a:lnTo>
                  <a:lnTo>
                    <a:pt x="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45" name="Freeform 241">
              <a:extLst>
                <a:ext uri="{FF2B5EF4-FFF2-40B4-BE49-F238E27FC236}">
                  <a16:creationId xmlns:a16="http://schemas.microsoft.com/office/drawing/2014/main" id="{8961FA04-1EFC-46B1-A4F8-49CD117B45EF}"/>
                </a:ext>
              </a:extLst>
            </p:cNvPr>
            <p:cNvSpPr>
              <a:spLocks/>
            </p:cNvSpPr>
            <p:nvPr/>
          </p:nvSpPr>
          <p:spPr bwMode="gray">
            <a:xfrm>
              <a:off x="8587202" y="4854018"/>
              <a:ext cx="260870" cy="73033"/>
            </a:xfrm>
            <a:custGeom>
              <a:avLst/>
              <a:gdLst>
                <a:gd name="T0" fmla="*/ 8 w 158"/>
                <a:gd name="T1" fmla="*/ 2 h 44"/>
                <a:gd name="T2" fmla="*/ 28 w 158"/>
                <a:gd name="T3" fmla="*/ 0 h 44"/>
                <a:gd name="T4" fmla="*/ 46 w 158"/>
                <a:gd name="T5" fmla="*/ 10 h 44"/>
                <a:gd name="T6" fmla="*/ 56 w 158"/>
                <a:gd name="T7" fmla="*/ 14 h 44"/>
                <a:gd name="T8" fmla="*/ 74 w 158"/>
                <a:gd name="T9" fmla="*/ 14 h 44"/>
                <a:gd name="T10" fmla="*/ 84 w 158"/>
                <a:gd name="T11" fmla="*/ 10 h 44"/>
                <a:gd name="T12" fmla="*/ 100 w 158"/>
                <a:gd name="T13" fmla="*/ 10 h 44"/>
                <a:gd name="T14" fmla="*/ 112 w 158"/>
                <a:gd name="T15" fmla="*/ 18 h 44"/>
                <a:gd name="T16" fmla="*/ 114 w 158"/>
                <a:gd name="T17" fmla="*/ 24 h 44"/>
                <a:gd name="T18" fmla="*/ 134 w 158"/>
                <a:gd name="T19" fmla="*/ 26 h 44"/>
                <a:gd name="T20" fmla="*/ 142 w 158"/>
                <a:gd name="T21" fmla="*/ 26 h 44"/>
                <a:gd name="T22" fmla="*/ 144 w 158"/>
                <a:gd name="T23" fmla="*/ 32 h 44"/>
                <a:gd name="T24" fmla="*/ 154 w 158"/>
                <a:gd name="T25" fmla="*/ 36 h 44"/>
                <a:gd name="T26" fmla="*/ 158 w 158"/>
                <a:gd name="T27" fmla="*/ 42 h 44"/>
                <a:gd name="T28" fmla="*/ 144 w 158"/>
                <a:gd name="T29" fmla="*/ 44 h 44"/>
                <a:gd name="T30" fmla="*/ 126 w 158"/>
                <a:gd name="T31" fmla="*/ 40 h 44"/>
                <a:gd name="T32" fmla="*/ 116 w 158"/>
                <a:gd name="T33" fmla="*/ 38 h 44"/>
                <a:gd name="T34" fmla="*/ 108 w 158"/>
                <a:gd name="T35" fmla="*/ 38 h 44"/>
                <a:gd name="T36" fmla="*/ 78 w 158"/>
                <a:gd name="T37" fmla="*/ 36 h 44"/>
                <a:gd name="T38" fmla="*/ 68 w 158"/>
                <a:gd name="T39" fmla="*/ 28 h 44"/>
                <a:gd name="T40" fmla="*/ 36 w 158"/>
                <a:gd name="T41" fmla="*/ 28 h 44"/>
                <a:gd name="T42" fmla="*/ 26 w 158"/>
                <a:gd name="T43" fmla="*/ 24 h 44"/>
                <a:gd name="T44" fmla="*/ 14 w 158"/>
                <a:gd name="T45" fmla="*/ 20 h 44"/>
                <a:gd name="T46" fmla="*/ 10 w 158"/>
                <a:gd name="T47" fmla="*/ 16 h 44"/>
                <a:gd name="T48" fmla="*/ 0 w 158"/>
                <a:gd name="T49" fmla="*/ 10 h 44"/>
                <a:gd name="T50" fmla="*/ 8 w 158"/>
                <a:gd name="T51" fmla="*/ 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8" h="44">
                  <a:moveTo>
                    <a:pt x="8" y="2"/>
                  </a:moveTo>
                  <a:lnTo>
                    <a:pt x="28" y="0"/>
                  </a:lnTo>
                  <a:lnTo>
                    <a:pt x="46" y="10"/>
                  </a:lnTo>
                  <a:lnTo>
                    <a:pt x="56" y="14"/>
                  </a:lnTo>
                  <a:lnTo>
                    <a:pt x="74" y="14"/>
                  </a:lnTo>
                  <a:lnTo>
                    <a:pt x="84" y="10"/>
                  </a:lnTo>
                  <a:lnTo>
                    <a:pt x="100" y="10"/>
                  </a:lnTo>
                  <a:lnTo>
                    <a:pt x="112" y="18"/>
                  </a:lnTo>
                  <a:lnTo>
                    <a:pt x="114" y="24"/>
                  </a:lnTo>
                  <a:lnTo>
                    <a:pt x="134" y="26"/>
                  </a:lnTo>
                  <a:lnTo>
                    <a:pt x="142" y="26"/>
                  </a:lnTo>
                  <a:lnTo>
                    <a:pt x="144" y="32"/>
                  </a:lnTo>
                  <a:lnTo>
                    <a:pt x="154" y="36"/>
                  </a:lnTo>
                  <a:lnTo>
                    <a:pt x="158" y="42"/>
                  </a:lnTo>
                  <a:lnTo>
                    <a:pt x="144" y="44"/>
                  </a:lnTo>
                  <a:lnTo>
                    <a:pt x="126" y="40"/>
                  </a:lnTo>
                  <a:lnTo>
                    <a:pt x="116" y="38"/>
                  </a:lnTo>
                  <a:lnTo>
                    <a:pt x="108" y="38"/>
                  </a:lnTo>
                  <a:lnTo>
                    <a:pt x="78" y="36"/>
                  </a:lnTo>
                  <a:lnTo>
                    <a:pt x="68" y="28"/>
                  </a:lnTo>
                  <a:lnTo>
                    <a:pt x="36" y="28"/>
                  </a:lnTo>
                  <a:lnTo>
                    <a:pt x="26" y="24"/>
                  </a:lnTo>
                  <a:lnTo>
                    <a:pt x="14" y="20"/>
                  </a:lnTo>
                  <a:lnTo>
                    <a:pt x="10" y="16"/>
                  </a:lnTo>
                  <a:lnTo>
                    <a:pt x="0" y="10"/>
                  </a:lnTo>
                  <a:lnTo>
                    <a:pt x="8" y="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46" name="Freeform 242">
              <a:extLst>
                <a:ext uri="{FF2B5EF4-FFF2-40B4-BE49-F238E27FC236}">
                  <a16:creationId xmlns:a16="http://schemas.microsoft.com/office/drawing/2014/main" id="{B4A2F19A-32C8-4EEE-9701-A583C1DF2D34}"/>
                </a:ext>
              </a:extLst>
            </p:cNvPr>
            <p:cNvSpPr>
              <a:spLocks/>
            </p:cNvSpPr>
            <p:nvPr/>
          </p:nvSpPr>
          <p:spPr bwMode="gray">
            <a:xfrm>
              <a:off x="9062711" y="4910453"/>
              <a:ext cx="92460" cy="59754"/>
            </a:xfrm>
            <a:custGeom>
              <a:avLst/>
              <a:gdLst>
                <a:gd name="T0" fmla="*/ 0 w 56"/>
                <a:gd name="T1" fmla="*/ 36 h 36"/>
                <a:gd name="T2" fmla="*/ 18 w 56"/>
                <a:gd name="T3" fmla="*/ 28 h 36"/>
                <a:gd name="T4" fmla="*/ 30 w 56"/>
                <a:gd name="T5" fmla="*/ 18 h 36"/>
                <a:gd name="T6" fmla="*/ 54 w 56"/>
                <a:gd name="T7" fmla="*/ 8 h 36"/>
                <a:gd name="T8" fmla="*/ 56 w 56"/>
                <a:gd name="T9" fmla="*/ 2 h 36"/>
                <a:gd name="T10" fmla="*/ 38 w 56"/>
                <a:gd name="T11" fmla="*/ 0 h 36"/>
                <a:gd name="T12" fmla="*/ 24 w 56"/>
                <a:gd name="T13" fmla="*/ 8 h 36"/>
                <a:gd name="T14" fmla="*/ 14 w 56"/>
                <a:gd name="T15" fmla="*/ 16 h 36"/>
                <a:gd name="T16" fmla="*/ 8 w 56"/>
                <a:gd name="T17" fmla="*/ 18 h 36"/>
                <a:gd name="T18" fmla="*/ 2 w 56"/>
                <a:gd name="T19" fmla="*/ 22 h 36"/>
                <a:gd name="T20" fmla="*/ 0 w 56"/>
                <a:gd name="T2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36">
                  <a:moveTo>
                    <a:pt x="0" y="36"/>
                  </a:moveTo>
                  <a:lnTo>
                    <a:pt x="18" y="28"/>
                  </a:lnTo>
                  <a:lnTo>
                    <a:pt x="30" y="18"/>
                  </a:lnTo>
                  <a:lnTo>
                    <a:pt x="54" y="8"/>
                  </a:lnTo>
                  <a:lnTo>
                    <a:pt x="56" y="2"/>
                  </a:lnTo>
                  <a:lnTo>
                    <a:pt x="38" y="0"/>
                  </a:lnTo>
                  <a:lnTo>
                    <a:pt x="24" y="8"/>
                  </a:lnTo>
                  <a:lnTo>
                    <a:pt x="14" y="16"/>
                  </a:lnTo>
                  <a:lnTo>
                    <a:pt x="8" y="18"/>
                  </a:lnTo>
                  <a:lnTo>
                    <a:pt x="2" y="22"/>
                  </a:lnTo>
                  <a:lnTo>
                    <a:pt x="0" y="3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47" name="Freeform 243">
              <a:extLst>
                <a:ext uri="{FF2B5EF4-FFF2-40B4-BE49-F238E27FC236}">
                  <a16:creationId xmlns:a16="http://schemas.microsoft.com/office/drawing/2014/main" id="{56E587D7-D453-4BB6-BC8A-75D34EF9904B}"/>
                </a:ext>
              </a:extLst>
            </p:cNvPr>
            <p:cNvSpPr>
              <a:spLocks/>
            </p:cNvSpPr>
            <p:nvPr/>
          </p:nvSpPr>
          <p:spPr bwMode="gray">
            <a:xfrm>
              <a:off x="8940532" y="4940329"/>
              <a:ext cx="49532" cy="26557"/>
            </a:xfrm>
            <a:custGeom>
              <a:avLst/>
              <a:gdLst>
                <a:gd name="T0" fmla="*/ 2 w 30"/>
                <a:gd name="T1" fmla="*/ 0 h 16"/>
                <a:gd name="T2" fmla="*/ 14 w 30"/>
                <a:gd name="T3" fmla="*/ 0 h 16"/>
                <a:gd name="T4" fmla="*/ 24 w 30"/>
                <a:gd name="T5" fmla="*/ 6 h 16"/>
                <a:gd name="T6" fmla="*/ 30 w 30"/>
                <a:gd name="T7" fmla="*/ 12 h 16"/>
                <a:gd name="T8" fmla="*/ 26 w 30"/>
                <a:gd name="T9" fmla="*/ 16 h 16"/>
                <a:gd name="T10" fmla="*/ 14 w 30"/>
                <a:gd name="T11" fmla="*/ 14 h 16"/>
                <a:gd name="T12" fmla="*/ 4 w 30"/>
                <a:gd name="T13" fmla="*/ 8 h 16"/>
                <a:gd name="T14" fmla="*/ 0 w 30"/>
                <a:gd name="T15" fmla="*/ 4 h 16"/>
                <a:gd name="T16" fmla="*/ 2 w 30"/>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16">
                  <a:moveTo>
                    <a:pt x="2" y="0"/>
                  </a:moveTo>
                  <a:lnTo>
                    <a:pt x="14" y="0"/>
                  </a:lnTo>
                  <a:lnTo>
                    <a:pt x="24" y="6"/>
                  </a:lnTo>
                  <a:lnTo>
                    <a:pt x="30" y="12"/>
                  </a:lnTo>
                  <a:lnTo>
                    <a:pt x="26" y="16"/>
                  </a:lnTo>
                  <a:lnTo>
                    <a:pt x="14" y="14"/>
                  </a:lnTo>
                  <a:lnTo>
                    <a:pt x="4" y="8"/>
                  </a:lnTo>
                  <a:lnTo>
                    <a:pt x="0" y="4"/>
                  </a:lnTo>
                  <a:lnTo>
                    <a:pt x="2"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48" name="Freeform 244">
              <a:extLst>
                <a:ext uri="{FF2B5EF4-FFF2-40B4-BE49-F238E27FC236}">
                  <a16:creationId xmlns:a16="http://schemas.microsoft.com/office/drawing/2014/main" id="{94F42C81-9674-47DC-BC92-C4D0E53D9E96}"/>
                </a:ext>
              </a:extLst>
            </p:cNvPr>
            <p:cNvSpPr>
              <a:spLocks/>
            </p:cNvSpPr>
            <p:nvPr/>
          </p:nvSpPr>
          <p:spPr bwMode="gray">
            <a:xfrm>
              <a:off x="8963647" y="4910453"/>
              <a:ext cx="62740" cy="16599"/>
            </a:xfrm>
            <a:custGeom>
              <a:avLst/>
              <a:gdLst>
                <a:gd name="T0" fmla="*/ 0 w 38"/>
                <a:gd name="T1" fmla="*/ 10 h 10"/>
                <a:gd name="T2" fmla="*/ 18 w 38"/>
                <a:gd name="T3" fmla="*/ 10 h 10"/>
                <a:gd name="T4" fmla="*/ 38 w 38"/>
                <a:gd name="T5" fmla="*/ 10 h 10"/>
                <a:gd name="T6" fmla="*/ 38 w 38"/>
                <a:gd name="T7" fmla="*/ 4 h 10"/>
                <a:gd name="T8" fmla="*/ 24 w 38"/>
                <a:gd name="T9" fmla="*/ 4 h 10"/>
                <a:gd name="T10" fmla="*/ 18 w 38"/>
                <a:gd name="T11" fmla="*/ 2 h 10"/>
                <a:gd name="T12" fmla="*/ 8 w 38"/>
                <a:gd name="T13" fmla="*/ 0 h 10"/>
                <a:gd name="T14" fmla="*/ 4 w 38"/>
                <a:gd name="T15" fmla="*/ 2 h 10"/>
                <a:gd name="T16" fmla="*/ 0 w 38"/>
                <a:gd name="T1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10">
                  <a:moveTo>
                    <a:pt x="0" y="10"/>
                  </a:moveTo>
                  <a:lnTo>
                    <a:pt x="18" y="10"/>
                  </a:lnTo>
                  <a:lnTo>
                    <a:pt x="38" y="10"/>
                  </a:lnTo>
                  <a:lnTo>
                    <a:pt x="38" y="4"/>
                  </a:lnTo>
                  <a:lnTo>
                    <a:pt x="24" y="4"/>
                  </a:lnTo>
                  <a:lnTo>
                    <a:pt x="18" y="2"/>
                  </a:lnTo>
                  <a:lnTo>
                    <a:pt x="8" y="0"/>
                  </a:lnTo>
                  <a:lnTo>
                    <a:pt x="4" y="2"/>
                  </a:lnTo>
                  <a:lnTo>
                    <a:pt x="0" y="1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49" name="Freeform 245">
              <a:extLst>
                <a:ext uri="{FF2B5EF4-FFF2-40B4-BE49-F238E27FC236}">
                  <a16:creationId xmlns:a16="http://schemas.microsoft.com/office/drawing/2014/main" id="{9BC2F4BA-BA16-41EF-92F6-A3617A27805A}"/>
                </a:ext>
              </a:extLst>
            </p:cNvPr>
            <p:cNvSpPr>
              <a:spLocks/>
            </p:cNvSpPr>
            <p:nvPr/>
          </p:nvSpPr>
          <p:spPr bwMode="gray">
            <a:xfrm>
              <a:off x="8914114" y="4910453"/>
              <a:ext cx="33021" cy="16599"/>
            </a:xfrm>
            <a:custGeom>
              <a:avLst/>
              <a:gdLst>
                <a:gd name="T0" fmla="*/ 0 w 20"/>
                <a:gd name="T1" fmla="*/ 2 h 10"/>
                <a:gd name="T2" fmla="*/ 0 w 20"/>
                <a:gd name="T3" fmla="*/ 10 h 10"/>
                <a:gd name="T4" fmla="*/ 20 w 20"/>
                <a:gd name="T5" fmla="*/ 10 h 10"/>
                <a:gd name="T6" fmla="*/ 18 w 20"/>
                <a:gd name="T7" fmla="*/ 2 h 10"/>
                <a:gd name="T8" fmla="*/ 8 w 20"/>
                <a:gd name="T9" fmla="*/ 0 h 10"/>
                <a:gd name="T10" fmla="*/ 0 w 20"/>
                <a:gd name="T11" fmla="*/ 2 h 10"/>
              </a:gdLst>
              <a:ahLst/>
              <a:cxnLst>
                <a:cxn ang="0">
                  <a:pos x="T0" y="T1"/>
                </a:cxn>
                <a:cxn ang="0">
                  <a:pos x="T2" y="T3"/>
                </a:cxn>
                <a:cxn ang="0">
                  <a:pos x="T4" y="T5"/>
                </a:cxn>
                <a:cxn ang="0">
                  <a:pos x="T6" y="T7"/>
                </a:cxn>
                <a:cxn ang="0">
                  <a:pos x="T8" y="T9"/>
                </a:cxn>
                <a:cxn ang="0">
                  <a:pos x="T10" y="T11"/>
                </a:cxn>
              </a:cxnLst>
              <a:rect l="0" t="0" r="r" b="b"/>
              <a:pathLst>
                <a:path w="20" h="10">
                  <a:moveTo>
                    <a:pt x="0" y="2"/>
                  </a:moveTo>
                  <a:lnTo>
                    <a:pt x="0" y="10"/>
                  </a:lnTo>
                  <a:lnTo>
                    <a:pt x="20" y="10"/>
                  </a:lnTo>
                  <a:lnTo>
                    <a:pt x="18" y="2"/>
                  </a:lnTo>
                  <a:lnTo>
                    <a:pt x="8" y="0"/>
                  </a:lnTo>
                  <a:lnTo>
                    <a:pt x="0" y="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50" name="Freeform 246">
              <a:extLst>
                <a:ext uri="{FF2B5EF4-FFF2-40B4-BE49-F238E27FC236}">
                  <a16:creationId xmlns:a16="http://schemas.microsoft.com/office/drawing/2014/main" id="{0F0ACA33-EC51-4165-9504-37BA4BD46B12}"/>
                </a:ext>
              </a:extLst>
            </p:cNvPr>
            <p:cNvSpPr>
              <a:spLocks/>
            </p:cNvSpPr>
            <p:nvPr/>
          </p:nvSpPr>
          <p:spPr bwMode="gray">
            <a:xfrm>
              <a:off x="8861280" y="4910453"/>
              <a:ext cx="42928" cy="29876"/>
            </a:xfrm>
            <a:custGeom>
              <a:avLst/>
              <a:gdLst>
                <a:gd name="T0" fmla="*/ 2 w 26"/>
                <a:gd name="T1" fmla="*/ 0 h 18"/>
                <a:gd name="T2" fmla="*/ 14 w 26"/>
                <a:gd name="T3" fmla="*/ 2 h 18"/>
                <a:gd name="T4" fmla="*/ 26 w 26"/>
                <a:gd name="T5" fmla="*/ 4 h 18"/>
                <a:gd name="T6" fmla="*/ 26 w 26"/>
                <a:gd name="T7" fmla="*/ 10 h 18"/>
                <a:gd name="T8" fmla="*/ 24 w 26"/>
                <a:gd name="T9" fmla="*/ 18 h 18"/>
                <a:gd name="T10" fmla="*/ 12 w 26"/>
                <a:gd name="T11" fmla="*/ 14 h 18"/>
                <a:gd name="T12" fmla="*/ 0 w 26"/>
                <a:gd name="T13" fmla="*/ 10 h 18"/>
                <a:gd name="T14" fmla="*/ 2 w 26"/>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18">
                  <a:moveTo>
                    <a:pt x="2" y="0"/>
                  </a:moveTo>
                  <a:lnTo>
                    <a:pt x="14" y="2"/>
                  </a:lnTo>
                  <a:lnTo>
                    <a:pt x="26" y="4"/>
                  </a:lnTo>
                  <a:lnTo>
                    <a:pt x="26" y="10"/>
                  </a:lnTo>
                  <a:lnTo>
                    <a:pt x="24" y="18"/>
                  </a:lnTo>
                  <a:lnTo>
                    <a:pt x="12" y="14"/>
                  </a:lnTo>
                  <a:lnTo>
                    <a:pt x="0" y="10"/>
                  </a:lnTo>
                  <a:lnTo>
                    <a:pt x="2"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51" name="Freeform 247">
              <a:extLst>
                <a:ext uri="{FF2B5EF4-FFF2-40B4-BE49-F238E27FC236}">
                  <a16:creationId xmlns:a16="http://schemas.microsoft.com/office/drawing/2014/main" id="{8C8D9CB4-EFB9-4F87-9C76-8390E747C335}"/>
                </a:ext>
              </a:extLst>
            </p:cNvPr>
            <p:cNvSpPr>
              <a:spLocks/>
            </p:cNvSpPr>
            <p:nvPr/>
          </p:nvSpPr>
          <p:spPr bwMode="gray">
            <a:xfrm>
              <a:off x="8937229" y="4648199"/>
              <a:ext cx="161805" cy="195860"/>
            </a:xfrm>
            <a:custGeom>
              <a:avLst/>
              <a:gdLst>
                <a:gd name="T0" fmla="*/ 12 w 98"/>
                <a:gd name="T1" fmla="*/ 36 h 118"/>
                <a:gd name="T2" fmla="*/ 12 w 98"/>
                <a:gd name="T3" fmla="*/ 26 h 118"/>
                <a:gd name="T4" fmla="*/ 20 w 98"/>
                <a:gd name="T5" fmla="*/ 14 h 118"/>
                <a:gd name="T6" fmla="*/ 32 w 98"/>
                <a:gd name="T7" fmla="*/ 8 h 118"/>
                <a:gd name="T8" fmla="*/ 48 w 98"/>
                <a:gd name="T9" fmla="*/ 10 h 118"/>
                <a:gd name="T10" fmla="*/ 58 w 98"/>
                <a:gd name="T11" fmla="*/ 14 h 118"/>
                <a:gd name="T12" fmla="*/ 74 w 98"/>
                <a:gd name="T13" fmla="*/ 14 h 118"/>
                <a:gd name="T14" fmla="*/ 84 w 98"/>
                <a:gd name="T15" fmla="*/ 12 h 118"/>
                <a:gd name="T16" fmla="*/ 90 w 98"/>
                <a:gd name="T17" fmla="*/ 8 h 118"/>
                <a:gd name="T18" fmla="*/ 98 w 98"/>
                <a:gd name="T19" fmla="*/ 0 h 118"/>
                <a:gd name="T20" fmla="*/ 98 w 98"/>
                <a:gd name="T21" fmla="*/ 8 h 118"/>
                <a:gd name="T22" fmla="*/ 88 w 98"/>
                <a:gd name="T23" fmla="*/ 20 h 118"/>
                <a:gd name="T24" fmla="*/ 80 w 98"/>
                <a:gd name="T25" fmla="*/ 26 h 118"/>
                <a:gd name="T26" fmla="*/ 56 w 98"/>
                <a:gd name="T27" fmla="*/ 22 h 118"/>
                <a:gd name="T28" fmla="*/ 42 w 98"/>
                <a:gd name="T29" fmla="*/ 20 h 118"/>
                <a:gd name="T30" fmla="*/ 30 w 98"/>
                <a:gd name="T31" fmla="*/ 20 h 118"/>
                <a:gd name="T32" fmla="*/ 24 w 98"/>
                <a:gd name="T33" fmla="*/ 20 h 118"/>
                <a:gd name="T34" fmla="*/ 18 w 98"/>
                <a:gd name="T35" fmla="*/ 26 h 118"/>
                <a:gd name="T36" fmla="*/ 18 w 98"/>
                <a:gd name="T37" fmla="*/ 36 h 118"/>
                <a:gd name="T38" fmla="*/ 22 w 98"/>
                <a:gd name="T39" fmla="*/ 42 h 118"/>
                <a:gd name="T40" fmla="*/ 26 w 98"/>
                <a:gd name="T41" fmla="*/ 46 h 118"/>
                <a:gd name="T42" fmla="*/ 28 w 98"/>
                <a:gd name="T43" fmla="*/ 50 h 118"/>
                <a:gd name="T44" fmla="*/ 32 w 98"/>
                <a:gd name="T45" fmla="*/ 52 h 118"/>
                <a:gd name="T46" fmla="*/ 38 w 98"/>
                <a:gd name="T47" fmla="*/ 44 h 118"/>
                <a:gd name="T48" fmla="*/ 42 w 98"/>
                <a:gd name="T49" fmla="*/ 42 h 118"/>
                <a:gd name="T50" fmla="*/ 52 w 98"/>
                <a:gd name="T51" fmla="*/ 44 h 118"/>
                <a:gd name="T52" fmla="*/ 60 w 98"/>
                <a:gd name="T53" fmla="*/ 40 h 118"/>
                <a:gd name="T54" fmla="*/ 70 w 98"/>
                <a:gd name="T55" fmla="*/ 40 h 118"/>
                <a:gd name="T56" fmla="*/ 68 w 98"/>
                <a:gd name="T57" fmla="*/ 46 h 118"/>
                <a:gd name="T58" fmla="*/ 56 w 98"/>
                <a:gd name="T59" fmla="*/ 48 h 118"/>
                <a:gd name="T60" fmla="*/ 50 w 98"/>
                <a:gd name="T61" fmla="*/ 54 h 118"/>
                <a:gd name="T62" fmla="*/ 44 w 98"/>
                <a:gd name="T63" fmla="*/ 60 h 118"/>
                <a:gd name="T64" fmla="*/ 44 w 98"/>
                <a:gd name="T65" fmla="*/ 62 h 118"/>
                <a:gd name="T66" fmla="*/ 48 w 98"/>
                <a:gd name="T67" fmla="*/ 68 h 118"/>
                <a:gd name="T68" fmla="*/ 54 w 98"/>
                <a:gd name="T69" fmla="*/ 80 h 118"/>
                <a:gd name="T70" fmla="*/ 54 w 98"/>
                <a:gd name="T71" fmla="*/ 84 h 118"/>
                <a:gd name="T72" fmla="*/ 56 w 98"/>
                <a:gd name="T73" fmla="*/ 92 h 118"/>
                <a:gd name="T74" fmla="*/ 62 w 98"/>
                <a:gd name="T75" fmla="*/ 96 h 118"/>
                <a:gd name="T76" fmla="*/ 54 w 98"/>
                <a:gd name="T77" fmla="*/ 100 h 118"/>
                <a:gd name="T78" fmla="*/ 46 w 98"/>
                <a:gd name="T79" fmla="*/ 98 h 118"/>
                <a:gd name="T80" fmla="*/ 44 w 98"/>
                <a:gd name="T81" fmla="*/ 104 h 118"/>
                <a:gd name="T82" fmla="*/ 38 w 98"/>
                <a:gd name="T83" fmla="*/ 94 h 118"/>
                <a:gd name="T84" fmla="*/ 34 w 98"/>
                <a:gd name="T85" fmla="*/ 84 h 118"/>
                <a:gd name="T86" fmla="*/ 32 w 98"/>
                <a:gd name="T87" fmla="*/ 70 h 118"/>
                <a:gd name="T88" fmla="*/ 24 w 98"/>
                <a:gd name="T89" fmla="*/ 70 h 118"/>
                <a:gd name="T90" fmla="*/ 22 w 98"/>
                <a:gd name="T91" fmla="*/ 76 h 118"/>
                <a:gd name="T92" fmla="*/ 24 w 98"/>
                <a:gd name="T93" fmla="*/ 92 h 118"/>
                <a:gd name="T94" fmla="*/ 24 w 98"/>
                <a:gd name="T95" fmla="*/ 98 h 118"/>
                <a:gd name="T96" fmla="*/ 24 w 98"/>
                <a:gd name="T97" fmla="*/ 112 h 118"/>
                <a:gd name="T98" fmla="*/ 22 w 98"/>
                <a:gd name="T99" fmla="*/ 118 h 118"/>
                <a:gd name="T100" fmla="*/ 10 w 98"/>
                <a:gd name="T101" fmla="*/ 116 h 118"/>
                <a:gd name="T102" fmla="*/ 10 w 98"/>
                <a:gd name="T103" fmla="*/ 102 h 118"/>
                <a:gd name="T104" fmla="*/ 12 w 98"/>
                <a:gd name="T105" fmla="*/ 90 h 118"/>
                <a:gd name="T106" fmla="*/ 10 w 98"/>
                <a:gd name="T107" fmla="*/ 84 h 118"/>
                <a:gd name="T108" fmla="*/ 0 w 98"/>
                <a:gd name="T109" fmla="*/ 80 h 118"/>
                <a:gd name="T110" fmla="*/ 0 w 98"/>
                <a:gd name="T111" fmla="*/ 68 h 118"/>
                <a:gd name="T112" fmla="*/ 4 w 98"/>
                <a:gd name="T113" fmla="*/ 58 h 118"/>
                <a:gd name="T114" fmla="*/ 8 w 98"/>
                <a:gd name="T115" fmla="*/ 42 h 118"/>
                <a:gd name="T116" fmla="*/ 12 w 98"/>
                <a:gd name="T117" fmla="*/ 36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8" h="118">
                  <a:moveTo>
                    <a:pt x="12" y="36"/>
                  </a:moveTo>
                  <a:lnTo>
                    <a:pt x="12" y="26"/>
                  </a:lnTo>
                  <a:lnTo>
                    <a:pt x="20" y="14"/>
                  </a:lnTo>
                  <a:lnTo>
                    <a:pt x="32" y="8"/>
                  </a:lnTo>
                  <a:lnTo>
                    <a:pt x="48" y="10"/>
                  </a:lnTo>
                  <a:lnTo>
                    <a:pt x="58" y="14"/>
                  </a:lnTo>
                  <a:lnTo>
                    <a:pt x="74" y="14"/>
                  </a:lnTo>
                  <a:lnTo>
                    <a:pt x="84" y="12"/>
                  </a:lnTo>
                  <a:lnTo>
                    <a:pt x="90" y="8"/>
                  </a:lnTo>
                  <a:lnTo>
                    <a:pt x="98" y="0"/>
                  </a:lnTo>
                  <a:lnTo>
                    <a:pt x="98" y="8"/>
                  </a:lnTo>
                  <a:lnTo>
                    <a:pt x="88" y="20"/>
                  </a:lnTo>
                  <a:lnTo>
                    <a:pt x="80" y="26"/>
                  </a:lnTo>
                  <a:lnTo>
                    <a:pt x="56" y="22"/>
                  </a:lnTo>
                  <a:lnTo>
                    <a:pt x="42" y="20"/>
                  </a:lnTo>
                  <a:lnTo>
                    <a:pt x="30" y="20"/>
                  </a:lnTo>
                  <a:lnTo>
                    <a:pt x="24" y="20"/>
                  </a:lnTo>
                  <a:lnTo>
                    <a:pt x="18" y="26"/>
                  </a:lnTo>
                  <a:lnTo>
                    <a:pt x="18" y="36"/>
                  </a:lnTo>
                  <a:lnTo>
                    <a:pt x="22" y="42"/>
                  </a:lnTo>
                  <a:lnTo>
                    <a:pt x="26" y="46"/>
                  </a:lnTo>
                  <a:lnTo>
                    <a:pt x="28" y="50"/>
                  </a:lnTo>
                  <a:lnTo>
                    <a:pt x="32" y="52"/>
                  </a:lnTo>
                  <a:lnTo>
                    <a:pt x="38" y="44"/>
                  </a:lnTo>
                  <a:lnTo>
                    <a:pt x="42" y="42"/>
                  </a:lnTo>
                  <a:lnTo>
                    <a:pt x="52" y="44"/>
                  </a:lnTo>
                  <a:lnTo>
                    <a:pt x="60" y="40"/>
                  </a:lnTo>
                  <a:lnTo>
                    <a:pt x="70" y="40"/>
                  </a:lnTo>
                  <a:lnTo>
                    <a:pt x="68" y="46"/>
                  </a:lnTo>
                  <a:lnTo>
                    <a:pt x="56" y="48"/>
                  </a:lnTo>
                  <a:lnTo>
                    <a:pt x="50" y="54"/>
                  </a:lnTo>
                  <a:lnTo>
                    <a:pt x="44" y="60"/>
                  </a:lnTo>
                  <a:lnTo>
                    <a:pt x="44" y="62"/>
                  </a:lnTo>
                  <a:lnTo>
                    <a:pt x="48" y="68"/>
                  </a:lnTo>
                  <a:lnTo>
                    <a:pt x="54" y="80"/>
                  </a:lnTo>
                  <a:lnTo>
                    <a:pt x="54" y="84"/>
                  </a:lnTo>
                  <a:lnTo>
                    <a:pt x="56" y="92"/>
                  </a:lnTo>
                  <a:lnTo>
                    <a:pt x="62" y="96"/>
                  </a:lnTo>
                  <a:lnTo>
                    <a:pt x="54" y="100"/>
                  </a:lnTo>
                  <a:lnTo>
                    <a:pt x="46" y="98"/>
                  </a:lnTo>
                  <a:lnTo>
                    <a:pt x="44" y="104"/>
                  </a:lnTo>
                  <a:lnTo>
                    <a:pt x="38" y="94"/>
                  </a:lnTo>
                  <a:lnTo>
                    <a:pt x="34" y="84"/>
                  </a:lnTo>
                  <a:lnTo>
                    <a:pt x="32" y="70"/>
                  </a:lnTo>
                  <a:lnTo>
                    <a:pt x="24" y="70"/>
                  </a:lnTo>
                  <a:lnTo>
                    <a:pt x="22" y="76"/>
                  </a:lnTo>
                  <a:lnTo>
                    <a:pt x="24" y="92"/>
                  </a:lnTo>
                  <a:lnTo>
                    <a:pt x="24" y="98"/>
                  </a:lnTo>
                  <a:lnTo>
                    <a:pt x="24" y="112"/>
                  </a:lnTo>
                  <a:lnTo>
                    <a:pt x="22" y="118"/>
                  </a:lnTo>
                  <a:lnTo>
                    <a:pt x="10" y="116"/>
                  </a:lnTo>
                  <a:lnTo>
                    <a:pt x="10" y="102"/>
                  </a:lnTo>
                  <a:lnTo>
                    <a:pt x="12" y="90"/>
                  </a:lnTo>
                  <a:lnTo>
                    <a:pt x="10" y="84"/>
                  </a:lnTo>
                  <a:lnTo>
                    <a:pt x="0" y="80"/>
                  </a:lnTo>
                  <a:lnTo>
                    <a:pt x="0" y="68"/>
                  </a:lnTo>
                  <a:lnTo>
                    <a:pt x="4" y="58"/>
                  </a:lnTo>
                  <a:lnTo>
                    <a:pt x="8" y="42"/>
                  </a:lnTo>
                  <a:lnTo>
                    <a:pt x="12" y="3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52" name="Freeform 248">
              <a:extLst>
                <a:ext uri="{FF2B5EF4-FFF2-40B4-BE49-F238E27FC236}">
                  <a16:creationId xmlns:a16="http://schemas.microsoft.com/office/drawing/2014/main" id="{DE6EA49B-1B94-46E7-870D-54A292B4AED0}"/>
                </a:ext>
              </a:extLst>
            </p:cNvPr>
            <p:cNvSpPr>
              <a:spLocks/>
            </p:cNvSpPr>
            <p:nvPr/>
          </p:nvSpPr>
          <p:spPr bwMode="gray">
            <a:xfrm>
              <a:off x="9247631" y="4707953"/>
              <a:ext cx="267473" cy="225737"/>
            </a:xfrm>
            <a:custGeom>
              <a:avLst/>
              <a:gdLst>
                <a:gd name="T0" fmla="*/ 2 w 162"/>
                <a:gd name="T1" fmla="*/ 8 h 136"/>
                <a:gd name="T2" fmla="*/ 20 w 162"/>
                <a:gd name="T3" fmla="*/ 2 h 136"/>
                <a:gd name="T4" fmla="*/ 30 w 162"/>
                <a:gd name="T5" fmla="*/ 0 h 136"/>
                <a:gd name="T6" fmla="*/ 48 w 162"/>
                <a:gd name="T7" fmla="*/ 2 h 136"/>
                <a:gd name="T8" fmla="*/ 56 w 162"/>
                <a:gd name="T9" fmla="*/ 10 h 136"/>
                <a:gd name="T10" fmla="*/ 54 w 162"/>
                <a:gd name="T11" fmla="*/ 22 h 136"/>
                <a:gd name="T12" fmla="*/ 54 w 162"/>
                <a:gd name="T13" fmla="*/ 30 h 136"/>
                <a:gd name="T14" fmla="*/ 60 w 162"/>
                <a:gd name="T15" fmla="*/ 34 h 136"/>
                <a:gd name="T16" fmla="*/ 62 w 162"/>
                <a:gd name="T17" fmla="*/ 42 h 136"/>
                <a:gd name="T18" fmla="*/ 70 w 162"/>
                <a:gd name="T19" fmla="*/ 44 h 136"/>
                <a:gd name="T20" fmla="*/ 80 w 162"/>
                <a:gd name="T21" fmla="*/ 42 h 136"/>
                <a:gd name="T22" fmla="*/ 86 w 162"/>
                <a:gd name="T23" fmla="*/ 32 h 136"/>
                <a:gd name="T24" fmla="*/ 94 w 162"/>
                <a:gd name="T25" fmla="*/ 26 h 136"/>
                <a:gd name="T26" fmla="*/ 104 w 162"/>
                <a:gd name="T27" fmla="*/ 22 h 136"/>
                <a:gd name="T28" fmla="*/ 110 w 162"/>
                <a:gd name="T29" fmla="*/ 16 h 136"/>
                <a:gd name="T30" fmla="*/ 128 w 162"/>
                <a:gd name="T31" fmla="*/ 22 h 136"/>
                <a:gd name="T32" fmla="*/ 142 w 162"/>
                <a:gd name="T33" fmla="*/ 26 h 136"/>
                <a:gd name="T34" fmla="*/ 158 w 162"/>
                <a:gd name="T35" fmla="*/ 32 h 136"/>
                <a:gd name="T36" fmla="*/ 162 w 162"/>
                <a:gd name="T37" fmla="*/ 34 h 136"/>
                <a:gd name="T38" fmla="*/ 162 w 162"/>
                <a:gd name="T39" fmla="*/ 136 h 136"/>
                <a:gd name="T40" fmla="*/ 148 w 162"/>
                <a:gd name="T41" fmla="*/ 124 h 136"/>
                <a:gd name="T42" fmla="*/ 138 w 162"/>
                <a:gd name="T43" fmla="*/ 120 h 136"/>
                <a:gd name="T44" fmla="*/ 130 w 162"/>
                <a:gd name="T45" fmla="*/ 120 h 136"/>
                <a:gd name="T46" fmla="*/ 124 w 162"/>
                <a:gd name="T47" fmla="*/ 124 h 136"/>
                <a:gd name="T48" fmla="*/ 110 w 162"/>
                <a:gd name="T49" fmla="*/ 126 h 136"/>
                <a:gd name="T50" fmla="*/ 108 w 162"/>
                <a:gd name="T51" fmla="*/ 118 h 136"/>
                <a:gd name="T52" fmla="*/ 110 w 162"/>
                <a:gd name="T53" fmla="*/ 114 h 136"/>
                <a:gd name="T54" fmla="*/ 116 w 162"/>
                <a:gd name="T55" fmla="*/ 112 h 136"/>
                <a:gd name="T56" fmla="*/ 124 w 162"/>
                <a:gd name="T57" fmla="*/ 110 h 136"/>
                <a:gd name="T58" fmla="*/ 126 w 162"/>
                <a:gd name="T59" fmla="*/ 98 h 136"/>
                <a:gd name="T60" fmla="*/ 122 w 162"/>
                <a:gd name="T61" fmla="*/ 90 h 136"/>
                <a:gd name="T62" fmla="*/ 112 w 162"/>
                <a:gd name="T63" fmla="*/ 80 h 136"/>
                <a:gd name="T64" fmla="*/ 90 w 162"/>
                <a:gd name="T65" fmla="*/ 68 h 136"/>
                <a:gd name="T66" fmla="*/ 66 w 162"/>
                <a:gd name="T67" fmla="*/ 62 h 136"/>
                <a:gd name="T68" fmla="*/ 60 w 162"/>
                <a:gd name="T69" fmla="*/ 56 h 136"/>
                <a:gd name="T70" fmla="*/ 54 w 162"/>
                <a:gd name="T71" fmla="*/ 54 h 136"/>
                <a:gd name="T72" fmla="*/ 48 w 162"/>
                <a:gd name="T73" fmla="*/ 40 h 136"/>
                <a:gd name="T74" fmla="*/ 42 w 162"/>
                <a:gd name="T75" fmla="*/ 42 h 136"/>
                <a:gd name="T76" fmla="*/ 42 w 162"/>
                <a:gd name="T77" fmla="*/ 48 h 136"/>
                <a:gd name="T78" fmla="*/ 42 w 162"/>
                <a:gd name="T79" fmla="*/ 58 h 136"/>
                <a:gd name="T80" fmla="*/ 32 w 162"/>
                <a:gd name="T81" fmla="*/ 56 h 136"/>
                <a:gd name="T82" fmla="*/ 32 w 162"/>
                <a:gd name="T83" fmla="*/ 46 h 136"/>
                <a:gd name="T84" fmla="*/ 30 w 162"/>
                <a:gd name="T85" fmla="*/ 40 h 136"/>
                <a:gd name="T86" fmla="*/ 20 w 162"/>
                <a:gd name="T87" fmla="*/ 38 h 136"/>
                <a:gd name="T88" fmla="*/ 30 w 162"/>
                <a:gd name="T89" fmla="*/ 32 h 136"/>
                <a:gd name="T90" fmla="*/ 42 w 162"/>
                <a:gd name="T91" fmla="*/ 34 h 136"/>
                <a:gd name="T92" fmla="*/ 50 w 162"/>
                <a:gd name="T93" fmla="*/ 32 h 136"/>
                <a:gd name="T94" fmla="*/ 46 w 162"/>
                <a:gd name="T95" fmla="*/ 24 h 136"/>
                <a:gd name="T96" fmla="*/ 30 w 162"/>
                <a:gd name="T97" fmla="*/ 24 h 136"/>
                <a:gd name="T98" fmla="*/ 20 w 162"/>
                <a:gd name="T99" fmla="*/ 26 h 136"/>
                <a:gd name="T100" fmla="*/ 16 w 162"/>
                <a:gd name="T101" fmla="*/ 16 h 136"/>
                <a:gd name="T102" fmla="*/ 6 w 162"/>
                <a:gd name="T103" fmla="*/ 16 h 136"/>
                <a:gd name="T104" fmla="*/ 0 w 162"/>
                <a:gd name="T105" fmla="*/ 14 h 136"/>
                <a:gd name="T106" fmla="*/ 2 w 162"/>
                <a:gd name="T107" fmla="*/ 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2" h="136">
                  <a:moveTo>
                    <a:pt x="2" y="8"/>
                  </a:moveTo>
                  <a:lnTo>
                    <a:pt x="20" y="2"/>
                  </a:lnTo>
                  <a:lnTo>
                    <a:pt x="30" y="0"/>
                  </a:lnTo>
                  <a:lnTo>
                    <a:pt x="48" y="2"/>
                  </a:lnTo>
                  <a:lnTo>
                    <a:pt x="56" y="10"/>
                  </a:lnTo>
                  <a:lnTo>
                    <a:pt x="54" y="22"/>
                  </a:lnTo>
                  <a:lnTo>
                    <a:pt x="54" y="30"/>
                  </a:lnTo>
                  <a:lnTo>
                    <a:pt x="60" y="34"/>
                  </a:lnTo>
                  <a:lnTo>
                    <a:pt x="62" y="42"/>
                  </a:lnTo>
                  <a:lnTo>
                    <a:pt x="70" y="44"/>
                  </a:lnTo>
                  <a:lnTo>
                    <a:pt x="80" y="42"/>
                  </a:lnTo>
                  <a:lnTo>
                    <a:pt x="86" y="32"/>
                  </a:lnTo>
                  <a:lnTo>
                    <a:pt x="94" y="26"/>
                  </a:lnTo>
                  <a:lnTo>
                    <a:pt x="104" y="22"/>
                  </a:lnTo>
                  <a:lnTo>
                    <a:pt x="110" y="16"/>
                  </a:lnTo>
                  <a:lnTo>
                    <a:pt x="128" y="22"/>
                  </a:lnTo>
                  <a:lnTo>
                    <a:pt x="142" y="26"/>
                  </a:lnTo>
                  <a:lnTo>
                    <a:pt x="158" y="32"/>
                  </a:lnTo>
                  <a:lnTo>
                    <a:pt x="162" y="34"/>
                  </a:lnTo>
                  <a:lnTo>
                    <a:pt x="162" y="136"/>
                  </a:lnTo>
                  <a:lnTo>
                    <a:pt x="148" y="124"/>
                  </a:lnTo>
                  <a:lnTo>
                    <a:pt x="138" y="120"/>
                  </a:lnTo>
                  <a:lnTo>
                    <a:pt x="130" y="120"/>
                  </a:lnTo>
                  <a:lnTo>
                    <a:pt x="124" y="124"/>
                  </a:lnTo>
                  <a:lnTo>
                    <a:pt x="110" y="126"/>
                  </a:lnTo>
                  <a:lnTo>
                    <a:pt x="108" y="118"/>
                  </a:lnTo>
                  <a:lnTo>
                    <a:pt x="110" y="114"/>
                  </a:lnTo>
                  <a:lnTo>
                    <a:pt x="116" y="112"/>
                  </a:lnTo>
                  <a:lnTo>
                    <a:pt x="124" y="110"/>
                  </a:lnTo>
                  <a:lnTo>
                    <a:pt x="126" y="98"/>
                  </a:lnTo>
                  <a:lnTo>
                    <a:pt x="122" y="90"/>
                  </a:lnTo>
                  <a:lnTo>
                    <a:pt x="112" y="80"/>
                  </a:lnTo>
                  <a:lnTo>
                    <a:pt x="90" y="68"/>
                  </a:lnTo>
                  <a:lnTo>
                    <a:pt x="66" y="62"/>
                  </a:lnTo>
                  <a:lnTo>
                    <a:pt x="60" y="56"/>
                  </a:lnTo>
                  <a:lnTo>
                    <a:pt x="54" y="54"/>
                  </a:lnTo>
                  <a:lnTo>
                    <a:pt x="48" y="40"/>
                  </a:lnTo>
                  <a:lnTo>
                    <a:pt x="42" y="42"/>
                  </a:lnTo>
                  <a:lnTo>
                    <a:pt x="42" y="48"/>
                  </a:lnTo>
                  <a:lnTo>
                    <a:pt x="42" y="58"/>
                  </a:lnTo>
                  <a:lnTo>
                    <a:pt x="32" y="56"/>
                  </a:lnTo>
                  <a:lnTo>
                    <a:pt x="32" y="46"/>
                  </a:lnTo>
                  <a:lnTo>
                    <a:pt x="30" y="40"/>
                  </a:lnTo>
                  <a:lnTo>
                    <a:pt x="20" y="38"/>
                  </a:lnTo>
                  <a:lnTo>
                    <a:pt x="30" y="32"/>
                  </a:lnTo>
                  <a:lnTo>
                    <a:pt x="42" y="34"/>
                  </a:lnTo>
                  <a:lnTo>
                    <a:pt x="50" y="32"/>
                  </a:lnTo>
                  <a:lnTo>
                    <a:pt x="46" y="24"/>
                  </a:lnTo>
                  <a:lnTo>
                    <a:pt x="30" y="24"/>
                  </a:lnTo>
                  <a:lnTo>
                    <a:pt x="20" y="26"/>
                  </a:lnTo>
                  <a:lnTo>
                    <a:pt x="16" y="16"/>
                  </a:lnTo>
                  <a:lnTo>
                    <a:pt x="6" y="16"/>
                  </a:lnTo>
                  <a:lnTo>
                    <a:pt x="0" y="14"/>
                  </a:lnTo>
                  <a:lnTo>
                    <a:pt x="2" y="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53" name="Freeform 249">
              <a:extLst>
                <a:ext uri="{FF2B5EF4-FFF2-40B4-BE49-F238E27FC236}">
                  <a16:creationId xmlns:a16="http://schemas.microsoft.com/office/drawing/2014/main" id="{1554F59E-8DA8-4190-A25F-BAA514A73400}"/>
                </a:ext>
              </a:extLst>
            </p:cNvPr>
            <p:cNvSpPr>
              <a:spLocks/>
            </p:cNvSpPr>
            <p:nvPr/>
          </p:nvSpPr>
          <p:spPr bwMode="gray">
            <a:xfrm>
              <a:off x="9171681" y="4767707"/>
              <a:ext cx="79252" cy="26557"/>
            </a:xfrm>
            <a:custGeom>
              <a:avLst/>
              <a:gdLst>
                <a:gd name="T0" fmla="*/ 4 w 48"/>
                <a:gd name="T1" fmla="*/ 2 h 16"/>
                <a:gd name="T2" fmla="*/ 20 w 48"/>
                <a:gd name="T3" fmla="*/ 0 h 16"/>
                <a:gd name="T4" fmla="*/ 38 w 48"/>
                <a:gd name="T5" fmla="*/ 2 h 16"/>
                <a:gd name="T6" fmla="*/ 48 w 48"/>
                <a:gd name="T7" fmla="*/ 10 h 16"/>
                <a:gd name="T8" fmla="*/ 46 w 48"/>
                <a:gd name="T9" fmla="*/ 16 h 16"/>
                <a:gd name="T10" fmla="*/ 34 w 48"/>
                <a:gd name="T11" fmla="*/ 12 h 16"/>
                <a:gd name="T12" fmla="*/ 24 w 48"/>
                <a:gd name="T13" fmla="*/ 10 h 16"/>
                <a:gd name="T14" fmla="*/ 12 w 48"/>
                <a:gd name="T15" fmla="*/ 10 h 16"/>
                <a:gd name="T16" fmla="*/ 8 w 48"/>
                <a:gd name="T17" fmla="*/ 14 h 16"/>
                <a:gd name="T18" fmla="*/ 2 w 48"/>
                <a:gd name="T19" fmla="*/ 14 h 16"/>
                <a:gd name="T20" fmla="*/ 0 w 48"/>
                <a:gd name="T21" fmla="*/ 6 h 16"/>
                <a:gd name="T22" fmla="*/ 4 w 48"/>
                <a:gd name="T2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16">
                  <a:moveTo>
                    <a:pt x="4" y="2"/>
                  </a:moveTo>
                  <a:lnTo>
                    <a:pt x="20" y="0"/>
                  </a:lnTo>
                  <a:lnTo>
                    <a:pt x="38" y="2"/>
                  </a:lnTo>
                  <a:lnTo>
                    <a:pt x="48" y="10"/>
                  </a:lnTo>
                  <a:lnTo>
                    <a:pt x="46" y="16"/>
                  </a:lnTo>
                  <a:lnTo>
                    <a:pt x="34" y="12"/>
                  </a:lnTo>
                  <a:lnTo>
                    <a:pt x="24" y="10"/>
                  </a:lnTo>
                  <a:lnTo>
                    <a:pt x="12" y="10"/>
                  </a:lnTo>
                  <a:lnTo>
                    <a:pt x="8" y="14"/>
                  </a:lnTo>
                  <a:lnTo>
                    <a:pt x="2" y="14"/>
                  </a:lnTo>
                  <a:lnTo>
                    <a:pt x="0" y="6"/>
                  </a:lnTo>
                  <a:lnTo>
                    <a:pt x="4" y="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54" name="Freeform 250">
              <a:extLst>
                <a:ext uri="{FF2B5EF4-FFF2-40B4-BE49-F238E27FC236}">
                  <a16:creationId xmlns:a16="http://schemas.microsoft.com/office/drawing/2014/main" id="{BC94B13A-C8BC-414B-93E1-CA376B68D165}"/>
                </a:ext>
              </a:extLst>
            </p:cNvPr>
            <p:cNvSpPr>
              <a:spLocks/>
            </p:cNvSpPr>
            <p:nvPr/>
          </p:nvSpPr>
          <p:spPr bwMode="gray">
            <a:xfrm>
              <a:off x="9128754" y="4777667"/>
              <a:ext cx="29719" cy="16599"/>
            </a:xfrm>
            <a:custGeom>
              <a:avLst/>
              <a:gdLst>
                <a:gd name="T0" fmla="*/ 2 w 18"/>
                <a:gd name="T1" fmla="*/ 0 h 10"/>
                <a:gd name="T2" fmla="*/ 12 w 18"/>
                <a:gd name="T3" fmla="*/ 0 h 10"/>
                <a:gd name="T4" fmla="*/ 18 w 18"/>
                <a:gd name="T5" fmla="*/ 4 h 10"/>
                <a:gd name="T6" fmla="*/ 14 w 18"/>
                <a:gd name="T7" fmla="*/ 10 h 10"/>
                <a:gd name="T8" fmla="*/ 4 w 18"/>
                <a:gd name="T9" fmla="*/ 10 h 10"/>
                <a:gd name="T10" fmla="*/ 0 w 18"/>
                <a:gd name="T11" fmla="*/ 6 h 10"/>
                <a:gd name="T12" fmla="*/ 2 w 18"/>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8" h="10">
                  <a:moveTo>
                    <a:pt x="2" y="0"/>
                  </a:moveTo>
                  <a:lnTo>
                    <a:pt x="12" y="0"/>
                  </a:lnTo>
                  <a:lnTo>
                    <a:pt x="18" y="4"/>
                  </a:lnTo>
                  <a:lnTo>
                    <a:pt x="14" y="10"/>
                  </a:lnTo>
                  <a:lnTo>
                    <a:pt x="4" y="10"/>
                  </a:lnTo>
                  <a:lnTo>
                    <a:pt x="0" y="6"/>
                  </a:lnTo>
                  <a:lnTo>
                    <a:pt x="2"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55" name="Freeform 251">
              <a:extLst>
                <a:ext uri="{FF2B5EF4-FFF2-40B4-BE49-F238E27FC236}">
                  <a16:creationId xmlns:a16="http://schemas.microsoft.com/office/drawing/2014/main" id="{6A1F6E0B-24A8-4FDB-A55D-4F2745AE1EA9}"/>
                </a:ext>
              </a:extLst>
            </p:cNvPr>
            <p:cNvSpPr>
              <a:spLocks/>
            </p:cNvSpPr>
            <p:nvPr/>
          </p:nvSpPr>
          <p:spPr bwMode="gray">
            <a:xfrm>
              <a:off x="9161776" y="4641560"/>
              <a:ext cx="36323" cy="82991"/>
            </a:xfrm>
            <a:custGeom>
              <a:avLst/>
              <a:gdLst>
                <a:gd name="T0" fmla="*/ 0 w 22"/>
                <a:gd name="T1" fmla="*/ 0 h 50"/>
                <a:gd name="T2" fmla="*/ 6 w 22"/>
                <a:gd name="T3" fmla="*/ 2 h 50"/>
                <a:gd name="T4" fmla="*/ 8 w 22"/>
                <a:gd name="T5" fmla="*/ 10 h 50"/>
                <a:gd name="T6" fmla="*/ 8 w 22"/>
                <a:gd name="T7" fmla="*/ 14 h 50"/>
                <a:gd name="T8" fmla="*/ 14 w 22"/>
                <a:gd name="T9" fmla="*/ 6 h 50"/>
                <a:gd name="T10" fmla="*/ 20 w 22"/>
                <a:gd name="T11" fmla="*/ 4 h 50"/>
                <a:gd name="T12" fmla="*/ 22 w 22"/>
                <a:gd name="T13" fmla="*/ 14 h 50"/>
                <a:gd name="T14" fmla="*/ 16 w 22"/>
                <a:gd name="T15" fmla="*/ 16 h 50"/>
                <a:gd name="T16" fmla="*/ 14 w 22"/>
                <a:gd name="T17" fmla="*/ 20 h 50"/>
                <a:gd name="T18" fmla="*/ 18 w 22"/>
                <a:gd name="T19" fmla="*/ 22 h 50"/>
                <a:gd name="T20" fmla="*/ 20 w 22"/>
                <a:gd name="T21" fmla="*/ 26 h 50"/>
                <a:gd name="T22" fmla="*/ 8 w 22"/>
                <a:gd name="T23" fmla="*/ 26 h 50"/>
                <a:gd name="T24" fmla="*/ 8 w 22"/>
                <a:gd name="T25" fmla="*/ 30 h 50"/>
                <a:gd name="T26" fmla="*/ 10 w 22"/>
                <a:gd name="T27" fmla="*/ 38 h 50"/>
                <a:gd name="T28" fmla="*/ 16 w 22"/>
                <a:gd name="T29" fmla="*/ 44 h 50"/>
                <a:gd name="T30" fmla="*/ 18 w 22"/>
                <a:gd name="T31" fmla="*/ 46 h 50"/>
                <a:gd name="T32" fmla="*/ 18 w 22"/>
                <a:gd name="T33" fmla="*/ 48 h 50"/>
                <a:gd name="T34" fmla="*/ 16 w 22"/>
                <a:gd name="T35" fmla="*/ 50 h 50"/>
                <a:gd name="T36" fmla="*/ 12 w 22"/>
                <a:gd name="T37" fmla="*/ 50 h 50"/>
                <a:gd name="T38" fmla="*/ 8 w 22"/>
                <a:gd name="T39" fmla="*/ 48 h 50"/>
                <a:gd name="T40" fmla="*/ 6 w 22"/>
                <a:gd name="T41" fmla="*/ 46 h 50"/>
                <a:gd name="T42" fmla="*/ 2 w 22"/>
                <a:gd name="T43" fmla="*/ 32 h 50"/>
                <a:gd name="T44" fmla="*/ 0 w 22"/>
                <a:gd name="T45" fmla="*/ 22 h 50"/>
                <a:gd name="T46" fmla="*/ 2 w 22"/>
                <a:gd name="T47" fmla="*/ 12 h 50"/>
                <a:gd name="T48" fmla="*/ 0 w 22"/>
                <a:gd name="T4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0">
                  <a:moveTo>
                    <a:pt x="0" y="0"/>
                  </a:moveTo>
                  <a:lnTo>
                    <a:pt x="6" y="2"/>
                  </a:lnTo>
                  <a:lnTo>
                    <a:pt x="8" y="10"/>
                  </a:lnTo>
                  <a:lnTo>
                    <a:pt x="8" y="14"/>
                  </a:lnTo>
                  <a:lnTo>
                    <a:pt x="14" y="6"/>
                  </a:lnTo>
                  <a:lnTo>
                    <a:pt x="20" y="4"/>
                  </a:lnTo>
                  <a:lnTo>
                    <a:pt x="22" y="14"/>
                  </a:lnTo>
                  <a:lnTo>
                    <a:pt x="16" y="16"/>
                  </a:lnTo>
                  <a:lnTo>
                    <a:pt x="14" y="20"/>
                  </a:lnTo>
                  <a:lnTo>
                    <a:pt x="18" y="22"/>
                  </a:lnTo>
                  <a:lnTo>
                    <a:pt x="20" y="26"/>
                  </a:lnTo>
                  <a:lnTo>
                    <a:pt x="8" y="26"/>
                  </a:lnTo>
                  <a:lnTo>
                    <a:pt x="8" y="30"/>
                  </a:lnTo>
                  <a:lnTo>
                    <a:pt x="10" y="38"/>
                  </a:lnTo>
                  <a:lnTo>
                    <a:pt x="16" y="44"/>
                  </a:lnTo>
                  <a:lnTo>
                    <a:pt x="18" y="46"/>
                  </a:lnTo>
                  <a:lnTo>
                    <a:pt x="18" y="48"/>
                  </a:lnTo>
                  <a:lnTo>
                    <a:pt x="16" y="50"/>
                  </a:lnTo>
                  <a:lnTo>
                    <a:pt x="12" y="50"/>
                  </a:lnTo>
                  <a:lnTo>
                    <a:pt x="8" y="48"/>
                  </a:lnTo>
                  <a:lnTo>
                    <a:pt x="6" y="46"/>
                  </a:lnTo>
                  <a:lnTo>
                    <a:pt x="2" y="32"/>
                  </a:lnTo>
                  <a:lnTo>
                    <a:pt x="0" y="22"/>
                  </a:lnTo>
                  <a:lnTo>
                    <a:pt x="2" y="12"/>
                  </a:lnTo>
                  <a:lnTo>
                    <a:pt x="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56" name="Freeform 252">
              <a:extLst>
                <a:ext uri="{FF2B5EF4-FFF2-40B4-BE49-F238E27FC236}">
                  <a16:creationId xmlns:a16="http://schemas.microsoft.com/office/drawing/2014/main" id="{2F90B3A9-638C-4879-8F4A-A84E22B03522}"/>
                </a:ext>
              </a:extLst>
            </p:cNvPr>
            <p:cNvSpPr>
              <a:spLocks/>
            </p:cNvSpPr>
            <p:nvPr/>
          </p:nvSpPr>
          <p:spPr bwMode="gray">
            <a:xfrm>
              <a:off x="9515104" y="4764388"/>
              <a:ext cx="254266" cy="215777"/>
            </a:xfrm>
            <a:custGeom>
              <a:avLst/>
              <a:gdLst>
                <a:gd name="T0" fmla="*/ 0 w 154"/>
                <a:gd name="T1" fmla="*/ 0 h 130"/>
                <a:gd name="T2" fmla="*/ 14 w 154"/>
                <a:gd name="T3" fmla="*/ 4 h 130"/>
                <a:gd name="T4" fmla="*/ 32 w 154"/>
                <a:gd name="T5" fmla="*/ 10 h 130"/>
                <a:gd name="T6" fmla="*/ 50 w 154"/>
                <a:gd name="T7" fmla="*/ 18 h 130"/>
                <a:gd name="T8" fmla="*/ 66 w 154"/>
                <a:gd name="T9" fmla="*/ 28 h 130"/>
                <a:gd name="T10" fmla="*/ 74 w 154"/>
                <a:gd name="T11" fmla="*/ 38 h 130"/>
                <a:gd name="T12" fmla="*/ 84 w 154"/>
                <a:gd name="T13" fmla="*/ 44 h 130"/>
                <a:gd name="T14" fmla="*/ 100 w 154"/>
                <a:gd name="T15" fmla="*/ 52 h 130"/>
                <a:gd name="T16" fmla="*/ 108 w 154"/>
                <a:gd name="T17" fmla="*/ 58 h 130"/>
                <a:gd name="T18" fmla="*/ 108 w 154"/>
                <a:gd name="T19" fmla="*/ 62 h 130"/>
                <a:gd name="T20" fmla="*/ 110 w 154"/>
                <a:gd name="T21" fmla="*/ 64 h 130"/>
                <a:gd name="T22" fmla="*/ 108 w 154"/>
                <a:gd name="T23" fmla="*/ 66 h 130"/>
                <a:gd name="T24" fmla="*/ 94 w 154"/>
                <a:gd name="T25" fmla="*/ 66 h 130"/>
                <a:gd name="T26" fmla="*/ 100 w 154"/>
                <a:gd name="T27" fmla="*/ 72 h 130"/>
                <a:gd name="T28" fmla="*/ 110 w 154"/>
                <a:gd name="T29" fmla="*/ 86 h 130"/>
                <a:gd name="T30" fmla="*/ 124 w 154"/>
                <a:gd name="T31" fmla="*/ 102 h 130"/>
                <a:gd name="T32" fmla="*/ 130 w 154"/>
                <a:gd name="T33" fmla="*/ 106 h 130"/>
                <a:gd name="T34" fmla="*/ 138 w 154"/>
                <a:gd name="T35" fmla="*/ 114 h 130"/>
                <a:gd name="T36" fmla="*/ 154 w 154"/>
                <a:gd name="T37" fmla="*/ 124 h 130"/>
                <a:gd name="T38" fmla="*/ 152 w 154"/>
                <a:gd name="T39" fmla="*/ 130 h 130"/>
                <a:gd name="T40" fmla="*/ 136 w 154"/>
                <a:gd name="T41" fmla="*/ 122 h 130"/>
                <a:gd name="T42" fmla="*/ 124 w 154"/>
                <a:gd name="T43" fmla="*/ 120 h 130"/>
                <a:gd name="T44" fmla="*/ 104 w 154"/>
                <a:gd name="T45" fmla="*/ 118 h 130"/>
                <a:gd name="T46" fmla="*/ 94 w 154"/>
                <a:gd name="T47" fmla="*/ 106 h 130"/>
                <a:gd name="T48" fmla="*/ 84 w 154"/>
                <a:gd name="T49" fmla="*/ 92 h 130"/>
                <a:gd name="T50" fmla="*/ 72 w 154"/>
                <a:gd name="T51" fmla="*/ 84 h 130"/>
                <a:gd name="T52" fmla="*/ 60 w 154"/>
                <a:gd name="T53" fmla="*/ 76 h 130"/>
                <a:gd name="T54" fmla="*/ 46 w 154"/>
                <a:gd name="T55" fmla="*/ 70 h 130"/>
                <a:gd name="T56" fmla="*/ 46 w 154"/>
                <a:gd name="T57" fmla="*/ 80 h 130"/>
                <a:gd name="T58" fmla="*/ 42 w 154"/>
                <a:gd name="T59" fmla="*/ 86 h 130"/>
                <a:gd name="T60" fmla="*/ 28 w 154"/>
                <a:gd name="T61" fmla="*/ 88 h 130"/>
                <a:gd name="T62" fmla="*/ 30 w 154"/>
                <a:gd name="T63" fmla="*/ 96 h 130"/>
                <a:gd name="T64" fmla="*/ 38 w 154"/>
                <a:gd name="T65" fmla="*/ 100 h 130"/>
                <a:gd name="T66" fmla="*/ 32 w 154"/>
                <a:gd name="T67" fmla="*/ 106 h 130"/>
                <a:gd name="T68" fmla="*/ 18 w 154"/>
                <a:gd name="T69" fmla="*/ 102 h 130"/>
                <a:gd name="T70" fmla="*/ 8 w 154"/>
                <a:gd name="T71" fmla="*/ 102 h 130"/>
                <a:gd name="T72" fmla="*/ 0 w 154"/>
                <a:gd name="T73" fmla="*/ 102 h 130"/>
                <a:gd name="T74" fmla="*/ 0 w 154"/>
                <a:gd name="T75"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4" h="130">
                  <a:moveTo>
                    <a:pt x="0" y="0"/>
                  </a:moveTo>
                  <a:lnTo>
                    <a:pt x="14" y="4"/>
                  </a:lnTo>
                  <a:lnTo>
                    <a:pt x="32" y="10"/>
                  </a:lnTo>
                  <a:lnTo>
                    <a:pt x="50" y="18"/>
                  </a:lnTo>
                  <a:lnTo>
                    <a:pt x="66" y="28"/>
                  </a:lnTo>
                  <a:lnTo>
                    <a:pt x="74" y="38"/>
                  </a:lnTo>
                  <a:lnTo>
                    <a:pt x="84" y="44"/>
                  </a:lnTo>
                  <a:lnTo>
                    <a:pt x="100" y="52"/>
                  </a:lnTo>
                  <a:lnTo>
                    <a:pt x="108" y="58"/>
                  </a:lnTo>
                  <a:lnTo>
                    <a:pt x="108" y="62"/>
                  </a:lnTo>
                  <a:lnTo>
                    <a:pt x="110" y="64"/>
                  </a:lnTo>
                  <a:lnTo>
                    <a:pt x="108" y="66"/>
                  </a:lnTo>
                  <a:lnTo>
                    <a:pt x="94" y="66"/>
                  </a:lnTo>
                  <a:lnTo>
                    <a:pt x="100" y="72"/>
                  </a:lnTo>
                  <a:lnTo>
                    <a:pt x="110" y="86"/>
                  </a:lnTo>
                  <a:lnTo>
                    <a:pt x="124" y="102"/>
                  </a:lnTo>
                  <a:lnTo>
                    <a:pt x="130" y="106"/>
                  </a:lnTo>
                  <a:lnTo>
                    <a:pt x="138" y="114"/>
                  </a:lnTo>
                  <a:lnTo>
                    <a:pt x="154" y="124"/>
                  </a:lnTo>
                  <a:lnTo>
                    <a:pt x="152" y="130"/>
                  </a:lnTo>
                  <a:lnTo>
                    <a:pt x="136" y="122"/>
                  </a:lnTo>
                  <a:lnTo>
                    <a:pt x="124" y="120"/>
                  </a:lnTo>
                  <a:lnTo>
                    <a:pt x="104" y="118"/>
                  </a:lnTo>
                  <a:lnTo>
                    <a:pt x="94" y="106"/>
                  </a:lnTo>
                  <a:lnTo>
                    <a:pt x="84" y="92"/>
                  </a:lnTo>
                  <a:lnTo>
                    <a:pt x="72" y="84"/>
                  </a:lnTo>
                  <a:lnTo>
                    <a:pt x="60" y="76"/>
                  </a:lnTo>
                  <a:lnTo>
                    <a:pt x="46" y="70"/>
                  </a:lnTo>
                  <a:lnTo>
                    <a:pt x="46" y="80"/>
                  </a:lnTo>
                  <a:lnTo>
                    <a:pt x="42" y="86"/>
                  </a:lnTo>
                  <a:lnTo>
                    <a:pt x="28" y="88"/>
                  </a:lnTo>
                  <a:lnTo>
                    <a:pt x="30" y="96"/>
                  </a:lnTo>
                  <a:lnTo>
                    <a:pt x="38" y="100"/>
                  </a:lnTo>
                  <a:lnTo>
                    <a:pt x="32" y="106"/>
                  </a:lnTo>
                  <a:lnTo>
                    <a:pt x="18" y="102"/>
                  </a:lnTo>
                  <a:lnTo>
                    <a:pt x="8" y="102"/>
                  </a:lnTo>
                  <a:lnTo>
                    <a:pt x="0" y="102"/>
                  </a:lnTo>
                  <a:lnTo>
                    <a:pt x="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57" name="Freeform 253">
              <a:extLst>
                <a:ext uri="{FF2B5EF4-FFF2-40B4-BE49-F238E27FC236}">
                  <a16:creationId xmlns:a16="http://schemas.microsoft.com/office/drawing/2014/main" id="{E0410A98-C4FB-418B-B08E-114922B5C475}"/>
                </a:ext>
              </a:extLst>
            </p:cNvPr>
            <p:cNvSpPr>
              <a:spLocks/>
            </p:cNvSpPr>
            <p:nvPr/>
          </p:nvSpPr>
          <p:spPr bwMode="gray">
            <a:xfrm>
              <a:off x="9719838" y="4804224"/>
              <a:ext cx="95762" cy="59754"/>
            </a:xfrm>
            <a:custGeom>
              <a:avLst/>
              <a:gdLst>
                <a:gd name="T0" fmla="*/ 0 w 58"/>
                <a:gd name="T1" fmla="*/ 22 h 36"/>
                <a:gd name="T2" fmla="*/ 14 w 58"/>
                <a:gd name="T3" fmla="*/ 22 h 36"/>
                <a:gd name="T4" fmla="*/ 34 w 58"/>
                <a:gd name="T5" fmla="*/ 22 h 36"/>
                <a:gd name="T6" fmla="*/ 40 w 58"/>
                <a:gd name="T7" fmla="*/ 16 h 36"/>
                <a:gd name="T8" fmla="*/ 50 w 58"/>
                <a:gd name="T9" fmla="*/ 6 h 36"/>
                <a:gd name="T10" fmla="*/ 56 w 58"/>
                <a:gd name="T11" fmla="*/ 0 h 36"/>
                <a:gd name="T12" fmla="*/ 58 w 58"/>
                <a:gd name="T13" fmla="*/ 10 h 36"/>
                <a:gd name="T14" fmla="*/ 54 w 58"/>
                <a:gd name="T15" fmla="*/ 18 h 36"/>
                <a:gd name="T16" fmla="*/ 46 w 58"/>
                <a:gd name="T17" fmla="*/ 22 h 36"/>
                <a:gd name="T18" fmla="*/ 38 w 58"/>
                <a:gd name="T19" fmla="*/ 28 h 36"/>
                <a:gd name="T20" fmla="*/ 32 w 58"/>
                <a:gd name="T21" fmla="*/ 34 h 36"/>
                <a:gd name="T22" fmla="*/ 20 w 58"/>
                <a:gd name="T23" fmla="*/ 36 h 36"/>
                <a:gd name="T24" fmla="*/ 6 w 58"/>
                <a:gd name="T25" fmla="*/ 32 h 36"/>
                <a:gd name="T26" fmla="*/ 0 w 58"/>
                <a:gd name="T27" fmla="*/ 28 h 36"/>
                <a:gd name="T28" fmla="*/ 0 w 58"/>
                <a:gd name="T29" fmla="*/ 2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8" h="36">
                  <a:moveTo>
                    <a:pt x="0" y="22"/>
                  </a:moveTo>
                  <a:lnTo>
                    <a:pt x="14" y="22"/>
                  </a:lnTo>
                  <a:lnTo>
                    <a:pt x="34" y="22"/>
                  </a:lnTo>
                  <a:lnTo>
                    <a:pt x="40" y="16"/>
                  </a:lnTo>
                  <a:lnTo>
                    <a:pt x="50" y="6"/>
                  </a:lnTo>
                  <a:lnTo>
                    <a:pt x="56" y="0"/>
                  </a:lnTo>
                  <a:lnTo>
                    <a:pt x="58" y="10"/>
                  </a:lnTo>
                  <a:lnTo>
                    <a:pt x="54" y="18"/>
                  </a:lnTo>
                  <a:lnTo>
                    <a:pt x="46" y="22"/>
                  </a:lnTo>
                  <a:lnTo>
                    <a:pt x="38" y="28"/>
                  </a:lnTo>
                  <a:lnTo>
                    <a:pt x="32" y="34"/>
                  </a:lnTo>
                  <a:lnTo>
                    <a:pt x="20" y="36"/>
                  </a:lnTo>
                  <a:lnTo>
                    <a:pt x="6" y="32"/>
                  </a:lnTo>
                  <a:lnTo>
                    <a:pt x="0" y="28"/>
                  </a:lnTo>
                  <a:lnTo>
                    <a:pt x="0" y="2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58" name="Freeform 254">
              <a:extLst>
                <a:ext uri="{FF2B5EF4-FFF2-40B4-BE49-F238E27FC236}">
                  <a16:creationId xmlns:a16="http://schemas.microsoft.com/office/drawing/2014/main" id="{F1A840CC-8702-46DC-8A27-F4805B7D7FFE}"/>
                </a:ext>
              </a:extLst>
            </p:cNvPr>
            <p:cNvSpPr>
              <a:spLocks/>
            </p:cNvSpPr>
            <p:nvPr/>
          </p:nvSpPr>
          <p:spPr bwMode="gray">
            <a:xfrm>
              <a:off x="9871736" y="4834100"/>
              <a:ext cx="36323" cy="46475"/>
            </a:xfrm>
            <a:custGeom>
              <a:avLst/>
              <a:gdLst>
                <a:gd name="T0" fmla="*/ 0 w 22"/>
                <a:gd name="T1" fmla="*/ 0 h 28"/>
                <a:gd name="T2" fmla="*/ 10 w 22"/>
                <a:gd name="T3" fmla="*/ 6 h 28"/>
                <a:gd name="T4" fmla="*/ 20 w 22"/>
                <a:gd name="T5" fmla="*/ 16 h 28"/>
                <a:gd name="T6" fmla="*/ 22 w 22"/>
                <a:gd name="T7" fmla="*/ 28 h 28"/>
                <a:gd name="T8" fmla="*/ 12 w 22"/>
                <a:gd name="T9" fmla="*/ 22 h 28"/>
                <a:gd name="T10" fmla="*/ 8 w 22"/>
                <a:gd name="T11" fmla="*/ 14 h 28"/>
                <a:gd name="T12" fmla="*/ 2 w 22"/>
                <a:gd name="T13" fmla="*/ 8 h 28"/>
                <a:gd name="T14" fmla="*/ 0 w 22"/>
                <a:gd name="T15" fmla="*/ 0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8">
                  <a:moveTo>
                    <a:pt x="0" y="0"/>
                  </a:moveTo>
                  <a:lnTo>
                    <a:pt x="10" y="6"/>
                  </a:lnTo>
                  <a:lnTo>
                    <a:pt x="20" y="16"/>
                  </a:lnTo>
                  <a:lnTo>
                    <a:pt x="22" y="28"/>
                  </a:lnTo>
                  <a:lnTo>
                    <a:pt x="12" y="22"/>
                  </a:lnTo>
                  <a:lnTo>
                    <a:pt x="8" y="14"/>
                  </a:lnTo>
                  <a:lnTo>
                    <a:pt x="2" y="8"/>
                  </a:lnTo>
                  <a:lnTo>
                    <a:pt x="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59" name="Freeform 255">
              <a:extLst>
                <a:ext uri="{FF2B5EF4-FFF2-40B4-BE49-F238E27FC236}">
                  <a16:creationId xmlns:a16="http://schemas.microsoft.com/office/drawing/2014/main" id="{52CB19D8-E065-4313-9C90-D18370C6B71E}"/>
                </a:ext>
              </a:extLst>
            </p:cNvPr>
            <p:cNvSpPr>
              <a:spLocks/>
            </p:cNvSpPr>
            <p:nvPr/>
          </p:nvSpPr>
          <p:spPr bwMode="gray">
            <a:xfrm>
              <a:off x="10000519" y="4940329"/>
              <a:ext cx="33021" cy="19918"/>
            </a:xfrm>
            <a:custGeom>
              <a:avLst/>
              <a:gdLst>
                <a:gd name="T0" fmla="*/ 4 w 20"/>
                <a:gd name="T1" fmla="*/ 0 h 12"/>
                <a:gd name="T2" fmla="*/ 10 w 20"/>
                <a:gd name="T3" fmla="*/ 0 h 12"/>
                <a:gd name="T4" fmla="*/ 20 w 20"/>
                <a:gd name="T5" fmla="*/ 8 h 12"/>
                <a:gd name="T6" fmla="*/ 20 w 20"/>
                <a:gd name="T7" fmla="*/ 10 h 12"/>
                <a:gd name="T8" fmla="*/ 20 w 20"/>
                <a:gd name="T9" fmla="*/ 12 h 12"/>
                <a:gd name="T10" fmla="*/ 18 w 20"/>
                <a:gd name="T11" fmla="*/ 12 h 12"/>
                <a:gd name="T12" fmla="*/ 4 w 20"/>
                <a:gd name="T13" fmla="*/ 10 h 12"/>
                <a:gd name="T14" fmla="*/ 0 w 20"/>
                <a:gd name="T15" fmla="*/ 4 h 12"/>
                <a:gd name="T16" fmla="*/ 4 w 20"/>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12">
                  <a:moveTo>
                    <a:pt x="4" y="0"/>
                  </a:moveTo>
                  <a:lnTo>
                    <a:pt x="10" y="0"/>
                  </a:lnTo>
                  <a:lnTo>
                    <a:pt x="20" y="8"/>
                  </a:lnTo>
                  <a:lnTo>
                    <a:pt x="20" y="10"/>
                  </a:lnTo>
                  <a:lnTo>
                    <a:pt x="20" y="12"/>
                  </a:lnTo>
                  <a:lnTo>
                    <a:pt x="18" y="12"/>
                  </a:lnTo>
                  <a:lnTo>
                    <a:pt x="4" y="10"/>
                  </a:lnTo>
                  <a:lnTo>
                    <a:pt x="0" y="4"/>
                  </a:lnTo>
                  <a:lnTo>
                    <a:pt x="4"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60" name="Freeform 256">
              <a:extLst>
                <a:ext uri="{FF2B5EF4-FFF2-40B4-BE49-F238E27FC236}">
                  <a16:creationId xmlns:a16="http://schemas.microsoft.com/office/drawing/2014/main" id="{F57E21A9-3F15-4499-8AC4-70F0F2DA0441}"/>
                </a:ext>
              </a:extLst>
            </p:cNvPr>
            <p:cNvSpPr>
              <a:spLocks/>
            </p:cNvSpPr>
            <p:nvPr/>
          </p:nvSpPr>
          <p:spPr bwMode="gray">
            <a:xfrm>
              <a:off x="10026937" y="4913772"/>
              <a:ext cx="26417" cy="33197"/>
            </a:xfrm>
            <a:custGeom>
              <a:avLst/>
              <a:gdLst>
                <a:gd name="T0" fmla="*/ 0 w 16"/>
                <a:gd name="T1" fmla="*/ 0 h 20"/>
                <a:gd name="T2" fmla="*/ 2 w 16"/>
                <a:gd name="T3" fmla="*/ 8 h 20"/>
                <a:gd name="T4" fmla="*/ 6 w 16"/>
                <a:gd name="T5" fmla="*/ 18 h 20"/>
                <a:gd name="T6" fmla="*/ 16 w 16"/>
                <a:gd name="T7" fmla="*/ 20 h 20"/>
                <a:gd name="T8" fmla="*/ 14 w 16"/>
                <a:gd name="T9" fmla="*/ 8 h 20"/>
                <a:gd name="T10" fmla="*/ 8 w 16"/>
                <a:gd name="T11" fmla="*/ 4 h 20"/>
                <a:gd name="T12" fmla="*/ 0 w 16"/>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6" h="20">
                  <a:moveTo>
                    <a:pt x="0" y="0"/>
                  </a:moveTo>
                  <a:lnTo>
                    <a:pt x="2" y="8"/>
                  </a:lnTo>
                  <a:lnTo>
                    <a:pt x="6" y="18"/>
                  </a:lnTo>
                  <a:lnTo>
                    <a:pt x="16" y="20"/>
                  </a:lnTo>
                  <a:lnTo>
                    <a:pt x="14" y="8"/>
                  </a:lnTo>
                  <a:lnTo>
                    <a:pt x="8" y="4"/>
                  </a:lnTo>
                  <a:lnTo>
                    <a:pt x="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61" name="Freeform 257">
              <a:extLst>
                <a:ext uri="{FF2B5EF4-FFF2-40B4-BE49-F238E27FC236}">
                  <a16:creationId xmlns:a16="http://schemas.microsoft.com/office/drawing/2014/main" id="{97A717C9-52AC-4116-B546-EFD2669D8B98}"/>
                </a:ext>
              </a:extLst>
            </p:cNvPr>
            <p:cNvSpPr>
              <a:spLocks/>
            </p:cNvSpPr>
            <p:nvPr/>
          </p:nvSpPr>
          <p:spPr bwMode="gray">
            <a:xfrm>
              <a:off x="10050052" y="4966888"/>
              <a:ext cx="23114" cy="16599"/>
            </a:xfrm>
            <a:custGeom>
              <a:avLst/>
              <a:gdLst>
                <a:gd name="T0" fmla="*/ 0 w 14"/>
                <a:gd name="T1" fmla="*/ 2 h 10"/>
                <a:gd name="T2" fmla="*/ 6 w 14"/>
                <a:gd name="T3" fmla="*/ 0 h 10"/>
                <a:gd name="T4" fmla="*/ 14 w 14"/>
                <a:gd name="T5" fmla="*/ 4 h 10"/>
                <a:gd name="T6" fmla="*/ 14 w 14"/>
                <a:gd name="T7" fmla="*/ 10 h 10"/>
                <a:gd name="T8" fmla="*/ 6 w 14"/>
                <a:gd name="T9" fmla="*/ 8 h 10"/>
                <a:gd name="T10" fmla="*/ 0 w 14"/>
                <a:gd name="T11" fmla="*/ 2 h 10"/>
              </a:gdLst>
              <a:ahLst/>
              <a:cxnLst>
                <a:cxn ang="0">
                  <a:pos x="T0" y="T1"/>
                </a:cxn>
                <a:cxn ang="0">
                  <a:pos x="T2" y="T3"/>
                </a:cxn>
                <a:cxn ang="0">
                  <a:pos x="T4" y="T5"/>
                </a:cxn>
                <a:cxn ang="0">
                  <a:pos x="T6" y="T7"/>
                </a:cxn>
                <a:cxn ang="0">
                  <a:pos x="T8" y="T9"/>
                </a:cxn>
                <a:cxn ang="0">
                  <a:pos x="T10" y="T11"/>
                </a:cxn>
              </a:cxnLst>
              <a:rect l="0" t="0" r="r" b="b"/>
              <a:pathLst>
                <a:path w="14" h="10">
                  <a:moveTo>
                    <a:pt x="0" y="2"/>
                  </a:moveTo>
                  <a:lnTo>
                    <a:pt x="6" y="0"/>
                  </a:lnTo>
                  <a:lnTo>
                    <a:pt x="14" y="4"/>
                  </a:lnTo>
                  <a:lnTo>
                    <a:pt x="14" y="10"/>
                  </a:lnTo>
                  <a:lnTo>
                    <a:pt x="6" y="8"/>
                  </a:lnTo>
                  <a:lnTo>
                    <a:pt x="0" y="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62" name="Freeform 258">
              <a:extLst>
                <a:ext uri="{FF2B5EF4-FFF2-40B4-BE49-F238E27FC236}">
                  <a16:creationId xmlns:a16="http://schemas.microsoft.com/office/drawing/2014/main" id="{BBCAA4E1-3A88-4EF5-8497-CF7DF9DC42BD}"/>
                </a:ext>
              </a:extLst>
            </p:cNvPr>
            <p:cNvSpPr>
              <a:spLocks/>
            </p:cNvSpPr>
            <p:nvPr/>
          </p:nvSpPr>
          <p:spPr bwMode="gray">
            <a:xfrm>
              <a:off x="10122698" y="5235779"/>
              <a:ext cx="72648" cy="59754"/>
            </a:xfrm>
            <a:custGeom>
              <a:avLst/>
              <a:gdLst>
                <a:gd name="T0" fmla="*/ 0 w 44"/>
                <a:gd name="T1" fmla="*/ 0 h 36"/>
                <a:gd name="T2" fmla="*/ 14 w 44"/>
                <a:gd name="T3" fmla="*/ 6 h 36"/>
                <a:gd name="T4" fmla="*/ 24 w 44"/>
                <a:gd name="T5" fmla="*/ 18 h 36"/>
                <a:gd name="T6" fmla="*/ 34 w 44"/>
                <a:gd name="T7" fmla="*/ 24 h 36"/>
                <a:gd name="T8" fmla="*/ 44 w 44"/>
                <a:gd name="T9" fmla="*/ 32 h 36"/>
                <a:gd name="T10" fmla="*/ 42 w 44"/>
                <a:gd name="T11" fmla="*/ 36 h 36"/>
                <a:gd name="T12" fmla="*/ 30 w 44"/>
                <a:gd name="T13" fmla="*/ 28 h 36"/>
                <a:gd name="T14" fmla="*/ 20 w 44"/>
                <a:gd name="T15" fmla="*/ 20 h 36"/>
                <a:gd name="T16" fmla="*/ 10 w 44"/>
                <a:gd name="T17" fmla="*/ 12 h 36"/>
                <a:gd name="T18" fmla="*/ 2 w 44"/>
                <a:gd name="T19" fmla="*/ 8 h 36"/>
                <a:gd name="T20" fmla="*/ 0 w 44"/>
                <a:gd name="T2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36">
                  <a:moveTo>
                    <a:pt x="0" y="0"/>
                  </a:moveTo>
                  <a:lnTo>
                    <a:pt x="14" y="6"/>
                  </a:lnTo>
                  <a:lnTo>
                    <a:pt x="24" y="18"/>
                  </a:lnTo>
                  <a:lnTo>
                    <a:pt x="34" y="24"/>
                  </a:lnTo>
                  <a:lnTo>
                    <a:pt x="44" y="32"/>
                  </a:lnTo>
                  <a:lnTo>
                    <a:pt x="42" y="36"/>
                  </a:lnTo>
                  <a:lnTo>
                    <a:pt x="30" y="28"/>
                  </a:lnTo>
                  <a:lnTo>
                    <a:pt x="20" y="20"/>
                  </a:lnTo>
                  <a:lnTo>
                    <a:pt x="10" y="12"/>
                  </a:lnTo>
                  <a:lnTo>
                    <a:pt x="2" y="8"/>
                  </a:lnTo>
                  <a:lnTo>
                    <a:pt x="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63" name="Freeform 259">
              <a:extLst>
                <a:ext uri="{FF2B5EF4-FFF2-40B4-BE49-F238E27FC236}">
                  <a16:creationId xmlns:a16="http://schemas.microsoft.com/office/drawing/2014/main" id="{ED958DC3-8FEE-436D-ACFB-1D4910777340}"/>
                </a:ext>
              </a:extLst>
            </p:cNvPr>
            <p:cNvSpPr>
              <a:spLocks/>
            </p:cNvSpPr>
            <p:nvPr/>
          </p:nvSpPr>
          <p:spPr bwMode="gray">
            <a:xfrm>
              <a:off x="10350546" y="5634138"/>
              <a:ext cx="145294" cy="225737"/>
            </a:xfrm>
            <a:custGeom>
              <a:avLst/>
              <a:gdLst>
                <a:gd name="T0" fmla="*/ 20 w 88"/>
                <a:gd name="T1" fmla="*/ 98 h 136"/>
                <a:gd name="T2" fmla="*/ 14 w 88"/>
                <a:gd name="T3" fmla="*/ 90 h 136"/>
                <a:gd name="T4" fmla="*/ 22 w 88"/>
                <a:gd name="T5" fmla="*/ 84 h 136"/>
                <a:gd name="T6" fmla="*/ 28 w 88"/>
                <a:gd name="T7" fmla="*/ 80 h 136"/>
                <a:gd name="T8" fmla="*/ 28 w 88"/>
                <a:gd name="T9" fmla="*/ 62 h 136"/>
                <a:gd name="T10" fmla="*/ 30 w 88"/>
                <a:gd name="T11" fmla="*/ 46 h 136"/>
                <a:gd name="T12" fmla="*/ 20 w 88"/>
                <a:gd name="T13" fmla="*/ 34 h 136"/>
                <a:gd name="T14" fmla="*/ 8 w 88"/>
                <a:gd name="T15" fmla="*/ 26 h 136"/>
                <a:gd name="T16" fmla="*/ 2 w 88"/>
                <a:gd name="T17" fmla="*/ 10 h 136"/>
                <a:gd name="T18" fmla="*/ 0 w 88"/>
                <a:gd name="T19" fmla="*/ 0 h 136"/>
                <a:gd name="T20" fmla="*/ 10 w 88"/>
                <a:gd name="T21" fmla="*/ 10 h 136"/>
                <a:gd name="T22" fmla="*/ 22 w 88"/>
                <a:gd name="T23" fmla="*/ 18 h 136"/>
                <a:gd name="T24" fmla="*/ 30 w 88"/>
                <a:gd name="T25" fmla="*/ 26 h 136"/>
                <a:gd name="T26" fmla="*/ 28 w 88"/>
                <a:gd name="T27" fmla="*/ 34 h 136"/>
                <a:gd name="T28" fmla="*/ 34 w 88"/>
                <a:gd name="T29" fmla="*/ 44 h 136"/>
                <a:gd name="T30" fmla="*/ 38 w 88"/>
                <a:gd name="T31" fmla="*/ 52 h 136"/>
                <a:gd name="T32" fmla="*/ 44 w 88"/>
                <a:gd name="T33" fmla="*/ 46 h 136"/>
                <a:gd name="T34" fmla="*/ 46 w 88"/>
                <a:gd name="T35" fmla="*/ 52 h 136"/>
                <a:gd name="T36" fmla="*/ 52 w 88"/>
                <a:gd name="T37" fmla="*/ 60 h 136"/>
                <a:gd name="T38" fmla="*/ 64 w 88"/>
                <a:gd name="T39" fmla="*/ 68 h 136"/>
                <a:gd name="T40" fmla="*/ 76 w 88"/>
                <a:gd name="T41" fmla="*/ 66 h 136"/>
                <a:gd name="T42" fmla="*/ 82 w 88"/>
                <a:gd name="T43" fmla="*/ 60 h 136"/>
                <a:gd name="T44" fmla="*/ 88 w 88"/>
                <a:gd name="T45" fmla="*/ 62 h 136"/>
                <a:gd name="T46" fmla="*/ 88 w 88"/>
                <a:gd name="T47" fmla="*/ 74 h 136"/>
                <a:gd name="T48" fmla="*/ 80 w 88"/>
                <a:gd name="T49" fmla="*/ 80 h 136"/>
                <a:gd name="T50" fmla="*/ 80 w 88"/>
                <a:gd name="T51" fmla="*/ 88 h 136"/>
                <a:gd name="T52" fmla="*/ 64 w 88"/>
                <a:gd name="T53" fmla="*/ 90 h 136"/>
                <a:gd name="T54" fmla="*/ 64 w 88"/>
                <a:gd name="T55" fmla="*/ 98 h 136"/>
                <a:gd name="T56" fmla="*/ 64 w 88"/>
                <a:gd name="T57" fmla="*/ 106 h 136"/>
                <a:gd name="T58" fmla="*/ 58 w 88"/>
                <a:gd name="T59" fmla="*/ 114 h 136"/>
                <a:gd name="T60" fmla="*/ 50 w 88"/>
                <a:gd name="T61" fmla="*/ 126 h 136"/>
                <a:gd name="T62" fmla="*/ 40 w 88"/>
                <a:gd name="T63" fmla="*/ 136 h 136"/>
                <a:gd name="T64" fmla="*/ 32 w 88"/>
                <a:gd name="T65" fmla="*/ 134 h 136"/>
                <a:gd name="T66" fmla="*/ 30 w 88"/>
                <a:gd name="T67" fmla="*/ 122 h 136"/>
                <a:gd name="T68" fmla="*/ 36 w 88"/>
                <a:gd name="T69" fmla="*/ 116 h 136"/>
                <a:gd name="T70" fmla="*/ 36 w 88"/>
                <a:gd name="T71" fmla="*/ 108 h 136"/>
                <a:gd name="T72" fmla="*/ 30 w 88"/>
                <a:gd name="T73" fmla="*/ 100 h 136"/>
                <a:gd name="T74" fmla="*/ 20 w 88"/>
                <a:gd name="T75" fmla="*/ 9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8" h="136">
                  <a:moveTo>
                    <a:pt x="20" y="98"/>
                  </a:moveTo>
                  <a:lnTo>
                    <a:pt x="14" y="90"/>
                  </a:lnTo>
                  <a:lnTo>
                    <a:pt x="22" y="84"/>
                  </a:lnTo>
                  <a:lnTo>
                    <a:pt x="28" y="80"/>
                  </a:lnTo>
                  <a:lnTo>
                    <a:pt x="28" y="62"/>
                  </a:lnTo>
                  <a:lnTo>
                    <a:pt x="30" y="46"/>
                  </a:lnTo>
                  <a:lnTo>
                    <a:pt x="20" y="34"/>
                  </a:lnTo>
                  <a:lnTo>
                    <a:pt x="8" y="26"/>
                  </a:lnTo>
                  <a:lnTo>
                    <a:pt x="2" y="10"/>
                  </a:lnTo>
                  <a:lnTo>
                    <a:pt x="0" y="0"/>
                  </a:lnTo>
                  <a:lnTo>
                    <a:pt x="10" y="10"/>
                  </a:lnTo>
                  <a:lnTo>
                    <a:pt x="22" y="18"/>
                  </a:lnTo>
                  <a:lnTo>
                    <a:pt x="30" y="26"/>
                  </a:lnTo>
                  <a:lnTo>
                    <a:pt x="28" y="34"/>
                  </a:lnTo>
                  <a:lnTo>
                    <a:pt x="34" y="44"/>
                  </a:lnTo>
                  <a:lnTo>
                    <a:pt x="38" y="52"/>
                  </a:lnTo>
                  <a:lnTo>
                    <a:pt x="44" y="46"/>
                  </a:lnTo>
                  <a:lnTo>
                    <a:pt x="46" y="52"/>
                  </a:lnTo>
                  <a:lnTo>
                    <a:pt x="52" y="60"/>
                  </a:lnTo>
                  <a:lnTo>
                    <a:pt x="64" y="68"/>
                  </a:lnTo>
                  <a:lnTo>
                    <a:pt x="76" y="66"/>
                  </a:lnTo>
                  <a:lnTo>
                    <a:pt x="82" y="60"/>
                  </a:lnTo>
                  <a:lnTo>
                    <a:pt x="88" y="62"/>
                  </a:lnTo>
                  <a:lnTo>
                    <a:pt x="88" y="74"/>
                  </a:lnTo>
                  <a:lnTo>
                    <a:pt x="80" y="80"/>
                  </a:lnTo>
                  <a:lnTo>
                    <a:pt x="80" y="88"/>
                  </a:lnTo>
                  <a:lnTo>
                    <a:pt x="64" y="90"/>
                  </a:lnTo>
                  <a:lnTo>
                    <a:pt x="64" y="98"/>
                  </a:lnTo>
                  <a:lnTo>
                    <a:pt x="64" y="106"/>
                  </a:lnTo>
                  <a:lnTo>
                    <a:pt x="58" y="114"/>
                  </a:lnTo>
                  <a:lnTo>
                    <a:pt x="50" y="126"/>
                  </a:lnTo>
                  <a:lnTo>
                    <a:pt x="40" y="136"/>
                  </a:lnTo>
                  <a:lnTo>
                    <a:pt x="32" y="134"/>
                  </a:lnTo>
                  <a:lnTo>
                    <a:pt x="30" y="122"/>
                  </a:lnTo>
                  <a:lnTo>
                    <a:pt x="36" y="116"/>
                  </a:lnTo>
                  <a:lnTo>
                    <a:pt x="36" y="108"/>
                  </a:lnTo>
                  <a:lnTo>
                    <a:pt x="30" y="100"/>
                  </a:lnTo>
                  <a:lnTo>
                    <a:pt x="20" y="9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64" name="Freeform 260">
              <a:extLst>
                <a:ext uri="{FF2B5EF4-FFF2-40B4-BE49-F238E27FC236}">
                  <a16:creationId xmlns:a16="http://schemas.microsoft.com/office/drawing/2014/main" id="{479C8C8B-F836-445B-9768-81304840FCE2}"/>
                </a:ext>
              </a:extLst>
            </p:cNvPr>
            <p:cNvSpPr>
              <a:spLocks/>
            </p:cNvSpPr>
            <p:nvPr/>
          </p:nvSpPr>
          <p:spPr bwMode="gray">
            <a:xfrm>
              <a:off x="10185440" y="5826677"/>
              <a:ext cx="201431" cy="192540"/>
            </a:xfrm>
            <a:custGeom>
              <a:avLst/>
              <a:gdLst>
                <a:gd name="T0" fmla="*/ 92 w 122"/>
                <a:gd name="T1" fmla="*/ 0 h 116"/>
                <a:gd name="T2" fmla="*/ 100 w 122"/>
                <a:gd name="T3" fmla="*/ 2 h 116"/>
                <a:gd name="T4" fmla="*/ 106 w 122"/>
                <a:gd name="T5" fmla="*/ 10 h 116"/>
                <a:gd name="T6" fmla="*/ 116 w 122"/>
                <a:gd name="T7" fmla="*/ 10 h 116"/>
                <a:gd name="T8" fmla="*/ 122 w 122"/>
                <a:gd name="T9" fmla="*/ 10 h 116"/>
                <a:gd name="T10" fmla="*/ 122 w 122"/>
                <a:gd name="T11" fmla="*/ 20 h 116"/>
                <a:gd name="T12" fmla="*/ 116 w 122"/>
                <a:gd name="T13" fmla="*/ 30 h 116"/>
                <a:gd name="T14" fmla="*/ 110 w 122"/>
                <a:gd name="T15" fmla="*/ 38 h 116"/>
                <a:gd name="T16" fmla="*/ 100 w 122"/>
                <a:gd name="T17" fmla="*/ 46 h 116"/>
                <a:gd name="T18" fmla="*/ 100 w 122"/>
                <a:gd name="T19" fmla="*/ 60 h 116"/>
                <a:gd name="T20" fmla="*/ 90 w 122"/>
                <a:gd name="T21" fmla="*/ 62 h 116"/>
                <a:gd name="T22" fmla="*/ 80 w 122"/>
                <a:gd name="T23" fmla="*/ 66 h 116"/>
                <a:gd name="T24" fmla="*/ 74 w 122"/>
                <a:gd name="T25" fmla="*/ 74 h 116"/>
                <a:gd name="T26" fmla="*/ 70 w 122"/>
                <a:gd name="T27" fmla="*/ 90 h 116"/>
                <a:gd name="T28" fmla="*/ 58 w 122"/>
                <a:gd name="T29" fmla="*/ 104 h 116"/>
                <a:gd name="T30" fmla="*/ 48 w 122"/>
                <a:gd name="T31" fmla="*/ 114 h 116"/>
                <a:gd name="T32" fmla="*/ 30 w 122"/>
                <a:gd name="T33" fmla="*/ 116 h 116"/>
                <a:gd name="T34" fmla="*/ 22 w 122"/>
                <a:gd name="T35" fmla="*/ 110 h 116"/>
                <a:gd name="T36" fmla="*/ 16 w 122"/>
                <a:gd name="T37" fmla="*/ 108 h 116"/>
                <a:gd name="T38" fmla="*/ 0 w 122"/>
                <a:gd name="T39" fmla="*/ 106 h 116"/>
                <a:gd name="T40" fmla="*/ 4 w 122"/>
                <a:gd name="T41" fmla="*/ 92 h 116"/>
                <a:gd name="T42" fmla="*/ 14 w 122"/>
                <a:gd name="T43" fmla="*/ 80 h 116"/>
                <a:gd name="T44" fmla="*/ 30 w 122"/>
                <a:gd name="T45" fmla="*/ 64 h 116"/>
                <a:gd name="T46" fmla="*/ 38 w 122"/>
                <a:gd name="T47" fmla="*/ 64 h 116"/>
                <a:gd name="T48" fmla="*/ 48 w 122"/>
                <a:gd name="T49" fmla="*/ 52 h 116"/>
                <a:gd name="T50" fmla="*/ 60 w 122"/>
                <a:gd name="T51" fmla="*/ 52 h 116"/>
                <a:gd name="T52" fmla="*/ 72 w 122"/>
                <a:gd name="T53" fmla="*/ 36 h 116"/>
                <a:gd name="T54" fmla="*/ 78 w 122"/>
                <a:gd name="T55" fmla="*/ 26 h 116"/>
                <a:gd name="T56" fmla="*/ 88 w 122"/>
                <a:gd name="T57" fmla="*/ 20 h 116"/>
                <a:gd name="T58" fmla="*/ 88 w 122"/>
                <a:gd name="T59" fmla="*/ 10 h 116"/>
                <a:gd name="T60" fmla="*/ 92 w 122"/>
                <a:gd name="T6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2" h="116">
                  <a:moveTo>
                    <a:pt x="92" y="0"/>
                  </a:moveTo>
                  <a:lnTo>
                    <a:pt x="100" y="2"/>
                  </a:lnTo>
                  <a:lnTo>
                    <a:pt x="106" y="10"/>
                  </a:lnTo>
                  <a:lnTo>
                    <a:pt x="116" y="10"/>
                  </a:lnTo>
                  <a:lnTo>
                    <a:pt x="122" y="10"/>
                  </a:lnTo>
                  <a:lnTo>
                    <a:pt x="122" y="20"/>
                  </a:lnTo>
                  <a:lnTo>
                    <a:pt x="116" y="30"/>
                  </a:lnTo>
                  <a:lnTo>
                    <a:pt x="110" y="38"/>
                  </a:lnTo>
                  <a:lnTo>
                    <a:pt x="100" y="46"/>
                  </a:lnTo>
                  <a:lnTo>
                    <a:pt x="100" y="60"/>
                  </a:lnTo>
                  <a:lnTo>
                    <a:pt x="90" y="62"/>
                  </a:lnTo>
                  <a:lnTo>
                    <a:pt x="80" y="66"/>
                  </a:lnTo>
                  <a:lnTo>
                    <a:pt x="74" y="74"/>
                  </a:lnTo>
                  <a:lnTo>
                    <a:pt x="70" y="90"/>
                  </a:lnTo>
                  <a:lnTo>
                    <a:pt x="58" y="104"/>
                  </a:lnTo>
                  <a:lnTo>
                    <a:pt x="48" y="114"/>
                  </a:lnTo>
                  <a:lnTo>
                    <a:pt x="30" y="116"/>
                  </a:lnTo>
                  <a:lnTo>
                    <a:pt x="22" y="110"/>
                  </a:lnTo>
                  <a:lnTo>
                    <a:pt x="16" y="108"/>
                  </a:lnTo>
                  <a:lnTo>
                    <a:pt x="0" y="106"/>
                  </a:lnTo>
                  <a:lnTo>
                    <a:pt x="4" y="92"/>
                  </a:lnTo>
                  <a:lnTo>
                    <a:pt x="14" y="80"/>
                  </a:lnTo>
                  <a:lnTo>
                    <a:pt x="30" y="64"/>
                  </a:lnTo>
                  <a:lnTo>
                    <a:pt x="38" y="64"/>
                  </a:lnTo>
                  <a:lnTo>
                    <a:pt x="48" y="52"/>
                  </a:lnTo>
                  <a:lnTo>
                    <a:pt x="60" y="52"/>
                  </a:lnTo>
                  <a:lnTo>
                    <a:pt x="72" y="36"/>
                  </a:lnTo>
                  <a:lnTo>
                    <a:pt x="78" y="26"/>
                  </a:lnTo>
                  <a:lnTo>
                    <a:pt x="88" y="20"/>
                  </a:lnTo>
                  <a:lnTo>
                    <a:pt x="88" y="10"/>
                  </a:lnTo>
                  <a:lnTo>
                    <a:pt x="92"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65" name="Freeform 261">
              <a:extLst>
                <a:ext uri="{FF2B5EF4-FFF2-40B4-BE49-F238E27FC236}">
                  <a16:creationId xmlns:a16="http://schemas.microsoft.com/office/drawing/2014/main" id="{25FC5D20-3CB4-4CF8-8F87-E3305836130A}"/>
                </a:ext>
              </a:extLst>
            </p:cNvPr>
            <p:cNvSpPr>
              <a:spLocks/>
            </p:cNvSpPr>
            <p:nvPr/>
          </p:nvSpPr>
          <p:spPr bwMode="gray">
            <a:xfrm>
              <a:off x="9610866" y="5826677"/>
              <a:ext cx="95762" cy="96271"/>
            </a:xfrm>
            <a:custGeom>
              <a:avLst/>
              <a:gdLst>
                <a:gd name="T0" fmla="*/ 2 w 58"/>
                <a:gd name="T1" fmla="*/ 0 h 58"/>
                <a:gd name="T2" fmla="*/ 12 w 58"/>
                <a:gd name="T3" fmla="*/ 6 h 58"/>
                <a:gd name="T4" fmla="*/ 26 w 58"/>
                <a:gd name="T5" fmla="*/ 12 h 58"/>
                <a:gd name="T6" fmla="*/ 40 w 58"/>
                <a:gd name="T7" fmla="*/ 10 h 58"/>
                <a:gd name="T8" fmla="*/ 52 w 58"/>
                <a:gd name="T9" fmla="*/ 8 h 58"/>
                <a:gd name="T10" fmla="*/ 58 w 58"/>
                <a:gd name="T11" fmla="*/ 10 h 58"/>
                <a:gd name="T12" fmla="*/ 58 w 58"/>
                <a:gd name="T13" fmla="*/ 26 h 58"/>
                <a:gd name="T14" fmla="*/ 54 w 58"/>
                <a:gd name="T15" fmla="*/ 34 h 58"/>
                <a:gd name="T16" fmla="*/ 52 w 58"/>
                <a:gd name="T17" fmla="*/ 42 h 58"/>
                <a:gd name="T18" fmla="*/ 48 w 58"/>
                <a:gd name="T19" fmla="*/ 46 h 58"/>
                <a:gd name="T20" fmla="*/ 42 w 58"/>
                <a:gd name="T21" fmla="*/ 46 h 58"/>
                <a:gd name="T22" fmla="*/ 40 w 58"/>
                <a:gd name="T23" fmla="*/ 50 h 58"/>
                <a:gd name="T24" fmla="*/ 32 w 58"/>
                <a:gd name="T25" fmla="*/ 58 h 58"/>
                <a:gd name="T26" fmla="*/ 24 w 58"/>
                <a:gd name="T27" fmla="*/ 56 h 58"/>
                <a:gd name="T28" fmla="*/ 16 w 58"/>
                <a:gd name="T29" fmla="*/ 48 h 58"/>
                <a:gd name="T30" fmla="*/ 10 w 58"/>
                <a:gd name="T31" fmla="*/ 40 h 58"/>
                <a:gd name="T32" fmla="*/ 12 w 58"/>
                <a:gd name="T33" fmla="*/ 26 h 58"/>
                <a:gd name="T34" fmla="*/ 8 w 58"/>
                <a:gd name="T35" fmla="*/ 18 h 58"/>
                <a:gd name="T36" fmla="*/ 0 w 58"/>
                <a:gd name="T37" fmla="*/ 12 h 58"/>
                <a:gd name="T38" fmla="*/ 2 w 58"/>
                <a:gd name="T3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8" h="58">
                  <a:moveTo>
                    <a:pt x="2" y="0"/>
                  </a:moveTo>
                  <a:lnTo>
                    <a:pt x="12" y="6"/>
                  </a:lnTo>
                  <a:lnTo>
                    <a:pt x="26" y="12"/>
                  </a:lnTo>
                  <a:lnTo>
                    <a:pt x="40" y="10"/>
                  </a:lnTo>
                  <a:lnTo>
                    <a:pt x="52" y="8"/>
                  </a:lnTo>
                  <a:lnTo>
                    <a:pt x="58" y="10"/>
                  </a:lnTo>
                  <a:lnTo>
                    <a:pt x="58" y="26"/>
                  </a:lnTo>
                  <a:lnTo>
                    <a:pt x="54" y="34"/>
                  </a:lnTo>
                  <a:lnTo>
                    <a:pt x="52" y="42"/>
                  </a:lnTo>
                  <a:lnTo>
                    <a:pt x="48" y="46"/>
                  </a:lnTo>
                  <a:lnTo>
                    <a:pt x="42" y="46"/>
                  </a:lnTo>
                  <a:lnTo>
                    <a:pt x="40" y="50"/>
                  </a:lnTo>
                  <a:lnTo>
                    <a:pt x="32" y="58"/>
                  </a:lnTo>
                  <a:lnTo>
                    <a:pt x="24" y="56"/>
                  </a:lnTo>
                  <a:lnTo>
                    <a:pt x="16" y="48"/>
                  </a:lnTo>
                  <a:lnTo>
                    <a:pt x="10" y="40"/>
                  </a:lnTo>
                  <a:lnTo>
                    <a:pt x="12" y="26"/>
                  </a:lnTo>
                  <a:lnTo>
                    <a:pt x="8" y="18"/>
                  </a:lnTo>
                  <a:lnTo>
                    <a:pt x="0" y="12"/>
                  </a:lnTo>
                  <a:lnTo>
                    <a:pt x="2"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66" name="Freeform 262">
              <a:extLst>
                <a:ext uri="{FF2B5EF4-FFF2-40B4-BE49-F238E27FC236}">
                  <a16:creationId xmlns:a16="http://schemas.microsoft.com/office/drawing/2014/main" id="{9A5F8F53-E341-41F6-A222-DEA152F88DDF}"/>
                </a:ext>
              </a:extLst>
            </p:cNvPr>
            <p:cNvSpPr>
              <a:spLocks/>
            </p:cNvSpPr>
            <p:nvPr/>
          </p:nvSpPr>
          <p:spPr bwMode="gray">
            <a:xfrm>
              <a:off x="8785331" y="4983485"/>
              <a:ext cx="1056686" cy="790078"/>
            </a:xfrm>
            <a:custGeom>
              <a:avLst/>
              <a:gdLst>
                <a:gd name="T0" fmla="*/ 308 w 640"/>
                <a:gd name="T1" fmla="*/ 18 h 476"/>
                <a:gd name="T2" fmla="*/ 308 w 640"/>
                <a:gd name="T3" fmla="*/ 4 h 476"/>
                <a:gd name="T4" fmla="*/ 340 w 640"/>
                <a:gd name="T5" fmla="*/ 18 h 476"/>
                <a:gd name="T6" fmla="*/ 362 w 640"/>
                <a:gd name="T7" fmla="*/ 22 h 476"/>
                <a:gd name="T8" fmla="*/ 372 w 640"/>
                <a:gd name="T9" fmla="*/ 30 h 476"/>
                <a:gd name="T10" fmla="*/ 352 w 640"/>
                <a:gd name="T11" fmla="*/ 54 h 476"/>
                <a:gd name="T12" fmla="*/ 372 w 640"/>
                <a:gd name="T13" fmla="*/ 78 h 476"/>
                <a:gd name="T14" fmla="*/ 416 w 640"/>
                <a:gd name="T15" fmla="*/ 102 h 476"/>
                <a:gd name="T16" fmla="*/ 450 w 640"/>
                <a:gd name="T17" fmla="*/ 84 h 476"/>
                <a:gd name="T18" fmla="*/ 456 w 640"/>
                <a:gd name="T19" fmla="*/ 22 h 476"/>
                <a:gd name="T20" fmla="*/ 470 w 640"/>
                <a:gd name="T21" fmla="*/ 6 h 476"/>
                <a:gd name="T22" fmla="*/ 484 w 640"/>
                <a:gd name="T23" fmla="*/ 54 h 476"/>
                <a:gd name="T24" fmla="*/ 510 w 640"/>
                <a:gd name="T25" fmla="*/ 72 h 476"/>
                <a:gd name="T26" fmla="*/ 522 w 640"/>
                <a:gd name="T27" fmla="*/ 102 h 476"/>
                <a:gd name="T28" fmla="*/ 532 w 640"/>
                <a:gd name="T29" fmla="*/ 134 h 476"/>
                <a:gd name="T30" fmla="*/ 568 w 640"/>
                <a:gd name="T31" fmla="*/ 162 h 476"/>
                <a:gd name="T32" fmla="*/ 582 w 640"/>
                <a:gd name="T33" fmla="*/ 188 h 476"/>
                <a:gd name="T34" fmla="*/ 612 w 640"/>
                <a:gd name="T35" fmla="*/ 214 h 476"/>
                <a:gd name="T36" fmla="*/ 634 w 640"/>
                <a:gd name="T37" fmla="*/ 254 h 476"/>
                <a:gd name="T38" fmla="*/ 640 w 640"/>
                <a:gd name="T39" fmla="*/ 300 h 476"/>
                <a:gd name="T40" fmla="*/ 624 w 640"/>
                <a:gd name="T41" fmla="*/ 358 h 476"/>
                <a:gd name="T42" fmla="*/ 596 w 640"/>
                <a:gd name="T43" fmla="*/ 402 h 476"/>
                <a:gd name="T44" fmla="*/ 582 w 640"/>
                <a:gd name="T45" fmla="*/ 450 h 476"/>
                <a:gd name="T46" fmla="*/ 550 w 640"/>
                <a:gd name="T47" fmla="*/ 452 h 476"/>
                <a:gd name="T48" fmla="*/ 532 w 640"/>
                <a:gd name="T49" fmla="*/ 474 h 476"/>
                <a:gd name="T50" fmla="*/ 516 w 640"/>
                <a:gd name="T51" fmla="*/ 468 h 476"/>
                <a:gd name="T52" fmla="*/ 500 w 640"/>
                <a:gd name="T53" fmla="*/ 460 h 476"/>
                <a:gd name="T54" fmla="*/ 462 w 640"/>
                <a:gd name="T55" fmla="*/ 464 h 476"/>
                <a:gd name="T56" fmla="*/ 430 w 640"/>
                <a:gd name="T57" fmla="*/ 452 h 476"/>
                <a:gd name="T58" fmla="*/ 418 w 640"/>
                <a:gd name="T59" fmla="*/ 424 h 476"/>
                <a:gd name="T60" fmla="*/ 400 w 640"/>
                <a:gd name="T61" fmla="*/ 408 h 476"/>
                <a:gd name="T62" fmla="*/ 390 w 640"/>
                <a:gd name="T63" fmla="*/ 402 h 476"/>
                <a:gd name="T64" fmla="*/ 392 w 640"/>
                <a:gd name="T65" fmla="*/ 382 h 476"/>
                <a:gd name="T66" fmla="*/ 382 w 640"/>
                <a:gd name="T67" fmla="*/ 376 h 476"/>
                <a:gd name="T68" fmla="*/ 360 w 640"/>
                <a:gd name="T69" fmla="*/ 402 h 476"/>
                <a:gd name="T70" fmla="*/ 340 w 640"/>
                <a:gd name="T71" fmla="*/ 372 h 476"/>
                <a:gd name="T72" fmla="*/ 298 w 640"/>
                <a:gd name="T73" fmla="*/ 350 h 476"/>
                <a:gd name="T74" fmla="*/ 228 w 640"/>
                <a:gd name="T75" fmla="*/ 356 h 476"/>
                <a:gd name="T76" fmla="*/ 172 w 640"/>
                <a:gd name="T77" fmla="*/ 372 h 476"/>
                <a:gd name="T78" fmla="*/ 108 w 640"/>
                <a:gd name="T79" fmla="*/ 386 h 476"/>
                <a:gd name="T80" fmla="*/ 80 w 640"/>
                <a:gd name="T81" fmla="*/ 406 h 476"/>
                <a:gd name="T82" fmla="*/ 30 w 640"/>
                <a:gd name="T83" fmla="*/ 394 h 476"/>
                <a:gd name="T84" fmla="*/ 40 w 640"/>
                <a:gd name="T85" fmla="*/ 356 h 476"/>
                <a:gd name="T86" fmla="*/ 30 w 640"/>
                <a:gd name="T87" fmla="*/ 310 h 476"/>
                <a:gd name="T88" fmla="*/ 4 w 640"/>
                <a:gd name="T89" fmla="*/ 254 h 476"/>
                <a:gd name="T90" fmla="*/ 10 w 640"/>
                <a:gd name="T91" fmla="*/ 254 h 476"/>
                <a:gd name="T92" fmla="*/ 12 w 640"/>
                <a:gd name="T93" fmla="*/ 238 h 476"/>
                <a:gd name="T94" fmla="*/ 12 w 640"/>
                <a:gd name="T95" fmla="*/ 188 h 476"/>
                <a:gd name="T96" fmla="*/ 24 w 640"/>
                <a:gd name="T97" fmla="*/ 178 h 476"/>
                <a:gd name="T98" fmla="*/ 62 w 640"/>
                <a:gd name="T99" fmla="*/ 158 h 476"/>
                <a:gd name="T100" fmla="*/ 122 w 640"/>
                <a:gd name="T101" fmla="*/ 144 h 476"/>
                <a:gd name="T102" fmla="*/ 146 w 640"/>
                <a:gd name="T103" fmla="*/ 98 h 476"/>
                <a:gd name="T104" fmla="*/ 164 w 640"/>
                <a:gd name="T105" fmla="*/ 102 h 476"/>
                <a:gd name="T106" fmla="*/ 176 w 640"/>
                <a:gd name="T107" fmla="*/ 88 h 476"/>
                <a:gd name="T108" fmla="*/ 192 w 640"/>
                <a:gd name="T109" fmla="*/ 66 h 476"/>
                <a:gd name="T110" fmla="*/ 220 w 640"/>
                <a:gd name="T111" fmla="*/ 48 h 476"/>
                <a:gd name="T112" fmla="*/ 242 w 640"/>
                <a:gd name="T113" fmla="*/ 66 h 476"/>
                <a:gd name="T114" fmla="*/ 256 w 640"/>
                <a:gd name="T115" fmla="*/ 52 h 476"/>
                <a:gd name="T116" fmla="*/ 282 w 640"/>
                <a:gd name="T117" fmla="*/ 24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40" h="476">
                  <a:moveTo>
                    <a:pt x="286" y="20"/>
                  </a:moveTo>
                  <a:lnTo>
                    <a:pt x="296" y="22"/>
                  </a:lnTo>
                  <a:lnTo>
                    <a:pt x="308" y="18"/>
                  </a:lnTo>
                  <a:lnTo>
                    <a:pt x="310" y="12"/>
                  </a:lnTo>
                  <a:lnTo>
                    <a:pt x="302" y="6"/>
                  </a:lnTo>
                  <a:lnTo>
                    <a:pt x="308" y="4"/>
                  </a:lnTo>
                  <a:lnTo>
                    <a:pt x="322" y="10"/>
                  </a:lnTo>
                  <a:lnTo>
                    <a:pt x="330" y="14"/>
                  </a:lnTo>
                  <a:lnTo>
                    <a:pt x="340" y="18"/>
                  </a:lnTo>
                  <a:lnTo>
                    <a:pt x="348" y="20"/>
                  </a:lnTo>
                  <a:lnTo>
                    <a:pt x="354" y="22"/>
                  </a:lnTo>
                  <a:lnTo>
                    <a:pt x="362" y="22"/>
                  </a:lnTo>
                  <a:lnTo>
                    <a:pt x="372" y="18"/>
                  </a:lnTo>
                  <a:lnTo>
                    <a:pt x="380" y="22"/>
                  </a:lnTo>
                  <a:lnTo>
                    <a:pt x="372" y="30"/>
                  </a:lnTo>
                  <a:lnTo>
                    <a:pt x="366" y="40"/>
                  </a:lnTo>
                  <a:lnTo>
                    <a:pt x="360" y="48"/>
                  </a:lnTo>
                  <a:lnTo>
                    <a:pt x="352" y="54"/>
                  </a:lnTo>
                  <a:lnTo>
                    <a:pt x="352" y="62"/>
                  </a:lnTo>
                  <a:lnTo>
                    <a:pt x="358" y="68"/>
                  </a:lnTo>
                  <a:lnTo>
                    <a:pt x="372" y="78"/>
                  </a:lnTo>
                  <a:lnTo>
                    <a:pt x="388" y="84"/>
                  </a:lnTo>
                  <a:lnTo>
                    <a:pt x="404" y="96"/>
                  </a:lnTo>
                  <a:lnTo>
                    <a:pt x="416" y="102"/>
                  </a:lnTo>
                  <a:lnTo>
                    <a:pt x="432" y="112"/>
                  </a:lnTo>
                  <a:lnTo>
                    <a:pt x="442" y="100"/>
                  </a:lnTo>
                  <a:lnTo>
                    <a:pt x="450" y="84"/>
                  </a:lnTo>
                  <a:lnTo>
                    <a:pt x="452" y="66"/>
                  </a:lnTo>
                  <a:lnTo>
                    <a:pt x="450" y="40"/>
                  </a:lnTo>
                  <a:lnTo>
                    <a:pt x="456" y="22"/>
                  </a:lnTo>
                  <a:lnTo>
                    <a:pt x="460" y="10"/>
                  </a:lnTo>
                  <a:lnTo>
                    <a:pt x="464" y="0"/>
                  </a:lnTo>
                  <a:lnTo>
                    <a:pt x="470" y="6"/>
                  </a:lnTo>
                  <a:lnTo>
                    <a:pt x="478" y="20"/>
                  </a:lnTo>
                  <a:lnTo>
                    <a:pt x="482" y="32"/>
                  </a:lnTo>
                  <a:lnTo>
                    <a:pt x="484" y="54"/>
                  </a:lnTo>
                  <a:lnTo>
                    <a:pt x="494" y="58"/>
                  </a:lnTo>
                  <a:lnTo>
                    <a:pt x="506" y="62"/>
                  </a:lnTo>
                  <a:lnTo>
                    <a:pt x="510" y="72"/>
                  </a:lnTo>
                  <a:lnTo>
                    <a:pt x="512" y="82"/>
                  </a:lnTo>
                  <a:lnTo>
                    <a:pt x="512" y="96"/>
                  </a:lnTo>
                  <a:lnTo>
                    <a:pt x="522" y="102"/>
                  </a:lnTo>
                  <a:lnTo>
                    <a:pt x="526" y="112"/>
                  </a:lnTo>
                  <a:lnTo>
                    <a:pt x="526" y="124"/>
                  </a:lnTo>
                  <a:lnTo>
                    <a:pt x="532" y="134"/>
                  </a:lnTo>
                  <a:lnTo>
                    <a:pt x="544" y="138"/>
                  </a:lnTo>
                  <a:lnTo>
                    <a:pt x="558" y="148"/>
                  </a:lnTo>
                  <a:lnTo>
                    <a:pt x="568" y="162"/>
                  </a:lnTo>
                  <a:lnTo>
                    <a:pt x="578" y="172"/>
                  </a:lnTo>
                  <a:lnTo>
                    <a:pt x="578" y="182"/>
                  </a:lnTo>
                  <a:lnTo>
                    <a:pt x="582" y="188"/>
                  </a:lnTo>
                  <a:lnTo>
                    <a:pt x="594" y="188"/>
                  </a:lnTo>
                  <a:lnTo>
                    <a:pt x="598" y="204"/>
                  </a:lnTo>
                  <a:lnTo>
                    <a:pt x="612" y="214"/>
                  </a:lnTo>
                  <a:lnTo>
                    <a:pt x="624" y="228"/>
                  </a:lnTo>
                  <a:lnTo>
                    <a:pt x="630" y="242"/>
                  </a:lnTo>
                  <a:lnTo>
                    <a:pt x="634" y="254"/>
                  </a:lnTo>
                  <a:lnTo>
                    <a:pt x="636" y="270"/>
                  </a:lnTo>
                  <a:lnTo>
                    <a:pt x="638" y="282"/>
                  </a:lnTo>
                  <a:lnTo>
                    <a:pt x="640" y="300"/>
                  </a:lnTo>
                  <a:lnTo>
                    <a:pt x="634" y="322"/>
                  </a:lnTo>
                  <a:lnTo>
                    <a:pt x="632" y="340"/>
                  </a:lnTo>
                  <a:lnTo>
                    <a:pt x="624" y="358"/>
                  </a:lnTo>
                  <a:lnTo>
                    <a:pt x="612" y="368"/>
                  </a:lnTo>
                  <a:lnTo>
                    <a:pt x="606" y="380"/>
                  </a:lnTo>
                  <a:lnTo>
                    <a:pt x="596" y="402"/>
                  </a:lnTo>
                  <a:lnTo>
                    <a:pt x="590" y="418"/>
                  </a:lnTo>
                  <a:lnTo>
                    <a:pt x="582" y="432"/>
                  </a:lnTo>
                  <a:lnTo>
                    <a:pt x="582" y="450"/>
                  </a:lnTo>
                  <a:lnTo>
                    <a:pt x="576" y="454"/>
                  </a:lnTo>
                  <a:lnTo>
                    <a:pt x="566" y="454"/>
                  </a:lnTo>
                  <a:lnTo>
                    <a:pt x="550" y="452"/>
                  </a:lnTo>
                  <a:lnTo>
                    <a:pt x="546" y="464"/>
                  </a:lnTo>
                  <a:lnTo>
                    <a:pt x="534" y="472"/>
                  </a:lnTo>
                  <a:lnTo>
                    <a:pt x="532" y="474"/>
                  </a:lnTo>
                  <a:lnTo>
                    <a:pt x="526" y="476"/>
                  </a:lnTo>
                  <a:lnTo>
                    <a:pt x="520" y="472"/>
                  </a:lnTo>
                  <a:lnTo>
                    <a:pt x="516" y="468"/>
                  </a:lnTo>
                  <a:lnTo>
                    <a:pt x="510" y="462"/>
                  </a:lnTo>
                  <a:lnTo>
                    <a:pt x="506" y="458"/>
                  </a:lnTo>
                  <a:lnTo>
                    <a:pt x="500" y="460"/>
                  </a:lnTo>
                  <a:lnTo>
                    <a:pt x="486" y="474"/>
                  </a:lnTo>
                  <a:lnTo>
                    <a:pt x="474" y="470"/>
                  </a:lnTo>
                  <a:lnTo>
                    <a:pt x="462" y="464"/>
                  </a:lnTo>
                  <a:lnTo>
                    <a:pt x="450" y="464"/>
                  </a:lnTo>
                  <a:lnTo>
                    <a:pt x="438" y="462"/>
                  </a:lnTo>
                  <a:lnTo>
                    <a:pt x="430" y="452"/>
                  </a:lnTo>
                  <a:lnTo>
                    <a:pt x="424" y="444"/>
                  </a:lnTo>
                  <a:lnTo>
                    <a:pt x="426" y="434"/>
                  </a:lnTo>
                  <a:lnTo>
                    <a:pt x="418" y="424"/>
                  </a:lnTo>
                  <a:lnTo>
                    <a:pt x="410" y="416"/>
                  </a:lnTo>
                  <a:lnTo>
                    <a:pt x="402" y="416"/>
                  </a:lnTo>
                  <a:lnTo>
                    <a:pt x="400" y="408"/>
                  </a:lnTo>
                  <a:lnTo>
                    <a:pt x="406" y="398"/>
                  </a:lnTo>
                  <a:lnTo>
                    <a:pt x="398" y="394"/>
                  </a:lnTo>
                  <a:lnTo>
                    <a:pt x="390" y="402"/>
                  </a:lnTo>
                  <a:lnTo>
                    <a:pt x="380" y="408"/>
                  </a:lnTo>
                  <a:lnTo>
                    <a:pt x="386" y="388"/>
                  </a:lnTo>
                  <a:lnTo>
                    <a:pt x="392" y="382"/>
                  </a:lnTo>
                  <a:lnTo>
                    <a:pt x="394" y="376"/>
                  </a:lnTo>
                  <a:lnTo>
                    <a:pt x="390" y="366"/>
                  </a:lnTo>
                  <a:lnTo>
                    <a:pt x="382" y="376"/>
                  </a:lnTo>
                  <a:lnTo>
                    <a:pt x="376" y="386"/>
                  </a:lnTo>
                  <a:lnTo>
                    <a:pt x="366" y="394"/>
                  </a:lnTo>
                  <a:lnTo>
                    <a:pt x="360" y="402"/>
                  </a:lnTo>
                  <a:lnTo>
                    <a:pt x="352" y="398"/>
                  </a:lnTo>
                  <a:lnTo>
                    <a:pt x="350" y="386"/>
                  </a:lnTo>
                  <a:lnTo>
                    <a:pt x="340" y="372"/>
                  </a:lnTo>
                  <a:lnTo>
                    <a:pt x="334" y="364"/>
                  </a:lnTo>
                  <a:lnTo>
                    <a:pt x="328" y="358"/>
                  </a:lnTo>
                  <a:lnTo>
                    <a:pt x="298" y="350"/>
                  </a:lnTo>
                  <a:lnTo>
                    <a:pt x="258" y="344"/>
                  </a:lnTo>
                  <a:lnTo>
                    <a:pt x="246" y="348"/>
                  </a:lnTo>
                  <a:lnTo>
                    <a:pt x="228" y="356"/>
                  </a:lnTo>
                  <a:lnTo>
                    <a:pt x="200" y="358"/>
                  </a:lnTo>
                  <a:lnTo>
                    <a:pt x="184" y="368"/>
                  </a:lnTo>
                  <a:lnTo>
                    <a:pt x="172" y="372"/>
                  </a:lnTo>
                  <a:lnTo>
                    <a:pt x="170" y="380"/>
                  </a:lnTo>
                  <a:lnTo>
                    <a:pt x="164" y="386"/>
                  </a:lnTo>
                  <a:lnTo>
                    <a:pt x="108" y="386"/>
                  </a:lnTo>
                  <a:lnTo>
                    <a:pt x="100" y="394"/>
                  </a:lnTo>
                  <a:lnTo>
                    <a:pt x="90" y="394"/>
                  </a:lnTo>
                  <a:lnTo>
                    <a:pt x="80" y="406"/>
                  </a:lnTo>
                  <a:lnTo>
                    <a:pt x="54" y="408"/>
                  </a:lnTo>
                  <a:lnTo>
                    <a:pt x="42" y="400"/>
                  </a:lnTo>
                  <a:lnTo>
                    <a:pt x="30" y="394"/>
                  </a:lnTo>
                  <a:lnTo>
                    <a:pt x="28" y="384"/>
                  </a:lnTo>
                  <a:lnTo>
                    <a:pt x="40" y="378"/>
                  </a:lnTo>
                  <a:lnTo>
                    <a:pt x="40" y="356"/>
                  </a:lnTo>
                  <a:lnTo>
                    <a:pt x="40" y="342"/>
                  </a:lnTo>
                  <a:lnTo>
                    <a:pt x="30" y="328"/>
                  </a:lnTo>
                  <a:lnTo>
                    <a:pt x="30" y="310"/>
                  </a:lnTo>
                  <a:lnTo>
                    <a:pt x="18" y="280"/>
                  </a:lnTo>
                  <a:lnTo>
                    <a:pt x="10" y="264"/>
                  </a:lnTo>
                  <a:lnTo>
                    <a:pt x="4" y="254"/>
                  </a:lnTo>
                  <a:lnTo>
                    <a:pt x="0" y="246"/>
                  </a:lnTo>
                  <a:lnTo>
                    <a:pt x="6" y="248"/>
                  </a:lnTo>
                  <a:lnTo>
                    <a:pt x="10" y="254"/>
                  </a:lnTo>
                  <a:lnTo>
                    <a:pt x="18" y="254"/>
                  </a:lnTo>
                  <a:lnTo>
                    <a:pt x="20" y="244"/>
                  </a:lnTo>
                  <a:lnTo>
                    <a:pt x="12" y="238"/>
                  </a:lnTo>
                  <a:lnTo>
                    <a:pt x="6" y="218"/>
                  </a:lnTo>
                  <a:lnTo>
                    <a:pt x="6" y="204"/>
                  </a:lnTo>
                  <a:lnTo>
                    <a:pt x="12" y="188"/>
                  </a:lnTo>
                  <a:lnTo>
                    <a:pt x="14" y="180"/>
                  </a:lnTo>
                  <a:lnTo>
                    <a:pt x="20" y="186"/>
                  </a:lnTo>
                  <a:lnTo>
                    <a:pt x="24" y="178"/>
                  </a:lnTo>
                  <a:lnTo>
                    <a:pt x="34" y="178"/>
                  </a:lnTo>
                  <a:lnTo>
                    <a:pt x="48" y="162"/>
                  </a:lnTo>
                  <a:lnTo>
                    <a:pt x="62" y="158"/>
                  </a:lnTo>
                  <a:lnTo>
                    <a:pt x="86" y="154"/>
                  </a:lnTo>
                  <a:lnTo>
                    <a:pt x="110" y="146"/>
                  </a:lnTo>
                  <a:lnTo>
                    <a:pt x="122" y="144"/>
                  </a:lnTo>
                  <a:lnTo>
                    <a:pt x="144" y="118"/>
                  </a:lnTo>
                  <a:lnTo>
                    <a:pt x="142" y="106"/>
                  </a:lnTo>
                  <a:lnTo>
                    <a:pt x="146" y="98"/>
                  </a:lnTo>
                  <a:lnTo>
                    <a:pt x="156" y="92"/>
                  </a:lnTo>
                  <a:lnTo>
                    <a:pt x="160" y="98"/>
                  </a:lnTo>
                  <a:lnTo>
                    <a:pt x="164" y="102"/>
                  </a:lnTo>
                  <a:lnTo>
                    <a:pt x="168" y="96"/>
                  </a:lnTo>
                  <a:lnTo>
                    <a:pt x="168" y="84"/>
                  </a:lnTo>
                  <a:lnTo>
                    <a:pt x="176" y="88"/>
                  </a:lnTo>
                  <a:lnTo>
                    <a:pt x="180" y="84"/>
                  </a:lnTo>
                  <a:lnTo>
                    <a:pt x="182" y="72"/>
                  </a:lnTo>
                  <a:lnTo>
                    <a:pt x="192" y="66"/>
                  </a:lnTo>
                  <a:lnTo>
                    <a:pt x="198" y="60"/>
                  </a:lnTo>
                  <a:lnTo>
                    <a:pt x="204" y="60"/>
                  </a:lnTo>
                  <a:lnTo>
                    <a:pt x="220" y="48"/>
                  </a:lnTo>
                  <a:lnTo>
                    <a:pt x="230" y="54"/>
                  </a:lnTo>
                  <a:lnTo>
                    <a:pt x="236" y="60"/>
                  </a:lnTo>
                  <a:lnTo>
                    <a:pt x="242" y="66"/>
                  </a:lnTo>
                  <a:lnTo>
                    <a:pt x="254" y="64"/>
                  </a:lnTo>
                  <a:lnTo>
                    <a:pt x="262" y="62"/>
                  </a:lnTo>
                  <a:lnTo>
                    <a:pt x="256" y="52"/>
                  </a:lnTo>
                  <a:lnTo>
                    <a:pt x="268" y="40"/>
                  </a:lnTo>
                  <a:lnTo>
                    <a:pt x="274" y="28"/>
                  </a:lnTo>
                  <a:lnTo>
                    <a:pt x="282" y="24"/>
                  </a:lnTo>
                  <a:lnTo>
                    <a:pt x="286" y="2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67" name="Freeform 263">
              <a:extLst>
                <a:ext uri="{FF2B5EF4-FFF2-40B4-BE49-F238E27FC236}">
                  <a16:creationId xmlns:a16="http://schemas.microsoft.com/office/drawing/2014/main" id="{3A9CBD27-833F-48A2-8DAB-C1E960AC9CE0}"/>
                </a:ext>
              </a:extLst>
            </p:cNvPr>
            <p:cNvSpPr>
              <a:spLocks/>
            </p:cNvSpPr>
            <p:nvPr/>
          </p:nvSpPr>
          <p:spPr bwMode="gray">
            <a:xfrm>
              <a:off x="8960344" y="4203366"/>
              <a:ext cx="115574" cy="159344"/>
            </a:xfrm>
            <a:custGeom>
              <a:avLst/>
              <a:gdLst>
                <a:gd name="T0" fmla="*/ 4 w 70"/>
                <a:gd name="T1" fmla="*/ 58 h 96"/>
                <a:gd name="T2" fmla="*/ 14 w 70"/>
                <a:gd name="T3" fmla="*/ 64 h 96"/>
                <a:gd name="T4" fmla="*/ 16 w 70"/>
                <a:gd name="T5" fmla="*/ 76 h 96"/>
                <a:gd name="T6" fmla="*/ 24 w 70"/>
                <a:gd name="T7" fmla="*/ 78 h 96"/>
                <a:gd name="T8" fmla="*/ 30 w 70"/>
                <a:gd name="T9" fmla="*/ 72 h 96"/>
                <a:gd name="T10" fmla="*/ 38 w 70"/>
                <a:gd name="T11" fmla="*/ 74 h 96"/>
                <a:gd name="T12" fmla="*/ 40 w 70"/>
                <a:gd name="T13" fmla="*/ 82 h 96"/>
                <a:gd name="T14" fmla="*/ 48 w 70"/>
                <a:gd name="T15" fmla="*/ 80 h 96"/>
                <a:gd name="T16" fmla="*/ 52 w 70"/>
                <a:gd name="T17" fmla="*/ 84 h 96"/>
                <a:gd name="T18" fmla="*/ 62 w 70"/>
                <a:gd name="T19" fmla="*/ 90 h 96"/>
                <a:gd name="T20" fmla="*/ 66 w 70"/>
                <a:gd name="T21" fmla="*/ 96 h 96"/>
                <a:gd name="T22" fmla="*/ 70 w 70"/>
                <a:gd name="T23" fmla="*/ 90 h 96"/>
                <a:gd name="T24" fmla="*/ 62 w 70"/>
                <a:gd name="T25" fmla="*/ 84 h 96"/>
                <a:gd name="T26" fmla="*/ 62 w 70"/>
                <a:gd name="T27" fmla="*/ 78 h 96"/>
                <a:gd name="T28" fmla="*/ 58 w 70"/>
                <a:gd name="T29" fmla="*/ 72 h 96"/>
                <a:gd name="T30" fmla="*/ 50 w 70"/>
                <a:gd name="T31" fmla="*/ 72 h 96"/>
                <a:gd name="T32" fmla="*/ 46 w 70"/>
                <a:gd name="T33" fmla="*/ 68 h 96"/>
                <a:gd name="T34" fmla="*/ 40 w 70"/>
                <a:gd name="T35" fmla="*/ 70 h 96"/>
                <a:gd name="T36" fmla="*/ 32 w 70"/>
                <a:gd name="T37" fmla="*/ 66 h 96"/>
                <a:gd name="T38" fmla="*/ 28 w 70"/>
                <a:gd name="T39" fmla="*/ 62 h 96"/>
                <a:gd name="T40" fmla="*/ 26 w 70"/>
                <a:gd name="T41" fmla="*/ 54 h 96"/>
                <a:gd name="T42" fmla="*/ 28 w 70"/>
                <a:gd name="T43" fmla="*/ 42 h 96"/>
                <a:gd name="T44" fmla="*/ 34 w 70"/>
                <a:gd name="T45" fmla="*/ 40 h 96"/>
                <a:gd name="T46" fmla="*/ 40 w 70"/>
                <a:gd name="T47" fmla="*/ 26 h 96"/>
                <a:gd name="T48" fmla="*/ 38 w 70"/>
                <a:gd name="T49" fmla="*/ 14 h 96"/>
                <a:gd name="T50" fmla="*/ 38 w 70"/>
                <a:gd name="T51" fmla="*/ 4 h 96"/>
                <a:gd name="T52" fmla="*/ 28 w 70"/>
                <a:gd name="T53" fmla="*/ 2 h 96"/>
                <a:gd name="T54" fmla="*/ 12 w 70"/>
                <a:gd name="T55" fmla="*/ 0 h 96"/>
                <a:gd name="T56" fmla="*/ 10 w 70"/>
                <a:gd name="T57" fmla="*/ 16 h 96"/>
                <a:gd name="T58" fmla="*/ 10 w 70"/>
                <a:gd name="T59" fmla="*/ 28 h 96"/>
                <a:gd name="T60" fmla="*/ 12 w 70"/>
                <a:gd name="T61" fmla="*/ 36 h 96"/>
                <a:gd name="T62" fmla="*/ 0 w 70"/>
                <a:gd name="T63" fmla="*/ 38 h 96"/>
                <a:gd name="T64" fmla="*/ 2 w 70"/>
                <a:gd name="T65" fmla="*/ 44 h 96"/>
                <a:gd name="T66" fmla="*/ 4 w 70"/>
                <a:gd name="T67" fmla="*/ 48 h 96"/>
                <a:gd name="T68" fmla="*/ 4 w 70"/>
                <a:gd name="T69"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 h="96">
                  <a:moveTo>
                    <a:pt x="4" y="58"/>
                  </a:moveTo>
                  <a:lnTo>
                    <a:pt x="14" y="64"/>
                  </a:lnTo>
                  <a:lnTo>
                    <a:pt x="16" y="76"/>
                  </a:lnTo>
                  <a:lnTo>
                    <a:pt x="24" y="78"/>
                  </a:lnTo>
                  <a:lnTo>
                    <a:pt x="30" y="72"/>
                  </a:lnTo>
                  <a:lnTo>
                    <a:pt x="38" y="74"/>
                  </a:lnTo>
                  <a:lnTo>
                    <a:pt x="40" y="82"/>
                  </a:lnTo>
                  <a:lnTo>
                    <a:pt x="48" y="80"/>
                  </a:lnTo>
                  <a:lnTo>
                    <a:pt x="52" y="84"/>
                  </a:lnTo>
                  <a:lnTo>
                    <a:pt x="62" y="90"/>
                  </a:lnTo>
                  <a:lnTo>
                    <a:pt x="66" y="96"/>
                  </a:lnTo>
                  <a:lnTo>
                    <a:pt x="70" y="90"/>
                  </a:lnTo>
                  <a:lnTo>
                    <a:pt x="62" y="84"/>
                  </a:lnTo>
                  <a:lnTo>
                    <a:pt x="62" y="78"/>
                  </a:lnTo>
                  <a:lnTo>
                    <a:pt x="58" y="72"/>
                  </a:lnTo>
                  <a:lnTo>
                    <a:pt x="50" y="72"/>
                  </a:lnTo>
                  <a:lnTo>
                    <a:pt x="46" y="68"/>
                  </a:lnTo>
                  <a:lnTo>
                    <a:pt x="40" y="70"/>
                  </a:lnTo>
                  <a:lnTo>
                    <a:pt x="32" y="66"/>
                  </a:lnTo>
                  <a:lnTo>
                    <a:pt x="28" y="62"/>
                  </a:lnTo>
                  <a:lnTo>
                    <a:pt x="26" y="54"/>
                  </a:lnTo>
                  <a:lnTo>
                    <a:pt x="28" y="42"/>
                  </a:lnTo>
                  <a:lnTo>
                    <a:pt x="34" y="40"/>
                  </a:lnTo>
                  <a:lnTo>
                    <a:pt x="40" y="26"/>
                  </a:lnTo>
                  <a:lnTo>
                    <a:pt x="38" y="14"/>
                  </a:lnTo>
                  <a:lnTo>
                    <a:pt x="38" y="4"/>
                  </a:lnTo>
                  <a:lnTo>
                    <a:pt x="28" y="2"/>
                  </a:lnTo>
                  <a:lnTo>
                    <a:pt x="12" y="0"/>
                  </a:lnTo>
                  <a:lnTo>
                    <a:pt x="10" y="16"/>
                  </a:lnTo>
                  <a:lnTo>
                    <a:pt x="10" y="28"/>
                  </a:lnTo>
                  <a:lnTo>
                    <a:pt x="12" y="36"/>
                  </a:lnTo>
                  <a:lnTo>
                    <a:pt x="0" y="38"/>
                  </a:lnTo>
                  <a:lnTo>
                    <a:pt x="2" y="44"/>
                  </a:lnTo>
                  <a:lnTo>
                    <a:pt x="4" y="48"/>
                  </a:lnTo>
                  <a:lnTo>
                    <a:pt x="4" y="5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68" name="Freeform 264">
              <a:extLst>
                <a:ext uri="{FF2B5EF4-FFF2-40B4-BE49-F238E27FC236}">
                  <a16:creationId xmlns:a16="http://schemas.microsoft.com/office/drawing/2014/main" id="{3C508CF2-6D86-46B4-9496-458E89C8A651}"/>
                </a:ext>
              </a:extLst>
            </p:cNvPr>
            <p:cNvSpPr>
              <a:spLocks/>
            </p:cNvSpPr>
            <p:nvPr/>
          </p:nvSpPr>
          <p:spPr bwMode="gray">
            <a:xfrm>
              <a:off x="8891000" y="4399226"/>
              <a:ext cx="69344" cy="76353"/>
            </a:xfrm>
            <a:custGeom>
              <a:avLst/>
              <a:gdLst>
                <a:gd name="T0" fmla="*/ 0 w 42"/>
                <a:gd name="T1" fmla="*/ 46 h 46"/>
                <a:gd name="T2" fmla="*/ 8 w 42"/>
                <a:gd name="T3" fmla="*/ 34 h 46"/>
                <a:gd name="T4" fmla="*/ 20 w 42"/>
                <a:gd name="T5" fmla="*/ 20 h 46"/>
                <a:gd name="T6" fmla="*/ 32 w 42"/>
                <a:gd name="T7" fmla="*/ 10 h 46"/>
                <a:gd name="T8" fmla="*/ 36 w 42"/>
                <a:gd name="T9" fmla="*/ 0 h 46"/>
                <a:gd name="T10" fmla="*/ 38 w 42"/>
                <a:gd name="T11" fmla="*/ 6 h 46"/>
                <a:gd name="T12" fmla="*/ 42 w 42"/>
                <a:gd name="T13" fmla="*/ 12 h 46"/>
                <a:gd name="T14" fmla="*/ 32 w 42"/>
                <a:gd name="T15" fmla="*/ 16 h 46"/>
                <a:gd name="T16" fmla="*/ 20 w 42"/>
                <a:gd name="T17" fmla="*/ 30 h 46"/>
                <a:gd name="T18" fmla="*/ 14 w 42"/>
                <a:gd name="T19" fmla="*/ 38 h 46"/>
                <a:gd name="T20" fmla="*/ 0 w 42"/>
                <a:gd name="T21"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 h="46">
                  <a:moveTo>
                    <a:pt x="0" y="46"/>
                  </a:moveTo>
                  <a:lnTo>
                    <a:pt x="8" y="34"/>
                  </a:lnTo>
                  <a:lnTo>
                    <a:pt x="20" y="20"/>
                  </a:lnTo>
                  <a:lnTo>
                    <a:pt x="32" y="10"/>
                  </a:lnTo>
                  <a:lnTo>
                    <a:pt x="36" y="0"/>
                  </a:lnTo>
                  <a:lnTo>
                    <a:pt x="38" y="6"/>
                  </a:lnTo>
                  <a:lnTo>
                    <a:pt x="42" y="12"/>
                  </a:lnTo>
                  <a:lnTo>
                    <a:pt x="32" y="16"/>
                  </a:lnTo>
                  <a:lnTo>
                    <a:pt x="20" y="30"/>
                  </a:lnTo>
                  <a:lnTo>
                    <a:pt x="14" y="38"/>
                  </a:lnTo>
                  <a:lnTo>
                    <a:pt x="0" y="4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69" name="Freeform 265">
              <a:extLst>
                <a:ext uri="{FF2B5EF4-FFF2-40B4-BE49-F238E27FC236}">
                  <a16:creationId xmlns:a16="http://schemas.microsoft.com/office/drawing/2014/main" id="{9E54D144-E973-43CC-971E-3BBEA67B02ED}"/>
                </a:ext>
              </a:extLst>
            </p:cNvPr>
            <p:cNvSpPr>
              <a:spLocks/>
            </p:cNvSpPr>
            <p:nvPr/>
          </p:nvSpPr>
          <p:spPr bwMode="gray">
            <a:xfrm>
              <a:off x="9013179" y="4439062"/>
              <a:ext cx="122179" cy="99590"/>
            </a:xfrm>
            <a:custGeom>
              <a:avLst/>
              <a:gdLst>
                <a:gd name="T0" fmla="*/ 58 w 74"/>
                <a:gd name="T1" fmla="*/ 58 h 60"/>
                <a:gd name="T2" fmla="*/ 40 w 74"/>
                <a:gd name="T3" fmla="*/ 60 h 60"/>
                <a:gd name="T4" fmla="*/ 34 w 74"/>
                <a:gd name="T5" fmla="*/ 48 h 60"/>
                <a:gd name="T6" fmla="*/ 34 w 74"/>
                <a:gd name="T7" fmla="*/ 38 h 60"/>
                <a:gd name="T8" fmla="*/ 40 w 74"/>
                <a:gd name="T9" fmla="*/ 36 h 60"/>
                <a:gd name="T10" fmla="*/ 32 w 74"/>
                <a:gd name="T11" fmla="*/ 30 h 60"/>
                <a:gd name="T12" fmla="*/ 24 w 74"/>
                <a:gd name="T13" fmla="*/ 32 h 60"/>
                <a:gd name="T14" fmla="*/ 18 w 74"/>
                <a:gd name="T15" fmla="*/ 34 h 60"/>
                <a:gd name="T16" fmla="*/ 12 w 74"/>
                <a:gd name="T17" fmla="*/ 36 h 60"/>
                <a:gd name="T18" fmla="*/ 8 w 74"/>
                <a:gd name="T19" fmla="*/ 44 h 60"/>
                <a:gd name="T20" fmla="*/ 4 w 74"/>
                <a:gd name="T21" fmla="*/ 50 h 60"/>
                <a:gd name="T22" fmla="*/ 0 w 74"/>
                <a:gd name="T23" fmla="*/ 38 h 60"/>
                <a:gd name="T24" fmla="*/ 4 w 74"/>
                <a:gd name="T25" fmla="*/ 28 h 60"/>
                <a:gd name="T26" fmla="*/ 14 w 74"/>
                <a:gd name="T27" fmla="*/ 24 h 60"/>
                <a:gd name="T28" fmla="*/ 22 w 74"/>
                <a:gd name="T29" fmla="*/ 20 h 60"/>
                <a:gd name="T30" fmla="*/ 26 w 74"/>
                <a:gd name="T31" fmla="*/ 14 h 60"/>
                <a:gd name="T32" fmla="*/ 32 w 74"/>
                <a:gd name="T33" fmla="*/ 22 h 60"/>
                <a:gd name="T34" fmla="*/ 36 w 74"/>
                <a:gd name="T35" fmla="*/ 24 h 60"/>
                <a:gd name="T36" fmla="*/ 42 w 74"/>
                <a:gd name="T37" fmla="*/ 18 h 60"/>
                <a:gd name="T38" fmla="*/ 50 w 74"/>
                <a:gd name="T39" fmla="*/ 8 h 60"/>
                <a:gd name="T40" fmla="*/ 54 w 74"/>
                <a:gd name="T41" fmla="*/ 10 h 60"/>
                <a:gd name="T42" fmla="*/ 58 w 74"/>
                <a:gd name="T43" fmla="*/ 10 h 60"/>
                <a:gd name="T44" fmla="*/ 58 w 74"/>
                <a:gd name="T45" fmla="*/ 4 h 60"/>
                <a:gd name="T46" fmla="*/ 62 w 74"/>
                <a:gd name="T47" fmla="*/ 0 h 60"/>
                <a:gd name="T48" fmla="*/ 68 w 74"/>
                <a:gd name="T49" fmla="*/ 6 h 60"/>
                <a:gd name="T50" fmla="*/ 72 w 74"/>
                <a:gd name="T51" fmla="*/ 14 h 60"/>
                <a:gd name="T52" fmla="*/ 74 w 74"/>
                <a:gd name="T53" fmla="*/ 28 h 60"/>
                <a:gd name="T54" fmla="*/ 74 w 74"/>
                <a:gd name="T55" fmla="*/ 42 h 60"/>
                <a:gd name="T56" fmla="*/ 66 w 74"/>
                <a:gd name="T57" fmla="*/ 44 h 60"/>
                <a:gd name="T58" fmla="*/ 64 w 74"/>
                <a:gd name="T59" fmla="*/ 36 h 60"/>
                <a:gd name="T60" fmla="*/ 58 w 74"/>
                <a:gd name="T61" fmla="*/ 42 h 60"/>
                <a:gd name="T62" fmla="*/ 54 w 74"/>
                <a:gd name="T63" fmla="*/ 46 h 60"/>
                <a:gd name="T64" fmla="*/ 58 w 74"/>
                <a:gd name="T65" fmla="*/ 5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4" h="60">
                  <a:moveTo>
                    <a:pt x="58" y="58"/>
                  </a:moveTo>
                  <a:lnTo>
                    <a:pt x="40" y="60"/>
                  </a:lnTo>
                  <a:lnTo>
                    <a:pt x="34" y="48"/>
                  </a:lnTo>
                  <a:lnTo>
                    <a:pt x="34" y="38"/>
                  </a:lnTo>
                  <a:lnTo>
                    <a:pt x="40" y="36"/>
                  </a:lnTo>
                  <a:lnTo>
                    <a:pt x="32" y="30"/>
                  </a:lnTo>
                  <a:lnTo>
                    <a:pt x="24" y="32"/>
                  </a:lnTo>
                  <a:lnTo>
                    <a:pt x="18" y="34"/>
                  </a:lnTo>
                  <a:lnTo>
                    <a:pt x="12" y="36"/>
                  </a:lnTo>
                  <a:lnTo>
                    <a:pt x="8" y="44"/>
                  </a:lnTo>
                  <a:lnTo>
                    <a:pt x="4" y="50"/>
                  </a:lnTo>
                  <a:lnTo>
                    <a:pt x="0" y="38"/>
                  </a:lnTo>
                  <a:lnTo>
                    <a:pt x="4" y="28"/>
                  </a:lnTo>
                  <a:lnTo>
                    <a:pt x="14" y="24"/>
                  </a:lnTo>
                  <a:lnTo>
                    <a:pt x="22" y="20"/>
                  </a:lnTo>
                  <a:lnTo>
                    <a:pt x="26" y="14"/>
                  </a:lnTo>
                  <a:lnTo>
                    <a:pt x="32" y="22"/>
                  </a:lnTo>
                  <a:lnTo>
                    <a:pt x="36" y="24"/>
                  </a:lnTo>
                  <a:lnTo>
                    <a:pt x="42" y="18"/>
                  </a:lnTo>
                  <a:lnTo>
                    <a:pt x="50" y="8"/>
                  </a:lnTo>
                  <a:lnTo>
                    <a:pt x="54" y="10"/>
                  </a:lnTo>
                  <a:lnTo>
                    <a:pt x="58" y="10"/>
                  </a:lnTo>
                  <a:lnTo>
                    <a:pt x="58" y="4"/>
                  </a:lnTo>
                  <a:lnTo>
                    <a:pt x="62" y="0"/>
                  </a:lnTo>
                  <a:lnTo>
                    <a:pt x="68" y="6"/>
                  </a:lnTo>
                  <a:lnTo>
                    <a:pt x="72" y="14"/>
                  </a:lnTo>
                  <a:lnTo>
                    <a:pt x="74" y="28"/>
                  </a:lnTo>
                  <a:lnTo>
                    <a:pt x="74" y="42"/>
                  </a:lnTo>
                  <a:lnTo>
                    <a:pt x="66" y="44"/>
                  </a:lnTo>
                  <a:lnTo>
                    <a:pt x="64" y="36"/>
                  </a:lnTo>
                  <a:lnTo>
                    <a:pt x="58" y="42"/>
                  </a:lnTo>
                  <a:lnTo>
                    <a:pt x="54" y="46"/>
                  </a:lnTo>
                  <a:lnTo>
                    <a:pt x="58" y="5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70" name="Freeform 266">
              <a:extLst>
                <a:ext uri="{FF2B5EF4-FFF2-40B4-BE49-F238E27FC236}">
                  <a16:creationId xmlns:a16="http://schemas.microsoft.com/office/drawing/2014/main" id="{00E2E0B0-1CEF-4A97-BC0F-D2E1476C4051}"/>
                </a:ext>
              </a:extLst>
            </p:cNvPr>
            <p:cNvSpPr>
              <a:spLocks/>
            </p:cNvSpPr>
            <p:nvPr/>
          </p:nvSpPr>
          <p:spPr bwMode="gray">
            <a:xfrm>
              <a:off x="9079222" y="4362709"/>
              <a:ext cx="29719" cy="36517"/>
            </a:xfrm>
            <a:custGeom>
              <a:avLst/>
              <a:gdLst>
                <a:gd name="T0" fmla="*/ 0 w 18"/>
                <a:gd name="T1" fmla="*/ 4 h 22"/>
                <a:gd name="T2" fmla="*/ 12 w 18"/>
                <a:gd name="T3" fmla="*/ 0 h 22"/>
                <a:gd name="T4" fmla="*/ 18 w 18"/>
                <a:gd name="T5" fmla="*/ 2 h 22"/>
                <a:gd name="T6" fmla="*/ 18 w 18"/>
                <a:gd name="T7" fmla="*/ 16 h 22"/>
                <a:gd name="T8" fmla="*/ 18 w 18"/>
                <a:gd name="T9" fmla="*/ 22 h 22"/>
                <a:gd name="T10" fmla="*/ 10 w 18"/>
                <a:gd name="T11" fmla="*/ 18 h 22"/>
                <a:gd name="T12" fmla="*/ 4 w 18"/>
                <a:gd name="T13" fmla="*/ 12 h 22"/>
                <a:gd name="T14" fmla="*/ 0 w 18"/>
                <a:gd name="T15" fmla="*/ 4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22">
                  <a:moveTo>
                    <a:pt x="0" y="4"/>
                  </a:moveTo>
                  <a:lnTo>
                    <a:pt x="12" y="0"/>
                  </a:lnTo>
                  <a:lnTo>
                    <a:pt x="18" y="2"/>
                  </a:lnTo>
                  <a:lnTo>
                    <a:pt x="18" y="16"/>
                  </a:lnTo>
                  <a:lnTo>
                    <a:pt x="18" y="22"/>
                  </a:lnTo>
                  <a:lnTo>
                    <a:pt x="10" y="18"/>
                  </a:lnTo>
                  <a:lnTo>
                    <a:pt x="4" y="12"/>
                  </a:lnTo>
                  <a:lnTo>
                    <a:pt x="0" y="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71" name="Freeform 267">
              <a:extLst>
                <a:ext uri="{FF2B5EF4-FFF2-40B4-BE49-F238E27FC236}">
                  <a16:creationId xmlns:a16="http://schemas.microsoft.com/office/drawing/2014/main" id="{1B9A24AF-23D2-4C71-A534-DD94E7AA384D}"/>
                </a:ext>
              </a:extLst>
            </p:cNvPr>
            <p:cNvSpPr>
              <a:spLocks/>
            </p:cNvSpPr>
            <p:nvPr/>
          </p:nvSpPr>
          <p:spPr bwMode="gray">
            <a:xfrm>
              <a:off x="8973553" y="4336152"/>
              <a:ext cx="33021" cy="39836"/>
            </a:xfrm>
            <a:custGeom>
              <a:avLst/>
              <a:gdLst>
                <a:gd name="T0" fmla="*/ 0 w 20"/>
                <a:gd name="T1" fmla="*/ 0 h 24"/>
                <a:gd name="T2" fmla="*/ 10 w 20"/>
                <a:gd name="T3" fmla="*/ 2 h 24"/>
                <a:gd name="T4" fmla="*/ 20 w 20"/>
                <a:gd name="T5" fmla="*/ 10 h 24"/>
                <a:gd name="T6" fmla="*/ 18 w 20"/>
                <a:gd name="T7" fmla="*/ 22 h 24"/>
                <a:gd name="T8" fmla="*/ 12 w 20"/>
                <a:gd name="T9" fmla="*/ 24 h 24"/>
                <a:gd name="T10" fmla="*/ 6 w 20"/>
                <a:gd name="T11" fmla="*/ 10 h 24"/>
                <a:gd name="T12" fmla="*/ 2 w 20"/>
                <a:gd name="T13" fmla="*/ 6 h 24"/>
                <a:gd name="T14" fmla="*/ 0 w 20"/>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24">
                  <a:moveTo>
                    <a:pt x="0" y="0"/>
                  </a:moveTo>
                  <a:lnTo>
                    <a:pt x="10" y="2"/>
                  </a:lnTo>
                  <a:lnTo>
                    <a:pt x="20" y="10"/>
                  </a:lnTo>
                  <a:lnTo>
                    <a:pt x="18" y="22"/>
                  </a:lnTo>
                  <a:lnTo>
                    <a:pt x="12" y="24"/>
                  </a:lnTo>
                  <a:lnTo>
                    <a:pt x="6" y="10"/>
                  </a:lnTo>
                  <a:lnTo>
                    <a:pt x="2" y="6"/>
                  </a:lnTo>
                  <a:lnTo>
                    <a:pt x="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72" name="Freeform 268">
              <a:extLst>
                <a:ext uri="{FF2B5EF4-FFF2-40B4-BE49-F238E27FC236}">
                  <a16:creationId xmlns:a16="http://schemas.microsoft.com/office/drawing/2014/main" id="{7825ADB8-FDDB-4E5D-A356-7F0CA05B6318}"/>
                </a:ext>
              </a:extLst>
            </p:cNvPr>
            <p:cNvSpPr>
              <a:spLocks/>
            </p:cNvSpPr>
            <p:nvPr/>
          </p:nvSpPr>
          <p:spPr bwMode="gray">
            <a:xfrm>
              <a:off x="9016481" y="4385946"/>
              <a:ext cx="36323" cy="33197"/>
            </a:xfrm>
            <a:custGeom>
              <a:avLst/>
              <a:gdLst>
                <a:gd name="T0" fmla="*/ 0 w 22"/>
                <a:gd name="T1" fmla="*/ 0 h 20"/>
                <a:gd name="T2" fmla="*/ 0 w 22"/>
                <a:gd name="T3" fmla="*/ 10 h 20"/>
                <a:gd name="T4" fmla="*/ 0 w 22"/>
                <a:gd name="T5" fmla="*/ 20 h 20"/>
                <a:gd name="T6" fmla="*/ 6 w 22"/>
                <a:gd name="T7" fmla="*/ 16 h 20"/>
                <a:gd name="T8" fmla="*/ 18 w 22"/>
                <a:gd name="T9" fmla="*/ 8 h 20"/>
                <a:gd name="T10" fmla="*/ 22 w 22"/>
                <a:gd name="T11" fmla="*/ 2 h 20"/>
                <a:gd name="T12" fmla="*/ 14 w 22"/>
                <a:gd name="T13" fmla="*/ 0 h 20"/>
                <a:gd name="T14" fmla="*/ 8 w 22"/>
                <a:gd name="T15" fmla="*/ 2 h 20"/>
                <a:gd name="T16" fmla="*/ 0 w 22"/>
                <a:gd name="T1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20">
                  <a:moveTo>
                    <a:pt x="0" y="0"/>
                  </a:moveTo>
                  <a:lnTo>
                    <a:pt x="0" y="10"/>
                  </a:lnTo>
                  <a:lnTo>
                    <a:pt x="0" y="20"/>
                  </a:lnTo>
                  <a:lnTo>
                    <a:pt x="6" y="16"/>
                  </a:lnTo>
                  <a:lnTo>
                    <a:pt x="18" y="8"/>
                  </a:lnTo>
                  <a:lnTo>
                    <a:pt x="22" y="2"/>
                  </a:lnTo>
                  <a:lnTo>
                    <a:pt x="14" y="0"/>
                  </a:lnTo>
                  <a:lnTo>
                    <a:pt x="8" y="2"/>
                  </a:lnTo>
                  <a:lnTo>
                    <a:pt x="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73" name="Freeform 269">
              <a:extLst>
                <a:ext uri="{FF2B5EF4-FFF2-40B4-BE49-F238E27FC236}">
                  <a16:creationId xmlns:a16="http://schemas.microsoft.com/office/drawing/2014/main" id="{0BA46C19-70B7-4172-8864-980A400F63AF}"/>
                </a:ext>
              </a:extLst>
            </p:cNvPr>
            <p:cNvSpPr>
              <a:spLocks/>
            </p:cNvSpPr>
            <p:nvPr/>
          </p:nvSpPr>
          <p:spPr bwMode="gray">
            <a:xfrm>
              <a:off x="9026388" y="4405864"/>
              <a:ext cx="39626" cy="46475"/>
            </a:xfrm>
            <a:custGeom>
              <a:avLst/>
              <a:gdLst>
                <a:gd name="T0" fmla="*/ 0 w 24"/>
                <a:gd name="T1" fmla="*/ 18 h 28"/>
                <a:gd name="T2" fmla="*/ 6 w 24"/>
                <a:gd name="T3" fmla="*/ 26 h 28"/>
                <a:gd name="T4" fmla="*/ 14 w 24"/>
                <a:gd name="T5" fmla="*/ 28 h 28"/>
                <a:gd name="T6" fmla="*/ 14 w 24"/>
                <a:gd name="T7" fmla="*/ 16 h 28"/>
                <a:gd name="T8" fmla="*/ 18 w 24"/>
                <a:gd name="T9" fmla="*/ 12 h 28"/>
                <a:gd name="T10" fmla="*/ 24 w 24"/>
                <a:gd name="T11" fmla="*/ 8 h 28"/>
                <a:gd name="T12" fmla="*/ 22 w 24"/>
                <a:gd name="T13" fmla="*/ 4 h 28"/>
                <a:gd name="T14" fmla="*/ 16 w 24"/>
                <a:gd name="T15" fmla="*/ 0 h 28"/>
                <a:gd name="T16" fmla="*/ 10 w 24"/>
                <a:gd name="T17" fmla="*/ 2 h 28"/>
                <a:gd name="T18" fmla="*/ 8 w 24"/>
                <a:gd name="T19" fmla="*/ 10 h 28"/>
                <a:gd name="T20" fmla="*/ 4 w 24"/>
                <a:gd name="T21" fmla="*/ 16 h 28"/>
                <a:gd name="T22" fmla="*/ 0 w 24"/>
                <a:gd name="T23"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28">
                  <a:moveTo>
                    <a:pt x="0" y="18"/>
                  </a:moveTo>
                  <a:lnTo>
                    <a:pt x="6" y="26"/>
                  </a:lnTo>
                  <a:lnTo>
                    <a:pt x="14" y="28"/>
                  </a:lnTo>
                  <a:lnTo>
                    <a:pt x="14" y="16"/>
                  </a:lnTo>
                  <a:lnTo>
                    <a:pt x="18" y="12"/>
                  </a:lnTo>
                  <a:lnTo>
                    <a:pt x="24" y="8"/>
                  </a:lnTo>
                  <a:lnTo>
                    <a:pt x="22" y="4"/>
                  </a:lnTo>
                  <a:lnTo>
                    <a:pt x="16" y="0"/>
                  </a:lnTo>
                  <a:lnTo>
                    <a:pt x="10" y="2"/>
                  </a:lnTo>
                  <a:lnTo>
                    <a:pt x="8" y="10"/>
                  </a:lnTo>
                  <a:lnTo>
                    <a:pt x="4" y="16"/>
                  </a:lnTo>
                  <a:lnTo>
                    <a:pt x="0" y="1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74" name="Freeform 270">
              <a:extLst>
                <a:ext uri="{FF2B5EF4-FFF2-40B4-BE49-F238E27FC236}">
                  <a16:creationId xmlns:a16="http://schemas.microsoft.com/office/drawing/2014/main" id="{9FEF3060-3C44-42A5-B4E9-AFFCA6884AD2}"/>
                </a:ext>
              </a:extLst>
            </p:cNvPr>
            <p:cNvSpPr>
              <a:spLocks/>
            </p:cNvSpPr>
            <p:nvPr/>
          </p:nvSpPr>
          <p:spPr bwMode="gray">
            <a:xfrm>
              <a:off x="8966949" y="4017466"/>
              <a:ext cx="49532" cy="89630"/>
            </a:xfrm>
            <a:custGeom>
              <a:avLst/>
              <a:gdLst>
                <a:gd name="T0" fmla="*/ 30 w 30"/>
                <a:gd name="T1" fmla="*/ 4 h 54"/>
                <a:gd name="T2" fmla="*/ 26 w 30"/>
                <a:gd name="T3" fmla="*/ 18 h 54"/>
                <a:gd name="T4" fmla="*/ 22 w 30"/>
                <a:gd name="T5" fmla="*/ 28 h 54"/>
                <a:gd name="T6" fmla="*/ 20 w 30"/>
                <a:gd name="T7" fmla="*/ 36 h 54"/>
                <a:gd name="T8" fmla="*/ 16 w 30"/>
                <a:gd name="T9" fmla="*/ 48 h 54"/>
                <a:gd name="T10" fmla="*/ 10 w 30"/>
                <a:gd name="T11" fmla="*/ 54 h 54"/>
                <a:gd name="T12" fmla="*/ 4 w 30"/>
                <a:gd name="T13" fmla="*/ 42 h 54"/>
                <a:gd name="T14" fmla="*/ 0 w 30"/>
                <a:gd name="T15" fmla="*/ 26 h 54"/>
                <a:gd name="T16" fmla="*/ 8 w 30"/>
                <a:gd name="T17" fmla="*/ 12 h 54"/>
                <a:gd name="T18" fmla="*/ 18 w 30"/>
                <a:gd name="T19" fmla="*/ 4 h 54"/>
                <a:gd name="T20" fmla="*/ 22 w 30"/>
                <a:gd name="T21" fmla="*/ 0 h 54"/>
                <a:gd name="T22" fmla="*/ 30 w 30"/>
                <a:gd name="T23" fmla="*/ 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0" h="54">
                  <a:moveTo>
                    <a:pt x="30" y="4"/>
                  </a:moveTo>
                  <a:lnTo>
                    <a:pt x="26" y="18"/>
                  </a:lnTo>
                  <a:lnTo>
                    <a:pt x="22" y="28"/>
                  </a:lnTo>
                  <a:lnTo>
                    <a:pt x="20" y="36"/>
                  </a:lnTo>
                  <a:lnTo>
                    <a:pt x="16" y="48"/>
                  </a:lnTo>
                  <a:lnTo>
                    <a:pt x="10" y="54"/>
                  </a:lnTo>
                  <a:lnTo>
                    <a:pt x="4" y="42"/>
                  </a:lnTo>
                  <a:lnTo>
                    <a:pt x="0" y="26"/>
                  </a:lnTo>
                  <a:lnTo>
                    <a:pt x="8" y="12"/>
                  </a:lnTo>
                  <a:lnTo>
                    <a:pt x="18" y="4"/>
                  </a:lnTo>
                  <a:lnTo>
                    <a:pt x="22" y="0"/>
                  </a:lnTo>
                  <a:lnTo>
                    <a:pt x="30" y="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75" name="Freeform 271">
              <a:extLst>
                <a:ext uri="{FF2B5EF4-FFF2-40B4-BE49-F238E27FC236}">
                  <a16:creationId xmlns:a16="http://schemas.microsoft.com/office/drawing/2014/main" id="{4AC7AA7F-0A29-4B6B-8CEE-B359B52333F1}"/>
                </a:ext>
              </a:extLst>
            </p:cNvPr>
            <p:cNvSpPr>
              <a:spLocks/>
            </p:cNvSpPr>
            <p:nvPr/>
          </p:nvSpPr>
          <p:spPr bwMode="gray">
            <a:xfrm>
              <a:off x="8666453" y="4160210"/>
              <a:ext cx="62740" cy="49794"/>
            </a:xfrm>
            <a:custGeom>
              <a:avLst/>
              <a:gdLst>
                <a:gd name="T0" fmla="*/ 10 w 38"/>
                <a:gd name="T1" fmla="*/ 6 h 30"/>
                <a:gd name="T2" fmla="*/ 20 w 38"/>
                <a:gd name="T3" fmla="*/ 0 h 30"/>
                <a:gd name="T4" fmla="*/ 30 w 38"/>
                <a:gd name="T5" fmla="*/ 0 h 30"/>
                <a:gd name="T6" fmla="*/ 38 w 38"/>
                <a:gd name="T7" fmla="*/ 2 h 30"/>
                <a:gd name="T8" fmla="*/ 34 w 38"/>
                <a:gd name="T9" fmla="*/ 8 h 30"/>
                <a:gd name="T10" fmla="*/ 30 w 38"/>
                <a:gd name="T11" fmla="*/ 14 h 30"/>
                <a:gd name="T12" fmla="*/ 30 w 38"/>
                <a:gd name="T13" fmla="*/ 24 h 30"/>
                <a:gd name="T14" fmla="*/ 22 w 38"/>
                <a:gd name="T15" fmla="*/ 26 h 30"/>
                <a:gd name="T16" fmla="*/ 16 w 38"/>
                <a:gd name="T17" fmla="*/ 30 h 30"/>
                <a:gd name="T18" fmla="*/ 6 w 38"/>
                <a:gd name="T19" fmla="*/ 28 h 30"/>
                <a:gd name="T20" fmla="*/ 0 w 38"/>
                <a:gd name="T21" fmla="*/ 20 h 30"/>
                <a:gd name="T22" fmla="*/ 0 w 38"/>
                <a:gd name="T23" fmla="*/ 10 h 30"/>
                <a:gd name="T24" fmla="*/ 10 w 38"/>
                <a:gd name="T25"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30">
                  <a:moveTo>
                    <a:pt x="10" y="6"/>
                  </a:moveTo>
                  <a:lnTo>
                    <a:pt x="20" y="0"/>
                  </a:lnTo>
                  <a:lnTo>
                    <a:pt x="30" y="0"/>
                  </a:lnTo>
                  <a:lnTo>
                    <a:pt x="38" y="2"/>
                  </a:lnTo>
                  <a:lnTo>
                    <a:pt x="34" y="8"/>
                  </a:lnTo>
                  <a:lnTo>
                    <a:pt x="30" y="14"/>
                  </a:lnTo>
                  <a:lnTo>
                    <a:pt x="30" y="24"/>
                  </a:lnTo>
                  <a:lnTo>
                    <a:pt x="22" y="26"/>
                  </a:lnTo>
                  <a:lnTo>
                    <a:pt x="16" y="30"/>
                  </a:lnTo>
                  <a:lnTo>
                    <a:pt x="6" y="28"/>
                  </a:lnTo>
                  <a:lnTo>
                    <a:pt x="0" y="20"/>
                  </a:lnTo>
                  <a:lnTo>
                    <a:pt x="0" y="10"/>
                  </a:lnTo>
                  <a:lnTo>
                    <a:pt x="10" y="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76" name="Freeform 272">
              <a:extLst>
                <a:ext uri="{FF2B5EF4-FFF2-40B4-BE49-F238E27FC236}">
                  <a16:creationId xmlns:a16="http://schemas.microsoft.com/office/drawing/2014/main" id="{5F40695D-93CA-4CA5-9BDF-E3407E19C233}"/>
                </a:ext>
              </a:extLst>
            </p:cNvPr>
            <p:cNvSpPr>
              <a:spLocks/>
            </p:cNvSpPr>
            <p:nvPr/>
          </p:nvSpPr>
          <p:spPr bwMode="gray">
            <a:xfrm>
              <a:off x="9485386" y="3409968"/>
              <a:ext cx="151899" cy="129466"/>
            </a:xfrm>
            <a:custGeom>
              <a:avLst/>
              <a:gdLst>
                <a:gd name="T0" fmla="*/ 30 w 92"/>
                <a:gd name="T1" fmla="*/ 0 h 78"/>
                <a:gd name="T2" fmla="*/ 38 w 92"/>
                <a:gd name="T3" fmla="*/ 6 h 78"/>
                <a:gd name="T4" fmla="*/ 48 w 92"/>
                <a:gd name="T5" fmla="*/ 16 h 78"/>
                <a:gd name="T6" fmla="*/ 66 w 92"/>
                <a:gd name="T7" fmla="*/ 26 h 78"/>
                <a:gd name="T8" fmla="*/ 76 w 92"/>
                <a:gd name="T9" fmla="*/ 30 h 78"/>
                <a:gd name="T10" fmla="*/ 84 w 92"/>
                <a:gd name="T11" fmla="*/ 24 h 78"/>
                <a:gd name="T12" fmla="*/ 90 w 92"/>
                <a:gd name="T13" fmla="*/ 24 h 78"/>
                <a:gd name="T14" fmla="*/ 84 w 92"/>
                <a:gd name="T15" fmla="*/ 30 h 78"/>
                <a:gd name="T16" fmla="*/ 88 w 92"/>
                <a:gd name="T17" fmla="*/ 36 h 78"/>
                <a:gd name="T18" fmla="*/ 92 w 92"/>
                <a:gd name="T19" fmla="*/ 40 h 78"/>
                <a:gd name="T20" fmla="*/ 84 w 92"/>
                <a:gd name="T21" fmla="*/ 46 h 78"/>
                <a:gd name="T22" fmla="*/ 80 w 92"/>
                <a:gd name="T23" fmla="*/ 48 h 78"/>
                <a:gd name="T24" fmla="*/ 74 w 92"/>
                <a:gd name="T25" fmla="*/ 46 h 78"/>
                <a:gd name="T26" fmla="*/ 68 w 92"/>
                <a:gd name="T27" fmla="*/ 48 h 78"/>
                <a:gd name="T28" fmla="*/ 58 w 92"/>
                <a:gd name="T29" fmla="*/ 52 h 78"/>
                <a:gd name="T30" fmla="*/ 52 w 92"/>
                <a:gd name="T31" fmla="*/ 60 h 78"/>
                <a:gd name="T32" fmla="*/ 52 w 92"/>
                <a:gd name="T33" fmla="*/ 66 h 78"/>
                <a:gd name="T34" fmla="*/ 44 w 92"/>
                <a:gd name="T35" fmla="*/ 62 h 78"/>
                <a:gd name="T36" fmla="*/ 36 w 92"/>
                <a:gd name="T37" fmla="*/ 56 h 78"/>
                <a:gd name="T38" fmla="*/ 28 w 92"/>
                <a:gd name="T39" fmla="*/ 54 h 78"/>
                <a:gd name="T40" fmla="*/ 24 w 92"/>
                <a:gd name="T41" fmla="*/ 56 h 78"/>
                <a:gd name="T42" fmla="*/ 22 w 92"/>
                <a:gd name="T43" fmla="*/ 60 h 78"/>
                <a:gd name="T44" fmla="*/ 16 w 92"/>
                <a:gd name="T45" fmla="*/ 56 h 78"/>
                <a:gd name="T46" fmla="*/ 10 w 92"/>
                <a:gd name="T47" fmla="*/ 54 h 78"/>
                <a:gd name="T48" fmla="*/ 8 w 92"/>
                <a:gd name="T49" fmla="*/ 58 h 78"/>
                <a:gd name="T50" fmla="*/ 10 w 92"/>
                <a:gd name="T51" fmla="*/ 64 h 78"/>
                <a:gd name="T52" fmla="*/ 16 w 92"/>
                <a:gd name="T53" fmla="*/ 66 h 78"/>
                <a:gd name="T54" fmla="*/ 14 w 92"/>
                <a:gd name="T55" fmla="*/ 72 h 78"/>
                <a:gd name="T56" fmla="*/ 8 w 92"/>
                <a:gd name="T57" fmla="*/ 74 h 78"/>
                <a:gd name="T58" fmla="*/ 2 w 92"/>
                <a:gd name="T59" fmla="*/ 78 h 78"/>
                <a:gd name="T60" fmla="*/ 2 w 92"/>
                <a:gd name="T61" fmla="*/ 68 h 78"/>
                <a:gd name="T62" fmla="*/ 0 w 92"/>
                <a:gd name="T63" fmla="*/ 60 h 78"/>
                <a:gd name="T64" fmla="*/ 0 w 92"/>
                <a:gd name="T65" fmla="*/ 52 h 78"/>
                <a:gd name="T66" fmla="*/ 6 w 92"/>
                <a:gd name="T67" fmla="*/ 50 h 78"/>
                <a:gd name="T68" fmla="*/ 10 w 92"/>
                <a:gd name="T69" fmla="*/ 44 h 78"/>
                <a:gd name="T70" fmla="*/ 10 w 92"/>
                <a:gd name="T71" fmla="*/ 38 h 78"/>
                <a:gd name="T72" fmla="*/ 16 w 92"/>
                <a:gd name="T73" fmla="*/ 38 h 78"/>
                <a:gd name="T74" fmla="*/ 22 w 92"/>
                <a:gd name="T75" fmla="*/ 42 h 78"/>
                <a:gd name="T76" fmla="*/ 28 w 92"/>
                <a:gd name="T77" fmla="*/ 40 h 78"/>
                <a:gd name="T78" fmla="*/ 30 w 92"/>
                <a:gd name="T79" fmla="*/ 16 h 78"/>
                <a:gd name="T80" fmla="*/ 30 w 92"/>
                <a:gd name="T81"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2" h="78">
                  <a:moveTo>
                    <a:pt x="30" y="0"/>
                  </a:moveTo>
                  <a:lnTo>
                    <a:pt x="38" y="6"/>
                  </a:lnTo>
                  <a:lnTo>
                    <a:pt x="48" y="16"/>
                  </a:lnTo>
                  <a:lnTo>
                    <a:pt x="66" y="26"/>
                  </a:lnTo>
                  <a:lnTo>
                    <a:pt x="76" y="30"/>
                  </a:lnTo>
                  <a:lnTo>
                    <a:pt x="84" y="24"/>
                  </a:lnTo>
                  <a:lnTo>
                    <a:pt x="90" y="24"/>
                  </a:lnTo>
                  <a:lnTo>
                    <a:pt x="84" y="30"/>
                  </a:lnTo>
                  <a:lnTo>
                    <a:pt x="88" y="36"/>
                  </a:lnTo>
                  <a:lnTo>
                    <a:pt x="92" y="40"/>
                  </a:lnTo>
                  <a:lnTo>
                    <a:pt x="84" y="46"/>
                  </a:lnTo>
                  <a:lnTo>
                    <a:pt x="80" y="48"/>
                  </a:lnTo>
                  <a:lnTo>
                    <a:pt x="74" y="46"/>
                  </a:lnTo>
                  <a:lnTo>
                    <a:pt x="68" y="48"/>
                  </a:lnTo>
                  <a:lnTo>
                    <a:pt x="58" y="52"/>
                  </a:lnTo>
                  <a:lnTo>
                    <a:pt x="52" y="60"/>
                  </a:lnTo>
                  <a:lnTo>
                    <a:pt x="52" y="66"/>
                  </a:lnTo>
                  <a:lnTo>
                    <a:pt x="44" y="62"/>
                  </a:lnTo>
                  <a:lnTo>
                    <a:pt x="36" y="56"/>
                  </a:lnTo>
                  <a:lnTo>
                    <a:pt x="28" y="54"/>
                  </a:lnTo>
                  <a:lnTo>
                    <a:pt x="24" y="56"/>
                  </a:lnTo>
                  <a:lnTo>
                    <a:pt x="22" y="60"/>
                  </a:lnTo>
                  <a:lnTo>
                    <a:pt x="16" y="56"/>
                  </a:lnTo>
                  <a:lnTo>
                    <a:pt x="10" y="54"/>
                  </a:lnTo>
                  <a:lnTo>
                    <a:pt x="8" y="58"/>
                  </a:lnTo>
                  <a:lnTo>
                    <a:pt x="10" y="64"/>
                  </a:lnTo>
                  <a:lnTo>
                    <a:pt x="16" y="66"/>
                  </a:lnTo>
                  <a:lnTo>
                    <a:pt x="14" y="72"/>
                  </a:lnTo>
                  <a:lnTo>
                    <a:pt x="8" y="74"/>
                  </a:lnTo>
                  <a:lnTo>
                    <a:pt x="2" y="78"/>
                  </a:lnTo>
                  <a:lnTo>
                    <a:pt x="2" y="68"/>
                  </a:lnTo>
                  <a:lnTo>
                    <a:pt x="0" y="60"/>
                  </a:lnTo>
                  <a:lnTo>
                    <a:pt x="0" y="52"/>
                  </a:lnTo>
                  <a:lnTo>
                    <a:pt x="6" y="50"/>
                  </a:lnTo>
                  <a:lnTo>
                    <a:pt x="10" y="44"/>
                  </a:lnTo>
                  <a:lnTo>
                    <a:pt x="10" y="38"/>
                  </a:lnTo>
                  <a:lnTo>
                    <a:pt x="16" y="38"/>
                  </a:lnTo>
                  <a:lnTo>
                    <a:pt x="22" y="42"/>
                  </a:lnTo>
                  <a:lnTo>
                    <a:pt x="28" y="40"/>
                  </a:lnTo>
                  <a:lnTo>
                    <a:pt x="30" y="16"/>
                  </a:lnTo>
                  <a:lnTo>
                    <a:pt x="3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77" name="Freeform 273">
              <a:extLst>
                <a:ext uri="{FF2B5EF4-FFF2-40B4-BE49-F238E27FC236}">
                  <a16:creationId xmlns:a16="http://schemas.microsoft.com/office/drawing/2014/main" id="{26DBAA84-17F3-4E07-9F61-013C92F32322}"/>
                </a:ext>
              </a:extLst>
            </p:cNvPr>
            <p:cNvSpPr>
              <a:spLocks/>
            </p:cNvSpPr>
            <p:nvPr/>
          </p:nvSpPr>
          <p:spPr bwMode="gray">
            <a:xfrm>
              <a:off x="9283954" y="3755212"/>
              <a:ext cx="66043" cy="43155"/>
            </a:xfrm>
            <a:custGeom>
              <a:avLst/>
              <a:gdLst>
                <a:gd name="T0" fmla="*/ 30 w 40"/>
                <a:gd name="T1" fmla="*/ 16 h 26"/>
                <a:gd name="T2" fmla="*/ 24 w 40"/>
                <a:gd name="T3" fmla="*/ 14 h 26"/>
                <a:gd name="T4" fmla="*/ 18 w 40"/>
                <a:gd name="T5" fmla="*/ 18 h 26"/>
                <a:gd name="T6" fmla="*/ 14 w 40"/>
                <a:gd name="T7" fmla="*/ 26 h 26"/>
                <a:gd name="T8" fmla="*/ 6 w 40"/>
                <a:gd name="T9" fmla="*/ 24 h 26"/>
                <a:gd name="T10" fmla="*/ 6 w 40"/>
                <a:gd name="T11" fmla="*/ 18 h 26"/>
                <a:gd name="T12" fmla="*/ 0 w 40"/>
                <a:gd name="T13" fmla="*/ 14 h 26"/>
                <a:gd name="T14" fmla="*/ 8 w 40"/>
                <a:gd name="T15" fmla="*/ 8 h 26"/>
                <a:gd name="T16" fmla="*/ 16 w 40"/>
                <a:gd name="T17" fmla="*/ 8 h 26"/>
                <a:gd name="T18" fmla="*/ 24 w 40"/>
                <a:gd name="T19" fmla="*/ 6 h 26"/>
                <a:gd name="T20" fmla="*/ 28 w 40"/>
                <a:gd name="T21" fmla="*/ 0 h 26"/>
                <a:gd name="T22" fmla="*/ 36 w 40"/>
                <a:gd name="T23" fmla="*/ 0 h 26"/>
                <a:gd name="T24" fmla="*/ 40 w 40"/>
                <a:gd name="T25" fmla="*/ 6 h 26"/>
                <a:gd name="T26" fmla="*/ 38 w 40"/>
                <a:gd name="T27" fmla="*/ 8 h 26"/>
                <a:gd name="T28" fmla="*/ 34 w 40"/>
                <a:gd name="T29" fmla="*/ 14 h 26"/>
                <a:gd name="T30" fmla="*/ 30 w 40"/>
                <a:gd name="T31" fmla="*/ 1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 h="26">
                  <a:moveTo>
                    <a:pt x="30" y="16"/>
                  </a:moveTo>
                  <a:lnTo>
                    <a:pt x="24" y="14"/>
                  </a:lnTo>
                  <a:lnTo>
                    <a:pt x="18" y="18"/>
                  </a:lnTo>
                  <a:lnTo>
                    <a:pt x="14" y="26"/>
                  </a:lnTo>
                  <a:lnTo>
                    <a:pt x="6" y="24"/>
                  </a:lnTo>
                  <a:lnTo>
                    <a:pt x="6" y="18"/>
                  </a:lnTo>
                  <a:lnTo>
                    <a:pt x="0" y="14"/>
                  </a:lnTo>
                  <a:lnTo>
                    <a:pt x="8" y="8"/>
                  </a:lnTo>
                  <a:lnTo>
                    <a:pt x="16" y="8"/>
                  </a:lnTo>
                  <a:lnTo>
                    <a:pt x="24" y="6"/>
                  </a:lnTo>
                  <a:lnTo>
                    <a:pt x="28" y="0"/>
                  </a:lnTo>
                  <a:lnTo>
                    <a:pt x="36" y="0"/>
                  </a:lnTo>
                  <a:lnTo>
                    <a:pt x="40" y="6"/>
                  </a:lnTo>
                  <a:lnTo>
                    <a:pt x="38" y="8"/>
                  </a:lnTo>
                  <a:lnTo>
                    <a:pt x="34" y="14"/>
                  </a:lnTo>
                  <a:lnTo>
                    <a:pt x="30" y="1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78" name="Freeform 274">
              <a:extLst>
                <a:ext uri="{FF2B5EF4-FFF2-40B4-BE49-F238E27FC236}">
                  <a16:creationId xmlns:a16="http://schemas.microsoft.com/office/drawing/2014/main" id="{61DCF822-5651-46F5-BE99-9EA75FCB5CCC}"/>
                </a:ext>
              </a:extLst>
            </p:cNvPr>
            <p:cNvSpPr>
              <a:spLocks/>
            </p:cNvSpPr>
            <p:nvPr/>
          </p:nvSpPr>
          <p:spPr bwMode="gray">
            <a:xfrm>
              <a:off x="9214610" y="3765171"/>
              <a:ext cx="62740" cy="82991"/>
            </a:xfrm>
            <a:custGeom>
              <a:avLst/>
              <a:gdLst>
                <a:gd name="T0" fmla="*/ 4 w 38"/>
                <a:gd name="T1" fmla="*/ 12 h 50"/>
                <a:gd name="T2" fmla="*/ 10 w 38"/>
                <a:gd name="T3" fmla="*/ 8 h 50"/>
                <a:gd name="T4" fmla="*/ 16 w 38"/>
                <a:gd name="T5" fmla="*/ 0 h 50"/>
                <a:gd name="T6" fmla="*/ 24 w 38"/>
                <a:gd name="T7" fmla="*/ 0 h 50"/>
                <a:gd name="T8" fmla="*/ 28 w 38"/>
                <a:gd name="T9" fmla="*/ 6 h 50"/>
                <a:gd name="T10" fmla="*/ 34 w 38"/>
                <a:gd name="T11" fmla="*/ 10 h 50"/>
                <a:gd name="T12" fmla="*/ 38 w 38"/>
                <a:gd name="T13" fmla="*/ 16 h 50"/>
                <a:gd name="T14" fmla="*/ 36 w 38"/>
                <a:gd name="T15" fmla="*/ 24 h 50"/>
                <a:gd name="T16" fmla="*/ 32 w 38"/>
                <a:gd name="T17" fmla="*/ 26 h 50"/>
                <a:gd name="T18" fmla="*/ 30 w 38"/>
                <a:gd name="T19" fmla="*/ 32 h 50"/>
                <a:gd name="T20" fmla="*/ 30 w 38"/>
                <a:gd name="T21" fmla="*/ 40 h 50"/>
                <a:gd name="T22" fmla="*/ 26 w 38"/>
                <a:gd name="T23" fmla="*/ 50 h 50"/>
                <a:gd name="T24" fmla="*/ 18 w 38"/>
                <a:gd name="T25" fmla="*/ 48 h 50"/>
                <a:gd name="T26" fmla="*/ 18 w 38"/>
                <a:gd name="T27" fmla="*/ 44 h 50"/>
                <a:gd name="T28" fmla="*/ 20 w 38"/>
                <a:gd name="T29" fmla="*/ 36 h 50"/>
                <a:gd name="T30" fmla="*/ 12 w 38"/>
                <a:gd name="T31" fmla="*/ 36 h 50"/>
                <a:gd name="T32" fmla="*/ 14 w 38"/>
                <a:gd name="T33" fmla="*/ 30 h 50"/>
                <a:gd name="T34" fmla="*/ 18 w 38"/>
                <a:gd name="T35" fmla="*/ 24 h 50"/>
                <a:gd name="T36" fmla="*/ 18 w 38"/>
                <a:gd name="T37" fmla="*/ 20 h 50"/>
                <a:gd name="T38" fmla="*/ 16 w 38"/>
                <a:gd name="T39" fmla="*/ 14 h 50"/>
                <a:gd name="T40" fmla="*/ 8 w 38"/>
                <a:gd name="T41" fmla="*/ 16 h 50"/>
                <a:gd name="T42" fmla="*/ 0 w 38"/>
                <a:gd name="T43" fmla="*/ 18 h 50"/>
                <a:gd name="T44" fmla="*/ 4 w 38"/>
                <a:gd name="T45"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8" h="50">
                  <a:moveTo>
                    <a:pt x="4" y="12"/>
                  </a:moveTo>
                  <a:lnTo>
                    <a:pt x="10" y="8"/>
                  </a:lnTo>
                  <a:lnTo>
                    <a:pt x="16" y="0"/>
                  </a:lnTo>
                  <a:lnTo>
                    <a:pt x="24" y="0"/>
                  </a:lnTo>
                  <a:lnTo>
                    <a:pt x="28" y="6"/>
                  </a:lnTo>
                  <a:lnTo>
                    <a:pt x="34" y="10"/>
                  </a:lnTo>
                  <a:lnTo>
                    <a:pt x="38" y="16"/>
                  </a:lnTo>
                  <a:lnTo>
                    <a:pt x="36" y="24"/>
                  </a:lnTo>
                  <a:lnTo>
                    <a:pt x="32" y="26"/>
                  </a:lnTo>
                  <a:lnTo>
                    <a:pt x="30" y="32"/>
                  </a:lnTo>
                  <a:lnTo>
                    <a:pt x="30" y="40"/>
                  </a:lnTo>
                  <a:lnTo>
                    <a:pt x="26" y="50"/>
                  </a:lnTo>
                  <a:lnTo>
                    <a:pt x="18" y="48"/>
                  </a:lnTo>
                  <a:lnTo>
                    <a:pt x="18" y="44"/>
                  </a:lnTo>
                  <a:lnTo>
                    <a:pt x="20" y="36"/>
                  </a:lnTo>
                  <a:lnTo>
                    <a:pt x="12" y="36"/>
                  </a:lnTo>
                  <a:lnTo>
                    <a:pt x="14" y="30"/>
                  </a:lnTo>
                  <a:lnTo>
                    <a:pt x="18" y="24"/>
                  </a:lnTo>
                  <a:lnTo>
                    <a:pt x="18" y="20"/>
                  </a:lnTo>
                  <a:lnTo>
                    <a:pt x="16" y="14"/>
                  </a:lnTo>
                  <a:lnTo>
                    <a:pt x="8" y="16"/>
                  </a:lnTo>
                  <a:lnTo>
                    <a:pt x="0" y="18"/>
                  </a:lnTo>
                  <a:lnTo>
                    <a:pt x="4" y="1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79" name="Freeform 275">
              <a:extLst>
                <a:ext uri="{FF2B5EF4-FFF2-40B4-BE49-F238E27FC236}">
                  <a16:creationId xmlns:a16="http://schemas.microsoft.com/office/drawing/2014/main" id="{8BAFB575-C98E-4D40-8A00-3CF2B1F63C48}"/>
                </a:ext>
              </a:extLst>
            </p:cNvPr>
            <p:cNvSpPr>
              <a:spLocks/>
            </p:cNvSpPr>
            <p:nvPr/>
          </p:nvSpPr>
          <p:spPr bwMode="gray">
            <a:xfrm>
              <a:off x="9254234" y="3532795"/>
              <a:ext cx="287287" cy="245655"/>
            </a:xfrm>
            <a:custGeom>
              <a:avLst/>
              <a:gdLst>
                <a:gd name="T0" fmla="*/ 12 w 174"/>
                <a:gd name="T1" fmla="*/ 128 h 148"/>
                <a:gd name="T2" fmla="*/ 32 w 174"/>
                <a:gd name="T3" fmla="*/ 112 h 148"/>
                <a:gd name="T4" fmla="*/ 60 w 174"/>
                <a:gd name="T5" fmla="*/ 110 h 148"/>
                <a:gd name="T6" fmla="*/ 80 w 174"/>
                <a:gd name="T7" fmla="*/ 100 h 148"/>
                <a:gd name="T8" fmla="*/ 92 w 174"/>
                <a:gd name="T9" fmla="*/ 82 h 148"/>
                <a:gd name="T10" fmla="*/ 100 w 174"/>
                <a:gd name="T11" fmla="*/ 80 h 148"/>
                <a:gd name="T12" fmla="*/ 110 w 174"/>
                <a:gd name="T13" fmla="*/ 82 h 148"/>
                <a:gd name="T14" fmla="*/ 140 w 174"/>
                <a:gd name="T15" fmla="*/ 52 h 148"/>
                <a:gd name="T16" fmla="*/ 144 w 174"/>
                <a:gd name="T17" fmla="*/ 30 h 148"/>
                <a:gd name="T18" fmla="*/ 146 w 174"/>
                <a:gd name="T19" fmla="*/ 10 h 148"/>
                <a:gd name="T20" fmla="*/ 160 w 174"/>
                <a:gd name="T21" fmla="*/ 12 h 148"/>
                <a:gd name="T22" fmla="*/ 158 w 174"/>
                <a:gd name="T23" fmla="*/ 2 h 148"/>
                <a:gd name="T24" fmla="*/ 166 w 174"/>
                <a:gd name="T25" fmla="*/ 10 h 148"/>
                <a:gd name="T26" fmla="*/ 172 w 174"/>
                <a:gd name="T27" fmla="*/ 28 h 148"/>
                <a:gd name="T28" fmla="*/ 168 w 174"/>
                <a:gd name="T29" fmla="*/ 48 h 148"/>
                <a:gd name="T30" fmla="*/ 158 w 174"/>
                <a:gd name="T31" fmla="*/ 66 h 148"/>
                <a:gd name="T32" fmla="*/ 154 w 174"/>
                <a:gd name="T33" fmla="*/ 86 h 148"/>
                <a:gd name="T34" fmla="*/ 152 w 174"/>
                <a:gd name="T35" fmla="*/ 98 h 148"/>
                <a:gd name="T36" fmla="*/ 152 w 174"/>
                <a:gd name="T37" fmla="*/ 108 h 148"/>
                <a:gd name="T38" fmla="*/ 148 w 174"/>
                <a:gd name="T39" fmla="*/ 118 h 148"/>
                <a:gd name="T40" fmla="*/ 138 w 174"/>
                <a:gd name="T41" fmla="*/ 116 h 148"/>
                <a:gd name="T42" fmla="*/ 126 w 174"/>
                <a:gd name="T43" fmla="*/ 116 h 148"/>
                <a:gd name="T44" fmla="*/ 126 w 174"/>
                <a:gd name="T45" fmla="*/ 128 h 148"/>
                <a:gd name="T46" fmla="*/ 116 w 174"/>
                <a:gd name="T47" fmla="*/ 126 h 148"/>
                <a:gd name="T48" fmla="*/ 102 w 174"/>
                <a:gd name="T49" fmla="*/ 126 h 148"/>
                <a:gd name="T50" fmla="*/ 90 w 174"/>
                <a:gd name="T51" fmla="*/ 122 h 148"/>
                <a:gd name="T52" fmla="*/ 92 w 174"/>
                <a:gd name="T53" fmla="*/ 132 h 148"/>
                <a:gd name="T54" fmla="*/ 80 w 174"/>
                <a:gd name="T55" fmla="*/ 144 h 148"/>
                <a:gd name="T56" fmla="*/ 68 w 174"/>
                <a:gd name="T57" fmla="*/ 140 h 148"/>
                <a:gd name="T58" fmla="*/ 70 w 174"/>
                <a:gd name="T59" fmla="*/ 130 h 148"/>
                <a:gd name="T60" fmla="*/ 56 w 174"/>
                <a:gd name="T61" fmla="*/ 124 h 148"/>
                <a:gd name="T62" fmla="*/ 38 w 174"/>
                <a:gd name="T63" fmla="*/ 130 h 148"/>
                <a:gd name="T64" fmla="*/ 18 w 174"/>
                <a:gd name="T65" fmla="*/ 134 h 148"/>
                <a:gd name="T66" fmla="*/ 2 w 174"/>
                <a:gd name="T67" fmla="*/ 13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4" h="148">
                  <a:moveTo>
                    <a:pt x="0" y="134"/>
                  </a:moveTo>
                  <a:lnTo>
                    <a:pt x="12" y="128"/>
                  </a:lnTo>
                  <a:lnTo>
                    <a:pt x="26" y="118"/>
                  </a:lnTo>
                  <a:lnTo>
                    <a:pt x="32" y="112"/>
                  </a:lnTo>
                  <a:lnTo>
                    <a:pt x="44" y="110"/>
                  </a:lnTo>
                  <a:lnTo>
                    <a:pt x="60" y="110"/>
                  </a:lnTo>
                  <a:lnTo>
                    <a:pt x="76" y="110"/>
                  </a:lnTo>
                  <a:lnTo>
                    <a:pt x="80" y="100"/>
                  </a:lnTo>
                  <a:lnTo>
                    <a:pt x="88" y="90"/>
                  </a:lnTo>
                  <a:lnTo>
                    <a:pt x="92" y="82"/>
                  </a:lnTo>
                  <a:lnTo>
                    <a:pt x="98" y="74"/>
                  </a:lnTo>
                  <a:lnTo>
                    <a:pt x="100" y="80"/>
                  </a:lnTo>
                  <a:lnTo>
                    <a:pt x="100" y="86"/>
                  </a:lnTo>
                  <a:lnTo>
                    <a:pt x="110" y="82"/>
                  </a:lnTo>
                  <a:lnTo>
                    <a:pt x="126" y="72"/>
                  </a:lnTo>
                  <a:lnTo>
                    <a:pt x="140" y="52"/>
                  </a:lnTo>
                  <a:lnTo>
                    <a:pt x="146" y="36"/>
                  </a:lnTo>
                  <a:lnTo>
                    <a:pt x="144" y="30"/>
                  </a:lnTo>
                  <a:lnTo>
                    <a:pt x="142" y="18"/>
                  </a:lnTo>
                  <a:lnTo>
                    <a:pt x="146" y="10"/>
                  </a:lnTo>
                  <a:lnTo>
                    <a:pt x="150" y="8"/>
                  </a:lnTo>
                  <a:lnTo>
                    <a:pt x="160" y="12"/>
                  </a:lnTo>
                  <a:lnTo>
                    <a:pt x="162" y="6"/>
                  </a:lnTo>
                  <a:lnTo>
                    <a:pt x="158" y="2"/>
                  </a:lnTo>
                  <a:lnTo>
                    <a:pt x="164" y="0"/>
                  </a:lnTo>
                  <a:lnTo>
                    <a:pt x="166" y="10"/>
                  </a:lnTo>
                  <a:lnTo>
                    <a:pt x="166" y="18"/>
                  </a:lnTo>
                  <a:lnTo>
                    <a:pt x="172" y="28"/>
                  </a:lnTo>
                  <a:lnTo>
                    <a:pt x="174" y="36"/>
                  </a:lnTo>
                  <a:lnTo>
                    <a:pt x="168" y="48"/>
                  </a:lnTo>
                  <a:lnTo>
                    <a:pt x="160" y="58"/>
                  </a:lnTo>
                  <a:lnTo>
                    <a:pt x="158" y="66"/>
                  </a:lnTo>
                  <a:lnTo>
                    <a:pt x="158" y="80"/>
                  </a:lnTo>
                  <a:lnTo>
                    <a:pt x="154" y="86"/>
                  </a:lnTo>
                  <a:lnTo>
                    <a:pt x="152" y="96"/>
                  </a:lnTo>
                  <a:lnTo>
                    <a:pt x="152" y="98"/>
                  </a:lnTo>
                  <a:lnTo>
                    <a:pt x="152" y="102"/>
                  </a:lnTo>
                  <a:lnTo>
                    <a:pt x="152" y="108"/>
                  </a:lnTo>
                  <a:lnTo>
                    <a:pt x="152" y="110"/>
                  </a:lnTo>
                  <a:lnTo>
                    <a:pt x="148" y="118"/>
                  </a:lnTo>
                  <a:lnTo>
                    <a:pt x="142" y="122"/>
                  </a:lnTo>
                  <a:lnTo>
                    <a:pt x="138" y="116"/>
                  </a:lnTo>
                  <a:lnTo>
                    <a:pt x="132" y="114"/>
                  </a:lnTo>
                  <a:lnTo>
                    <a:pt x="126" y="116"/>
                  </a:lnTo>
                  <a:lnTo>
                    <a:pt x="128" y="124"/>
                  </a:lnTo>
                  <a:lnTo>
                    <a:pt x="126" y="128"/>
                  </a:lnTo>
                  <a:lnTo>
                    <a:pt x="118" y="122"/>
                  </a:lnTo>
                  <a:lnTo>
                    <a:pt x="116" y="126"/>
                  </a:lnTo>
                  <a:lnTo>
                    <a:pt x="110" y="126"/>
                  </a:lnTo>
                  <a:lnTo>
                    <a:pt x="102" y="126"/>
                  </a:lnTo>
                  <a:lnTo>
                    <a:pt x="92" y="126"/>
                  </a:lnTo>
                  <a:lnTo>
                    <a:pt x="90" y="122"/>
                  </a:lnTo>
                  <a:lnTo>
                    <a:pt x="88" y="126"/>
                  </a:lnTo>
                  <a:lnTo>
                    <a:pt x="92" y="132"/>
                  </a:lnTo>
                  <a:lnTo>
                    <a:pt x="84" y="136"/>
                  </a:lnTo>
                  <a:lnTo>
                    <a:pt x="80" y="144"/>
                  </a:lnTo>
                  <a:lnTo>
                    <a:pt x="74" y="148"/>
                  </a:lnTo>
                  <a:lnTo>
                    <a:pt x="68" y="140"/>
                  </a:lnTo>
                  <a:lnTo>
                    <a:pt x="62" y="136"/>
                  </a:lnTo>
                  <a:lnTo>
                    <a:pt x="70" y="130"/>
                  </a:lnTo>
                  <a:lnTo>
                    <a:pt x="72" y="124"/>
                  </a:lnTo>
                  <a:lnTo>
                    <a:pt x="56" y="124"/>
                  </a:lnTo>
                  <a:lnTo>
                    <a:pt x="50" y="128"/>
                  </a:lnTo>
                  <a:lnTo>
                    <a:pt x="38" y="130"/>
                  </a:lnTo>
                  <a:lnTo>
                    <a:pt x="28" y="134"/>
                  </a:lnTo>
                  <a:lnTo>
                    <a:pt x="18" y="134"/>
                  </a:lnTo>
                  <a:lnTo>
                    <a:pt x="10" y="140"/>
                  </a:lnTo>
                  <a:lnTo>
                    <a:pt x="2" y="138"/>
                  </a:lnTo>
                  <a:lnTo>
                    <a:pt x="0" y="13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80" name="Freeform 276">
              <a:extLst>
                <a:ext uri="{FF2B5EF4-FFF2-40B4-BE49-F238E27FC236}">
                  <a16:creationId xmlns:a16="http://schemas.microsoft.com/office/drawing/2014/main" id="{7E4B6F32-8913-42E1-8939-A9FE2CE89F5C}"/>
                </a:ext>
              </a:extLst>
            </p:cNvPr>
            <p:cNvSpPr>
              <a:spLocks/>
            </p:cNvSpPr>
            <p:nvPr/>
          </p:nvSpPr>
          <p:spPr bwMode="gray">
            <a:xfrm>
              <a:off x="9132056" y="3629065"/>
              <a:ext cx="82553" cy="119508"/>
            </a:xfrm>
            <a:custGeom>
              <a:avLst/>
              <a:gdLst>
                <a:gd name="T0" fmla="*/ 2 w 50"/>
                <a:gd name="T1" fmla="*/ 32 h 72"/>
                <a:gd name="T2" fmla="*/ 2 w 50"/>
                <a:gd name="T3" fmla="*/ 28 h 72"/>
                <a:gd name="T4" fmla="*/ 8 w 50"/>
                <a:gd name="T5" fmla="*/ 30 h 72"/>
                <a:gd name="T6" fmla="*/ 12 w 50"/>
                <a:gd name="T7" fmla="*/ 28 h 72"/>
                <a:gd name="T8" fmla="*/ 10 w 50"/>
                <a:gd name="T9" fmla="*/ 22 h 72"/>
                <a:gd name="T10" fmla="*/ 6 w 50"/>
                <a:gd name="T11" fmla="*/ 20 h 72"/>
                <a:gd name="T12" fmla="*/ 10 w 50"/>
                <a:gd name="T13" fmla="*/ 6 h 72"/>
                <a:gd name="T14" fmla="*/ 20 w 50"/>
                <a:gd name="T15" fmla="*/ 2 h 72"/>
                <a:gd name="T16" fmla="*/ 30 w 50"/>
                <a:gd name="T17" fmla="*/ 0 h 72"/>
                <a:gd name="T18" fmla="*/ 38 w 50"/>
                <a:gd name="T19" fmla="*/ 8 h 72"/>
                <a:gd name="T20" fmla="*/ 44 w 50"/>
                <a:gd name="T21" fmla="*/ 18 h 72"/>
                <a:gd name="T22" fmla="*/ 48 w 50"/>
                <a:gd name="T23" fmla="*/ 30 h 72"/>
                <a:gd name="T24" fmla="*/ 50 w 50"/>
                <a:gd name="T25" fmla="*/ 40 h 72"/>
                <a:gd name="T26" fmla="*/ 48 w 50"/>
                <a:gd name="T27" fmla="*/ 54 h 72"/>
                <a:gd name="T28" fmla="*/ 50 w 50"/>
                <a:gd name="T29" fmla="*/ 54 h 72"/>
                <a:gd name="T30" fmla="*/ 50 w 50"/>
                <a:gd name="T31" fmla="*/ 56 h 72"/>
                <a:gd name="T32" fmla="*/ 46 w 50"/>
                <a:gd name="T33" fmla="*/ 58 h 72"/>
                <a:gd name="T34" fmla="*/ 38 w 50"/>
                <a:gd name="T35" fmla="*/ 62 h 72"/>
                <a:gd name="T36" fmla="*/ 34 w 50"/>
                <a:gd name="T37" fmla="*/ 64 h 72"/>
                <a:gd name="T38" fmla="*/ 28 w 50"/>
                <a:gd name="T39" fmla="*/ 60 h 72"/>
                <a:gd name="T40" fmla="*/ 24 w 50"/>
                <a:gd name="T41" fmla="*/ 64 h 72"/>
                <a:gd name="T42" fmla="*/ 16 w 50"/>
                <a:gd name="T43" fmla="*/ 70 h 72"/>
                <a:gd name="T44" fmla="*/ 12 w 50"/>
                <a:gd name="T45" fmla="*/ 68 h 72"/>
                <a:gd name="T46" fmla="*/ 2 w 50"/>
                <a:gd name="T47" fmla="*/ 72 h 72"/>
                <a:gd name="T48" fmla="*/ 0 w 50"/>
                <a:gd name="T49" fmla="*/ 66 h 72"/>
                <a:gd name="T50" fmla="*/ 2 w 50"/>
                <a:gd name="T51" fmla="*/ 58 h 72"/>
                <a:gd name="T52" fmla="*/ 2 w 50"/>
                <a:gd name="T53" fmla="*/ 48 h 72"/>
                <a:gd name="T54" fmla="*/ 6 w 50"/>
                <a:gd name="T55" fmla="*/ 46 h 72"/>
                <a:gd name="T56" fmla="*/ 6 w 50"/>
                <a:gd name="T57" fmla="*/ 38 h 72"/>
                <a:gd name="T58" fmla="*/ 2 w 50"/>
                <a:gd name="T59" fmla="*/ 3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0" h="72">
                  <a:moveTo>
                    <a:pt x="2" y="32"/>
                  </a:moveTo>
                  <a:lnTo>
                    <a:pt x="2" y="28"/>
                  </a:lnTo>
                  <a:lnTo>
                    <a:pt x="8" y="30"/>
                  </a:lnTo>
                  <a:lnTo>
                    <a:pt x="12" y="28"/>
                  </a:lnTo>
                  <a:lnTo>
                    <a:pt x="10" y="22"/>
                  </a:lnTo>
                  <a:lnTo>
                    <a:pt x="6" y="20"/>
                  </a:lnTo>
                  <a:lnTo>
                    <a:pt x="10" y="6"/>
                  </a:lnTo>
                  <a:lnTo>
                    <a:pt x="20" y="2"/>
                  </a:lnTo>
                  <a:lnTo>
                    <a:pt x="30" y="0"/>
                  </a:lnTo>
                  <a:lnTo>
                    <a:pt x="38" y="8"/>
                  </a:lnTo>
                  <a:lnTo>
                    <a:pt x="44" y="18"/>
                  </a:lnTo>
                  <a:lnTo>
                    <a:pt x="48" y="30"/>
                  </a:lnTo>
                  <a:lnTo>
                    <a:pt x="50" y="40"/>
                  </a:lnTo>
                  <a:lnTo>
                    <a:pt x="48" y="54"/>
                  </a:lnTo>
                  <a:lnTo>
                    <a:pt x="50" y="54"/>
                  </a:lnTo>
                  <a:lnTo>
                    <a:pt x="50" y="56"/>
                  </a:lnTo>
                  <a:lnTo>
                    <a:pt x="46" y="58"/>
                  </a:lnTo>
                  <a:lnTo>
                    <a:pt x="38" y="62"/>
                  </a:lnTo>
                  <a:lnTo>
                    <a:pt x="34" y="64"/>
                  </a:lnTo>
                  <a:lnTo>
                    <a:pt x="28" y="60"/>
                  </a:lnTo>
                  <a:lnTo>
                    <a:pt x="24" y="64"/>
                  </a:lnTo>
                  <a:lnTo>
                    <a:pt x="16" y="70"/>
                  </a:lnTo>
                  <a:lnTo>
                    <a:pt x="12" y="68"/>
                  </a:lnTo>
                  <a:lnTo>
                    <a:pt x="2" y="72"/>
                  </a:lnTo>
                  <a:lnTo>
                    <a:pt x="0" y="66"/>
                  </a:lnTo>
                  <a:lnTo>
                    <a:pt x="2" y="58"/>
                  </a:lnTo>
                  <a:lnTo>
                    <a:pt x="2" y="48"/>
                  </a:lnTo>
                  <a:lnTo>
                    <a:pt x="6" y="46"/>
                  </a:lnTo>
                  <a:lnTo>
                    <a:pt x="6" y="38"/>
                  </a:lnTo>
                  <a:lnTo>
                    <a:pt x="2" y="3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81" name="Freeform 277">
              <a:extLst>
                <a:ext uri="{FF2B5EF4-FFF2-40B4-BE49-F238E27FC236}">
                  <a16:creationId xmlns:a16="http://schemas.microsoft.com/office/drawing/2014/main" id="{C9CFEB17-BC38-43F4-9413-2FFFF43DF6E7}"/>
                </a:ext>
              </a:extLst>
            </p:cNvPr>
            <p:cNvSpPr>
              <a:spLocks/>
            </p:cNvSpPr>
            <p:nvPr/>
          </p:nvSpPr>
          <p:spPr bwMode="gray">
            <a:xfrm>
              <a:off x="9082523" y="3489640"/>
              <a:ext cx="161805" cy="159344"/>
            </a:xfrm>
            <a:custGeom>
              <a:avLst/>
              <a:gdLst>
                <a:gd name="T0" fmla="*/ 24 w 98"/>
                <a:gd name="T1" fmla="*/ 92 h 96"/>
                <a:gd name="T2" fmla="*/ 12 w 98"/>
                <a:gd name="T3" fmla="*/ 94 h 96"/>
                <a:gd name="T4" fmla="*/ 8 w 98"/>
                <a:gd name="T5" fmla="*/ 88 h 96"/>
                <a:gd name="T6" fmla="*/ 12 w 98"/>
                <a:gd name="T7" fmla="*/ 80 h 96"/>
                <a:gd name="T8" fmla="*/ 12 w 98"/>
                <a:gd name="T9" fmla="*/ 70 h 96"/>
                <a:gd name="T10" fmla="*/ 16 w 98"/>
                <a:gd name="T11" fmla="*/ 60 h 96"/>
                <a:gd name="T12" fmla="*/ 6 w 98"/>
                <a:gd name="T13" fmla="*/ 60 h 96"/>
                <a:gd name="T14" fmla="*/ 0 w 98"/>
                <a:gd name="T15" fmla="*/ 56 h 96"/>
                <a:gd name="T16" fmla="*/ 6 w 98"/>
                <a:gd name="T17" fmla="*/ 48 h 96"/>
                <a:gd name="T18" fmla="*/ 22 w 98"/>
                <a:gd name="T19" fmla="*/ 38 h 96"/>
                <a:gd name="T20" fmla="*/ 28 w 98"/>
                <a:gd name="T21" fmla="*/ 32 h 96"/>
                <a:gd name="T22" fmla="*/ 36 w 98"/>
                <a:gd name="T23" fmla="*/ 24 h 96"/>
                <a:gd name="T24" fmla="*/ 40 w 98"/>
                <a:gd name="T25" fmla="*/ 22 h 96"/>
                <a:gd name="T26" fmla="*/ 50 w 98"/>
                <a:gd name="T27" fmla="*/ 26 h 96"/>
                <a:gd name="T28" fmla="*/ 60 w 98"/>
                <a:gd name="T29" fmla="*/ 24 h 96"/>
                <a:gd name="T30" fmla="*/ 62 w 98"/>
                <a:gd name="T31" fmla="*/ 16 h 96"/>
                <a:gd name="T32" fmla="*/ 72 w 98"/>
                <a:gd name="T33" fmla="*/ 16 h 96"/>
                <a:gd name="T34" fmla="*/ 80 w 98"/>
                <a:gd name="T35" fmla="*/ 10 h 96"/>
                <a:gd name="T36" fmla="*/ 82 w 98"/>
                <a:gd name="T37" fmla="*/ 4 h 96"/>
                <a:gd name="T38" fmla="*/ 88 w 98"/>
                <a:gd name="T39" fmla="*/ 0 h 96"/>
                <a:gd name="T40" fmla="*/ 98 w 98"/>
                <a:gd name="T41" fmla="*/ 8 h 96"/>
                <a:gd name="T42" fmla="*/ 92 w 98"/>
                <a:gd name="T43" fmla="*/ 12 h 96"/>
                <a:gd name="T44" fmla="*/ 84 w 98"/>
                <a:gd name="T45" fmla="*/ 18 h 96"/>
                <a:gd name="T46" fmla="*/ 80 w 98"/>
                <a:gd name="T47" fmla="*/ 28 h 96"/>
                <a:gd name="T48" fmla="*/ 78 w 98"/>
                <a:gd name="T49" fmla="*/ 38 h 96"/>
                <a:gd name="T50" fmla="*/ 76 w 98"/>
                <a:gd name="T51" fmla="*/ 42 h 96"/>
                <a:gd name="T52" fmla="*/ 68 w 98"/>
                <a:gd name="T53" fmla="*/ 46 h 96"/>
                <a:gd name="T54" fmla="*/ 52 w 98"/>
                <a:gd name="T55" fmla="*/ 52 h 96"/>
                <a:gd name="T56" fmla="*/ 48 w 98"/>
                <a:gd name="T57" fmla="*/ 58 h 96"/>
                <a:gd name="T58" fmla="*/ 48 w 98"/>
                <a:gd name="T59" fmla="*/ 66 h 96"/>
                <a:gd name="T60" fmla="*/ 52 w 98"/>
                <a:gd name="T61" fmla="*/ 76 h 96"/>
                <a:gd name="T62" fmla="*/ 56 w 98"/>
                <a:gd name="T63" fmla="*/ 80 h 96"/>
                <a:gd name="T64" fmla="*/ 60 w 98"/>
                <a:gd name="T65" fmla="*/ 84 h 96"/>
                <a:gd name="T66" fmla="*/ 50 w 98"/>
                <a:gd name="T67" fmla="*/ 86 h 96"/>
                <a:gd name="T68" fmla="*/ 40 w 98"/>
                <a:gd name="T69" fmla="*/ 90 h 96"/>
                <a:gd name="T70" fmla="*/ 36 w 98"/>
                <a:gd name="T71" fmla="*/ 96 h 96"/>
                <a:gd name="T72" fmla="*/ 24 w 98"/>
                <a:gd name="T73" fmla="*/ 9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96">
                  <a:moveTo>
                    <a:pt x="24" y="92"/>
                  </a:moveTo>
                  <a:lnTo>
                    <a:pt x="12" y="94"/>
                  </a:lnTo>
                  <a:lnTo>
                    <a:pt x="8" y="88"/>
                  </a:lnTo>
                  <a:lnTo>
                    <a:pt x="12" y="80"/>
                  </a:lnTo>
                  <a:lnTo>
                    <a:pt x="12" y="70"/>
                  </a:lnTo>
                  <a:lnTo>
                    <a:pt x="16" y="60"/>
                  </a:lnTo>
                  <a:lnTo>
                    <a:pt x="6" y="60"/>
                  </a:lnTo>
                  <a:lnTo>
                    <a:pt x="0" y="56"/>
                  </a:lnTo>
                  <a:lnTo>
                    <a:pt x="6" y="48"/>
                  </a:lnTo>
                  <a:lnTo>
                    <a:pt x="22" y="38"/>
                  </a:lnTo>
                  <a:lnTo>
                    <a:pt x="28" y="32"/>
                  </a:lnTo>
                  <a:lnTo>
                    <a:pt x="36" y="24"/>
                  </a:lnTo>
                  <a:lnTo>
                    <a:pt x="40" y="22"/>
                  </a:lnTo>
                  <a:lnTo>
                    <a:pt x="50" y="26"/>
                  </a:lnTo>
                  <a:lnTo>
                    <a:pt x="60" y="24"/>
                  </a:lnTo>
                  <a:lnTo>
                    <a:pt x="62" y="16"/>
                  </a:lnTo>
                  <a:lnTo>
                    <a:pt x="72" y="16"/>
                  </a:lnTo>
                  <a:lnTo>
                    <a:pt x="80" y="10"/>
                  </a:lnTo>
                  <a:lnTo>
                    <a:pt x="82" y="4"/>
                  </a:lnTo>
                  <a:lnTo>
                    <a:pt x="88" y="0"/>
                  </a:lnTo>
                  <a:lnTo>
                    <a:pt x="98" y="8"/>
                  </a:lnTo>
                  <a:lnTo>
                    <a:pt x="92" y="12"/>
                  </a:lnTo>
                  <a:lnTo>
                    <a:pt x="84" y="18"/>
                  </a:lnTo>
                  <a:lnTo>
                    <a:pt x="80" y="28"/>
                  </a:lnTo>
                  <a:lnTo>
                    <a:pt x="78" y="38"/>
                  </a:lnTo>
                  <a:lnTo>
                    <a:pt x="76" y="42"/>
                  </a:lnTo>
                  <a:lnTo>
                    <a:pt x="68" y="46"/>
                  </a:lnTo>
                  <a:lnTo>
                    <a:pt x="52" y="52"/>
                  </a:lnTo>
                  <a:lnTo>
                    <a:pt x="48" y="58"/>
                  </a:lnTo>
                  <a:lnTo>
                    <a:pt x="48" y="66"/>
                  </a:lnTo>
                  <a:lnTo>
                    <a:pt x="52" y="76"/>
                  </a:lnTo>
                  <a:lnTo>
                    <a:pt x="56" y="80"/>
                  </a:lnTo>
                  <a:lnTo>
                    <a:pt x="60" y="84"/>
                  </a:lnTo>
                  <a:lnTo>
                    <a:pt x="50" y="86"/>
                  </a:lnTo>
                  <a:lnTo>
                    <a:pt x="40" y="90"/>
                  </a:lnTo>
                  <a:lnTo>
                    <a:pt x="36" y="96"/>
                  </a:lnTo>
                  <a:lnTo>
                    <a:pt x="24" y="9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82" name="Freeform 278">
              <a:extLst>
                <a:ext uri="{FF2B5EF4-FFF2-40B4-BE49-F238E27FC236}">
                  <a16:creationId xmlns:a16="http://schemas.microsoft.com/office/drawing/2014/main" id="{D8C262C0-2452-40C1-B72F-DF70760347C7}"/>
                </a:ext>
              </a:extLst>
            </p:cNvPr>
            <p:cNvSpPr>
              <a:spLocks/>
            </p:cNvSpPr>
            <p:nvPr/>
          </p:nvSpPr>
          <p:spPr bwMode="gray">
            <a:xfrm>
              <a:off x="7748459" y="3131117"/>
              <a:ext cx="1604841" cy="1015815"/>
            </a:xfrm>
            <a:custGeom>
              <a:avLst/>
              <a:gdLst>
                <a:gd name="T0" fmla="*/ 108 w 972"/>
                <a:gd name="T1" fmla="*/ 176 h 612"/>
                <a:gd name="T2" fmla="*/ 170 w 972"/>
                <a:gd name="T3" fmla="*/ 134 h 612"/>
                <a:gd name="T4" fmla="*/ 210 w 972"/>
                <a:gd name="T5" fmla="*/ 104 h 612"/>
                <a:gd name="T6" fmla="*/ 258 w 972"/>
                <a:gd name="T7" fmla="*/ 116 h 612"/>
                <a:gd name="T8" fmla="*/ 278 w 972"/>
                <a:gd name="T9" fmla="*/ 170 h 612"/>
                <a:gd name="T10" fmla="*/ 358 w 972"/>
                <a:gd name="T11" fmla="*/ 212 h 612"/>
                <a:gd name="T12" fmla="*/ 506 w 972"/>
                <a:gd name="T13" fmla="*/ 240 h 612"/>
                <a:gd name="T14" fmla="*/ 608 w 972"/>
                <a:gd name="T15" fmla="*/ 200 h 612"/>
                <a:gd name="T16" fmla="*/ 654 w 972"/>
                <a:gd name="T17" fmla="*/ 164 h 612"/>
                <a:gd name="T18" fmla="*/ 736 w 972"/>
                <a:gd name="T19" fmla="*/ 144 h 612"/>
                <a:gd name="T20" fmla="*/ 668 w 972"/>
                <a:gd name="T21" fmla="*/ 116 h 612"/>
                <a:gd name="T22" fmla="*/ 714 w 972"/>
                <a:gd name="T23" fmla="*/ 76 h 612"/>
                <a:gd name="T24" fmla="*/ 750 w 972"/>
                <a:gd name="T25" fmla="*/ 20 h 612"/>
                <a:gd name="T26" fmla="*/ 798 w 972"/>
                <a:gd name="T27" fmla="*/ 0 h 612"/>
                <a:gd name="T28" fmla="*/ 856 w 972"/>
                <a:gd name="T29" fmla="*/ 68 h 612"/>
                <a:gd name="T30" fmla="*/ 908 w 972"/>
                <a:gd name="T31" fmla="*/ 100 h 612"/>
                <a:gd name="T32" fmla="*/ 970 w 972"/>
                <a:gd name="T33" fmla="*/ 110 h 612"/>
                <a:gd name="T34" fmla="*/ 934 w 972"/>
                <a:gd name="T35" fmla="*/ 174 h 612"/>
                <a:gd name="T36" fmla="*/ 896 w 972"/>
                <a:gd name="T37" fmla="*/ 216 h 612"/>
                <a:gd name="T38" fmla="*/ 848 w 972"/>
                <a:gd name="T39" fmla="*/ 238 h 612"/>
                <a:gd name="T40" fmla="*/ 798 w 972"/>
                <a:gd name="T41" fmla="*/ 274 h 612"/>
                <a:gd name="T42" fmla="*/ 772 w 972"/>
                <a:gd name="T43" fmla="*/ 266 h 612"/>
                <a:gd name="T44" fmla="*/ 724 w 972"/>
                <a:gd name="T45" fmla="*/ 286 h 612"/>
                <a:gd name="T46" fmla="*/ 720 w 972"/>
                <a:gd name="T47" fmla="*/ 316 h 612"/>
                <a:gd name="T48" fmla="*/ 758 w 972"/>
                <a:gd name="T49" fmla="*/ 316 h 612"/>
                <a:gd name="T50" fmla="*/ 752 w 972"/>
                <a:gd name="T51" fmla="*/ 334 h 612"/>
                <a:gd name="T52" fmla="*/ 736 w 972"/>
                <a:gd name="T53" fmla="*/ 372 h 612"/>
                <a:gd name="T54" fmla="*/ 766 w 972"/>
                <a:gd name="T55" fmla="*/ 422 h 612"/>
                <a:gd name="T56" fmla="*/ 760 w 972"/>
                <a:gd name="T57" fmla="*/ 438 h 612"/>
                <a:gd name="T58" fmla="*/ 766 w 972"/>
                <a:gd name="T59" fmla="*/ 450 h 612"/>
                <a:gd name="T60" fmla="*/ 714 w 972"/>
                <a:gd name="T61" fmla="*/ 542 h 612"/>
                <a:gd name="T62" fmla="*/ 638 w 972"/>
                <a:gd name="T63" fmla="*/ 568 h 612"/>
                <a:gd name="T64" fmla="*/ 586 w 972"/>
                <a:gd name="T65" fmla="*/ 596 h 612"/>
                <a:gd name="T66" fmla="*/ 576 w 972"/>
                <a:gd name="T67" fmla="*/ 594 h 612"/>
                <a:gd name="T68" fmla="*/ 528 w 972"/>
                <a:gd name="T69" fmla="*/ 590 h 612"/>
                <a:gd name="T70" fmla="*/ 492 w 972"/>
                <a:gd name="T71" fmla="*/ 576 h 612"/>
                <a:gd name="T72" fmla="*/ 450 w 972"/>
                <a:gd name="T73" fmla="*/ 590 h 612"/>
                <a:gd name="T74" fmla="*/ 420 w 972"/>
                <a:gd name="T75" fmla="*/ 594 h 612"/>
                <a:gd name="T76" fmla="*/ 402 w 972"/>
                <a:gd name="T77" fmla="*/ 552 h 612"/>
                <a:gd name="T78" fmla="*/ 392 w 972"/>
                <a:gd name="T79" fmla="*/ 490 h 612"/>
                <a:gd name="T80" fmla="*/ 352 w 972"/>
                <a:gd name="T81" fmla="*/ 464 h 612"/>
                <a:gd name="T82" fmla="*/ 292 w 972"/>
                <a:gd name="T83" fmla="*/ 488 h 612"/>
                <a:gd name="T84" fmla="*/ 230 w 972"/>
                <a:gd name="T85" fmla="*/ 488 h 612"/>
                <a:gd name="T86" fmla="*/ 146 w 972"/>
                <a:gd name="T87" fmla="*/ 456 h 612"/>
                <a:gd name="T88" fmla="*/ 80 w 972"/>
                <a:gd name="T89" fmla="*/ 418 h 612"/>
                <a:gd name="T90" fmla="*/ 84 w 972"/>
                <a:gd name="T91" fmla="*/ 380 h 612"/>
                <a:gd name="T92" fmla="*/ 70 w 972"/>
                <a:gd name="T93" fmla="*/ 352 h 612"/>
                <a:gd name="T94" fmla="*/ 20 w 972"/>
                <a:gd name="T95" fmla="*/ 318 h 612"/>
                <a:gd name="T96" fmla="*/ 2 w 972"/>
                <a:gd name="T97" fmla="*/ 284 h 612"/>
                <a:gd name="T98" fmla="*/ 32 w 972"/>
                <a:gd name="T99" fmla="*/ 266 h 612"/>
                <a:gd name="T100" fmla="*/ 102 w 972"/>
                <a:gd name="T101" fmla="*/ 232 h 612"/>
                <a:gd name="connsiteX0" fmla="*/ 1111 w 10000"/>
                <a:gd name="connsiteY0" fmla="*/ 3725 h 10000"/>
                <a:gd name="connsiteX1" fmla="*/ 1111 w 10000"/>
                <a:gd name="connsiteY1" fmla="*/ 3562 h 10000"/>
                <a:gd name="connsiteX2" fmla="*/ 1193 w 10000"/>
                <a:gd name="connsiteY2" fmla="*/ 3431 h 10000"/>
                <a:gd name="connsiteX3" fmla="*/ 1132 w 10000"/>
                <a:gd name="connsiteY3" fmla="*/ 3170 h 10000"/>
                <a:gd name="connsiteX4" fmla="*/ 1111 w 10000"/>
                <a:gd name="connsiteY4" fmla="*/ 2876 h 10000"/>
                <a:gd name="connsiteX5" fmla="*/ 1235 w 10000"/>
                <a:gd name="connsiteY5" fmla="*/ 2778 h 10000"/>
                <a:gd name="connsiteX6" fmla="*/ 1420 w 10000"/>
                <a:gd name="connsiteY6" fmla="*/ 2778 h 10000"/>
                <a:gd name="connsiteX7" fmla="*/ 1461 w 10000"/>
                <a:gd name="connsiteY7" fmla="*/ 2549 h 10000"/>
                <a:gd name="connsiteX8" fmla="*/ 1564 w 10000"/>
                <a:gd name="connsiteY8" fmla="*/ 2157 h 10000"/>
                <a:gd name="connsiteX9" fmla="*/ 1749 w 10000"/>
                <a:gd name="connsiteY9" fmla="*/ 2190 h 10000"/>
                <a:gd name="connsiteX10" fmla="*/ 1893 w 10000"/>
                <a:gd name="connsiteY10" fmla="*/ 2190 h 10000"/>
                <a:gd name="connsiteX11" fmla="*/ 1996 w 10000"/>
                <a:gd name="connsiteY11" fmla="*/ 2157 h 10000"/>
                <a:gd name="connsiteX12" fmla="*/ 1996 w 10000"/>
                <a:gd name="connsiteY12" fmla="*/ 1928 h 10000"/>
                <a:gd name="connsiteX13" fmla="*/ 2037 w 10000"/>
                <a:gd name="connsiteY13" fmla="*/ 1699 h 10000"/>
                <a:gd name="connsiteX14" fmla="*/ 2160 w 10000"/>
                <a:gd name="connsiteY14" fmla="*/ 1699 h 10000"/>
                <a:gd name="connsiteX15" fmla="*/ 2181 w 10000"/>
                <a:gd name="connsiteY15" fmla="*/ 1536 h 10000"/>
                <a:gd name="connsiteX16" fmla="*/ 2346 w 10000"/>
                <a:gd name="connsiteY16" fmla="*/ 1536 h 10000"/>
                <a:gd name="connsiteX17" fmla="*/ 2387 w 10000"/>
                <a:gd name="connsiteY17" fmla="*/ 1699 h 10000"/>
                <a:gd name="connsiteX18" fmla="*/ 2490 w 10000"/>
                <a:gd name="connsiteY18" fmla="*/ 1863 h 10000"/>
                <a:gd name="connsiteX19" fmla="*/ 2654 w 10000"/>
                <a:gd name="connsiteY19" fmla="*/ 1895 h 10000"/>
                <a:gd name="connsiteX20" fmla="*/ 2798 w 10000"/>
                <a:gd name="connsiteY20" fmla="*/ 2124 h 10000"/>
                <a:gd name="connsiteX21" fmla="*/ 2881 w 10000"/>
                <a:gd name="connsiteY21" fmla="*/ 2320 h 10000"/>
                <a:gd name="connsiteX22" fmla="*/ 2881 w 10000"/>
                <a:gd name="connsiteY22" fmla="*/ 2451 h 10000"/>
                <a:gd name="connsiteX23" fmla="*/ 2819 w 10000"/>
                <a:gd name="connsiteY23" fmla="*/ 2582 h 10000"/>
                <a:gd name="connsiteX24" fmla="*/ 2860 w 10000"/>
                <a:gd name="connsiteY24" fmla="*/ 2778 h 10000"/>
                <a:gd name="connsiteX25" fmla="*/ 2942 w 10000"/>
                <a:gd name="connsiteY25" fmla="*/ 2843 h 10000"/>
                <a:gd name="connsiteX26" fmla="*/ 3292 w 10000"/>
                <a:gd name="connsiteY26" fmla="*/ 2876 h 10000"/>
                <a:gd name="connsiteX27" fmla="*/ 3395 w 10000"/>
                <a:gd name="connsiteY27" fmla="*/ 3039 h 10000"/>
                <a:gd name="connsiteX28" fmla="*/ 3621 w 10000"/>
                <a:gd name="connsiteY28" fmla="*/ 3235 h 10000"/>
                <a:gd name="connsiteX29" fmla="*/ 3683 w 10000"/>
                <a:gd name="connsiteY29" fmla="*/ 3464 h 10000"/>
                <a:gd name="connsiteX30" fmla="*/ 3745 w 10000"/>
                <a:gd name="connsiteY30" fmla="*/ 3595 h 10000"/>
                <a:gd name="connsiteX31" fmla="*/ 4300 w 10000"/>
                <a:gd name="connsiteY31" fmla="*/ 3627 h 10000"/>
                <a:gd name="connsiteX32" fmla="*/ 4588 w 10000"/>
                <a:gd name="connsiteY32" fmla="*/ 3660 h 10000"/>
                <a:gd name="connsiteX33" fmla="*/ 4835 w 10000"/>
                <a:gd name="connsiteY33" fmla="*/ 3856 h 10000"/>
                <a:gd name="connsiteX34" fmla="*/ 5206 w 10000"/>
                <a:gd name="connsiteY34" fmla="*/ 3922 h 10000"/>
                <a:gd name="connsiteX35" fmla="*/ 5432 w 10000"/>
                <a:gd name="connsiteY35" fmla="*/ 3693 h 10000"/>
                <a:gd name="connsiteX36" fmla="*/ 5885 w 10000"/>
                <a:gd name="connsiteY36" fmla="*/ 3693 h 10000"/>
                <a:gd name="connsiteX37" fmla="*/ 6070 w 10000"/>
                <a:gd name="connsiteY37" fmla="*/ 3529 h 10000"/>
                <a:gd name="connsiteX38" fmla="*/ 6070 w 10000"/>
                <a:gd name="connsiteY38" fmla="*/ 3431 h 10000"/>
                <a:gd name="connsiteX39" fmla="*/ 6255 w 10000"/>
                <a:gd name="connsiteY39" fmla="*/ 3268 h 10000"/>
                <a:gd name="connsiteX40" fmla="*/ 6193 w 10000"/>
                <a:gd name="connsiteY40" fmla="*/ 3072 h 10000"/>
                <a:gd name="connsiteX41" fmla="*/ 6255 w 10000"/>
                <a:gd name="connsiteY41" fmla="*/ 2876 h 10000"/>
                <a:gd name="connsiteX42" fmla="*/ 6399 w 10000"/>
                <a:gd name="connsiteY42" fmla="*/ 2876 h 10000"/>
                <a:gd name="connsiteX43" fmla="*/ 6584 w 10000"/>
                <a:gd name="connsiteY43" fmla="*/ 2908 h 10000"/>
                <a:gd name="connsiteX44" fmla="*/ 6728 w 10000"/>
                <a:gd name="connsiteY44" fmla="*/ 2680 h 10000"/>
                <a:gd name="connsiteX45" fmla="*/ 6893 w 10000"/>
                <a:gd name="connsiteY45" fmla="*/ 2680 h 10000"/>
                <a:gd name="connsiteX46" fmla="*/ 7078 w 10000"/>
                <a:gd name="connsiteY46" fmla="*/ 2451 h 10000"/>
                <a:gd name="connsiteX47" fmla="*/ 7284 w 10000"/>
                <a:gd name="connsiteY47" fmla="*/ 2320 h 10000"/>
                <a:gd name="connsiteX48" fmla="*/ 7407 w 10000"/>
                <a:gd name="connsiteY48" fmla="*/ 2320 h 10000"/>
                <a:gd name="connsiteX49" fmla="*/ 7572 w 10000"/>
                <a:gd name="connsiteY49" fmla="*/ 2353 h 10000"/>
                <a:gd name="connsiteX50" fmla="*/ 7551 w 10000"/>
                <a:gd name="connsiteY50" fmla="*/ 2190 h 10000"/>
                <a:gd name="connsiteX51" fmla="*/ 7346 w 10000"/>
                <a:gd name="connsiteY51" fmla="*/ 1863 h 10000"/>
                <a:gd name="connsiteX52" fmla="*/ 7243 w 10000"/>
                <a:gd name="connsiteY52" fmla="*/ 1830 h 10000"/>
                <a:gd name="connsiteX53" fmla="*/ 7160 w 10000"/>
                <a:gd name="connsiteY53" fmla="*/ 1928 h 10000"/>
                <a:gd name="connsiteX54" fmla="*/ 6872 w 10000"/>
                <a:gd name="connsiteY54" fmla="*/ 1895 h 10000"/>
                <a:gd name="connsiteX55" fmla="*/ 6914 w 10000"/>
                <a:gd name="connsiteY55" fmla="*/ 1667 h 10000"/>
                <a:gd name="connsiteX56" fmla="*/ 6996 w 10000"/>
                <a:gd name="connsiteY56" fmla="*/ 1373 h 10000"/>
                <a:gd name="connsiteX57" fmla="*/ 7058 w 10000"/>
                <a:gd name="connsiteY57" fmla="*/ 1242 h 10000"/>
                <a:gd name="connsiteX58" fmla="*/ 7243 w 10000"/>
                <a:gd name="connsiteY58" fmla="*/ 1405 h 10000"/>
                <a:gd name="connsiteX59" fmla="*/ 7346 w 10000"/>
                <a:gd name="connsiteY59" fmla="*/ 1242 h 10000"/>
                <a:gd name="connsiteX60" fmla="*/ 7469 w 10000"/>
                <a:gd name="connsiteY60" fmla="*/ 1209 h 10000"/>
                <a:gd name="connsiteX61" fmla="*/ 7510 w 10000"/>
                <a:gd name="connsiteY61" fmla="*/ 948 h 10000"/>
                <a:gd name="connsiteX62" fmla="*/ 7613 w 10000"/>
                <a:gd name="connsiteY62" fmla="*/ 654 h 10000"/>
                <a:gd name="connsiteX63" fmla="*/ 7716 w 10000"/>
                <a:gd name="connsiteY63" fmla="*/ 556 h 10000"/>
                <a:gd name="connsiteX64" fmla="*/ 7716 w 10000"/>
                <a:gd name="connsiteY64" fmla="*/ 327 h 10000"/>
                <a:gd name="connsiteX65" fmla="*/ 7593 w 10000"/>
                <a:gd name="connsiteY65" fmla="*/ 294 h 10000"/>
                <a:gd name="connsiteX66" fmla="*/ 7613 w 10000"/>
                <a:gd name="connsiteY66" fmla="*/ 163 h 10000"/>
                <a:gd name="connsiteX67" fmla="*/ 7757 w 10000"/>
                <a:gd name="connsiteY67" fmla="*/ 65 h 10000"/>
                <a:gd name="connsiteX68" fmla="*/ 8025 w 10000"/>
                <a:gd name="connsiteY68" fmla="*/ 33 h 10000"/>
                <a:gd name="connsiteX69" fmla="*/ 8210 w 10000"/>
                <a:gd name="connsiteY69" fmla="*/ 0 h 10000"/>
                <a:gd name="connsiteX70" fmla="*/ 8374 w 10000"/>
                <a:gd name="connsiteY70" fmla="*/ 98 h 10000"/>
                <a:gd name="connsiteX71" fmla="*/ 8519 w 10000"/>
                <a:gd name="connsiteY71" fmla="*/ 196 h 10000"/>
                <a:gd name="connsiteX72" fmla="*/ 8642 w 10000"/>
                <a:gd name="connsiteY72" fmla="*/ 523 h 10000"/>
                <a:gd name="connsiteX73" fmla="*/ 8724 w 10000"/>
                <a:gd name="connsiteY73" fmla="*/ 850 h 10000"/>
                <a:gd name="connsiteX74" fmla="*/ 8807 w 10000"/>
                <a:gd name="connsiteY74" fmla="*/ 1111 h 10000"/>
                <a:gd name="connsiteX75" fmla="*/ 8868 w 10000"/>
                <a:gd name="connsiteY75" fmla="*/ 1373 h 10000"/>
                <a:gd name="connsiteX76" fmla="*/ 9033 w 10000"/>
                <a:gd name="connsiteY76" fmla="*/ 1373 h 10000"/>
                <a:gd name="connsiteX77" fmla="*/ 9136 w 10000"/>
                <a:gd name="connsiteY77" fmla="*/ 1471 h 10000"/>
                <a:gd name="connsiteX78" fmla="*/ 9280 w 10000"/>
                <a:gd name="connsiteY78" fmla="*/ 1601 h 10000"/>
                <a:gd name="connsiteX79" fmla="*/ 9342 w 10000"/>
                <a:gd name="connsiteY79" fmla="*/ 1634 h 10000"/>
                <a:gd name="connsiteX80" fmla="*/ 9383 w 10000"/>
                <a:gd name="connsiteY80" fmla="*/ 1961 h 10000"/>
                <a:gd name="connsiteX81" fmla="*/ 9609 w 10000"/>
                <a:gd name="connsiteY81" fmla="*/ 1993 h 10000"/>
                <a:gd name="connsiteX82" fmla="*/ 9671 w 10000"/>
                <a:gd name="connsiteY82" fmla="*/ 1863 h 10000"/>
                <a:gd name="connsiteX83" fmla="*/ 9815 w 10000"/>
                <a:gd name="connsiteY83" fmla="*/ 1830 h 10000"/>
                <a:gd name="connsiteX84" fmla="*/ 9979 w 10000"/>
                <a:gd name="connsiteY84" fmla="*/ 1797 h 10000"/>
                <a:gd name="connsiteX85" fmla="*/ 10000 w 10000"/>
                <a:gd name="connsiteY85" fmla="*/ 2026 h 10000"/>
                <a:gd name="connsiteX86" fmla="*/ 9918 w 10000"/>
                <a:gd name="connsiteY86" fmla="*/ 2092 h 10000"/>
                <a:gd name="connsiteX87" fmla="*/ 9856 w 10000"/>
                <a:gd name="connsiteY87" fmla="*/ 2451 h 10000"/>
                <a:gd name="connsiteX88" fmla="*/ 9733 w 10000"/>
                <a:gd name="connsiteY88" fmla="*/ 2810 h 10000"/>
                <a:gd name="connsiteX89" fmla="*/ 9609 w 10000"/>
                <a:gd name="connsiteY89" fmla="*/ 2843 h 10000"/>
                <a:gd name="connsiteX90" fmla="*/ 9547 w 10000"/>
                <a:gd name="connsiteY90" fmla="*/ 2745 h 10000"/>
                <a:gd name="connsiteX91" fmla="*/ 9403 w 10000"/>
                <a:gd name="connsiteY91" fmla="*/ 2908 h 10000"/>
                <a:gd name="connsiteX92" fmla="*/ 9403 w 10000"/>
                <a:gd name="connsiteY92" fmla="*/ 3497 h 10000"/>
                <a:gd name="connsiteX93" fmla="*/ 9321 w 10000"/>
                <a:gd name="connsiteY93" fmla="*/ 3660 h 10000"/>
                <a:gd name="connsiteX94" fmla="*/ 9218 w 10000"/>
                <a:gd name="connsiteY94" fmla="*/ 3529 h 10000"/>
                <a:gd name="connsiteX95" fmla="*/ 9053 w 10000"/>
                <a:gd name="connsiteY95" fmla="*/ 3791 h 10000"/>
                <a:gd name="connsiteX96" fmla="*/ 8951 w 10000"/>
                <a:gd name="connsiteY96" fmla="*/ 3791 h 10000"/>
                <a:gd name="connsiteX97" fmla="*/ 8930 w 10000"/>
                <a:gd name="connsiteY97" fmla="*/ 3922 h 10000"/>
                <a:gd name="connsiteX98" fmla="*/ 8827 w 10000"/>
                <a:gd name="connsiteY98" fmla="*/ 3954 h 10000"/>
                <a:gd name="connsiteX99" fmla="*/ 8724 w 10000"/>
                <a:gd name="connsiteY99" fmla="*/ 3889 h 10000"/>
                <a:gd name="connsiteX100" fmla="*/ 8683 w 10000"/>
                <a:gd name="connsiteY100" fmla="*/ 3922 h 10000"/>
                <a:gd name="connsiteX101" fmla="*/ 8539 w 10000"/>
                <a:gd name="connsiteY101" fmla="*/ 4150 h 10000"/>
                <a:gd name="connsiteX102" fmla="*/ 8416 w 10000"/>
                <a:gd name="connsiteY102" fmla="*/ 4281 h 10000"/>
                <a:gd name="connsiteX103" fmla="*/ 8313 w 10000"/>
                <a:gd name="connsiteY103" fmla="*/ 4444 h 10000"/>
                <a:gd name="connsiteX104" fmla="*/ 8210 w 10000"/>
                <a:gd name="connsiteY104" fmla="*/ 4477 h 10000"/>
                <a:gd name="connsiteX105" fmla="*/ 8107 w 10000"/>
                <a:gd name="connsiteY105" fmla="*/ 4510 h 10000"/>
                <a:gd name="connsiteX106" fmla="*/ 7819 w 10000"/>
                <a:gd name="connsiteY106" fmla="*/ 4804 h 10000"/>
                <a:gd name="connsiteX107" fmla="*/ 7798 w 10000"/>
                <a:gd name="connsiteY107" fmla="*/ 4608 h 10000"/>
                <a:gd name="connsiteX108" fmla="*/ 7840 w 10000"/>
                <a:gd name="connsiteY108" fmla="*/ 4444 h 10000"/>
                <a:gd name="connsiteX109" fmla="*/ 7942 w 10000"/>
                <a:gd name="connsiteY109" fmla="*/ 4346 h 10000"/>
                <a:gd name="connsiteX110" fmla="*/ 7922 w 10000"/>
                <a:gd name="connsiteY110" fmla="*/ 4183 h 10000"/>
                <a:gd name="connsiteX111" fmla="*/ 7840 w 10000"/>
                <a:gd name="connsiteY111" fmla="*/ 4183 h 10000"/>
                <a:gd name="connsiteX112" fmla="*/ 7716 w 10000"/>
                <a:gd name="connsiteY112" fmla="*/ 4216 h 10000"/>
                <a:gd name="connsiteX113" fmla="*/ 7490 w 10000"/>
                <a:gd name="connsiteY113" fmla="*/ 4510 h 10000"/>
                <a:gd name="connsiteX114" fmla="*/ 7449 w 10000"/>
                <a:gd name="connsiteY114" fmla="*/ 4673 h 10000"/>
                <a:gd name="connsiteX115" fmla="*/ 7243 w 10000"/>
                <a:gd name="connsiteY115" fmla="*/ 4673 h 10000"/>
                <a:gd name="connsiteX116" fmla="*/ 7202 w 10000"/>
                <a:gd name="connsiteY116" fmla="*/ 4804 h 10000"/>
                <a:gd name="connsiteX117" fmla="*/ 7263 w 10000"/>
                <a:gd name="connsiteY117" fmla="*/ 5033 h 10000"/>
                <a:gd name="connsiteX118" fmla="*/ 7407 w 10000"/>
                <a:gd name="connsiteY118" fmla="*/ 5065 h 10000"/>
                <a:gd name="connsiteX119" fmla="*/ 7407 w 10000"/>
                <a:gd name="connsiteY119" fmla="*/ 5163 h 10000"/>
                <a:gd name="connsiteX120" fmla="*/ 7428 w 10000"/>
                <a:gd name="connsiteY120" fmla="*/ 5294 h 10000"/>
                <a:gd name="connsiteX121" fmla="*/ 7551 w 10000"/>
                <a:gd name="connsiteY121" fmla="*/ 5261 h 10000"/>
                <a:gd name="connsiteX122" fmla="*/ 7634 w 10000"/>
                <a:gd name="connsiteY122" fmla="*/ 5131 h 10000"/>
                <a:gd name="connsiteX123" fmla="*/ 7716 w 10000"/>
                <a:gd name="connsiteY123" fmla="*/ 5098 h 10000"/>
                <a:gd name="connsiteX124" fmla="*/ 7798 w 10000"/>
                <a:gd name="connsiteY124" fmla="*/ 5163 h 10000"/>
                <a:gd name="connsiteX125" fmla="*/ 7963 w 10000"/>
                <a:gd name="connsiteY125" fmla="*/ 5229 h 10000"/>
                <a:gd name="connsiteX126" fmla="*/ 8004 w 10000"/>
                <a:gd name="connsiteY126" fmla="*/ 5359 h 10000"/>
                <a:gd name="connsiteX127" fmla="*/ 7942 w 10000"/>
                <a:gd name="connsiteY127" fmla="*/ 5392 h 10000"/>
                <a:gd name="connsiteX128" fmla="*/ 7819 w 10000"/>
                <a:gd name="connsiteY128" fmla="*/ 5392 h 10000"/>
                <a:gd name="connsiteX129" fmla="*/ 7737 w 10000"/>
                <a:gd name="connsiteY129" fmla="*/ 5458 h 10000"/>
                <a:gd name="connsiteX130" fmla="*/ 7716 w 10000"/>
                <a:gd name="connsiteY130" fmla="*/ 5556 h 10000"/>
                <a:gd name="connsiteX131" fmla="*/ 7613 w 10000"/>
                <a:gd name="connsiteY131" fmla="*/ 5621 h 10000"/>
                <a:gd name="connsiteX132" fmla="*/ 7510 w 10000"/>
                <a:gd name="connsiteY132" fmla="*/ 5850 h 10000"/>
                <a:gd name="connsiteX133" fmla="*/ 7469 w 10000"/>
                <a:gd name="connsiteY133" fmla="*/ 6013 h 10000"/>
                <a:gd name="connsiteX134" fmla="*/ 7572 w 10000"/>
                <a:gd name="connsiteY134" fmla="*/ 6078 h 10000"/>
                <a:gd name="connsiteX135" fmla="*/ 7634 w 10000"/>
                <a:gd name="connsiteY135" fmla="*/ 6176 h 10000"/>
                <a:gd name="connsiteX136" fmla="*/ 7716 w 10000"/>
                <a:gd name="connsiteY136" fmla="*/ 6503 h 10000"/>
                <a:gd name="connsiteX137" fmla="*/ 7737 w 10000"/>
                <a:gd name="connsiteY137" fmla="*/ 6634 h 10000"/>
                <a:gd name="connsiteX138" fmla="*/ 7901 w 10000"/>
                <a:gd name="connsiteY138" fmla="*/ 6830 h 10000"/>
                <a:gd name="connsiteX139" fmla="*/ 7881 w 10000"/>
                <a:gd name="connsiteY139" fmla="*/ 6895 h 10000"/>
                <a:gd name="connsiteX140" fmla="*/ 7778 w 10000"/>
                <a:gd name="connsiteY140" fmla="*/ 6830 h 10000"/>
                <a:gd name="connsiteX141" fmla="*/ 7737 w 10000"/>
                <a:gd name="connsiteY141" fmla="*/ 6961 h 10000"/>
                <a:gd name="connsiteX142" fmla="*/ 7860 w 10000"/>
                <a:gd name="connsiteY142" fmla="*/ 7026 h 10000"/>
                <a:gd name="connsiteX143" fmla="*/ 7901 w 10000"/>
                <a:gd name="connsiteY143" fmla="*/ 7124 h 10000"/>
                <a:gd name="connsiteX144" fmla="*/ 7819 w 10000"/>
                <a:gd name="connsiteY144" fmla="*/ 7157 h 10000"/>
                <a:gd name="connsiteX145" fmla="*/ 7716 w 10000"/>
                <a:gd name="connsiteY145" fmla="*/ 7190 h 10000"/>
                <a:gd name="connsiteX146" fmla="*/ 7654 w 10000"/>
                <a:gd name="connsiteY146" fmla="*/ 7255 h 10000"/>
                <a:gd name="connsiteX147" fmla="*/ 7634 w 10000"/>
                <a:gd name="connsiteY147" fmla="*/ 7288 h 10000"/>
                <a:gd name="connsiteX148" fmla="*/ 7778 w 10000"/>
                <a:gd name="connsiteY148" fmla="*/ 7320 h 10000"/>
                <a:gd name="connsiteX149" fmla="*/ 7881 w 10000"/>
                <a:gd name="connsiteY149" fmla="*/ 7353 h 10000"/>
                <a:gd name="connsiteX150" fmla="*/ 7881 w 10000"/>
                <a:gd name="connsiteY150" fmla="*/ 7549 h 10000"/>
                <a:gd name="connsiteX151" fmla="*/ 7798 w 10000"/>
                <a:gd name="connsiteY151" fmla="*/ 7843 h 10000"/>
                <a:gd name="connsiteX152" fmla="*/ 7593 w 10000"/>
                <a:gd name="connsiteY152" fmla="*/ 8235 h 10000"/>
                <a:gd name="connsiteX153" fmla="*/ 7449 w 10000"/>
                <a:gd name="connsiteY153" fmla="*/ 8562 h 10000"/>
                <a:gd name="connsiteX154" fmla="*/ 7346 w 10000"/>
                <a:gd name="connsiteY154" fmla="*/ 8856 h 10000"/>
                <a:gd name="connsiteX155" fmla="*/ 7119 w 10000"/>
                <a:gd name="connsiteY155" fmla="*/ 9150 h 10000"/>
                <a:gd name="connsiteX156" fmla="*/ 6975 w 10000"/>
                <a:gd name="connsiteY156" fmla="*/ 9346 h 10000"/>
                <a:gd name="connsiteX157" fmla="*/ 6749 w 10000"/>
                <a:gd name="connsiteY157" fmla="*/ 9412 h 10000"/>
                <a:gd name="connsiteX158" fmla="*/ 6626 w 10000"/>
                <a:gd name="connsiteY158" fmla="*/ 9412 h 10000"/>
                <a:gd name="connsiteX159" fmla="*/ 6564 w 10000"/>
                <a:gd name="connsiteY159" fmla="*/ 9281 h 10000"/>
                <a:gd name="connsiteX160" fmla="*/ 6502 w 10000"/>
                <a:gd name="connsiteY160" fmla="*/ 9314 h 10000"/>
                <a:gd name="connsiteX161" fmla="*/ 6502 w 10000"/>
                <a:gd name="connsiteY161" fmla="*/ 9542 h 10000"/>
                <a:gd name="connsiteX162" fmla="*/ 6358 w 10000"/>
                <a:gd name="connsiteY162" fmla="*/ 9608 h 10000"/>
                <a:gd name="connsiteX163" fmla="*/ 6152 w 10000"/>
                <a:gd name="connsiteY163" fmla="*/ 9706 h 10000"/>
                <a:gd name="connsiteX164" fmla="*/ 6029 w 10000"/>
                <a:gd name="connsiteY164" fmla="*/ 9739 h 10000"/>
                <a:gd name="connsiteX165" fmla="*/ 5988 w 10000"/>
                <a:gd name="connsiteY165" fmla="*/ 9869 h 10000"/>
                <a:gd name="connsiteX166" fmla="*/ 6008 w 10000"/>
                <a:gd name="connsiteY166" fmla="*/ 10000 h 10000"/>
                <a:gd name="connsiteX167" fmla="*/ 5926 w 10000"/>
                <a:gd name="connsiteY167" fmla="*/ 9935 h 10000"/>
                <a:gd name="connsiteX168" fmla="*/ 5926 w 10000"/>
                <a:gd name="connsiteY168" fmla="*/ 9804 h 10000"/>
                <a:gd name="connsiteX169" fmla="*/ 5926 w 10000"/>
                <a:gd name="connsiteY169" fmla="*/ 9706 h 10000"/>
                <a:gd name="connsiteX170" fmla="*/ 5823 w 10000"/>
                <a:gd name="connsiteY170" fmla="*/ 9706 h 10000"/>
                <a:gd name="connsiteX171" fmla="*/ 5720 w 10000"/>
                <a:gd name="connsiteY171" fmla="*/ 9641 h 10000"/>
                <a:gd name="connsiteX172" fmla="*/ 5617 w 10000"/>
                <a:gd name="connsiteY172" fmla="*/ 9706 h 10000"/>
                <a:gd name="connsiteX173" fmla="*/ 5514 w 10000"/>
                <a:gd name="connsiteY173" fmla="*/ 9706 h 10000"/>
                <a:gd name="connsiteX174" fmla="*/ 5432 w 10000"/>
                <a:gd name="connsiteY174" fmla="*/ 9641 h 10000"/>
                <a:gd name="connsiteX175" fmla="*/ 5412 w 10000"/>
                <a:gd name="connsiteY175" fmla="*/ 9379 h 10000"/>
                <a:gd name="connsiteX176" fmla="*/ 5288 w 10000"/>
                <a:gd name="connsiteY176" fmla="*/ 9346 h 10000"/>
                <a:gd name="connsiteX177" fmla="*/ 5226 w 10000"/>
                <a:gd name="connsiteY177" fmla="*/ 9281 h 10000"/>
                <a:gd name="connsiteX178" fmla="*/ 5144 w 10000"/>
                <a:gd name="connsiteY178" fmla="*/ 9281 h 10000"/>
                <a:gd name="connsiteX179" fmla="*/ 5062 w 10000"/>
                <a:gd name="connsiteY179" fmla="*/ 9412 h 10000"/>
                <a:gd name="connsiteX180" fmla="*/ 4712 w 10000"/>
                <a:gd name="connsiteY180" fmla="*/ 9412 h 10000"/>
                <a:gd name="connsiteX181" fmla="*/ 4691 w 10000"/>
                <a:gd name="connsiteY181" fmla="*/ 9477 h 10000"/>
                <a:gd name="connsiteX182" fmla="*/ 4568 w 10000"/>
                <a:gd name="connsiteY182" fmla="*/ 9477 h 10000"/>
                <a:gd name="connsiteX183" fmla="*/ 4568 w 10000"/>
                <a:gd name="connsiteY183" fmla="*/ 9608 h 10000"/>
                <a:gd name="connsiteX184" fmla="*/ 4630 w 10000"/>
                <a:gd name="connsiteY184" fmla="*/ 9641 h 10000"/>
                <a:gd name="connsiteX185" fmla="*/ 4609 w 10000"/>
                <a:gd name="connsiteY185" fmla="*/ 9771 h 10000"/>
                <a:gd name="connsiteX186" fmla="*/ 4527 w 10000"/>
                <a:gd name="connsiteY186" fmla="*/ 9771 h 10000"/>
                <a:gd name="connsiteX187" fmla="*/ 4486 w 10000"/>
                <a:gd name="connsiteY187" fmla="*/ 9706 h 10000"/>
                <a:gd name="connsiteX188" fmla="*/ 4403 w 10000"/>
                <a:gd name="connsiteY188" fmla="*/ 9706 h 10000"/>
                <a:gd name="connsiteX189" fmla="*/ 4321 w 10000"/>
                <a:gd name="connsiteY189" fmla="*/ 9706 h 10000"/>
                <a:gd name="connsiteX190" fmla="*/ 4321 w 10000"/>
                <a:gd name="connsiteY190" fmla="*/ 9608 h 10000"/>
                <a:gd name="connsiteX191" fmla="*/ 4239 w 10000"/>
                <a:gd name="connsiteY191" fmla="*/ 9575 h 10000"/>
                <a:gd name="connsiteX192" fmla="*/ 4239 w 10000"/>
                <a:gd name="connsiteY192" fmla="*/ 9314 h 10000"/>
                <a:gd name="connsiteX193" fmla="*/ 4136 w 10000"/>
                <a:gd name="connsiteY193" fmla="*/ 9248 h 10000"/>
                <a:gd name="connsiteX194" fmla="*/ 4136 w 10000"/>
                <a:gd name="connsiteY194" fmla="*/ 9020 h 10000"/>
                <a:gd name="connsiteX195" fmla="*/ 3930 w 10000"/>
                <a:gd name="connsiteY195" fmla="*/ 8922 h 10000"/>
                <a:gd name="connsiteX196" fmla="*/ 3930 w 10000"/>
                <a:gd name="connsiteY196" fmla="*/ 8856 h 10000"/>
                <a:gd name="connsiteX197" fmla="*/ 4095 w 10000"/>
                <a:gd name="connsiteY197" fmla="*/ 8497 h 10000"/>
                <a:gd name="connsiteX198" fmla="*/ 4115 w 10000"/>
                <a:gd name="connsiteY198" fmla="*/ 8105 h 10000"/>
                <a:gd name="connsiteX199" fmla="*/ 4033 w 10000"/>
                <a:gd name="connsiteY199" fmla="*/ 8007 h 10000"/>
                <a:gd name="connsiteX200" fmla="*/ 3971 w 10000"/>
                <a:gd name="connsiteY200" fmla="*/ 7843 h 10000"/>
                <a:gd name="connsiteX201" fmla="*/ 3889 w 10000"/>
                <a:gd name="connsiteY201" fmla="*/ 7810 h 10000"/>
                <a:gd name="connsiteX202" fmla="*/ 3724 w 10000"/>
                <a:gd name="connsiteY202" fmla="*/ 7778 h 10000"/>
                <a:gd name="connsiteX203" fmla="*/ 3724 w 10000"/>
                <a:gd name="connsiteY203" fmla="*/ 7549 h 10000"/>
                <a:gd name="connsiteX204" fmla="*/ 3621 w 10000"/>
                <a:gd name="connsiteY204" fmla="*/ 7582 h 10000"/>
                <a:gd name="connsiteX205" fmla="*/ 3395 w 10000"/>
                <a:gd name="connsiteY205" fmla="*/ 7582 h 10000"/>
                <a:gd name="connsiteX206" fmla="*/ 3333 w 10000"/>
                <a:gd name="connsiteY206" fmla="*/ 7712 h 10000"/>
                <a:gd name="connsiteX207" fmla="*/ 3210 w 10000"/>
                <a:gd name="connsiteY207" fmla="*/ 7712 h 10000"/>
                <a:gd name="connsiteX208" fmla="*/ 3107 w 10000"/>
                <a:gd name="connsiteY208" fmla="*/ 7941 h 10000"/>
                <a:gd name="connsiteX209" fmla="*/ 3004 w 10000"/>
                <a:gd name="connsiteY209" fmla="*/ 7974 h 10000"/>
                <a:gd name="connsiteX210" fmla="*/ 2860 w 10000"/>
                <a:gd name="connsiteY210" fmla="*/ 7941 h 10000"/>
                <a:gd name="connsiteX211" fmla="*/ 2737 w 10000"/>
                <a:gd name="connsiteY211" fmla="*/ 7876 h 10000"/>
                <a:gd name="connsiteX212" fmla="*/ 2634 w 10000"/>
                <a:gd name="connsiteY212" fmla="*/ 7876 h 10000"/>
                <a:gd name="connsiteX213" fmla="*/ 2572 w 10000"/>
                <a:gd name="connsiteY213" fmla="*/ 7974 h 10000"/>
                <a:gd name="connsiteX214" fmla="*/ 2366 w 10000"/>
                <a:gd name="connsiteY214" fmla="*/ 7974 h 10000"/>
                <a:gd name="connsiteX215" fmla="*/ 2140 w 10000"/>
                <a:gd name="connsiteY215" fmla="*/ 7941 h 10000"/>
                <a:gd name="connsiteX216" fmla="*/ 1975 w 10000"/>
                <a:gd name="connsiteY216" fmla="*/ 7908 h 10000"/>
                <a:gd name="connsiteX217" fmla="*/ 1790 w 10000"/>
                <a:gd name="connsiteY217" fmla="*/ 7712 h 10000"/>
                <a:gd name="connsiteX218" fmla="*/ 1667 w 10000"/>
                <a:gd name="connsiteY218" fmla="*/ 7582 h 10000"/>
                <a:gd name="connsiteX219" fmla="*/ 1502 w 10000"/>
                <a:gd name="connsiteY219" fmla="*/ 7451 h 10000"/>
                <a:gd name="connsiteX220" fmla="*/ 1358 w 10000"/>
                <a:gd name="connsiteY220" fmla="*/ 7222 h 10000"/>
                <a:gd name="connsiteX221" fmla="*/ 1214 w 10000"/>
                <a:gd name="connsiteY221" fmla="*/ 7320 h 10000"/>
                <a:gd name="connsiteX222" fmla="*/ 1091 w 10000"/>
                <a:gd name="connsiteY222" fmla="*/ 7157 h 10000"/>
                <a:gd name="connsiteX223" fmla="*/ 823 w 10000"/>
                <a:gd name="connsiteY223" fmla="*/ 6961 h 10000"/>
                <a:gd name="connsiteX224" fmla="*/ 823 w 10000"/>
                <a:gd name="connsiteY224" fmla="*/ 6830 h 10000"/>
                <a:gd name="connsiteX225" fmla="*/ 864 w 10000"/>
                <a:gd name="connsiteY225" fmla="*/ 6667 h 10000"/>
                <a:gd name="connsiteX226" fmla="*/ 967 w 10000"/>
                <a:gd name="connsiteY226" fmla="*/ 6634 h 10000"/>
                <a:gd name="connsiteX227" fmla="*/ 988 w 10000"/>
                <a:gd name="connsiteY227" fmla="*/ 6503 h 10000"/>
                <a:gd name="connsiteX228" fmla="*/ 864 w 10000"/>
                <a:gd name="connsiteY228" fmla="*/ 6373 h 10000"/>
                <a:gd name="connsiteX229" fmla="*/ 864 w 10000"/>
                <a:gd name="connsiteY229" fmla="*/ 6209 h 10000"/>
                <a:gd name="connsiteX230" fmla="*/ 1029 w 10000"/>
                <a:gd name="connsiteY230" fmla="*/ 6078 h 10000"/>
                <a:gd name="connsiteX231" fmla="*/ 1111 w 10000"/>
                <a:gd name="connsiteY231" fmla="*/ 5948 h 10000"/>
                <a:gd name="connsiteX232" fmla="*/ 1111 w 10000"/>
                <a:gd name="connsiteY232" fmla="*/ 5817 h 10000"/>
                <a:gd name="connsiteX233" fmla="*/ 926 w 10000"/>
                <a:gd name="connsiteY233" fmla="*/ 5621 h 10000"/>
                <a:gd name="connsiteX234" fmla="*/ 803 w 10000"/>
                <a:gd name="connsiteY234" fmla="*/ 5778 h 10000"/>
                <a:gd name="connsiteX235" fmla="*/ 597 w 10000"/>
                <a:gd name="connsiteY235" fmla="*/ 5719 h 10000"/>
                <a:gd name="connsiteX236" fmla="*/ 391 w 10000"/>
                <a:gd name="connsiteY236" fmla="*/ 5588 h 10000"/>
                <a:gd name="connsiteX237" fmla="*/ 391 w 10000"/>
                <a:gd name="connsiteY237" fmla="*/ 5425 h 10000"/>
                <a:gd name="connsiteX238" fmla="*/ 206 w 10000"/>
                <a:gd name="connsiteY238" fmla="*/ 5327 h 10000"/>
                <a:gd name="connsiteX239" fmla="*/ 206 w 10000"/>
                <a:gd name="connsiteY239" fmla="*/ 5196 h 10000"/>
                <a:gd name="connsiteX240" fmla="*/ 206 w 10000"/>
                <a:gd name="connsiteY240" fmla="*/ 4869 h 10000"/>
                <a:gd name="connsiteX241" fmla="*/ 82 w 10000"/>
                <a:gd name="connsiteY241" fmla="*/ 4902 h 10000"/>
                <a:gd name="connsiteX242" fmla="*/ 21 w 10000"/>
                <a:gd name="connsiteY242" fmla="*/ 4869 h 10000"/>
                <a:gd name="connsiteX243" fmla="*/ 0 w 10000"/>
                <a:gd name="connsiteY243" fmla="*/ 4739 h 10000"/>
                <a:gd name="connsiteX244" fmla="*/ 21 w 10000"/>
                <a:gd name="connsiteY244" fmla="*/ 4641 h 10000"/>
                <a:gd name="connsiteX245" fmla="*/ 41 w 10000"/>
                <a:gd name="connsiteY245" fmla="*/ 4477 h 10000"/>
                <a:gd name="connsiteX246" fmla="*/ 165 w 10000"/>
                <a:gd name="connsiteY246" fmla="*/ 4346 h 10000"/>
                <a:gd name="connsiteX247" fmla="*/ 185 w 10000"/>
                <a:gd name="connsiteY247" fmla="*/ 4248 h 10000"/>
                <a:gd name="connsiteX248" fmla="*/ 329 w 10000"/>
                <a:gd name="connsiteY248" fmla="*/ 4248 h 10000"/>
                <a:gd name="connsiteX249" fmla="*/ 329 w 10000"/>
                <a:gd name="connsiteY249" fmla="*/ 4346 h 10000"/>
                <a:gd name="connsiteX250" fmla="*/ 494 w 10000"/>
                <a:gd name="connsiteY250" fmla="*/ 4281 h 10000"/>
                <a:gd name="connsiteX251" fmla="*/ 535 w 10000"/>
                <a:gd name="connsiteY251" fmla="*/ 4118 h 10000"/>
                <a:gd name="connsiteX252" fmla="*/ 741 w 10000"/>
                <a:gd name="connsiteY252" fmla="*/ 4118 h 10000"/>
                <a:gd name="connsiteX253" fmla="*/ 782 w 10000"/>
                <a:gd name="connsiteY253" fmla="*/ 3987 h 10000"/>
                <a:gd name="connsiteX254" fmla="*/ 1049 w 10000"/>
                <a:gd name="connsiteY254" fmla="*/ 3791 h 10000"/>
                <a:gd name="connsiteX255" fmla="*/ 1111 w 10000"/>
                <a:gd name="connsiteY255" fmla="*/ 3725 h 10000"/>
                <a:gd name="connsiteX0" fmla="*/ 1111 w 10000"/>
                <a:gd name="connsiteY0" fmla="*/ 3725 h 10000"/>
                <a:gd name="connsiteX1" fmla="*/ 1111 w 10000"/>
                <a:gd name="connsiteY1" fmla="*/ 3562 h 10000"/>
                <a:gd name="connsiteX2" fmla="*/ 1193 w 10000"/>
                <a:gd name="connsiteY2" fmla="*/ 3431 h 10000"/>
                <a:gd name="connsiteX3" fmla="*/ 1132 w 10000"/>
                <a:gd name="connsiteY3" fmla="*/ 3170 h 10000"/>
                <a:gd name="connsiteX4" fmla="*/ 1111 w 10000"/>
                <a:gd name="connsiteY4" fmla="*/ 2876 h 10000"/>
                <a:gd name="connsiteX5" fmla="*/ 1235 w 10000"/>
                <a:gd name="connsiteY5" fmla="*/ 2778 h 10000"/>
                <a:gd name="connsiteX6" fmla="*/ 1420 w 10000"/>
                <a:gd name="connsiteY6" fmla="*/ 2778 h 10000"/>
                <a:gd name="connsiteX7" fmla="*/ 1461 w 10000"/>
                <a:gd name="connsiteY7" fmla="*/ 2549 h 10000"/>
                <a:gd name="connsiteX8" fmla="*/ 1564 w 10000"/>
                <a:gd name="connsiteY8" fmla="*/ 2157 h 10000"/>
                <a:gd name="connsiteX9" fmla="*/ 1749 w 10000"/>
                <a:gd name="connsiteY9" fmla="*/ 2190 h 10000"/>
                <a:gd name="connsiteX10" fmla="*/ 1893 w 10000"/>
                <a:gd name="connsiteY10" fmla="*/ 2190 h 10000"/>
                <a:gd name="connsiteX11" fmla="*/ 1996 w 10000"/>
                <a:gd name="connsiteY11" fmla="*/ 2157 h 10000"/>
                <a:gd name="connsiteX12" fmla="*/ 1996 w 10000"/>
                <a:gd name="connsiteY12" fmla="*/ 1928 h 10000"/>
                <a:gd name="connsiteX13" fmla="*/ 2037 w 10000"/>
                <a:gd name="connsiteY13" fmla="*/ 1699 h 10000"/>
                <a:gd name="connsiteX14" fmla="*/ 2160 w 10000"/>
                <a:gd name="connsiteY14" fmla="*/ 1699 h 10000"/>
                <a:gd name="connsiteX15" fmla="*/ 2181 w 10000"/>
                <a:gd name="connsiteY15" fmla="*/ 1536 h 10000"/>
                <a:gd name="connsiteX16" fmla="*/ 2346 w 10000"/>
                <a:gd name="connsiteY16" fmla="*/ 1536 h 10000"/>
                <a:gd name="connsiteX17" fmla="*/ 2387 w 10000"/>
                <a:gd name="connsiteY17" fmla="*/ 1699 h 10000"/>
                <a:gd name="connsiteX18" fmla="*/ 2490 w 10000"/>
                <a:gd name="connsiteY18" fmla="*/ 1863 h 10000"/>
                <a:gd name="connsiteX19" fmla="*/ 2654 w 10000"/>
                <a:gd name="connsiteY19" fmla="*/ 1895 h 10000"/>
                <a:gd name="connsiteX20" fmla="*/ 2798 w 10000"/>
                <a:gd name="connsiteY20" fmla="*/ 2124 h 10000"/>
                <a:gd name="connsiteX21" fmla="*/ 2881 w 10000"/>
                <a:gd name="connsiteY21" fmla="*/ 2320 h 10000"/>
                <a:gd name="connsiteX22" fmla="*/ 2881 w 10000"/>
                <a:gd name="connsiteY22" fmla="*/ 2451 h 10000"/>
                <a:gd name="connsiteX23" fmla="*/ 2819 w 10000"/>
                <a:gd name="connsiteY23" fmla="*/ 2582 h 10000"/>
                <a:gd name="connsiteX24" fmla="*/ 2860 w 10000"/>
                <a:gd name="connsiteY24" fmla="*/ 2778 h 10000"/>
                <a:gd name="connsiteX25" fmla="*/ 2942 w 10000"/>
                <a:gd name="connsiteY25" fmla="*/ 2843 h 10000"/>
                <a:gd name="connsiteX26" fmla="*/ 3292 w 10000"/>
                <a:gd name="connsiteY26" fmla="*/ 2876 h 10000"/>
                <a:gd name="connsiteX27" fmla="*/ 3395 w 10000"/>
                <a:gd name="connsiteY27" fmla="*/ 3039 h 10000"/>
                <a:gd name="connsiteX28" fmla="*/ 3621 w 10000"/>
                <a:gd name="connsiteY28" fmla="*/ 3235 h 10000"/>
                <a:gd name="connsiteX29" fmla="*/ 3683 w 10000"/>
                <a:gd name="connsiteY29" fmla="*/ 3464 h 10000"/>
                <a:gd name="connsiteX30" fmla="*/ 3745 w 10000"/>
                <a:gd name="connsiteY30" fmla="*/ 3595 h 10000"/>
                <a:gd name="connsiteX31" fmla="*/ 4300 w 10000"/>
                <a:gd name="connsiteY31" fmla="*/ 3627 h 10000"/>
                <a:gd name="connsiteX32" fmla="*/ 4588 w 10000"/>
                <a:gd name="connsiteY32" fmla="*/ 3660 h 10000"/>
                <a:gd name="connsiteX33" fmla="*/ 4835 w 10000"/>
                <a:gd name="connsiteY33" fmla="*/ 3856 h 10000"/>
                <a:gd name="connsiteX34" fmla="*/ 5206 w 10000"/>
                <a:gd name="connsiteY34" fmla="*/ 3922 h 10000"/>
                <a:gd name="connsiteX35" fmla="*/ 5432 w 10000"/>
                <a:gd name="connsiteY35" fmla="*/ 3693 h 10000"/>
                <a:gd name="connsiteX36" fmla="*/ 5885 w 10000"/>
                <a:gd name="connsiteY36" fmla="*/ 3693 h 10000"/>
                <a:gd name="connsiteX37" fmla="*/ 6070 w 10000"/>
                <a:gd name="connsiteY37" fmla="*/ 3529 h 10000"/>
                <a:gd name="connsiteX38" fmla="*/ 6070 w 10000"/>
                <a:gd name="connsiteY38" fmla="*/ 3431 h 10000"/>
                <a:gd name="connsiteX39" fmla="*/ 6255 w 10000"/>
                <a:gd name="connsiteY39" fmla="*/ 3268 h 10000"/>
                <a:gd name="connsiteX40" fmla="*/ 6193 w 10000"/>
                <a:gd name="connsiteY40" fmla="*/ 3072 h 10000"/>
                <a:gd name="connsiteX41" fmla="*/ 6255 w 10000"/>
                <a:gd name="connsiteY41" fmla="*/ 2876 h 10000"/>
                <a:gd name="connsiteX42" fmla="*/ 6399 w 10000"/>
                <a:gd name="connsiteY42" fmla="*/ 2876 h 10000"/>
                <a:gd name="connsiteX43" fmla="*/ 6584 w 10000"/>
                <a:gd name="connsiteY43" fmla="*/ 2908 h 10000"/>
                <a:gd name="connsiteX44" fmla="*/ 6728 w 10000"/>
                <a:gd name="connsiteY44" fmla="*/ 2680 h 10000"/>
                <a:gd name="connsiteX45" fmla="*/ 6893 w 10000"/>
                <a:gd name="connsiteY45" fmla="*/ 2680 h 10000"/>
                <a:gd name="connsiteX46" fmla="*/ 7078 w 10000"/>
                <a:gd name="connsiteY46" fmla="*/ 2451 h 10000"/>
                <a:gd name="connsiteX47" fmla="*/ 7284 w 10000"/>
                <a:gd name="connsiteY47" fmla="*/ 2320 h 10000"/>
                <a:gd name="connsiteX48" fmla="*/ 7407 w 10000"/>
                <a:gd name="connsiteY48" fmla="*/ 2320 h 10000"/>
                <a:gd name="connsiteX49" fmla="*/ 7572 w 10000"/>
                <a:gd name="connsiteY49" fmla="*/ 2353 h 10000"/>
                <a:gd name="connsiteX50" fmla="*/ 7551 w 10000"/>
                <a:gd name="connsiteY50" fmla="*/ 2190 h 10000"/>
                <a:gd name="connsiteX51" fmla="*/ 7346 w 10000"/>
                <a:gd name="connsiteY51" fmla="*/ 1863 h 10000"/>
                <a:gd name="connsiteX52" fmla="*/ 7243 w 10000"/>
                <a:gd name="connsiteY52" fmla="*/ 1830 h 10000"/>
                <a:gd name="connsiteX53" fmla="*/ 7160 w 10000"/>
                <a:gd name="connsiteY53" fmla="*/ 1928 h 10000"/>
                <a:gd name="connsiteX54" fmla="*/ 6872 w 10000"/>
                <a:gd name="connsiteY54" fmla="*/ 1895 h 10000"/>
                <a:gd name="connsiteX55" fmla="*/ 6914 w 10000"/>
                <a:gd name="connsiteY55" fmla="*/ 1667 h 10000"/>
                <a:gd name="connsiteX56" fmla="*/ 6996 w 10000"/>
                <a:gd name="connsiteY56" fmla="*/ 1373 h 10000"/>
                <a:gd name="connsiteX57" fmla="*/ 7058 w 10000"/>
                <a:gd name="connsiteY57" fmla="*/ 1242 h 10000"/>
                <a:gd name="connsiteX58" fmla="*/ 7243 w 10000"/>
                <a:gd name="connsiteY58" fmla="*/ 1405 h 10000"/>
                <a:gd name="connsiteX59" fmla="*/ 7346 w 10000"/>
                <a:gd name="connsiteY59" fmla="*/ 1242 h 10000"/>
                <a:gd name="connsiteX60" fmla="*/ 7469 w 10000"/>
                <a:gd name="connsiteY60" fmla="*/ 1209 h 10000"/>
                <a:gd name="connsiteX61" fmla="*/ 7510 w 10000"/>
                <a:gd name="connsiteY61" fmla="*/ 948 h 10000"/>
                <a:gd name="connsiteX62" fmla="*/ 7613 w 10000"/>
                <a:gd name="connsiteY62" fmla="*/ 654 h 10000"/>
                <a:gd name="connsiteX63" fmla="*/ 7716 w 10000"/>
                <a:gd name="connsiteY63" fmla="*/ 556 h 10000"/>
                <a:gd name="connsiteX64" fmla="*/ 7716 w 10000"/>
                <a:gd name="connsiteY64" fmla="*/ 327 h 10000"/>
                <a:gd name="connsiteX65" fmla="*/ 7593 w 10000"/>
                <a:gd name="connsiteY65" fmla="*/ 294 h 10000"/>
                <a:gd name="connsiteX66" fmla="*/ 7613 w 10000"/>
                <a:gd name="connsiteY66" fmla="*/ 163 h 10000"/>
                <a:gd name="connsiteX67" fmla="*/ 7757 w 10000"/>
                <a:gd name="connsiteY67" fmla="*/ 65 h 10000"/>
                <a:gd name="connsiteX68" fmla="*/ 8025 w 10000"/>
                <a:gd name="connsiteY68" fmla="*/ 33 h 10000"/>
                <a:gd name="connsiteX69" fmla="*/ 8210 w 10000"/>
                <a:gd name="connsiteY69" fmla="*/ 0 h 10000"/>
                <a:gd name="connsiteX70" fmla="*/ 8374 w 10000"/>
                <a:gd name="connsiteY70" fmla="*/ 98 h 10000"/>
                <a:gd name="connsiteX71" fmla="*/ 8519 w 10000"/>
                <a:gd name="connsiteY71" fmla="*/ 196 h 10000"/>
                <a:gd name="connsiteX72" fmla="*/ 8642 w 10000"/>
                <a:gd name="connsiteY72" fmla="*/ 523 h 10000"/>
                <a:gd name="connsiteX73" fmla="*/ 8724 w 10000"/>
                <a:gd name="connsiteY73" fmla="*/ 850 h 10000"/>
                <a:gd name="connsiteX74" fmla="*/ 8807 w 10000"/>
                <a:gd name="connsiteY74" fmla="*/ 1111 h 10000"/>
                <a:gd name="connsiteX75" fmla="*/ 8868 w 10000"/>
                <a:gd name="connsiteY75" fmla="*/ 1373 h 10000"/>
                <a:gd name="connsiteX76" fmla="*/ 9033 w 10000"/>
                <a:gd name="connsiteY76" fmla="*/ 1373 h 10000"/>
                <a:gd name="connsiteX77" fmla="*/ 9136 w 10000"/>
                <a:gd name="connsiteY77" fmla="*/ 1471 h 10000"/>
                <a:gd name="connsiteX78" fmla="*/ 9280 w 10000"/>
                <a:gd name="connsiteY78" fmla="*/ 1601 h 10000"/>
                <a:gd name="connsiteX79" fmla="*/ 9342 w 10000"/>
                <a:gd name="connsiteY79" fmla="*/ 1634 h 10000"/>
                <a:gd name="connsiteX80" fmla="*/ 9383 w 10000"/>
                <a:gd name="connsiteY80" fmla="*/ 1961 h 10000"/>
                <a:gd name="connsiteX81" fmla="*/ 9609 w 10000"/>
                <a:gd name="connsiteY81" fmla="*/ 1993 h 10000"/>
                <a:gd name="connsiteX82" fmla="*/ 9671 w 10000"/>
                <a:gd name="connsiteY82" fmla="*/ 1863 h 10000"/>
                <a:gd name="connsiteX83" fmla="*/ 9815 w 10000"/>
                <a:gd name="connsiteY83" fmla="*/ 1830 h 10000"/>
                <a:gd name="connsiteX84" fmla="*/ 9979 w 10000"/>
                <a:gd name="connsiteY84" fmla="*/ 1797 h 10000"/>
                <a:gd name="connsiteX85" fmla="*/ 10000 w 10000"/>
                <a:gd name="connsiteY85" fmla="*/ 2026 h 10000"/>
                <a:gd name="connsiteX86" fmla="*/ 9918 w 10000"/>
                <a:gd name="connsiteY86" fmla="*/ 2092 h 10000"/>
                <a:gd name="connsiteX87" fmla="*/ 9856 w 10000"/>
                <a:gd name="connsiteY87" fmla="*/ 2451 h 10000"/>
                <a:gd name="connsiteX88" fmla="*/ 9733 w 10000"/>
                <a:gd name="connsiteY88" fmla="*/ 2810 h 10000"/>
                <a:gd name="connsiteX89" fmla="*/ 9609 w 10000"/>
                <a:gd name="connsiteY89" fmla="*/ 2843 h 10000"/>
                <a:gd name="connsiteX90" fmla="*/ 9547 w 10000"/>
                <a:gd name="connsiteY90" fmla="*/ 2745 h 10000"/>
                <a:gd name="connsiteX91" fmla="*/ 9403 w 10000"/>
                <a:gd name="connsiteY91" fmla="*/ 2908 h 10000"/>
                <a:gd name="connsiteX92" fmla="*/ 9403 w 10000"/>
                <a:gd name="connsiteY92" fmla="*/ 3497 h 10000"/>
                <a:gd name="connsiteX93" fmla="*/ 9321 w 10000"/>
                <a:gd name="connsiteY93" fmla="*/ 3660 h 10000"/>
                <a:gd name="connsiteX94" fmla="*/ 9218 w 10000"/>
                <a:gd name="connsiteY94" fmla="*/ 3529 h 10000"/>
                <a:gd name="connsiteX95" fmla="*/ 9053 w 10000"/>
                <a:gd name="connsiteY95" fmla="*/ 3791 h 10000"/>
                <a:gd name="connsiteX96" fmla="*/ 8951 w 10000"/>
                <a:gd name="connsiteY96" fmla="*/ 3791 h 10000"/>
                <a:gd name="connsiteX97" fmla="*/ 8930 w 10000"/>
                <a:gd name="connsiteY97" fmla="*/ 3922 h 10000"/>
                <a:gd name="connsiteX98" fmla="*/ 8827 w 10000"/>
                <a:gd name="connsiteY98" fmla="*/ 3954 h 10000"/>
                <a:gd name="connsiteX99" fmla="*/ 8724 w 10000"/>
                <a:gd name="connsiteY99" fmla="*/ 3889 h 10000"/>
                <a:gd name="connsiteX100" fmla="*/ 8683 w 10000"/>
                <a:gd name="connsiteY100" fmla="*/ 3922 h 10000"/>
                <a:gd name="connsiteX101" fmla="*/ 8539 w 10000"/>
                <a:gd name="connsiteY101" fmla="*/ 4150 h 10000"/>
                <a:gd name="connsiteX102" fmla="*/ 8416 w 10000"/>
                <a:gd name="connsiteY102" fmla="*/ 4281 h 10000"/>
                <a:gd name="connsiteX103" fmla="*/ 8313 w 10000"/>
                <a:gd name="connsiteY103" fmla="*/ 4444 h 10000"/>
                <a:gd name="connsiteX104" fmla="*/ 8210 w 10000"/>
                <a:gd name="connsiteY104" fmla="*/ 4477 h 10000"/>
                <a:gd name="connsiteX105" fmla="*/ 8107 w 10000"/>
                <a:gd name="connsiteY105" fmla="*/ 4510 h 10000"/>
                <a:gd name="connsiteX106" fmla="*/ 7819 w 10000"/>
                <a:gd name="connsiteY106" fmla="*/ 4804 h 10000"/>
                <a:gd name="connsiteX107" fmla="*/ 7798 w 10000"/>
                <a:gd name="connsiteY107" fmla="*/ 4608 h 10000"/>
                <a:gd name="connsiteX108" fmla="*/ 7840 w 10000"/>
                <a:gd name="connsiteY108" fmla="*/ 4444 h 10000"/>
                <a:gd name="connsiteX109" fmla="*/ 7942 w 10000"/>
                <a:gd name="connsiteY109" fmla="*/ 4346 h 10000"/>
                <a:gd name="connsiteX110" fmla="*/ 7922 w 10000"/>
                <a:gd name="connsiteY110" fmla="*/ 4183 h 10000"/>
                <a:gd name="connsiteX111" fmla="*/ 7840 w 10000"/>
                <a:gd name="connsiteY111" fmla="*/ 4183 h 10000"/>
                <a:gd name="connsiteX112" fmla="*/ 7716 w 10000"/>
                <a:gd name="connsiteY112" fmla="*/ 4216 h 10000"/>
                <a:gd name="connsiteX113" fmla="*/ 7490 w 10000"/>
                <a:gd name="connsiteY113" fmla="*/ 4510 h 10000"/>
                <a:gd name="connsiteX114" fmla="*/ 7449 w 10000"/>
                <a:gd name="connsiteY114" fmla="*/ 4673 h 10000"/>
                <a:gd name="connsiteX115" fmla="*/ 7243 w 10000"/>
                <a:gd name="connsiteY115" fmla="*/ 4673 h 10000"/>
                <a:gd name="connsiteX116" fmla="*/ 7202 w 10000"/>
                <a:gd name="connsiteY116" fmla="*/ 4804 h 10000"/>
                <a:gd name="connsiteX117" fmla="*/ 7263 w 10000"/>
                <a:gd name="connsiteY117" fmla="*/ 5033 h 10000"/>
                <a:gd name="connsiteX118" fmla="*/ 7407 w 10000"/>
                <a:gd name="connsiteY118" fmla="*/ 5065 h 10000"/>
                <a:gd name="connsiteX119" fmla="*/ 7407 w 10000"/>
                <a:gd name="connsiteY119" fmla="*/ 5163 h 10000"/>
                <a:gd name="connsiteX120" fmla="*/ 7428 w 10000"/>
                <a:gd name="connsiteY120" fmla="*/ 5294 h 10000"/>
                <a:gd name="connsiteX121" fmla="*/ 7551 w 10000"/>
                <a:gd name="connsiteY121" fmla="*/ 5261 h 10000"/>
                <a:gd name="connsiteX122" fmla="*/ 7634 w 10000"/>
                <a:gd name="connsiteY122" fmla="*/ 5131 h 10000"/>
                <a:gd name="connsiteX123" fmla="*/ 7716 w 10000"/>
                <a:gd name="connsiteY123" fmla="*/ 5098 h 10000"/>
                <a:gd name="connsiteX124" fmla="*/ 7798 w 10000"/>
                <a:gd name="connsiteY124" fmla="*/ 5163 h 10000"/>
                <a:gd name="connsiteX125" fmla="*/ 7963 w 10000"/>
                <a:gd name="connsiteY125" fmla="*/ 5229 h 10000"/>
                <a:gd name="connsiteX126" fmla="*/ 8004 w 10000"/>
                <a:gd name="connsiteY126" fmla="*/ 5359 h 10000"/>
                <a:gd name="connsiteX127" fmla="*/ 7942 w 10000"/>
                <a:gd name="connsiteY127" fmla="*/ 5392 h 10000"/>
                <a:gd name="connsiteX128" fmla="*/ 7819 w 10000"/>
                <a:gd name="connsiteY128" fmla="*/ 5392 h 10000"/>
                <a:gd name="connsiteX129" fmla="*/ 7737 w 10000"/>
                <a:gd name="connsiteY129" fmla="*/ 5458 h 10000"/>
                <a:gd name="connsiteX130" fmla="*/ 7716 w 10000"/>
                <a:gd name="connsiteY130" fmla="*/ 5556 h 10000"/>
                <a:gd name="connsiteX131" fmla="*/ 7613 w 10000"/>
                <a:gd name="connsiteY131" fmla="*/ 5621 h 10000"/>
                <a:gd name="connsiteX132" fmla="*/ 7510 w 10000"/>
                <a:gd name="connsiteY132" fmla="*/ 5850 h 10000"/>
                <a:gd name="connsiteX133" fmla="*/ 7469 w 10000"/>
                <a:gd name="connsiteY133" fmla="*/ 6013 h 10000"/>
                <a:gd name="connsiteX134" fmla="*/ 7572 w 10000"/>
                <a:gd name="connsiteY134" fmla="*/ 6078 h 10000"/>
                <a:gd name="connsiteX135" fmla="*/ 7634 w 10000"/>
                <a:gd name="connsiteY135" fmla="*/ 6176 h 10000"/>
                <a:gd name="connsiteX136" fmla="*/ 7716 w 10000"/>
                <a:gd name="connsiteY136" fmla="*/ 6503 h 10000"/>
                <a:gd name="connsiteX137" fmla="*/ 7737 w 10000"/>
                <a:gd name="connsiteY137" fmla="*/ 6634 h 10000"/>
                <a:gd name="connsiteX138" fmla="*/ 7901 w 10000"/>
                <a:gd name="connsiteY138" fmla="*/ 6830 h 10000"/>
                <a:gd name="connsiteX139" fmla="*/ 7881 w 10000"/>
                <a:gd name="connsiteY139" fmla="*/ 6895 h 10000"/>
                <a:gd name="connsiteX140" fmla="*/ 7778 w 10000"/>
                <a:gd name="connsiteY140" fmla="*/ 6830 h 10000"/>
                <a:gd name="connsiteX141" fmla="*/ 7737 w 10000"/>
                <a:gd name="connsiteY141" fmla="*/ 6961 h 10000"/>
                <a:gd name="connsiteX142" fmla="*/ 7860 w 10000"/>
                <a:gd name="connsiteY142" fmla="*/ 7026 h 10000"/>
                <a:gd name="connsiteX143" fmla="*/ 7901 w 10000"/>
                <a:gd name="connsiteY143" fmla="*/ 7124 h 10000"/>
                <a:gd name="connsiteX144" fmla="*/ 7819 w 10000"/>
                <a:gd name="connsiteY144" fmla="*/ 7157 h 10000"/>
                <a:gd name="connsiteX145" fmla="*/ 7716 w 10000"/>
                <a:gd name="connsiteY145" fmla="*/ 7190 h 10000"/>
                <a:gd name="connsiteX146" fmla="*/ 7654 w 10000"/>
                <a:gd name="connsiteY146" fmla="*/ 7255 h 10000"/>
                <a:gd name="connsiteX147" fmla="*/ 7634 w 10000"/>
                <a:gd name="connsiteY147" fmla="*/ 7288 h 10000"/>
                <a:gd name="connsiteX148" fmla="*/ 7778 w 10000"/>
                <a:gd name="connsiteY148" fmla="*/ 7320 h 10000"/>
                <a:gd name="connsiteX149" fmla="*/ 7881 w 10000"/>
                <a:gd name="connsiteY149" fmla="*/ 7353 h 10000"/>
                <a:gd name="connsiteX150" fmla="*/ 7881 w 10000"/>
                <a:gd name="connsiteY150" fmla="*/ 7549 h 10000"/>
                <a:gd name="connsiteX151" fmla="*/ 7798 w 10000"/>
                <a:gd name="connsiteY151" fmla="*/ 7843 h 10000"/>
                <a:gd name="connsiteX152" fmla="*/ 7593 w 10000"/>
                <a:gd name="connsiteY152" fmla="*/ 8235 h 10000"/>
                <a:gd name="connsiteX153" fmla="*/ 7449 w 10000"/>
                <a:gd name="connsiteY153" fmla="*/ 8562 h 10000"/>
                <a:gd name="connsiteX154" fmla="*/ 7346 w 10000"/>
                <a:gd name="connsiteY154" fmla="*/ 8856 h 10000"/>
                <a:gd name="connsiteX155" fmla="*/ 7119 w 10000"/>
                <a:gd name="connsiteY155" fmla="*/ 9150 h 10000"/>
                <a:gd name="connsiteX156" fmla="*/ 6975 w 10000"/>
                <a:gd name="connsiteY156" fmla="*/ 9346 h 10000"/>
                <a:gd name="connsiteX157" fmla="*/ 6749 w 10000"/>
                <a:gd name="connsiteY157" fmla="*/ 9412 h 10000"/>
                <a:gd name="connsiteX158" fmla="*/ 6626 w 10000"/>
                <a:gd name="connsiteY158" fmla="*/ 9412 h 10000"/>
                <a:gd name="connsiteX159" fmla="*/ 6564 w 10000"/>
                <a:gd name="connsiteY159" fmla="*/ 9281 h 10000"/>
                <a:gd name="connsiteX160" fmla="*/ 6502 w 10000"/>
                <a:gd name="connsiteY160" fmla="*/ 9314 h 10000"/>
                <a:gd name="connsiteX161" fmla="*/ 6502 w 10000"/>
                <a:gd name="connsiteY161" fmla="*/ 9542 h 10000"/>
                <a:gd name="connsiteX162" fmla="*/ 6358 w 10000"/>
                <a:gd name="connsiteY162" fmla="*/ 9608 h 10000"/>
                <a:gd name="connsiteX163" fmla="*/ 6152 w 10000"/>
                <a:gd name="connsiteY163" fmla="*/ 9706 h 10000"/>
                <a:gd name="connsiteX164" fmla="*/ 6029 w 10000"/>
                <a:gd name="connsiteY164" fmla="*/ 9739 h 10000"/>
                <a:gd name="connsiteX165" fmla="*/ 5988 w 10000"/>
                <a:gd name="connsiteY165" fmla="*/ 9869 h 10000"/>
                <a:gd name="connsiteX166" fmla="*/ 6008 w 10000"/>
                <a:gd name="connsiteY166" fmla="*/ 10000 h 10000"/>
                <a:gd name="connsiteX167" fmla="*/ 5926 w 10000"/>
                <a:gd name="connsiteY167" fmla="*/ 9935 h 10000"/>
                <a:gd name="connsiteX168" fmla="*/ 5926 w 10000"/>
                <a:gd name="connsiteY168" fmla="*/ 9804 h 10000"/>
                <a:gd name="connsiteX169" fmla="*/ 5926 w 10000"/>
                <a:gd name="connsiteY169" fmla="*/ 9706 h 10000"/>
                <a:gd name="connsiteX170" fmla="*/ 5823 w 10000"/>
                <a:gd name="connsiteY170" fmla="*/ 9706 h 10000"/>
                <a:gd name="connsiteX171" fmla="*/ 5720 w 10000"/>
                <a:gd name="connsiteY171" fmla="*/ 9641 h 10000"/>
                <a:gd name="connsiteX172" fmla="*/ 5617 w 10000"/>
                <a:gd name="connsiteY172" fmla="*/ 9706 h 10000"/>
                <a:gd name="connsiteX173" fmla="*/ 5514 w 10000"/>
                <a:gd name="connsiteY173" fmla="*/ 9706 h 10000"/>
                <a:gd name="connsiteX174" fmla="*/ 5432 w 10000"/>
                <a:gd name="connsiteY174" fmla="*/ 9641 h 10000"/>
                <a:gd name="connsiteX175" fmla="*/ 5412 w 10000"/>
                <a:gd name="connsiteY175" fmla="*/ 9379 h 10000"/>
                <a:gd name="connsiteX176" fmla="*/ 5288 w 10000"/>
                <a:gd name="connsiteY176" fmla="*/ 9346 h 10000"/>
                <a:gd name="connsiteX177" fmla="*/ 5226 w 10000"/>
                <a:gd name="connsiteY177" fmla="*/ 9281 h 10000"/>
                <a:gd name="connsiteX178" fmla="*/ 5144 w 10000"/>
                <a:gd name="connsiteY178" fmla="*/ 9281 h 10000"/>
                <a:gd name="connsiteX179" fmla="*/ 5062 w 10000"/>
                <a:gd name="connsiteY179" fmla="*/ 9412 h 10000"/>
                <a:gd name="connsiteX180" fmla="*/ 4712 w 10000"/>
                <a:gd name="connsiteY180" fmla="*/ 9412 h 10000"/>
                <a:gd name="connsiteX181" fmla="*/ 4691 w 10000"/>
                <a:gd name="connsiteY181" fmla="*/ 9477 h 10000"/>
                <a:gd name="connsiteX182" fmla="*/ 4568 w 10000"/>
                <a:gd name="connsiteY182" fmla="*/ 9477 h 10000"/>
                <a:gd name="connsiteX183" fmla="*/ 4568 w 10000"/>
                <a:gd name="connsiteY183" fmla="*/ 9608 h 10000"/>
                <a:gd name="connsiteX184" fmla="*/ 4630 w 10000"/>
                <a:gd name="connsiteY184" fmla="*/ 9641 h 10000"/>
                <a:gd name="connsiteX185" fmla="*/ 4609 w 10000"/>
                <a:gd name="connsiteY185" fmla="*/ 9771 h 10000"/>
                <a:gd name="connsiteX186" fmla="*/ 4527 w 10000"/>
                <a:gd name="connsiteY186" fmla="*/ 9771 h 10000"/>
                <a:gd name="connsiteX187" fmla="*/ 4486 w 10000"/>
                <a:gd name="connsiteY187" fmla="*/ 9706 h 10000"/>
                <a:gd name="connsiteX188" fmla="*/ 4403 w 10000"/>
                <a:gd name="connsiteY188" fmla="*/ 9706 h 10000"/>
                <a:gd name="connsiteX189" fmla="*/ 4321 w 10000"/>
                <a:gd name="connsiteY189" fmla="*/ 9706 h 10000"/>
                <a:gd name="connsiteX190" fmla="*/ 4321 w 10000"/>
                <a:gd name="connsiteY190" fmla="*/ 9608 h 10000"/>
                <a:gd name="connsiteX191" fmla="*/ 4239 w 10000"/>
                <a:gd name="connsiteY191" fmla="*/ 9575 h 10000"/>
                <a:gd name="connsiteX192" fmla="*/ 4239 w 10000"/>
                <a:gd name="connsiteY192" fmla="*/ 9314 h 10000"/>
                <a:gd name="connsiteX193" fmla="*/ 4136 w 10000"/>
                <a:gd name="connsiteY193" fmla="*/ 9248 h 10000"/>
                <a:gd name="connsiteX194" fmla="*/ 4136 w 10000"/>
                <a:gd name="connsiteY194" fmla="*/ 9020 h 10000"/>
                <a:gd name="connsiteX195" fmla="*/ 3930 w 10000"/>
                <a:gd name="connsiteY195" fmla="*/ 8922 h 10000"/>
                <a:gd name="connsiteX196" fmla="*/ 3930 w 10000"/>
                <a:gd name="connsiteY196" fmla="*/ 8856 h 10000"/>
                <a:gd name="connsiteX197" fmla="*/ 4095 w 10000"/>
                <a:gd name="connsiteY197" fmla="*/ 8497 h 10000"/>
                <a:gd name="connsiteX198" fmla="*/ 4115 w 10000"/>
                <a:gd name="connsiteY198" fmla="*/ 8105 h 10000"/>
                <a:gd name="connsiteX199" fmla="*/ 4033 w 10000"/>
                <a:gd name="connsiteY199" fmla="*/ 8007 h 10000"/>
                <a:gd name="connsiteX200" fmla="*/ 3971 w 10000"/>
                <a:gd name="connsiteY200" fmla="*/ 7843 h 10000"/>
                <a:gd name="connsiteX201" fmla="*/ 3889 w 10000"/>
                <a:gd name="connsiteY201" fmla="*/ 7810 h 10000"/>
                <a:gd name="connsiteX202" fmla="*/ 3724 w 10000"/>
                <a:gd name="connsiteY202" fmla="*/ 7778 h 10000"/>
                <a:gd name="connsiteX203" fmla="*/ 3724 w 10000"/>
                <a:gd name="connsiteY203" fmla="*/ 7549 h 10000"/>
                <a:gd name="connsiteX204" fmla="*/ 3621 w 10000"/>
                <a:gd name="connsiteY204" fmla="*/ 7582 h 10000"/>
                <a:gd name="connsiteX205" fmla="*/ 3395 w 10000"/>
                <a:gd name="connsiteY205" fmla="*/ 7582 h 10000"/>
                <a:gd name="connsiteX206" fmla="*/ 3333 w 10000"/>
                <a:gd name="connsiteY206" fmla="*/ 7712 h 10000"/>
                <a:gd name="connsiteX207" fmla="*/ 3210 w 10000"/>
                <a:gd name="connsiteY207" fmla="*/ 7712 h 10000"/>
                <a:gd name="connsiteX208" fmla="*/ 3107 w 10000"/>
                <a:gd name="connsiteY208" fmla="*/ 7941 h 10000"/>
                <a:gd name="connsiteX209" fmla="*/ 3004 w 10000"/>
                <a:gd name="connsiteY209" fmla="*/ 7974 h 10000"/>
                <a:gd name="connsiteX210" fmla="*/ 2860 w 10000"/>
                <a:gd name="connsiteY210" fmla="*/ 7941 h 10000"/>
                <a:gd name="connsiteX211" fmla="*/ 2737 w 10000"/>
                <a:gd name="connsiteY211" fmla="*/ 7876 h 10000"/>
                <a:gd name="connsiteX212" fmla="*/ 2634 w 10000"/>
                <a:gd name="connsiteY212" fmla="*/ 7876 h 10000"/>
                <a:gd name="connsiteX213" fmla="*/ 2572 w 10000"/>
                <a:gd name="connsiteY213" fmla="*/ 7974 h 10000"/>
                <a:gd name="connsiteX214" fmla="*/ 2366 w 10000"/>
                <a:gd name="connsiteY214" fmla="*/ 7974 h 10000"/>
                <a:gd name="connsiteX215" fmla="*/ 2140 w 10000"/>
                <a:gd name="connsiteY215" fmla="*/ 7941 h 10000"/>
                <a:gd name="connsiteX216" fmla="*/ 1975 w 10000"/>
                <a:gd name="connsiteY216" fmla="*/ 7908 h 10000"/>
                <a:gd name="connsiteX217" fmla="*/ 1790 w 10000"/>
                <a:gd name="connsiteY217" fmla="*/ 7712 h 10000"/>
                <a:gd name="connsiteX218" fmla="*/ 1667 w 10000"/>
                <a:gd name="connsiteY218" fmla="*/ 7582 h 10000"/>
                <a:gd name="connsiteX219" fmla="*/ 1502 w 10000"/>
                <a:gd name="connsiteY219" fmla="*/ 7451 h 10000"/>
                <a:gd name="connsiteX220" fmla="*/ 1358 w 10000"/>
                <a:gd name="connsiteY220" fmla="*/ 7222 h 10000"/>
                <a:gd name="connsiteX221" fmla="*/ 1214 w 10000"/>
                <a:gd name="connsiteY221" fmla="*/ 7320 h 10000"/>
                <a:gd name="connsiteX222" fmla="*/ 1091 w 10000"/>
                <a:gd name="connsiteY222" fmla="*/ 7157 h 10000"/>
                <a:gd name="connsiteX223" fmla="*/ 823 w 10000"/>
                <a:gd name="connsiteY223" fmla="*/ 6961 h 10000"/>
                <a:gd name="connsiteX224" fmla="*/ 823 w 10000"/>
                <a:gd name="connsiteY224" fmla="*/ 6830 h 10000"/>
                <a:gd name="connsiteX225" fmla="*/ 864 w 10000"/>
                <a:gd name="connsiteY225" fmla="*/ 6667 h 10000"/>
                <a:gd name="connsiteX226" fmla="*/ 967 w 10000"/>
                <a:gd name="connsiteY226" fmla="*/ 6634 h 10000"/>
                <a:gd name="connsiteX227" fmla="*/ 988 w 10000"/>
                <a:gd name="connsiteY227" fmla="*/ 6503 h 10000"/>
                <a:gd name="connsiteX228" fmla="*/ 864 w 10000"/>
                <a:gd name="connsiteY228" fmla="*/ 6373 h 10000"/>
                <a:gd name="connsiteX229" fmla="*/ 864 w 10000"/>
                <a:gd name="connsiteY229" fmla="*/ 6209 h 10000"/>
                <a:gd name="connsiteX230" fmla="*/ 1029 w 10000"/>
                <a:gd name="connsiteY230" fmla="*/ 6078 h 10000"/>
                <a:gd name="connsiteX231" fmla="*/ 1111 w 10000"/>
                <a:gd name="connsiteY231" fmla="*/ 5948 h 10000"/>
                <a:gd name="connsiteX232" fmla="*/ 1111 w 10000"/>
                <a:gd name="connsiteY232" fmla="*/ 5817 h 10000"/>
                <a:gd name="connsiteX233" fmla="*/ 976 w 10000"/>
                <a:gd name="connsiteY233" fmla="*/ 5673 h 10000"/>
                <a:gd name="connsiteX234" fmla="*/ 803 w 10000"/>
                <a:gd name="connsiteY234" fmla="*/ 5778 h 10000"/>
                <a:gd name="connsiteX235" fmla="*/ 597 w 10000"/>
                <a:gd name="connsiteY235" fmla="*/ 5719 h 10000"/>
                <a:gd name="connsiteX236" fmla="*/ 391 w 10000"/>
                <a:gd name="connsiteY236" fmla="*/ 5588 h 10000"/>
                <a:gd name="connsiteX237" fmla="*/ 391 w 10000"/>
                <a:gd name="connsiteY237" fmla="*/ 5425 h 10000"/>
                <a:gd name="connsiteX238" fmla="*/ 206 w 10000"/>
                <a:gd name="connsiteY238" fmla="*/ 5327 h 10000"/>
                <a:gd name="connsiteX239" fmla="*/ 206 w 10000"/>
                <a:gd name="connsiteY239" fmla="*/ 5196 h 10000"/>
                <a:gd name="connsiteX240" fmla="*/ 206 w 10000"/>
                <a:gd name="connsiteY240" fmla="*/ 4869 h 10000"/>
                <a:gd name="connsiteX241" fmla="*/ 82 w 10000"/>
                <a:gd name="connsiteY241" fmla="*/ 4902 h 10000"/>
                <a:gd name="connsiteX242" fmla="*/ 21 w 10000"/>
                <a:gd name="connsiteY242" fmla="*/ 4869 h 10000"/>
                <a:gd name="connsiteX243" fmla="*/ 0 w 10000"/>
                <a:gd name="connsiteY243" fmla="*/ 4739 h 10000"/>
                <a:gd name="connsiteX244" fmla="*/ 21 w 10000"/>
                <a:gd name="connsiteY244" fmla="*/ 4641 h 10000"/>
                <a:gd name="connsiteX245" fmla="*/ 41 w 10000"/>
                <a:gd name="connsiteY245" fmla="*/ 4477 h 10000"/>
                <a:gd name="connsiteX246" fmla="*/ 165 w 10000"/>
                <a:gd name="connsiteY246" fmla="*/ 4346 h 10000"/>
                <a:gd name="connsiteX247" fmla="*/ 185 w 10000"/>
                <a:gd name="connsiteY247" fmla="*/ 4248 h 10000"/>
                <a:gd name="connsiteX248" fmla="*/ 329 w 10000"/>
                <a:gd name="connsiteY248" fmla="*/ 4248 h 10000"/>
                <a:gd name="connsiteX249" fmla="*/ 329 w 10000"/>
                <a:gd name="connsiteY249" fmla="*/ 4346 h 10000"/>
                <a:gd name="connsiteX250" fmla="*/ 494 w 10000"/>
                <a:gd name="connsiteY250" fmla="*/ 4281 h 10000"/>
                <a:gd name="connsiteX251" fmla="*/ 535 w 10000"/>
                <a:gd name="connsiteY251" fmla="*/ 4118 h 10000"/>
                <a:gd name="connsiteX252" fmla="*/ 741 w 10000"/>
                <a:gd name="connsiteY252" fmla="*/ 4118 h 10000"/>
                <a:gd name="connsiteX253" fmla="*/ 782 w 10000"/>
                <a:gd name="connsiteY253" fmla="*/ 3987 h 10000"/>
                <a:gd name="connsiteX254" fmla="*/ 1049 w 10000"/>
                <a:gd name="connsiteY254" fmla="*/ 3791 h 10000"/>
                <a:gd name="connsiteX255" fmla="*/ 1111 w 10000"/>
                <a:gd name="connsiteY255" fmla="*/ 3725 h 10000"/>
                <a:gd name="connsiteX0" fmla="*/ 1111 w 10000"/>
                <a:gd name="connsiteY0" fmla="*/ 3725 h 10000"/>
                <a:gd name="connsiteX1" fmla="*/ 1111 w 10000"/>
                <a:gd name="connsiteY1" fmla="*/ 3562 h 10000"/>
                <a:gd name="connsiteX2" fmla="*/ 1193 w 10000"/>
                <a:gd name="connsiteY2" fmla="*/ 3431 h 10000"/>
                <a:gd name="connsiteX3" fmla="*/ 1132 w 10000"/>
                <a:gd name="connsiteY3" fmla="*/ 3170 h 10000"/>
                <a:gd name="connsiteX4" fmla="*/ 1111 w 10000"/>
                <a:gd name="connsiteY4" fmla="*/ 2876 h 10000"/>
                <a:gd name="connsiteX5" fmla="*/ 1235 w 10000"/>
                <a:gd name="connsiteY5" fmla="*/ 2778 h 10000"/>
                <a:gd name="connsiteX6" fmla="*/ 1420 w 10000"/>
                <a:gd name="connsiteY6" fmla="*/ 2778 h 10000"/>
                <a:gd name="connsiteX7" fmla="*/ 1461 w 10000"/>
                <a:gd name="connsiteY7" fmla="*/ 2549 h 10000"/>
                <a:gd name="connsiteX8" fmla="*/ 1564 w 10000"/>
                <a:gd name="connsiteY8" fmla="*/ 2157 h 10000"/>
                <a:gd name="connsiteX9" fmla="*/ 1749 w 10000"/>
                <a:gd name="connsiteY9" fmla="*/ 2190 h 10000"/>
                <a:gd name="connsiteX10" fmla="*/ 1893 w 10000"/>
                <a:gd name="connsiteY10" fmla="*/ 2190 h 10000"/>
                <a:gd name="connsiteX11" fmla="*/ 1996 w 10000"/>
                <a:gd name="connsiteY11" fmla="*/ 2157 h 10000"/>
                <a:gd name="connsiteX12" fmla="*/ 1996 w 10000"/>
                <a:gd name="connsiteY12" fmla="*/ 1928 h 10000"/>
                <a:gd name="connsiteX13" fmla="*/ 2037 w 10000"/>
                <a:gd name="connsiteY13" fmla="*/ 1699 h 10000"/>
                <a:gd name="connsiteX14" fmla="*/ 2160 w 10000"/>
                <a:gd name="connsiteY14" fmla="*/ 1699 h 10000"/>
                <a:gd name="connsiteX15" fmla="*/ 2181 w 10000"/>
                <a:gd name="connsiteY15" fmla="*/ 1536 h 10000"/>
                <a:gd name="connsiteX16" fmla="*/ 2346 w 10000"/>
                <a:gd name="connsiteY16" fmla="*/ 1536 h 10000"/>
                <a:gd name="connsiteX17" fmla="*/ 2387 w 10000"/>
                <a:gd name="connsiteY17" fmla="*/ 1699 h 10000"/>
                <a:gd name="connsiteX18" fmla="*/ 2490 w 10000"/>
                <a:gd name="connsiteY18" fmla="*/ 1863 h 10000"/>
                <a:gd name="connsiteX19" fmla="*/ 2654 w 10000"/>
                <a:gd name="connsiteY19" fmla="*/ 1895 h 10000"/>
                <a:gd name="connsiteX20" fmla="*/ 2798 w 10000"/>
                <a:gd name="connsiteY20" fmla="*/ 2124 h 10000"/>
                <a:gd name="connsiteX21" fmla="*/ 2881 w 10000"/>
                <a:gd name="connsiteY21" fmla="*/ 2320 h 10000"/>
                <a:gd name="connsiteX22" fmla="*/ 2881 w 10000"/>
                <a:gd name="connsiteY22" fmla="*/ 2451 h 10000"/>
                <a:gd name="connsiteX23" fmla="*/ 2819 w 10000"/>
                <a:gd name="connsiteY23" fmla="*/ 2582 h 10000"/>
                <a:gd name="connsiteX24" fmla="*/ 2860 w 10000"/>
                <a:gd name="connsiteY24" fmla="*/ 2778 h 10000"/>
                <a:gd name="connsiteX25" fmla="*/ 2942 w 10000"/>
                <a:gd name="connsiteY25" fmla="*/ 2843 h 10000"/>
                <a:gd name="connsiteX26" fmla="*/ 3292 w 10000"/>
                <a:gd name="connsiteY26" fmla="*/ 2876 h 10000"/>
                <a:gd name="connsiteX27" fmla="*/ 3395 w 10000"/>
                <a:gd name="connsiteY27" fmla="*/ 3039 h 10000"/>
                <a:gd name="connsiteX28" fmla="*/ 3621 w 10000"/>
                <a:gd name="connsiteY28" fmla="*/ 3235 h 10000"/>
                <a:gd name="connsiteX29" fmla="*/ 3683 w 10000"/>
                <a:gd name="connsiteY29" fmla="*/ 3464 h 10000"/>
                <a:gd name="connsiteX30" fmla="*/ 3745 w 10000"/>
                <a:gd name="connsiteY30" fmla="*/ 3595 h 10000"/>
                <a:gd name="connsiteX31" fmla="*/ 4300 w 10000"/>
                <a:gd name="connsiteY31" fmla="*/ 3627 h 10000"/>
                <a:gd name="connsiteX32" fmla="*/ 4588 w 10000"/>
                <a:gd name="connsiteY32" fmla="*/ 3660 h 10000"/>
                <a:gd name="connsiteX33" fmla="*/ 4835 w 10000"/>
                <a:gd name="connsiteY33" fmla="*/ 3856 h 10000"/>
                <a:gd name="connsiteX34" fmla="*/ 5206 w 10000"/>
                <a:gd name="connsiteY34" fmla="*/ 3922 h 10000"/>
                <a:gd name="connsiteX35" fmla="*/ 5432 w 10000"/>
                <a:gd name="connsiteY35" fmla="*/ 3693 h 10000"/>
                <a:gd name="connsiteX36" fmla="*/ 5885 w 10000"/>
                <a:gd name="connsiteY36" fmla="*/ 3693 h 10000"/>
                <a:gd name="connsiteX37" fmla="*/ 6070 w 10000"/>
                <a:gd name="connsiteY37" fmla="*/ 3529 h 10000"/>
                <a:gd name="connsiteX38" fmla="*/ 6070 w 10000"/>
                <a:gd name="connsiteY38" fmla="*/ 3431 h 10000"/>
                <a:gd name="connsiteX39" fmla="*/ 6255 w 10000"/>
                <a:gd name="connsiteY39" fmla="*/ 3268 h 10000"/>
                <a:gd name="connsiteX40" fmla="*/ 6193 w 10000"/>
                <a:gd name="connsiteY40" fmla="*/ 3072 h 10000"/>
                <a:gd name="connsiteX41" fmla="*/ 6255 w 10000"/>
                <a:gd name="connsiteY41" fmla="*/ 2876 h 10000"/>
                <a:gd name="connsiteX42" fmla="*/ 6399 w 10000"/>
                <a:gd name="connsiteY42" fmla="*/ 2876 h 10000"/>
                <a:gd name="connsiteX43" fmla="*/ 6584 w 10000"/>
                <a:gd name="connsiteY43" fmla="*/ 2908 h 10000"/>
                <a:gd name="connsiteX44" fmla="*/ 6728 w 10000"/>
                <a:gd name="connsiteY44" fmla="*/ 2680 h 10000"/>
                <a:gd name="connsiteX45" fmla="*/ 6893 w 10000"/>
                <a:gd name="connsiteY45" fmla="*/ 2680 h 10000"/>
                <a:gd name="connsiteX46" fmla="*/ 7078 w 10000"/>
                <a:gd name="connsiteY46" fmla="*/ 2451 h 10000"/>
                <a:gd name="connsiteX47" fmla="*/ 7284 w 10000"/>
                <a:gd name="connsiteY47" fmla="*/ 2320 h 10000"/>
                <a:gd name="connsiteX48" fmla="*/ 7407 w 10000"/>
                <a:gd name="connsiteY48" fmla="*/ 2320 h 10000"/>
                <a:gd name="connsiteX49" fmla="*/ 7572 w 10000"/>
                <a:gd name="connsiteY49" fmla="*/ 2353 h 10000"/>
                <a:gd name="connsiteX50" fmla="*/ 7551 w 10000"/>
                <a:gd name="connsiteY50" fmla="*/ 2190 h 10000"/>
                <a:gd name="connsiteX51" fmla="*/ 7346 w 10000"/>
                <a:gd name="connsiteY51" fmla="*/ 1863 h 10000"/>
                <a:gd name="connsiteX52" fmla="*/ 7243 w 10000"/>
                <a:gd name="connsiteY52" fmla="*/ 1830 h 10000"/>
                <a:gd name="connsiteX53" fmla="*/ 7160 w 10000"/>
                <a:gd name="connsiteY53" fmla="*/ 1928 h 10000"/>
                <a:gd name="connsiteX54" fmla="*/ 6872 w 10000"/>
                <a:gd name="connsiteY54" fmla="*/ 1895 h 10000"/>
                <a:gd name="connsiteX55" fmla="*/ 6914 w 10000"/>
                <a:gd name="connsiteY55" fmla="*/ 1667 h 10000"/>
                <a:gd name="connsiteX56" fmla="*/ 6996 w 10000"/>
                <a:gd name="connsiteY56" fmla="*/ 1373 h 10000"/>
                <a:gd name="connsiteX57" fmla="*/ 7058 w 10000"/>
                <a:gd name="connsiteY57" fmla="*/ 1242 h 10000"/>
                <a:gd name="connsiteX58" fmla="*/ 7243 w 10000"/>
                <a:gd name="connsiteY58" fmla="*/ 1405 h 10000"/>
                <a:gd name="connsiteX59" fmla="*/ 7346 w 10000"/>
                <a:gd name="connsiteY59" fmla="*/ 1242 h 10000"/>
                <a:gd name="connsiteX60" fmla="*/ 7469 w 10000"/>
                <a:gd name="connsiteY60" fmla="*/ 1209 h 10000"/>
                <a:gd name="connsiteX61" fmla="*/ 7510 w 10000"/>
                <a:gd name="connsiteY61" fmla="*/ 948 h 10000"/>
                <a:gd name="connsiteX62" fmla="*/ 7613 w 10000"/>
                <a:gd name="connsiteY62" fmla="*/ 654 h 10000"/>
                <a:gd name="connsiteX63" fmla="*/ 7716 w 10000"/>
                <a:gd name="connsiteY63" fmla="*/ 556 h 10000"/>
                <a:gd name="connsiteX64" fmla="*/ 7716 w 10000"/>
                <a:gd name="connsiteY64" fmla="*/ 327 h 10000"/>
                <a:gd name="connsiteX65" fmla="*/ 7593 w 10000"/>
                <a:gd name="connsiteY65" fmla="*/ 294 h 10000"/>
                <a:gd name="connsiteX66" fmla="*/ 7613 w 10000"/>
                <a:gd name="connsiteY66" fmla="*/ 163 h 10000"/>
                <a:gd name="connsiteX67" fmla="*/ 7757 w 10000"/>
                <a:gd name="connsiteY67" fmla="*/ 65 h 10000"/>
                <a:gd name="connsiteX68" fmla="*/ 8025 w 10000"/>
                <a:gd name="connsiteY68" fmla="*/ 33 h 10000"/>
                <a:gd name="connsiteX69" fmla="*/ 8210 w 10000"/>
                <a:gd name="connsiteY69" fmla="*/ 0 h 10000"/>
                <a:gd name="connsiteX70" fmla="*/ 8374 w 10000"/>
                <a:gd name="connsiteY70" fmla="*/ 98 h 10000"/>
                <a:gd name="connsiteX71" fmla="*/ 8519 w 10000"/>
                <a:gd name="connsiteY71" fmla="*/ 196 h 10000"/>
                <a:gd name="connsiteX72" fmla="*/ 8642 w 10000"/>
                <a:gd name="connsiteY72" fmla="*/ 523 h 10000"/>
                <a:gd name="connsiteX73" fmla="*/ 8724 w 10000"/>
                <a:gd name="connsiteY73" fmla="*/ 850 h 10000"/>
                <a:gd name="connsiteX74" fmla="*/ 8807 w 10000"/>
                <a:gd name="connsiteY74" fmla="*/ 1111 h 10000"/>
                <a:gd name="connsiteX75" fmla="*/ 8868 w 10000"/>
                <a:gd name="connsiteY75" fmla="*/ 1373 h 10000"/>
                <a:gd name="connsiteX76" fmla="*/ 9033 w 10000"/>
                <a:gd name="connsiteY76" fmla="*/ 1373 h 10000"/>
                <a:gd name="connsiteX77" fmla="*/ 9136 w 10000"/>
                <a:gd name="connsiteY77" fmla="*/ 1471 h 10000"/>
                <a:gd name="connsiteX78" fmla="*/ 9280 w 10000"/>
                <a:gd name="connsiteY78" fmla="*/ 1601 h 10000"/>
                <a:gd name="connsiteX79" fmla="*/ 9342 w 10000"/>
                <a:gd name="connsiteY79" fmla="*/ 1634 h 10000"/>
                <a:gd name="connsiteX80" fmla="*/ 9383 w 10000"/>
                <a:gd name="connsiteY80" fmla="*/ 1961 h 10000"/>
                <a:gd name="connsiteX81" fmla="*/ 9609 w 10000"/>
                <a:gd name="connsiteY81" fmla="*/ 1993 h 10000"/>
                <a:gd name="connsiteX82" fmla="*/ 9671 w 10000"/>
                <a:gd name="connsiteY82" fmla="*/ 1863 h 10000"/>
                <a:gd name="connsiteX83" fmla="*/ 9815 w 10000"/>
                <a:gd name="connsiteY83" fmla="*/ 1830 h 10000"/>
                <a:gd name="connsiteX84" fmla="*/ 9979 w 10000"/>
                <a:gd name="connsiteY84" fmla="*/ 1797 h 10000"/>
                <a:gd name="connsiteX85" fmla="*/ 10000 w 10000"/>
                <a:gd name="connsiteY85" fmla="*/ 2026 h 10000"/>
                <a:gd name="connsiteX86" fmla="*/ 9918 w 10000"/>
                <a:gd name="connsiteY86" fmla="*/ 2092 h 10000"/>
                <a:gd name="connsiteX87" fmla="*/ 9856 w 10000"/>
                <a:gd name="connsiteY87" fmla="*/ 2451 h 10000"/>
                <a:gd name="connsiteX88" fmla="*/ 9733 w 10000"/>
                <a:gd name="connsiteY88" fmla="*/ 2810 h 10000"/>
                <a:gd name="connsiteX89" fmla="*/ 9609 w 10000"/>
                <a:gd name="connsiteY89" fmla="*/ 2843 h 10000"/>
                <a:gd name="connsiteX90" fmla="*/ 9547 w 10000"/>
                <a:gd name="connsiteY90" fmla="*/ 2745 h 10000"/>
                <a:gd name="connsiteX91" fmla="*/ 9403 w 10000"/>
                <a:gd name="connsiteY91" fmla="*/ 2908 h 10000"/>
                <a:gd name="connsiteX92" fmla="*/ 9403 w 10000"/>
                <a:gd name="connsiteY92" fmla="*/ 3497 h 10000"/>
                <a:gd name="connsiteX93" fmla="*/ 9321 w 10000"/>
                <a:gd name="connsiteY93" fmla="*/ 3660 h 10000"/>
                <a:gd name="connsiteX94" fmla="*/ 9218 w 10000"/>
                <a:gd name="connsiteY94" fmla="*/ 3529 h 10000"/>
                <a:gd name="connsiteX95" fmla="*/ 9053 w 10000"/>
                <a:gd name="connsiteY95" fmla="*/ 3791 h 10000"/>
                <a:gd name="connsiteX96" fmla="*/ 8951 w 10000"/>
                <a:gd name="connsiteY96" fmla="*/ 3791 h 10000"/>
                <a:gd name="connsiteX97" fmla="*/ 8930 w 10000"/>
                <a:gd name="connsiteY97" fmla="*/ 3922 h 10000"/>
                <a:gd name="connsiteX98" fmla="*/ 8827 w 10000"/>
                <a:gd name="connsiteY98" fmla="*/ 3954 h 10000"/>
                <a:gd name="connsiteX99" fmla="*/ 8724 w 10000"/>
                <a:gd name="connsiteY99" fmla="*/ 3889 h 10000"/>
                <a:gd name="connsiteX100" fmla="*/ 8683 w 10000"/>
                <a:gd name="connsiteY100" fmla="*/ 3922 h 10000"/>
                <a:gd name="connsiteX101" fmla="*/ 8539 w 10000"/>
                <a:gd name="connsiteY101" fmla="*/ 4150 h 10000"/>
                <a:gd name="connsiteX102" fmla="*/ 8416 w 10000"/>
                <a:gd name="connsiteY102" fmla="*/ 4281 h 10000"/>
                <a:gd name="connsiteX103" fmla="*/ 8313 w 10000"/>
                <a:gd name="connsiteY103" fmla="*/ 4444 h 10000"/>
                <a:gd name="connsiteX104" fmla="*/ 8210 w 10000"/>
                <a:gd name="connsiteY104" fmla="*/ 4477 h 10000"/>
                <a:gd name="connsiteX105" fmla="*/ 8107 w 10000"/>
                <a:gd name="connsiteY105" fmla="*/ 4510 h 10000"/>
                <a:gd name="connsiteX106" fmla="*/ 7819 w 10000"/>
                <a:gd name="connsiteY106" fmla="*/ 4804 h 10000"/>
                <a:gd name="connsiteX107" fmla="*/ 7798 w 10000"/>
                <a:gd name="connsiteY107" fmla="*/ 4608 h 10000"/>
                <a:gd name="connsiteX108" fmla="*/ 7840 w 10000"/>
                <a:gd name="connsiteY108" fmla="*/ 4444 h 10000"/>
                <a:gd name="connsiteX109" fmla="*/ 7942 w 10000"/>
                <a:gd name="connsiteY109" fmla="*/ 4346 h 10000"/>
                <a:gd name="connsiteX110" fmla="*/ 7922 w 10000"/>
                <a:gd name="connsiteY110" fmla="*/ 4183 h 10000"/>
                <a:gd name="connsiteX111" fmla="*/ 7840 w 10000"/>
                <a:gd name="connsiteY111" fmla="*/ 4183 h 10000"/>
                <a:gd name="connsiteX112" fmla="*/ 7716 w 10000"/>
                <a:gd name="connsiteY112" fmla="*/ 4216 h 10000"/>
                <a:gd name="connsiteX113" fmla="*/ 7490 w 10000"/>
                <a:gd name="connsiteY113" fmla="*/ 4510 h 10000"/>
                <a:gd name="connsiteX114" fmla="*/ 7449 w 10000"/>
                <a:gd name="connsiteY114" fmla="*/ 4673 h 10000"/>
                <a:gd name="connsiteX115" fmla="*/ 7243 w 10000"/>
                <a:gd name="connsiteY115" fmla="*/ 4673 h 10000"/>
                <a:gd name="connsiteX116" fmla="*/ 7202 w 10000"/>
                <a:gd name="connsiteY116" fmla="*/ 4804 h 10000"/>
                <a:gd name="connsiteX117" fmla="*/ 7263 w 10000"/>
                <a:gd name="connsiteY117" fmla="*/ 5033 h 10000"/>
                <a:gd name="connsiteX118" fmla="*/ 7407 w 10000"/>
                <a:gd name="connsiteY118" fmla="*/ 5065 h 10000"/>
                <a:gd name="connsiteX119" fmla="*/ 7407 w 10000"/>
                <a:gd name="connsiteY119" fmla="*/ 5163 h 10000"/>
                <a:gd name="connsiteX120" fmla="*/ 7428 w 10000"/>
                <a:gd name="connsiteY120" fmla="*/ 5294 h 10000"/>
                <a:gd name="connsiteX121" fmla="*/ 7551 w 10000"/>
                <a:gd name="connsiteY121" fmla="*/ 5261 h 10000"/>
                <a:gd name="connsiteX122" fmla="*/ 7634 w 10000"/>
                <a:gd name="connsiteY122" fmla="*/ 5131 h 10000"/>
                <a:gd name="connsiteX123" fmla="*/ 7716 w 10000"/>
                <a:gd name="connsiteY123" fmla="*/ 5098 h 10000"/>
                <a:gd name="connsiteX124" fmla="*/ 7798 w 10000"/>
                <a:gd name="connsiteY124" fmla="*/ 5163 h 10000"/>
                <a:gd name="connsiteX125" fmla="*/ 7963 w 10000"/>
                <a:gd name="connsiteY125" fmla="*/ 5229 h 10000"/>
                <a:gd name="connsiteX126" fmla="*/ 8004 w 10000"/>
                <a:gd name="connsiteY126" fmla="*/ 5359 h 10000"/>
                <a:gd name="connsiteX127" fmla="*/ 7942 w 10000"/>
                <a:gd name="connsiteY127" fmla="*/ 5392 h 10000"/>
                <a:gd name="connsiteX128" fmla="*/ 7819 w 10000"/>
                <a:gd name="connsiteY128" fmla="*/ 5392 h 10000"/>
                <a:gd name="connsiteX129" fmla="*/ 7737 w 10000"/>
                <a:gd name="connsiteY129" fmla="*/ 5458 h 10000"/>
                <a:gd name="connsiteX130" fmla="*/ 7716 w 10000"/>
                <a:gd name="connsiteY130" fmla="*/ 5556 h 10000"/>
                <a:gd name="connsiteX131" fmla="*/ 7613 w 10000"/>
                <a:gd name="connsiteY131" fmla="*/ 5621 h 10000"/>
                <a:gd name="connsiteX132" fmla="*/ 7510 w 10000"/>
                <a:gd name="connsiteY132" fmla="*/ 5850 h 10000"/>
                <a:gd name="connsiteX133" fmla="*/ 7469 w 10000"/>
                <a:gd name="connsiteY133" fmla="*/ 6013 h 10000"/>
                <a:gd name="connsiteX134" fmla="*/ 7572 w 10000"/>
                <a:gd name="connsiteY134" fmla="*/ 6078 h 10000"/>
                <a:gd name="connsiteX135" fmla="*/ 7634 w 10000"/>
                <a:gd name="connsiteY135" fmla="*/ 6176 h 10000"/>
                <a:gd name="connsiteX136" fmla="*/ 7716 w 10000"/>
                <a:gd name="connsiteY136" fmla="*/ 6503 h 10000"/>
                <a:gd name="connsiteX137" fmla="*/ 7737 w 10000"/>
                <a:gd name="connsiteY137" fmla="*/ 6634 h 10000"/>
                <a:gd name="connsiteX138" fmla="*/ 7901 w 10000"/>
                <a:gd name="connsiteY138" fmla="*/ 6830 h 10000"/>
                <a:gd name="connsiteX139" fmla="*/ 7881 w 10000"/>
                <a:gd name="connsiteY139" fmla="*/ 6895 h 10000"/>
                <a:gd name="connsiteX140" fmla="*/ 7778 w 10000"/>
                <a:gd name="connsiteY140" fmla="*/ 6830 h 10000"/>
                <a:gd name="connsiteX141" fmla="*/ 7737 w 10000"/>
                <a:gd name="connsiteY141" fmla="*/ 6961 h 10000"/>
                <a:gd name="connsiteX142" fmla="*/ 7860 w 10000"/>
                <a:gd name="connsiteY142" fmla="*/ 7026 h 10000"/>
                <a:gd name="connsiteX143" fmla="*/ 7901 w 10000"/>
                <a:gd name="connsiteY143" fmla="*/ 7124 h 10000"/>
                <a:gd name="connsiteX144" fmla="*/ 7819 w 10000"/>
                <a:gd name="connsiteY144" fmla="*/ 7157 h 10000"/>
                <a:gd name="connsiteX145" fmla="*/ 7716 w 10000"/>
                <a:gd name="connsiteY145" fmla="*/ 7190 h 10000"/>
                <a:gd name="connsiteX146" fmla="*/ 7654 w 10000"/>
                <a:gd name="connsiteY146" fmla="*/ 7255 h 10000"/>
                <a:gd name="connsiteX147" fmla="*/ 7634 w 10000"/>
                <a:gd name="connsiteY147" fmla="*/ 7288 h 10000"/>
                <a:gd name="connsiteX148" fmla="*/ 7778 w 10000"/>
                <a:gd name="connsiteY148" fmla="*/ 7320 h 10000"/>
                <a:gd name="connsiteX149" fmla="*/ 7881 w 10000"/>
                <a:gd name="connsiteY149" fmla="*/ 7353 h 10000"/>
                <a:gd name="connsiteX150" fmla="*/ 7881 w 10000"/>
                <a:gd name="connsiteY150" fmla="*/ 7549 h 10000"/>
                <a:gd name="connsiteX151" fmla="*/ 7798 w 10000"/>
                <a:gd name="connsiteY151" fmla="*/ 7843 h 10000"/>
                <a:gd name="connsiteX152" fmla="*/ 7593 w 10000"/>
                <a:gd name="connsiteY152" fmla="*/ 8235 h 10000"/>
                <a:gd name="connsiteX153" fmla="*/ 7449 w 10000"/>
                <a:gd name="connsiteY153" fmla="*/ 8562 h 10000"/>
                <a:gd name="connsiteX154" fmla="*/ 7346 w 10000"/>
                <a:gd name="connsiteY154" fmla="*/ 8856 h 10000"/>
                <a:gd name="connsiteX155" fmla="*/ 7119 w 10000"/>
                <a:gd name="connsiteY155" fmla="*/ 9150 h 10000"/>
                <a:gd name="connsiteX156" fmla="*/ 6975 w 10000"/>
                <a:gd name="connsiteY156" fmla="*/ 9346 h 10000"/>
                <a:gd name="connsiteX157" fmla="*/ 6749 w 10000"/>
                <a:gd name="connsiteY157" fmla="*/ 9412 h 10000"/>
                <a:gd name="connsiteX158" fmla="*/ 6626 w 10000"/>
                <a:gd name="connsiteY158" fmla="*/ 9412 h 10000"/>
                <a:gd name="connsiteX159" fmla="*/ 6564 w 10000"/>
                <a:gd name="connsiteY159" fmla="*/ 9281 h 10000"/>
                <a:gd name="connsiteX160" fmla="*/ 6502 w 10000"/>
                <a:gd name="connsiteY160" fmla="*/ 9314 h 10000"/>
                <a:gd name="connsiteX161" fmla="*/ 6502 w 10000"/>
                <a:gd name="connsiteY161" fmla="*/ 9542 h 10000"/>
                <a:gd name="connsiteX162" fmla="*/ 6358 w 10000"/>
                <a:gd name="connsiteY162" fmla="*/ 9608 h 10000"/>
                <a:gd name="connsiteX163" fmla="*/ 6152 w 10000"/>
                <a:gd name="connsiteY163" fmla="*/ 9706 h 10000"/>
                <a:gd name="connsiteX164" fmla="*/ 6029 w 10000"/>
                <a:gd name="connsiteY164" fmla="*/ 9739 h 10000"/>
                <a:gd name="connsiteX165" fmla="*/ 5988 w 10000"/>
                <a:gd name="connsiteY165" fmla="*/ 9869 h 10000"/>
                <a:gd name="connsiteX166" fmla="*/ 6008 w 10000"/>
                <a:gd name="connsiteY166" fmla="*/ 10000 h 10000"/>
                <a:gd name="connsiteX167" fmla="*/ 5926 w 10000"/>
                <a:gd name="connsiteY167" fmla="*/ 9935 h 10000"/>
                <a:gd name="connsiteX168" fmla="*/ 5926 w 10000"/>
                <a:gd name="connsiteY168" fmla="*/ 9804 h 10000"/>
                <a:gd name="connsiteX169" fmla="*/ 5926 w 10000"/>
                <a:gd name="connsiteY169" fmla="*/ 9706 h 10000"/>
                <a:gd name="connsiteX170" fmla="*/ 5823 w 10000"/>
                <a:gd name="connsiteY170" fmla="*/ 9706 h 10000"/>
                <a:gd name="connsiteX171" fmla="*/ 5720 w 10000"/>
                <a:gd name="connsiteY171" fmla="*/ 9641 h 10000"/>
                <a:gd name="connsiteX172" fmla="*/ 5617 w 10000"/>
                <a:gd name="connsiteY172" fmla="*/ 9706 h 10000"/>
                <a:gd name="connsiteX173" fmla="*/ 5514 w 10000"/>
                <a:gd name="connsiteY173" fmla="*/ 9706 h 10000"/>
                <a:gd name="connsiteX174" fmla="*/ 5432 w 10000"/>
                <a:gd name="connsiteY174" fmla="*/ 9641 h 10000"/>
                <a:gd name="connsiteX175" fmla="*/ 5412 w 10000"/>
                <a:gd name="connsiteY175" fmla="*/ 9379 h 10000"/>
                <a:gd name="connsiteX176" fmla="*/ 5288 w 10000"/>
                <a:gd name="connsiteY176" fmla="*/ 9346 h 10000"/>
                <a:gd name="connsiteX177" fmla="*/ 5226 w 10000"/>
                <a:gd name="connsiteY177" fmla="*/ 9281 h 10000"/>
                <a:gd name="connsiteX178" fmla="*/ 5144 w 10000"/>
                <a:gd name="connsiteY178" fmla="*/ 9281 h 10000"/>
                <a:gd name="connsiteX179" fmla="*/ 5062 w 10000"/>
                <a:gd name="connsiteY179" fmla="*/ 9412 h 10000"/>
                <a:gd name="connsiteX180" fmla="*/ 4712 w 10000"/>
                <a:gd name="connsiteY180" fmla="*/ 9412 h 10000"/>
                <a:gd name="connsiteX181" fmla="*/ 4691 w 10000"/>
                <a:gd name="connsiteY181" fmla="*/ 9477 h 10000"/>
                <a:gd name="connsiteX182" fmla="*/ 4568 w 10000"/>
                <a:gd name="connsiteY182" fmla="*/ 9477 h 10000"/>
                <a:gd name="connsiteX183" fmla="*/ 4568 w 10000"/>
                <a:gd name="connsiteY183" fmla="*/ 9608 h 10000"/>
                <a:gd name="connsiteX184" fmla="*/ 4630 w 10000"/>
                <a:gd name="connsiteY184" fmla="*/ 9641 h 10000"/>
                <a:gd name="connsiteX185" fmla="*/ 4609 w 10000"/>
                <a:gd name="connsiteY185" fmla="*/ 9771 h 10000"/>
                <a:gd name="connsiteX186" fmla="*/ 4527 w 10000"/>
                <a:gd name="connsiteY186" fmla="*/ 9771 h 10000"/>
                <a:gd name="connsiteX187" fmla="*/ 4486 w 10000"/>
                <a:gd name="connsiteY187" fmla="*/ 9706 h 10000"/>
                <a:gd name="connsiteX188" fmla="*/ 4403 w 10000"/>
                <a:gd name="connsiteY188" fmla="*/ 9706 h 10000"/>
                <a:gd name="connsiteX189" fmla="*/ 4321 w 10000"/>
                <a:gd name="connsiteY189" fmla="*/ 9706 h 10000"/>
                <a:gd name="connsiteX190" fmla="*/ 4321 w 10000"/>
                <a:gd name="connsiteY190" fmla="*/ 9608 h 10000"/>
                <a:gd name="connsiteX191" fmla="*/ 4239 w 10000"/>
                <a:gd name="connsiteY191" fmla="*/ 9575 h 10000"/>
                <a:gd name="connsiteX192" fmla="*/ 4239 w 10000"/>
                <a:gd name="connsiteY192" fmla="*/ 9314 h 10000"/>
                <a:gd name="connsiteX193" fmla="*/ 4136 w 10000"/>
                <a:gd name="connsiteY193" fmla="*/ 9248 h 10000"/>
                <a:gd name="connsiteX194" fmla="*/ 4136 w 10000"/>
                <a:gd name="connsiteY194" fmla="*/ 9020 h 10000"/>
                <a:gd name="connsiteX195" fmla="*/ 3930 w 10000"/>
                <a:gd name="connsiteY195" fmla="*/ 8922 h 10000"/>
                <a:gd name="connsiteX196" fmla="*/ 3930 w 10000"/>
                <a:gd name="connsiteY196" fmla="*/ 8856 h 10000"/>
                <a:gd name="connsiteX197" fmla="*/ 4095 w 10000"/>
                <a:gd name="connsiteY197" fmla="*/ 8497 h 10000"/>
                <a:gd name="connsiteX198" fmla="*/ 4115 w 10000"/>
                <a:gd name="connsiteY198" fmla="*/ 8105 h 10000"/>
                <a:gd name="connsiteX199" fmla="*/ 4033 w 10000"/>
                <a:gd name="connsiteY199" fmla="*/ 8007 h 10000"/>
                <a:gd name="connsiteX200" fmla="*/ 3971 w 10000"/>
                <a:gd name="connsiteY200" fmla="*/ 7843 h 10000"/>
                <a:gd name="connsiteX201" fmla="*/ 3889 w 10000"/>
                <a:gd name="connsiteY201" fmla="*/ 7810 h 10000"/>
                <a:gd name="connsiteX202" fmla="*/ 3724 w 10000"/>
                <a:gd name="connsiteY202" fmla="*/ 7778 h 10000"/>
                <a:gd name="connsiteX203" fmla="*/ 3724 w 10000"/>
                <a:gd name="connsiteY203" fmla="*/ 7549 h 10000"/>
                <a:gd name="connsiteX204" fmla="*/ 3621 w 10000"/>
                <a:gd name="connsiteY204" fmla="*/ 7582 h 10000"/>
                <a:gd name="connsiteX205" fmla="*/ 3395 w 10000"/>
                <a:gd name="connsiteY205" fmla="*/ 7582 h 10000"/>
                <a:gd name="connsiteX206" fmla="*/ 3333 w 10000"/>
                <a:gd name="connsiteY206" fmla="*/ 7712 h 10000"/>
                <a:gd name="connsiteX207" fmla="*/ 3227 w 10000"/>
                <a:gd name="connsiteY207" fmla="*/ 7948 h 10000"/>
                <a:gd name="connsiteX208" fmla="*/ 3107 w 10000"/>
                <a:gd name="connsiteY208" fmla="*/ 7941 h 10000"/>
                <a:gd name="connsiteX209" fmla="*/ 3004 w 10000"/>
                <a:gd name="connsiteY209" fmla="*/ 7974 h 10000"/>
                <a:gd name="connsiteX210" fmla="*/ 2860 w 10000"/>
                <a:gd name="connsiteY210" fmla="*/ 7941 h 10000"/>
                <a:gd name="connsiteX211" fmla="*/ 2737 w 10000"/>
                <a:gd name="connsiteY211" fmla="*/ 7876 h 10000"/>
                <a:gd name="connsiteX212" fmla="*/ 2634 w 10000"/>
                <a:gd name="connsiteY212" fmla="*/ 7876 h 10000"/>
                <a:gd name="connsiteX213" fmla="*/ 2572 w 10000"/>
                <a:gd name="connsiteY213" fmla="*/ 7974 h 10000"/>
                <a:gd name="connsiteX214" fmla="*/ 2366 w 10000"/>
                <a:gd name="connsiteY214" fmla="*/ 7974 h 10000"/>
                <a:gd name="connsiteX215" fmla="*/ 2140 w 10000"/>
                <a:gd name="connsiteY215" fmla="*/ 7941 h 10000"/>
                <a:gd name="connsiteX216" fmla="*/ 1975 w 10000"/>
                <a:gd name="connsiteY216" fmla="*/ 7908 h 10000"/>
                <a:gd name="connsiteX217" fmla="*/ 1790 w 10000"/>
                <a:gd name="connsiteY217" fmla="*/ 7712 h 10000"/>
                <a:gd name="connsiteX218" fmla="*/ 1667 w 10000"/>
                <a:gd name="connsiteY218" fmla="*/ 7582 h 10000"/>
                <a:gd name="connsiteX219" fmla="*/ 1502 w 10000"/>
                <a:gd name="connsiteY219" fmla="*/ 7451 h 10000"/>
                <a:gd name="connsiteX220" fmla="*/ 1358 w 10000"/>
                <a:gd name="connsiteY220" fmla="*/ 7222 h 10000"/>
                <a:gd name="connsiteX221" fmla="*/ 1214 w 10000"/>
                <a:gd name="connsiteY221" fmla="*/ 7320 h 10000"/>
                <a:gd name="connsiteX222" fmla="*/ 1091 w 10000"/>
                <a:gd name="connsiteY222" fmla="*/ 7157 h 10000"/>
                <a:gd name="connsiteX223" fmla="*/ 823 w 10000"/>
                <a:gd name="connsiteY223" fmla="*/ 6961 h 10000"/>
                <a:gd name="connsiteX224" fmla="*/ 823 w 10000"/>
                <a:gd name="connsiteY224" fmla="*/ 6830 h 10000"/>
                <a:gd name="connsiteX225" fmla="*/ 864 w 10000"/>
                <a:gd name="connsiteY225" fmla="*/ 6667 h 10000"/>
                <a:gd name="connsiteX226" fmla="*/ 967 w 10000"/>
                <a:gd name="connsiteY226" fmla="*/ 6634 h 10000"/>
                <a:gd name="connsiteX227" fmla="*/ 988 w 10000"/>
                <a:gd name="connsiteY227" fmla="*/ 6503 h 10000"/>
                <a:gd name="connsiteX228" fmla="*/ 864 w 10000"/>
                <a:gd name="connsiteY228" fmla="*/ 6373 h 10000"/>
                <a:gd name="connsiteX229" fmla="*/ 864 w 10000"/>
                <a:gd name="connsiteY229" fmla="*/ 6209 h 10000"/>
                <a:gd name="connsiteX230" fmla="*/ 1029 w 10000"/>
                <a:gd name="connsiteY230" fmla="*/ 6078 h 10000"/>
                <a:gd name="connsiteX231" fmla="*/ 1111 w 10000"/>
                <a:gd name="connsiteY231" fmla="*/ 5948 h 10000"/>
                <a:gd name="connsiteX232" fmla="*/ 1111 w 10000"/>
                <a:gd name="connsiteY232" fmla="*/ 5817 h 10000"/>
                <a:gd name="connsiteX233" fmla="*/ 976 w 10000"/>
                <a:gd name="connsiteY233" fmla="*/ 5673 h 10000"/>
                <a:gd name="connsiteX234" fmla="*/ 803 w 10000"/>
                <a:gd name="connsiteY234" fmla="*/ 5778 h 10000"/>
                <a:gd name="connsiteX235" fmla="*/ 597 w 10000"/>
                <a:gd name="connsiteY235" fmla="*/ 5719 h 10000"/>
                <a:gd name="connsiteX236" fmla="*/ 391 w 10000"/>
                <a:gd name="connsiteY236" fmla="*/ 5588 h 10000"/>
                <a:gd name="connsiteX237" fmla="*/ 391 w 10000"/>
                <a:gd name="connsiteY237" fmla="*/ 5425 h 10000"/>
                <a:gd name="connsiteX238" fmla="*/ 206 w 10000"/>
                <a:gd name="connsiteY238" fmla="*/ 5327 h 10000"/>
                <a:gd name="connsiteX239" fmla="*/ 206 w 10000"/>
                <a:gd name="connsiteY239" fmla="*/ 5196 h 10000"/>
                <a:gd name="connsiteX240" fmla="*/ 206 w 10000"/>
                <a:gd name="connsiteY240" fmla="*/ 4869 h 10000"/>
                <a:gd name="connsiteX241" fmla="*/ 82 w 10000"/>
                <a:gd name="connsiteY241" fmla="*/ 4902 h 10000"/>
                <a:gd name="connsiteX242" fmla="*/ 21 w 10000"/>
                <a:gd name="connsiteY242" fmla="*/ 4869 h 10000"/>
                <a:gd name="connsiteX243" fmla="*/ 0 w 10000"/>
                <a:gd name="connsiteY243" fmla="*/ 4739 h 10000"/>
                <a:gd name="connsiteX244" fmla="*/ 21 w 10000"/>
                <a:gd name="connsiteY244" fmla="*/ 4641 h 10000"/>
                <a:gd name="connsiteX245" fmla="*/ 41 w 10000"/>
                <a:gd name="connsiteY245" fmla="*/ 4477 h 10000"/>
                <a:gd name="connsiteX246" fmla="*/ 165 w 10000"/>
                <a:gd name="connsiteY246" fmla="*/ 4346 h 10000"/>
                <a:gd name="connsiteX247" fmla="*/ 185 w 10000"/>
                <a:gd name="connsiteY247" fmla="*/ 4248 h 10000"/>
                <a:gd name="connsiteX248" fmla="*/ 329 w 10000"/>
                <a:gd name="connsiteY248" fmla="*/ 4248 h 10000"/>
                <a:gd name="connsiteX249" fmla="*/ 329 w 10000"/>
                <a:gd name="connsiteY249" fmla="*/ 4346 h 10000"/>
                <a:gd name="connsiteX250" fmla="*/ 494 w 10000"/>
                <a:gd name="connsiteY250" fmla="*/ 4281 h 10000"/>
                <a:gd name="connsiteX251" fmla="*/ 535 w 10000"/>
                <a:gd name="connsiteY251" fmla="*/ 4118 h 10000"/>
                <a:gd name="connsiteX252" fmla="*/ 741 w 10000"/>
                <a:gd name="connsiteY252" fmla="*/ 4118 h 10000"/>
                <a:gd name="connsiteX253" fmla="*/ 782 w 10000"/>
                <a:gd name="connsiteY253" fmla="*/ 3987 h 10000"/>
                <a:gd name="connsiteX254" fmla="*/ 1049 w 10000"/>
                <a:gd name="connsiteY254" fmla="*/ 3791 h 10000"/>
                <a:gd name="connsiteX255" fmla="*/ 1111 w 10000"/>
                <a:gd name="connsiteY255" fmla="*/ 3725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Lst>
              <a:rect l="l" t="t" r="r" b="b"/>
              <a:pathLst>
                <a:path w="10000" h="10000">
                  <a:moveTo>
                    <a:pt x="1111" y="3725"/>
                  </a:moveTo>
                  <a:lnTo>
                    <a:pt x="1111" y="3562"/>
                  </a:lnTo>
                  <a:cubicBezTo>
                    <a:pt x="1138" y="3518"/>
                    <a:pt x="1166" y="3475"/>
                    <a:pt x="1193" y="3431"/>
                  </a:cubicBezTo>
                  <a:cubicBezTo>
                    <a:pt x="1173" y="3344"/>
                    <a:pt x="1152" y="3257"/>
                    <a:pt x="1132" y="3170"/>
                  </a:cubicBezTo>
                  <a:lnTo>
                    <a:pt x="1111" y="2876"/>
                  </a:lnTo>
                  <a:cubicBezTo>
                    <a:pt x="1152" y="2843"/>
                    <a:pt x="1194" y="2811"/>
                    <a:pt x="1235" y="2778"/>
                  </a:cubicBezTo>
                  <a:lnTo>
                    <a:pt x="1420" y="2778"/>
                  </a:lnTo>
                  <a:cubicBezTo>
                    <a:pt x="1434" y="2702"/>
                    <a:pt x="1447" y="2625"/>
                    <a:pt x="1461" y="2549"/>
                  </a:cubicBezTo>
                  <a:cubicBezTo>
                    <a:pt x="1495" y="2418"/>
                    <a:pt x="1530" y="2288"/>
                    <a:pt x="1564" y="2157"/>
                  </a:cubicBezTo>
                  <a:lnTo>
                    <a:pt x="1749" y="2190"/>
                  </a:lnTo>
                  <a:lnTo>
                    <a:pt x="1893" y="2190"/>
                  </a:lnTo>
                  <a:lnTo>
                    <a:pt x="1996" y="2157"/>
                  </a:lnTo>
                  <a:lnTo>
                    <a:pt x="1996" y="1928"/>
                  </a:lnTo>
                  <a:cubicBezTo>
                    <a:pt x="2010" y="1852"/>
                    <a:pt x="2023" y="1775"/>
                    <a:pt x="2037" y="1699"/>
                  </a:cubicBezTo>
                  <a:lnTo>
                    <a:pt x="2160" y="1699"/>
                  </a:lnTo>
                  <a:cubicBezTo>
                    <a:pt x="2167" y="1645"/>
                    <a:pt x="2174" y="1590"/>
                    <a:pt x="2181" y="1536"/>
                  </a:cubicBezTo>
                  <a:lnTo>
                    <a:pt x="2346" y="1536"/>
                  </a:lnTo>
                  <a:cubicBezTo>
                    <a:pt x="2360" y="1590"/>
                    <a:pt x="2373" y="1645"/>
                    <a:pt x="2387" y="1699"/>
                  </a:cubicBezTo>
                  <a:cubicBezTo>
                    <a:pt x="2421" y="1754"/>
                    <a:pt x="2456" y="1808"/>
                    <a:pt x="2490" y="1863"/>
                  </a:cubicBezTo>
                  <a:lnTo>
                    <a:pt x="2654" y="1895"/>
                  </a:lnTo>
                  <a:lnTo>
                    <a:pt x="2798" y="2124"/>
                  </a:lnTo>
                  <a:cubicBezTo>
                    <a:pt x="2826" y="2189"/>
                    <a:pt x="2853" y="2255"/>
                    <a:pt x="2881" y="2320"/>
                  </a:cubicBezTo>
                  <a:lnTo>
                    <a:pt x="2881" y="2451"/>
                  </a:lnTo>
                  <a:cubicBezTo>
                    <a:pt x="2860" y="2495"/>
                    <a:pt x="2840" y="2538"/>
                    <a:pt x="2819" y="2582"/>
                  </a:cubicBezTo>
                  <a:cubicBezTo>
                    <a:pt x="2833" y="2647"/>
                    <a:pt x="2846" y="2713"/>
                    <a:pt x="2860" y="2778"/>
                  </a:cubicBezTo>
                  <a:cubicBezTo>
                    <a:pt x="2887" y="2800"/>
                    <a:pt x="2915" y="2821"/>
                    <a:pt x="2942" y="2843"/>
                  </a:cubicBezTo>
                  <a:lnTo>
                    <a:pt x="3292" y="2876"/>
                  </a:lnTo>
                  <a:lnTo>
                    <a:pt x="3395" y="3039"/>
                  </a:lnTo>
                  <a:lnTo>
                    <a:pt x="3621" y="3235"/>
                  </a:lnTo>
                  <a:cubicBezTo>
                    <a:pt x="3642" y="3311"/>
                    <a:pt x="3662" y="3388"/>
                    <a:pt x="3683" y="3464"/>
                  </a:cubicBezTo>
                  <a:cubicBezTo>
                    <a:pt x="3704" y="3508"/>
                    <a:pt x="3724" y="3551"/>
                    <a:pt x="3745" y="3595"/>
                  </a:cubicBezTo>
                  <a:lnTo>
                    <a:pt x="4300" y="3627"/>
                  </a:lnTo>
                  <a:lnTo>
                    <a:pt x="4588" y="3660"/>
                  </a:lnTo>
                  <a:lnTo>
                    <a:pt x="4835" y="3856"/>
                  </a:lnTo>
                  <a:lnTo>
                    <a:pt x="5206" y="3922"/>
                  </a:lnTo>
                  <a:lnTo>
                    <a:pt x="5432" y="3693"/>
                  </a:lnTo>
                  <a:lnTo>
                    <a:pt x="5885" y="3693"/>
                  </a:lnTo>
                  <a:lnTo>
                    <a:pt x="6070" y="3529"/>
                  </a:lnTo>
                  <a:lnTo>
                    <a:pt x="6070" y="3431"/>
                  </a:lnTo>
                  <a:cubicBezTo>
                    <a:pt x="6132" y="3377"/>
                    <a:pt x="6193" y="3322"/>
                    <a:pt x="6255" y="3268"/>
                  </a:cubicBezTo>
                  <a:cubicBezTo>
                    <a:pt x="6234" y="3203"/>
                    <a:pt x="6214" y="3137"/>
                    <a:pt x="6193" y="3072"/>
                  </a:cubicBezTo>
                  <a:cubicBezTo>
                    <a:pt x="6214" y="3007"/>
                    <a:pt x="6234" y="2941"/>
                    <a:pt x="6255" y="2876"/>
                  </a:cubicBezTo>
                  <a:lnTo>
                    <a:pt x="6399" y="2876"/>
                  </a:lnTo>
                  <a:lnTo>
                    <a:pt x="6584" y="2908"/>
                  </a:lnTo>
                  <a:lnTo>
                    <a:pt x="6728" y="2680"/>
                  </a:lnTo>
                  <a:lnTo>
                    <a:pt x="6893" y="2680"/>
                  </a:lnTo>
                  <a:cubicBezTo>
                    <a:pt x="6955" y="2604"/>
                    <a:pt x="7016" y="2527"/>
                    <a:pt x="7078" y="2451"/>
                  </a:cubicBezTo>
                  <a:lnTo>
                    <a:pt x="7284" y="2320"/>
                  </a:lnTo>
                  <a:lnTo>
                    <a:pt x="7407" y="2320"/>
                  </a:lnTo>
                  <a:lnTo>
                    <a:pt x="7572" y="2353"/>
                  </a:lnTo>
                  <a:cubicBezTo>
                    <a:pt x="7565" y="2299"/>
                    <a:pt x="7558" y="2244"/>
                    <a:pt x="7551" y="2190"/>
                  </a:cubicBezTo>
                  <a:lnTo>
                    <a:pt x="7346" y="1863"/>
                  </a:lnTo>
                  <a:lnTo>
                    <a:pt x="7243" y="1830"/>
                  </a:lnTo>
                  <a:lnTo>
                    <a:pt x="7160" y="1928"/>
                  </a:lnTo>
                  <a:lnTo>
                    <a:pt x="6872" y="1895"/>
                  </a:lnTo>
                  <a:lnTo>
                    <a:pt x="6914" y="1667"/>
                  </a:lnTo>
                  <a:cubicBezTo>
                    <a:pt x="6941" y="1569"/>
                    <a:pt x="6969" y="1471"/>
                    <a:pt x="6996" y="1373"/>
                  </a:cubicBezTo>
                  <a:cubicBezTo>
                    <a:pt x="7017" y="1329"/>
                    <a:pt x="7037" y="1286"/>
                    <a:pt x="7058" y="1242"/>
                  </a:cubicBezTo>
                  <a:cubicBezTo>
                    <a:pt x="7120" y="1296"/>
                    <a:pt x="7181" y="1351"/>
                    <a:pt x="7243" y="1405"/>
                  </a:cubicBezTo>
                  <a:lnTo>
                    <a:pt x="7346" y="1242"/>
                  </a:lnTo>
                  <a:lnTo>
                    <a:pt x="7469" y="1209"/>
                  </a:lnTo>
                  <a:cubicBezTo>
                    <a:pt x="7483" y="1122"/>
                    <a:pt x="7496" y="1035"/>
                    <a:pt x="7510" y="948"/>
                  </a:cubicBezTo>
                  <a:cubicBezTo>
                    <a:pt x="7544" y="850"/>
                    <a:pt x="7579" y="752"/>
                    <a:pt x="7613" y="654"/>
                  </a:cubicBezTo>
                  <a:cubicBezTo>
                    <a:pt x="7647" y="621"/>
                    <a:pt x="7682" y="589"/>
                    <a:pt x="7716" y="556"/>
                  </a:cubicBezTo>
                  <a:lnTo>
                    <a:pt x="7716" y="327"/>
                  </a:lnTo>
                  <a:lnTo>
                    <a:pt x="7593" y="294"/>
                  </a:lnTo>
                  <a:cubicBezTo>
                    <a:pt x="7600" y="250"/>
                    <a:pt x="7606" y="207"/>
                    <a:pt x="7613" y="163"/>
                  </a:cubicBezTo>
                  <a:lnTo>
                    <a:pt x="7757" y="65"/>
                  </a:lnTo>
                  <a:lnTo>
                    <a:pt x="8025" y="33"/>
                  </a:lnTo>
                  <a:lnTo>
                    <a:pt x="8210" y="0"/>
                  </a:lnTo>
                  <a:lnTo>
                    <a:pt x="8374" y="98"/>
                  </a:lnTo>
                  <a:cubicBezTo>
                    <a:pt x="8422" y="131"/>
                    <a:pt x="8471" y="163"/>
                    <a:pt x="8519" y="196"/>
                  </a:cubicBezTo>
                  <a:lnTo>
                    <a:pt x="8642" y="523"/>
                  </a:lnTo>
                  <a:cubicBezTo>
                    <a:pt x="8669" y="632"/>
                    <a:pt x="8697" y="741"/>
                    <a:pt x="8724" y="850"/>
                  </a:cubicBezTo>
                  <a:cubicBezTo>
                    <a:pt x="8752" y="937"/>
                    <a:pt x="8779" y="1024"/>
                    <a:pt x="8807" y="1111"/>
                  </a:cubicBezTo>
                  <a:cubicBezTo>
                    <a:pt x="8827" y="1198"/>
                    <a:pt x="8848" y="1286"/>
                    <a:pt x="8868" y="1373"/>
                  </a:cubicBezTo>
                  <a:lnTo>
                    <a:pt x="9033" y="1373"/>
                  </a:lnTo>
                  <a:cubicBezTo>
                    <a:pt x="9067" y="1406"/>
                    <a:pt x="9102" y="1438"/>
                    <a:pt x="9136" y="1471"/>
                  </a:cubicBezTo>
                  <a:lnTo>
                    <a:pt x="9280" y="1601"/>
                  </a:lnTo>
                  <a:lnTo>
                    <a:pt x="9342" y="1634"/>
                  </a:lnTo>
                  <a:cubicBezTo>
                    <a:pt x="9356" y="1743"/>
                    <a:pt x="9369" y="1852"/>
                    <a:pt x="9383" y="1961"/>
                  </a:cubicBezTo>
                  <a:lnTo>
                    <a:pt x="9609" y="1993"/>
                  </a:lnTo>
                  <a:cubicBezTo>
                    <a:pt x="9630" y="1950"/>
                    <a:pt x="9650" y="1906"/>
                    <a:pt x="9671" y="1863"/>
                  </a:cubicBezTo>
                  <a:lnTo>
                    <a:pt x="9815" y="1830"/>
                  </a:lnTo>
                  <a:lnTo>
                    <a:pt x="9979" y="1797"/>
                  </a:lnTo>
                  <a:cubicBezTo>
                    <a:pt x="9986" y="1873"/>
                    <a:pt x="9993" y="1950"/>
                    <a:pt x="10000" y="2026"/>
                  </a:cubicBezTo>
                  <a:lnTo>
                    <a:pt x="9918" y="2092"/>
                  </a:lnTo>
                  <a:cubicBezTo>
                    <a:pt x="9897" y="2212"/>
                    <a:pt x="9877" y="2331"/>
                    <a:pt x="9856" y="2451"/>
                  </a:cubicBezTo>
                  <a:lnTo>
                    <a:pt x="9733" y="2810"/>
                  </a:lnTo>
                  <a:lnTo>
                    <a:pt x="9609" y="2843"/>
                  </a:lnTo>
                  <a:lnTo>
                    <a:pt x="9547" y="2745"/>
                  </a:lnTo>
                  <a:lnTo>
                    <a:pt x="9403" y="2908"/>
                  </a:lnTo>
                  <a:lnTo>
                    <a:pt x="9403" y="3497"/>
                  </a:lnTo>
                  <a:cubicBezTo>
                    <a:pt x="9376" y="3551"/>
                    <a:pt x="9348" y="3606"/>
                    <a:pt x="9321" y="3660"/>
                  </a:cubicBezTo>
                  <a:cubicBezTo>
                    <a:pt x="9287" y="3616"/>
                    <a:pt x="9252" y="3573"/>
                    <a:pt x="9218" y="3529"/>
                  </a:cubicBezTo>
                  <a:lnTo>
                    <a:pt x="9053" y="3791"/>
                  </a:lnTo>
                  <a:lnTo>
                    <a:pt x="8951" y="3791"/>
                  </a:lnTo>
                  <a:cubicBezTo>
                    <a:pt x="8944" y="3835"/>
                    <a:pt x="8937" y="3878"/>
                    <a:pt x="8930" y="3922"/>
                  </a:cubicBezTo>
                  <a:cubicBezTo>
                    <a:pt x="8896" y="3933"/>
                    <a:pt x="8861" y="3943"/>
                    <a:pt x="8827" y="3954"/>
                  </a:cubicBezTo>
                  <a:cubicBezTo>
                    <a:pt x="8793" y="3932"/>
                    <a:pt x="8758" y="3911"/>
                    <a:pt x="8724" y="3889"/>
                  </a:cubicBezTo>
                  <a:cubicBezTo>
                    <a:pt x="8710" y="3900"/>
                    <a:pt x="8697" y="3911"/>
                    <a:pt x="8683" y="3922"/>
                  </a:cubicBezTo>
                  <a:lnTo>
                    <a:pt x="8539" y="4150"/>
                  </a:lnTo>
                  <a:lnTo>
                    <a:pt x="8416" y="4281"/>
                  </a:lnTo>
                  <a:lnTo>
                    <a:pt x="8313" y="4444"/>
                  </a:lnTo>
                  <a:lnTo>
                    <a:pt x="8210" y="4477"/>
                  </a:lnTo>
                  <a:lnTo>
                    <a:pt x="8107" y="4510"/>
                  </a:lnTo>
                  <a:lnTo>
                    <a:pt x="7819" y="4804"/>
                  </a:lnTo>
                  <a:cubicBezTo>
                    <a:pt x="7812" y="4739"/>
                    <a:pt x="7805" y="4673"/>
                    <a:pt x="7798" y="4608"/>
                  </a:cubicBezTo>
                  <a:cubicBezTo>
                    <a:pt x="7812" y="4553"/>
                    <a:pt x="7826" y="4499"/>
                    <a:pt x="7840" y="4444"/>
                  </a:cubicBezTo>
                  <a:lnTo>
                    <a:pt x="7942" y="4346"/>
                  </a:lnTo>
                  <a:cubicBezTo>
                    <a:pt x="7935" y="4292"/>
                    <a:pt x="7929" y="4237"/>
                    <a:pt x="7922" y="4183"/>
                  </a:cubicBezTo>
                  <a:lnTo>
                    <a:pt x="7840" y="4183"/>
                  </a:lnTo>
                  <a:lnTo>
                    <a:pt x="7716" y="4216"/>
                  </a:lnTo>
                  <a:lnTo>
                    <a:pt x="7490" y="4510"/>
                  </a:lnTo>
                  <a:cubicBezTo>
                    <a:pt x="7476" y="4564"/>
                    <a:pt x="7463" y="4619"/>
                    <a:pt x="7449" y="4673"/>
                  </a:cubicBezTo>
                  <a:lnTo>
                    <a:pt x="7243" y="4673"/>
                  </a:lnTo>
                  <a:cubicBezTo>
                    <a:pt x="7229" y="4717"/>
                    <a:pt x="7216" y="4760"/>
                    <a:pt x="7202" y="4804"/>
                  </a:cubicBezTo>
                  <a:cubicBezTo>
                    <a:pt x="7222" y="4880"/>
                    <a:pt x="7243" y="4957"/>
                    <a:pt x="7263" y="5033"/>
                  </a:cubicBezTo>
                  <a:lnTo>
                    <a:pt x="7407" y="5065"/>
                  </a:lnTo>
                  <a:lnTo>
                    <a:pt x="7407" y="5163"/>
                  </a:lnTo>
                  <a:cubicBezTo>
                    <a:pt x="7414" y="5207"/>
                    <a:pt x="7421" y="5250"/>
                    <a:pt x="7428" y="5294"/>
                  </a:cubicBezTo>
                  <a:lnTo>
                    <a:pt x="7551" y="5261"/>
                  </a:lnTo>
                  <a:cubicBezTo>
                    <a:pt x="7579" y="5218"/>
                    <a:pt x="7606" y="5174"/>
                    <a:pt x="7634" y="5131"/>
                  </a:cubicBezTo>
                  <a:lnTo>
                    <a:pt x="7716" y="5098"/>
                  </a:lnTo>
                  <a:cubicBezTo>
                    <a:pt x="7743" y="5120"/>
                    <a:pt x="7771" y="5141"/>
                    <a:pt x="7798" y="5163"/>
                  </a:cubicBezTo>
                  <a:lnTo>
                    <a:pt x="7963" y="5229"/>
                  </a:lnTo>
                  <a:cubicBezTo>
                    <a:pt x="7977" y="5272"/>
                    <a:pt x="7990" y="5316"/>
                    <a:pt x="8004" y="5359"/>
                  </a:cubicBezTo>
                  <a:lnTo>
                    <a:pt x="7942" y="5392"/>
                  </a:lnTo>
                  <a:lnTo>
                    <a:pt x="7819" y="5392"/>
                  </a:lnTo>
                  <a:lnTo>
                    <a:pt x="7737" y="5458"/>
                  </a:lnTo>
                  <a:cubicBezTo>
                    <a:pt x="7730" y="5491"/>
                    <a:pt x="7723" y="5523"/>
                    <a:pt x="7716" y="5556"/>
                  </a:cubicBezTo>
                  <a:cubicBezTo>
                    <a:pt x="7682" y="5578"/>
                    <a:pt x="7647" y="5599"/>
                    <a:pt x="7613" y="5621"/>
                  </a:cubicBezTo>
                  <a:cubicBezTo>
                    <a:pt x="7579" y="5697"/>
                    <a:pt x="7544" y="5774"/>
                    <a:pt x="7510" y="5850"/>
                  </a:cubicBezTo>
                  <a:cubicBezTo>
                    <a:pt x="7496" y="5904"/>
                    <a:pt x="7483" y="5959"/>
                    <a:pt x="7469" y="6013"/>
                  </a:cubicBezTo>
                  <a:cubicBezTo>
                    <a:pt x="7503" y="6035"/>
                    <a:pt x="7538" y="6056"/>
                    <a:pt x="7572" y="6078"/>
                  </a:cubicBezTo>
                  <a:lnTo>
                    <a:pt x="7634" y="6176"/>
                  </a:lnTo>
                  <a:cubicBezTo>
                    <a:pt x="7661" y="6285"/>
                    <a:pt x="7689" y="6394"/>
                    <a:pt x="7716" y="6503"/>
                  </a:cubicBezTo>
                  <a:cubicBezTo>
                    <a:pt x="7723" y="6547"/>
                    <a:pt x="7730" y="6590"/>
                    <a:pt x="7737" y="6634"/>
                  </a:cubicBezTo>
                  <a:cubicBezTo>
                    <a:pt x="7792" y="6699"/>
                    <a:pt x="7846" y="6765"/>
                    <a:pt x="7901" y="6830"/>
                  </a:cubicBezTo>
                  <a:cubicBezTo>
                    <a:pt x="7894" y="6852"/>
                    <a:pt x="7888" y="6873"/>
                    <a:pt x="7881" y="6895"/>
                  </a:cubicBezTo>
                  <a:cubicBezTo>
                    <a:pt x="7847" y="6873"/>
                    <a:pt x="7812" y="6852"/>
                    <a:pt x="7778" y="6830"/>
                  </a:cubicBezTo>
                  <a:cubicBezTo>
                    <a:pt x="7764" y="6874"/>
                    <a:pt x="7751" y="6917"/>
                    <a:pt x="7737" y="6961"/>
                  </a:cubicBezTo>
                  <a:lnTo>
                    <a:pt x="7860" y="7026"/>
                  </a:lnTo>
                  <a:cubicBezTo>
                    <a:pt x="7874" y="7059"/>
                    <a:pt x="7887" y="7091"/>
                    <a:pt x="7901" y="7124"/>
                  </a:cubicBezTo>
                  <a:lnTo>
                    <a:pt x="7819" y="7157"/>
                  </a:lnTo>
                  <a:lnTo>
                    <a:pt x="7716" y="7190"/>
                  </a:lnTo>
                  <a:lnTo>
                    <a:pt x="7654" y="7255"/>
                  </a:lnTo>
                  <a:cubicBezTo>
                    <a:pt x="7647" y="7266"/>
                    <a:pt x="7641" y="7277"/>
                    <a:pt x="7634" y="7288"/>
                  </a:cubicBezTo>
                  <a:lnTo>
                    <a:pt x="7778" y="7320"/>
                  </a:lnTo>
                  <a:lnTo>
                    <a:pt x="7881" y="7353"/>
                  </a:lnTo>
                  <a:lnTo>
                    <a:pt x="7881" y="7549"/>
                  </a:lnTo>
                  <a:cubicBezTo>
                    <a:pt x="7853" y="7647"/>
                    <a:pt x="7826" y="7745"/>
                    <a:pt x="7798" y="7843"/>
                  </a:cubicBezTo>
                  <a:cubicBezTo>
                    <a:pt x="7730" y="7974"/>
                    <a:pt x="7661" y="8104"/>
                    <a:pt x="7593" y="8235"/>
                  </a:cubicBezTo>
                  <a:lnTo>
                    <a:pt x="7449" y="8562"/>
                  </a:lnTo>
                  <a:cubicBezTo>
                    <a:pt x="7415" y="8660"/>
                    <a:pt x="7380" y="8758"/>
                    <a:pt x="7346" y="8856"/>
                  </a:cubicBezTo>
                  <a:lnTo>
                    <a:pt x="7119" y="9150"/>
                  </a:lnTo>
                  <a:lnTo>
                    <a:pt x="6975" y="9346"/>
                  </a:lnTo>
                  <a:lnTo>
                    <a:pt x="6749" y="9412"/>
                  </a:lnTo>
                  <a:lnTo>
                    <a:pt x="6626" y="9412"/>
                  </a:lnTo>
                  <a:cubicBezTo>
                    <a:pt x="6605" y="9368"/>
                    <a:pt x="6585" y="9325"/>
                    <a:pt x="6564" y="9281"/>
                  </a:cubicBezTo>
                  <a:lnTo>
                    <a:pt x="6502" y="9314"/>
                  </a:lnTo>
                  <a:lnTo>
                    <a:pt x="6502" y="9542"/>
                  </a:lnTo>
                  <a:lnTo>
                    <a:pt x="6358" y="9608"/>
                  </a:lnTo>
                  <a:lnTo>
                    <a:pt x="6152" y="9706"/>
                  </a:lnTo>
                  <a:lnTo>
                    <a:pt x="6029" y="9739"/>
                  </a:lnTo>
                  <a:cubicBezTo>
                    <a:pt x="6015" y="9782"/>
                    <a:pt x="6002" y="9826"/>
                    <a:pt x="5988" y="9869"/>
                  </a:cubicBezTo>
                  <a:cubicBezTo>
                    <a:pt x="5995" y="9913"/>
                    <a:pt x="6001" y="9956"/>
                    <a:pt x="6008" y="10000"/>
                  </a:cubicBezTo>
                  <a:cubicBezTo>
                    <a:pt x="5981" y="9978"/>
                    <a:pt x="5953" y="9957"/>
                    <a:pt x="5926" y="9935"/>
                  </a:cubicBezTo>
                  <a:lnTo>
                    <a:pt x="5926" y="9804"/>
                  </a:lnTo>
                  <a:lnTo>
                    <a:pt x="5926" y="9706"/>
                  </a:lnTo>
                  <a:lnTo>
                    <a:pt x="5823" y="9706"/>
                  </a:lnTo>
                  <a:cubicBezTo>
                    <a:pt x="5789" y="9684"/>
                    <a:pt x="5754" y="9663"/>
                    <a:pt x="5720" y="9641"/>
                  </a:cubicBezTo>
                  <a:cubicBezTo>
                    <a:pt x="5686" y="9663"/>
                    <a:pt x="5651" y="9684"/>
                    <a:pt x="5617" y="9706"/>
                  </a:cubicBezTo>
                  <a:lnTo>
                    <a:pt x="5514" y="9706"/>
                  </a:lnTo>
                  <a:cubicBezTo>
                    <a:pt x="5487" y="9684"/>
                    <a:pt x="5459" y="9663"/>
                    <a:pt x="5432" y="9641"/>
                  </a:cubicBezTo>
                  <a:cubicBezTo>
                    <a:pt x="5425" y="9554"/>
                    <a:pt x="5419" y="9466"/>
                    <a:pt x="5412" y="9379"/>
                  </a:cubicBezTo>
                  <a:lnTo>
                    <a:pt x="5288" y="9346"/>
                  </a:lnTo>
                  <a:lnTo>
                    <a:pt x="5226" y="9281"/>
                  </a:lnTo>
                  <a:lnTo>
                    <a:pt x="5144" y="9281"/>
                  </a:lnTo>
                  <a:cubicBezTo>
                    <a:pt x="5117" y="9325"/>
                    <a:pt x="5089" y="9368"/>
                    <a:pt x="5062" y="9412"/>
                  </a:cubicBezTo>
                  <a:lnTo>
                    <a:pt x="4712" y="9412"/>
                  </a:lnTo>
                  <a:cubicBezTo>
                    <a:pt x="4705" y="9434"/>
                    <a:pt x="4698" y="9455"/>
                    <a:pt x="4691" y="9477"/>
                  </a:cubicBezTo>
                  <a:lnTo>
                    <a:pt x="4568" y="9477"/>
                  </a:lnTo>
                  <a:lnTo>
                    <a:pt x="4568" y="9608"/>
                  </a:lnTo>
                  <a:lnTo>
                    <a:pt x="4630" y="9641"/>
                  </a:lnTo>
                  <a:cubicBezTo>
                    <a:pt x="4623" y="9684"/>
                    <a:pt x="4616" y="9728"/>
                    <a:pt x="4609" y="9771"/>
                  </a:cubicBezTo>
                  <a:lnTo>
                    <a:pt x="4527" y="9771"/>
                  </a:lnTo>
                  <a:cubicBezTo>
                    <a:pt x="4513" y="9749"/>
                    <a:pt x="4500" y="9728"/>
                    <a:pt x="4486" y="9706"/>
                  </a:cubicBezTo>
                  <a:lnTo>
                    <a:pt x="4403" y="9706"/>
                  </a:lnTo>
                  <a:lnTo>
                    <a:pt x="4321" y="9706"/>
                  </a:lnTo>
                  <a:lnTo>
                    <a:pt x="4321" y="9608"/>
                  </a:lnTo>
                  <a:lnTo>
                    <a:pt x="4239" y="9575"/>
                  </a:lnTo>
                  <a:lnTo>
                    <a:pt x="4239" y="9314"/>
                  </a:lnTo>
                  <a:lnTo>
                    <a:pt x="4136" y="9248"/>
                  </a:lnTo>
                  <a:lnTo>
                    <a:pt x="4136" y="9020"/>
                  </a:lnTo>
                  <a:lnTo>
                    <a:pt x="3930" y="8922"/>
                  </a:lnTo>
                  <a:lnTo>
                    <a:pt x="3930" y="8856"/>
                  </a:lnTo>
                  <a:lnTo>
                    <a:pt x="4095" y="8497"/>
                  </a:lnTo>
                  <a:cubicBezTo>
                    <a:pt x="4102" y="8366"/>
                    <a:pt x="4108" y="8236"/>
                    <a:pt x="4115" y="8105"/>
                  </a:cubicBezTo>
                  <a:cubicBezTo>
                    <a:pt x="4088" y="8072"/>
                    <a:pt x="4060" y="8040"/>
                    <a:pt x="4033" y="8007"/>
                  </a:cubicBezTo>
                  <a:cubicBezTo>
                    <a:pt x="4012" y="7952"/>
                    <a:pt x="3992" y="7898"/>
                    <a:pt x="3971" y="7843"/>
                  </a:cubicBezTo>
                  <a:lnTo>
                    <a:pt x="3889" y="7810"/>
                  </a:lnTo>
                  <a:lnTo>
                    <a:pt x="3724" y="7778"/>
                  </a:lnTo>
                  <a:lnTo>
                    <a:pt x="3724" y="7549"/>
                  </a:lnTo>
                  <a:lnTo>
                    <a:pt x="3621" y="7582"/>
                  </a:lnTo>
                  <a:lnTo>
                    <a:pt x="3395" y="7582"/>
                  </a:lnTo>
                  <a:cubicBezTo>
                    <a:pt x="3374" y="7625"/>
                    <a:pt x="3354" y="7669"/>
                    <a:pt x="3333" y="7712"/>
                  </a:cubicBezTo>
                  <a:cubicBezTo>
                    <a:pt x="3298" y="7791"/>
                    <a:pt x="3262" y="7869"/>
                    <a:pt x="3227" y="7948"/>
                  </a:cubicBezTo>
                  <a:cubicBezTo>
                    <a:pt x="3193" y="8024"/>
                    <a:pt x="3141" y="7865"/>
                    <a:pt x="3107" y="7941"/>
                  </a:cubicBezTo>
                  <a:lnTo>
                    <a:pt x="3004" y="7974"/>
                  </a:lnTo>
                  <a:lnTo>
                    <a:pt x="2860" y="7941"/>
                  </a:lnTo>
                  <a:lnTo>
                    <a:pt x="2737" y="7876"/>
                  </a:lnTo>
                  <a:lnTo>
                    <a:pt x="2634" y="7876"/>
                  </a:lnTo>
                  <a:lnTo>
                    <a:pt x="2572" y="7974"/>
                  </a:lnTo>
                  <a:lnTo>
                    <a:pt x="2366" y="7974"/>
                  </a:lnTo>
                  <a:lnTo>
                    <a:pt x="2140" y="7941"/>
                  </a:lnTo>
                  <a:lnTo>
                    <a:pt x="1975" y="7908"/>
                  </a:lnTo>
                  <a:cubicBezTo>
                    <a:pt x="1913" y="7843"/>
                    <a:pt x="1852" y="7777"/>
                    <a:pt x="1790" y="7712"/>
                  </a:cubicBezTo>
                  <a:lnTo>
                    <a:pt x="1667" y="7582"/>
                  </a:lnTo>
                  <a:lnTo>
                    <a:pt x="1502" y="7451"/>
                  </a:lnTo>
                  <a:lnTo>
                    <a:pt x="1358" y="7222"/>
                  </a:lnTo>
                  <a:lnTo>
                    <a:pt x="1214" y="7320"/>
                  </a:lnTo>
                  <a:lnTo>
                    <a:pt x="1091" y="7157"/>
                  </a:lnTo>
                  <a:lnTo>
                    <a:pt x="823" y="6961"/>
                  </a:lnTo>
                  <a:lnTo>
                    <a:pt x="823" y="6830"/>
                  </a:lnTo>
                  <a:cubicBezTo>
                    <a:pt x="837" y="6776"/>
                    <a:pt x="850" y="6721"/>
                    <a:pt x="864" y="6667"/>
                  </a:cubicBezTo>
                  <a:lnTo>
                    <a:pt x="967" y="6634"/>
                  </a:lnTo>
                  <a:cubicBezTo>
                    <a:pt x="974" y="6590"/>
                    <a:pt x="981" y="6547"/>
                    <a:pt x="988" y="6503"/>
                  </a:cubicBezTo>
                  <a:lnTo>
                    <a:pt x="864" y="6373"/>
                  </a:lnTo>
                  <a:lnTo>
                    <a:pt x="864" y="6209"/>
                  </a:lnTo>
                  <a:lnTo>
                    <a:pt x="1029" y="6078"/>
                  </a:lnTo>
                  <a:lnTo>
                    <a:pt x="1111" y="5948"/>
                  </a:lnTo>
                  <a:lnTo>
                    <a:pt x="1111" y="5817"/>
                  </a:lnTo>
                  <a:cubicBezTo>
                    <a:pt x="1049" y="5752"/>
                    <a:pt x="1038" y="5738"/>
                    <a:pt x="976" y="5673"/>
                  </a:cubicBezTo>
                  <a:lnTo>
                    <a:pt x="803" y="5778"/>
                  </a:lnTo>
                  <a:lnTo>
                    <a:pt x="597" y="5719"/>
                  </a:lnTo>
                  <a:lnTo>
                    <a:pt x="391" y="5588"/>
                  </a:lnTo>
                  <a:lnTo>
                    <a:pt x="391" y="5425"/>
                  </a:lnTo>
                  <a:lnTo>
                    <a:pt x="206" y="5327"/>
                  </a:lnTo>
                  <a:lnTo>
                    <a:pt x="206" y="5196"/>
                  </a:lnTo>
                  <a:lnTo>
                    <a:pt x="206" y="4869"/>
                  </a:lnTo>
                  <a:lnTo>
                    <a:pt x="82" y="4902"/>
                  </a:lnTo>
                  <a:lnTo>
                    <a:pt x="21" y="4869"/>
                  </a:lnTo>
                  <a:cubicBezTo>
                    <a:pt x="14" y="4826"/>
                    <a:pt x="7" y="4782"/>
                    <a:pt x="0" y="4739"/>
                  </a:cubicBezTo>
                  <a:cubicBezTo>
                    <a:pt x="7" y="4706"/>
                    <a:pt x="14" y="4674"/>
                    <a:pt x="21" y="4641"/>
                  </a:cubicBezTo>
                  <a:cubicBezTo>
                    <a:pt x="28" y="4586"/>
                    <a:pt x="34" y="4532"/>
                    <a:pt x="41" y="4477"/>
                  </a:cubicBezTo>
                  <a:cubicBezTo>
                    <a:pt x="82" y="4433"/>
                    <a:pt x="124" y="4390"/>
                    <a:pt x="165" y="4346"/>
                  </a:cubicBezTo>
                  <a:cubicBezTo>
                    <a:pt x="172" y="4313"/>
                    <a:pt x="178" y="4281"/>
                    <a:pt x="185" y="4248"/>
                  </a:cubicBezTo>
                  <a:lnTo>
                    <a:pt x="329" y="4248"/>
                  </a:lnTo>
                  <a:lnTo>
                    <a:pt x="329" y="4346"/>
                  </a:lnTo>
                  <a:lnTo>
                    <a:pt x="494" y="4281"/>
                  </a:lnTo>
                  <a:cubicBezTo>
                    <a:pt x="508" y="4227"/>
                    <a:pt x="521" y="4172"/>
                    <a:pt x="535" y="4118"/>
                  </a:cubicBezTo>
                  <a:lnTo>
                    <a:pt x="741" y="4118"/>
                  </a:lnTo>
                  <a:cubicBezTo>
                    <a:pt x="755" y="4074"/>
                    <a:pt x="768" y="4031"/>
                    <a:pt x="782" y="3987"/>
                  </a:cubicBezTo>
                  <a:lnTo>
                    <a:pt x="1049" y="3791"/>
                  </a:lnTo>
                  <a:cubicBezTo>
                    <a:pt x="1070" y="3769"/>
                    <a:pt x="1090" y="3747"/>
                    <a:pt x="1111" y="3725"/>
                  </a:cubicBez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83" name="Freeform 279">
              <a:extLst>
                <a:ext uri="{FF2B5EF4-FFF2-40B4-BE49-F238E27FC236}">
                  <a16:creationId xmlns:a16="http://schemas.microsoft.com/office/drawing/2014/main" id="{105A863C-8D22-43B3-B764-1FEE2CD38656}"/>
                </a:ext>
              </a:extLst>
            </p:cNvPr>
            <p:cNvSpPr>
              <a:spLocks/>
            </p:cNvSpPr>
            <p:nvPr/>
          </p:nvSpPr>
          <p:spPr bwMode="gray">
            <a:xfrm>
              <a:off x="8435304" y="4093816"/>
              <a:ext cx="204732" cy="225737"/>
            </a:xfrm>
            <a:custGeom>
              <a:avLst/>
              <a:gdLst>
                <a:gd name="T0" fmla="*/ 12 w 124"/>
                <a:gd name="T1" fmla="*/ 14 h 136"/>
                <a:gd name="T2" fmla="*/ 20 w 124"/>
                <a:gd name="T3" fmla="*/ 14 h 136"/>
                <a:gd name="T4" fmla="*/ 24 w 124"/>
                <a:gd name="T5" fmla="*/ 18 h 136"/>
                <a:gd name="T6" fmla="*/ 32 w 124"/>
                <a:gd name="T7" fmla="*/ 18 h 136"/>
                <a:gd name="T8" fmla="*/ 34 w 124"/>
                <a:gd name="T9" fmla="*/ 10 h 136"/>
                <a:gd name="T10" fmla="*/ 28 w 124"/>
                <a:gd name="T11" fmla="*/ 8 h 136"/>
                <a:gd name="T12" fmla="*/ 28 w 124"/>
                <a:gd name="T13" fmla="*/ 0 h 136"/>
                <a:gd name="T14" fmla="*/ 40 w 124"/>
                <a:gd name="T15" fmla="*/ 0 h 136"/>
                <a:gd name="T16" fmla="*/ 40 w 124"/>
                <a:gd name="T17" fmla="*/ 4 h 136"/>
                <a:gd name="T18" fmla="*/ 50 w 124"/>
                <a:gd name="T19" fmla="*/ 14 h 136"/>
                <a:gd name="T20" fmla="*/ 52 w 124"/>
                <a:gd name="T21" fmla="*/ 24 h 136"/>
                <a:gd name="T22" fmla="*/ 52 w 124"/>
                <a:gd name="T23" fmla="*/ 28 h 136"/>
                <a:gd name="T24" fmla="*/ 74 w 124"/>
                <a:gd name="T25" fmla="*/ 26 h 136"/>
                <a:gd name="T26" fmla="*/ 80 w 124"/>
                <a:gd name="T27" fmla="*/ 36 h 136"/>
                <a:gd name="T28" fmla="*/ 82 w 124"/>
                <a:gd name="T29" fmla="*/ 46 h 136"/>
                <a:gd name="T30" fmla="*/ 68 w 124"/>
                <a:gd name="T31" fmla="*/ 46 h 136"/>
                <a:gd name="T32" fmla="*/ 68 w 124"/>
                <a:gd name="T33" fmla="*/ 56 h 136"/>
                <a:gd name="T34" fmla="*/ 76 w 124"/>
                <a:gd name="T35" fmla="*/ 60 h 136"/>
                <a:gd name="T36" fmla="*/ 100 w 124"/>
                <a:gd name="T37" fmla="*/ 84 h 136"/>
                <a:gd name="T38" fmla="*/ 120 w 124"/>
                <a:gd name="T39" fmla="*/ 106 h 136"/>
                <a:gd name="T40" fmla="*/ 124 w 124"/>
                <a:gd name="T41" fmla="*/ 120 h 136"/>
                <a:gd name="T42" fmla="*/ 122 w 124"/>
                <a:gd name="T43" fmla="*/ 134 h 136"/>
                <a:gd name="T44" fmla="*/ 112 w 124"/>
                <a:gd name="T45" fmla="*/ 134 h 136"/>
                <a:gd name="T46" fmla="*/ 110 w 124"/>
                <a:gd name="T47" fmla="*/ 128 h 136"/>
                <a:gd name="T48" fmla="*/ 104 w 124"/>
                <a:gd name="T49" fmla="*/ 128 h 136"/>
                <a:gd name="T50" fmla="*/ 102 w 124"/>
                <a:gd name="T51" fmla="*/ 136 h 136"/>
                <a:gd name="T52" fmla="*/ 90 w 124"/>
                <a:gd name="T53" fmla="*/ 136 h 136"/>
                <a:gd name="T54" fmla="*/ 90 w 124"/>
                <a:gd name="T55" fmla="*/ 130 h 136"/>
                <a:gd name="T56" fmla="*/ 94 w 124"/>
                <a:gd name="T57" fmla="*/ 118 h 136"/>
                <a:gd name="T58" fmla="*/ 94 w 124"/>
                <a:gd name="T59" fmla="*/ 108 h 136"/>
                <a:gd name="T60" fmla="*/ 84 w 124"/>
                <a:gd name="T61" fmla="*/ 98 h 136"/>
                <a:gd name="T62" fmla="*/ 80 w 124"/>
                <a:gd name="T63" fmla="*/ 82 h 136"/>
                <a:gd name="T64" fmla="*/ 64 w 124"/>
                <a:gd name="T65" fmla="*/ 64 h 136"/>
                <a:gd name="T66" fmla="*/ 52 w 124"/>
                <a:gd name="T67" fmla="*/ 72 h 136"/>
                <a:gd name="T68" fmla="*/ 40 w 124"/>
                <a:gd name="T69" fmla="*/ 68 h 136"/>
                <a:gd name="T70" fmla="*/ 20 w 124"/>
                <a:gd name="T71" fmla="*/ 80 h 136"/>
                <a:gd name="T72" fmla="*/ 20 w 124"/>
                <a:gd name="T73" fmla="*/ 66 h 136"/>
                <a:gd name="T74" fmla="*/ 24 w 124"/>
                <a:gd name="T75" fmla="*/ 62 h 136"/>
                <a:gd name="T76" fmla="*/ 20 w 124"/>
                <a:gd name="T77" fmla="*/ 48 h 136"/>
                <a:gd name="T78" fmla="*/ 12 w 124"/>
                <a:gd name="T79" fmla="*/ 46 h 136"/>
                <a:gd name="T80" fmla="*/ 12 w 124"/>
                <a:gd name="T81" fmla="*/ 38 h 136"/>
                <a:gd name="T82" fmla="*/ 0 w 124"/>
                <a:gd name="T83" fmla="*/ 32 h 136"/>
                <a:gd name="T84" fmla="*/ 14 w 124"/>
                <a:gd name="T85" fmla="*/ 24 h 136"/>
                <a:gd name="T86" fmla="*/ 12 w 124"/>
                <a:gd name="T87"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4" h="136">
                  <a:moveTo>
                    <a:pt x="12" y="14"/>
                  </a:moveTo>
                  <a:lnTo>
                    <a:pt x="20" y="14"/>
                  </a:lnTo>
                  <a:lnTo>
                    <a:pt x="24" y="18"/>
                  </a:lnTo>
                  <a:lnTo>
                    <a:pt x="32" y="18"/>
                  </a:lnTo>
                  <a:lnTo>
                    <a:pt x="34" y="10"/>
                  </a:lnTo>
                  <a:lnTo>
                    <a:pt x="28" y="8"/>
                  </a:lnTo>
                  <a:lnTo>
                    <a:pt x="28" y="0"/>
                  </a:lnTo>
                  <a:lnTo>
                    <a:pt x="40" y="0"/>
                  </a:lnTo>
                  <a:lnTo>
                    <a:pt x="40" y="4"/>
                  </a:lnTo>
                  <a:lnTo>
                    <a:pt x="50" y="14"/>
                  </a:lnTo>
                  <a:lnTo>
                    <a:pt x="52" y="24"/>
                  </a:lnTo>
                  <a:lnTo>
                    <a:pt x="52" y="28"/>
                  </a:lnTo>
                  <a:lnTo>
                    <a:pt x="74" y="26"/>
                  </a:lnTo>
                  <a:lnTo>
                    <a:pt x="80" y="36"/>
                  </a:lnTo>
                  <a:lnTo>
                    <a:pt x="82" y="46"/>
                  </a:lnTo>
                  <a:lnTo>
                    <a:pt x="68" y="46"/>
                  </a:lnTo>
                  <a:lnTo>
                    <a:pt x="68" y="56"/>
                  </a:lnTo>
                  <a:lnTo>
                    <a:pt x="76" y="60"/>
                  </a:lnTo>
                  <a:lnTo>
                    <a:pt x="100" y="84"/>
                  </a:lnTo>
                  <a:lnTo>
                    <a:pt x="120" y="106"/>
                  </a:lnTo>
                  <a:lnTo>
                    <a:pt x="124" y="120"/>
                  </a:lnTo>
                  <a:lnTo>
                    <a:pt x="122" y="134"/>
                  </a:lnTo>
                  <a:lnTo>
                    <a:pt x="112" y="134"/>
                  </a:lnTo>
                  <a:lnTo>
                    <a:pt x="110" y="128"/>
                  </a:lnTo>
                  <a:lnTo>
                    <a:pt x="104" y="128"/>
                  </a:lnTo>
                  <a:lnTo>
                    <a:pt x="102" y="136"/>
                  </a:lnTo>
                  <a:lnTo>
                    <a:pt x="90" y="136"/>
                  </a:lnTo>
                  <a:lnTo>
                    <a:pt x="90" y="130"/>
                  </a:lnTo>
                  <a:lnTo>
                    <a:pt x="94" y="118"/>
                  </a:lnTo>
                  <a:lnTo>
                    <a:pt x="94" y="108"/>
                  </a:lnTo>
                  <a:lnTo>
                    <a:pt x="84" y="98"/>
                  </a:lnTo>
                  <a:lnTo>
                    <a:pt x="80" y="82"/>
                  </a:lnTo>
                  <a:lnTo>
                    <a:pt x="64" y="64"/>
                  </a:lnTo>
                  <a:lnTo>
                    <a:pt x="52" y="72"/>
                  </a:lnTo>
                  <a:lnTo>
                    <a:pt x="40" y="68"/>
                  </a:lnTo>
                  <a:lnTo>
                    <a:pt x="20" y="80"/>
                  </a:lnTo>
                  <a:lnTo>
                    <a:pt x="20" y="66"/>
                  </a:lnTo>
                  <a:lnTo>
                    <a:pt x="24" y="62"/>
                  </a:lnTo>
                  <a:lnTo>
                    <a:pt x="20" y="48"/>
                  </a:lnTo>
                  <a:lnTo>
                    <a:pt x="12" y="46"/>
                  </a:lnTo>
                  <a:lnTo>
                    <a:pt x="12" y="38"/>
                  </a:lnTo>
                  <a:lnTo>
                    <a:pt x="0" y="32"/>
                  </a:lnTo>
                  <a:lnTo>
                    <a:pt x="14" y="24"/>
                  </a:lnTo>
                  <a:lnTo>
                    <a:pt x="12" y="1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84" name="Freeform 280">
              <a:extLst>
                <a:ext uri="{FF2B5EF4-FFF2-40B4-BE49-F238E27FC236}">
                  <a16:creationId xmlns:a16="http://schemas.microsoft.com/office/drawing/2014/main" id="{C47BF211-175F-48F7-9952-6F81EF2D502D}"/>
                </a:ext>
              </a:extLst>
            </p:cNvPr>
            <p:cNvSpPr>
              <a:spLocks/>
            </p:cNvSpPr>
            <p:nvPr/>
          </p:nvSpPr>
          <p:spPr bwMode="gray">
            <a:xfrm>
              <a:off x="8124902" y="3184231"/>
              <a:ext cx="838745" cy="345244"/>
            </a:xfrm>
            <a:custGeom>
              <a:avLst/>
              <a:gdLst>
                <a:gd name="T0" fmla="*/ 8 w 508"/>
                <a:gd name="T1" fmla="*/ 54 h 208"/>
                <a:gd name="T2" fmla="*/ 30 w 508"/>
                <a:gd name="T3" fmla="*/ 44 h 208"/>
                <a:gd name="T4" fmla="*/ 80 w 508"/>
                <a:gd name="T5" fmla="*/ 28 h 208"/>
                <a:gd name="T6" fmla="*/ 112 w 508"/>
                <a:gd name="T7" fmla="*/ 44 h 208"/>
                <a:gd name="T8" fmla="*/ 152 w 508"/>
                <a:gd name="T9" fmla="*/ 50 h 208"/>
                <a:gd name="T10" fmla="*/ 166 w 508"/>
                <a:gd name="T11" fmla="*/ 32 h 208"/>
                <a:gd name="T12" fmla="*/ 168 w 508"/>
                <a:gd name="T13" fmla="*/ 4 h 208"/>
                <a:gd name="T14" fmla="*/ 186 w 508"/>
                <a:gd name="T15" fmla="*/ 2 h 208"/>
                <a:gd name="T16" fmla="*/ 224 w 508"/>
                <a:gd name="T17" fmla="*/ 14 h 208"/>
                <a:gd name="T18" fmla="*/ 236 w 508"/>
                <a:gd name="T19" fmla="*/ 36 h 208"/>
                <a:gd name="T20" fmla="*/ 276 w 508"/>
                <a:gd name="T21" fmla="*/ 32 h 208"/>
                <a:gd name="T22" fmla="*/ 306 w 508"/>
                <a:gd name="T23" fmla="*/ 42 h 208"/>
                <a:gd name="T24" fmla="*/ 322 w 508"/>
                <a:gd name="T25" fmla="*/ 52 h 208"/>
                <a:gd name="T26" fmla="*/ 350 w 508"/>
                <a:gd name="T27" fmla="*/ 60 h 208"/>
                <a:gd name="T28" fmla="*/ 398 w 508"/>
                <a:gd name="T29" fmla="*/ 52 h 208"/>
                <a:gd name="T30" fmla="*/ 416 w 508"/>
                <a:gd name="T31" fmla="*/ 38 h 208"/>
                <a:gd name="T32" fmla="*/ 434 w 508"/>
                <a:gd name="T33" fmla="*/ 42 h 208"/>
                <a:gd name="T34" fmla="*/ 458 w 508"/>
                <a:gd name="T35" fmla="*/ 44 h 208"/>
                <a:gd name="T36" fmla="*/ 448 w 508"/>
                <a:gd name="T37" fmla="*/ 60 h 208"/>
                <a:gd name="T38" fmla="*/ 468 w 508"/>
                <a:gd name="T39" fmla="*/ 86 h 208"/>
                <a:gd name="T40" fmla="*/ 486 w 508"/>
                <a:gd name="T41" fmla="*/ 82 h 208"/>
                <a:gd name="T42" fmla="*/ 508 w 508"/>
                <a:gd name="T43" fmla="*/ 112 h 208"/>
                <a:gd name="T44" fmla="*/ 480 w 508"/>
                <a:gd name="T45" fmla="*/ 110 h 208"/>
                <a:gd name="T46" fmla="*/ 442 w 508"/>
                <a:gd name="T47" fmla="*/ 132 h 208"/>
                <a:gd name="T48" fmla="*/ 412 w 508"/>
                <a:gd name="T49" fmla="*/ 146 h 208"/>
                <a:gd name="T50" fmla="*/ 380 w 508"/>
                <a:gd name="T51" fmla="*/ 144 h 208"/>
                <a:gd name="T52" fmla="*/ 380 w 508"/>
                <a:gd name="T53" fmla="*/ 168 h 208"/>
                <a:gd name="T54" fmla="*/ 362 w 508"/>
                <a:gd name="T55" fmla="*/ 184 h 208"/>
                <a:gd name="T56" fmla="*/ 300 w 508"/>
                <a:gd name="T57" fmla="*/ 194 h 208"/>
                <a:gd name="T58" fmla="*/ 242 w 508"/>
                <a:gd name="T59" fmla="*/ 204 h 208"/>
                <a:gd name="T60" fmla="*/ 190 w 508"/>
                <a:gd name="T61" fmla="*/ 190 h 208"/>
                <a:gd name="T62" fmla="*/ 130 w 508"/>
                <a:gd name="T63" fmla="*/ 178 h 208"/>
                <a:gd name="T64" fmla="*/ 102 w 508"/>
                <a:gd name="T65" fmla="*/ 154 h 208"/>
                <a:gd name="T66" fmla="*/ 58 w 508"/>
                <a:gd name="T67" fmla="*/ 142 h 208"/>
                <a:gd name="T68" fmla="*/ 46 w 508"/>
                <a:gd name="T69" fmla="*/ 126 h 208"/>
                <a:gd name="T70" fmla="*/ 52 w 508"/>
                <a:gd name="T71" fmla="*/ 110 h 208"/>
                <a:gd name="T72" fmla="*/ 30 w 508"/>
                <a:gd name="T73" fmla="*/ 84 h 208"/>
                <a:gd name="T74" fmla="*/ 4 w 508"/>
                <a:gd name="T75" fmla="*/ 72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08" h="208">
                  <a:moveTo>
                    <a:pt x="0" y="62"/>
                  </a:moveTo>
                  <a:lnTo>
                    <a:pt x="8" y="54"/>
                  </a:lnTo>
                  <a:lnTo>
                    <a:pt x="22" y="52"/>
                  </a:lnTo>
                  <a:lnTo>
                    <a:pt x="30" y="44"/>
                  </a:lnTo>
                  <a:lnTo>
                    <a:pt x="64" y="26"/>
                  </a:lnTo>
                  <a:lnTo>
                    <a:pt x="80" y="28"/>
                  </a:lnTo>
                  <a:lnTo>
                    <a:pt x="102" y="32"/>
                  </a:lnTo>
                  <a:lnTo>
                    <a:pt x="112" y="44"/>
                  </a:lnTo>
                  <a:lnTo>
                    <a:pt x="144" y="44"/>
                  </a:lnTo>
                  <a:lnTo>
                    <a:pt x="152" y="50"/>
                  </a:lnTo>
                  <a:lnTo>
                    <a:pt x="164" y="40"/>
                  </a:lnTo>
                  <a:lnTo>
                    <a:pt x="166" y="32"/>
                  </a:lnTo>
                  <a:lnTo>
                    <a:pt x="154" y="18"/>
                  </a:lnTo>
                  <a:lnTo>
                    <a:pt x="168" y="4"/>
                  </a:lnTo>
                  <a:lnTo>
                    <a:pt x="172" y="0"/>
                  </a:lnTo>
                  <a:lnTo>
                    <a:pt x="186" y="2"/>
                  </a:lnTo>
                  <a:lnTo>
                    <a:pt x="200" y="6"/>
                  </a:lnTo>
                  <a:lnTo>
                    <a:pt x="224" y="14"/>
                  </a:lnTo>
                  <a:lnTo>
                    <a:pt x="226" y="24"/>
                  </a:lnTo>
                  <a:lnTo>
                    <a:pt x="236" y="36"/>
                  </a:lnTo>
                  <a:lnTo>
                    <a:pt x="262" y="40"/>
                  </a:lnTo>
                  <a:lnTo>
                    <a:pt x="276" y="32"/>
                  </a:lnTo>
                  <a:lnTo>
                    <a:pt x="300" y="36"/>
                  </a:lnTo>
                  <a:lnTo>
                    <a:pt x="306" y="42"/>
                  </a:lnTo>
                  <a:lnTo>
                    <a:pt x="316" y="44"/>
                  </a:lnTo>
                  <a:lnTo>
                    <a:pt x="322" y="52"/>
                  </a:lnTo>
                  <a:lnTo>
                    <a:pt x="328" y="58"/>
                  </a:lnTo>
                  <a:lnTo>
                    <a:pt x="350" y="60"/>
                  </a:lnTo>
                  <a:lnTo>
                    <a:pt x="368" y="58"/>
                  </a:lnTo>
                  <a:lnTo>
                    <a:pt x="398" y="52"/>
                  </a:lnTo>
                  <a:lnTo>
                    <a:pt x="408" y="44"/>
                  </a:lnTo>
                  <a:lnTo>
                    <a:pt x="416" y="38"/>
                  </a:lnTo>
                  <a:lnTo>
                    <a:pt x="426" y="36"/>
                  </a:lnTo>
                  <a:lnTo>
                    <a:pt x="434" y="42"/>
                  </a:lnTo>
                  <a:lnTo>
                    <a:pt x="442" y="42"/>
                  </a:lnTo>
                  <a:lnTo>
                    <a:pt x="458" y="44"/>
                  </a:lnTo>
                  <a:lnTo>
                    <a:pt x="452" y="52"/>
                  </a:lnTo>
                  <a:lnTo>
                    <a:pt x="448" y="60"/>
                  </a:lnTo>
                  <a:lnTo>
                    <a:pt x="440" y="84"/>
                  </a:lnTo>
                  <a:lnTo>
                    <a:pt x="468" y="86"/>
                  </a:lnTo>
                  <a:lnTo>
                    <a:pt x="476" y="80"/>
                  </a:lnTo>
                  <a:lnTo>
                    <a:pt x="486" y="82"/>
                  </a:lnTo>
                  <a:lnTo>
                    <a:pt x="506" y="102"/>
                  </a:lnTo>
                  <a:lnTo>
                    <a:pt x="508" y="112"/>
                  </a:lnTo>
                  <a:lnTo>
                    <a:pt x="494" y="110"/>
                  </a:lnTo>
                  <a:lnTo>
                    <a:pt x="480" y="110"/>
                  </a:lnTo>
                  <a:lnTo>
                    <a:pt x="460" y="118"/>
                  </a:lnTo>
                  <a:lnTo>
                    <a:pt x="442" y="132"/>
                  </a:lnTo>
                  <a:lnTo>
                    <a:pt x="426" y="132"/>
                  </a:lnTo>
                  <a:lnTo>
                    <a:pt x="412" y="146"/>
                  </a:lnTo>
                  <a:lnTo>
                    <a:pt x="394" y="144"/>
                  </a:lnTo>
                  <a:lnTo>
                    <a:pt x="380" y="144"/>
                  </a:lnTo>
                  <a:lnTo>
                    <a:pt x="374" y="156"/>
                  </a:lnTo>
                  <a:lnTo>
                    <a:pt x="380" y="168"/>
                  </a:lnTo>
                  <a:lnTo>
                    <a:pt x="362" y="178"/>
                  </a:lnTo>
                  <a:lnTo>
                    <a:pt x="362" y="184"/>
                  </a:lnTo>
                  <a:lnTo>
                    <a:pt x="344" y="194"/>
                  </a:lnTo>
                  <a:lnTo>
                    <a:pt x="300" y="194"/>
                  </a:lnTo>
                  <a:lnTo>
                    <a:pt x="278" y="208"/>
                  </a:lnTo>
                  <a:lnTo>
                    <a:pt x="242" y="204"/>
                  </a:lnTo>
                  <a:lnTo>
                    <a:pt x="218" y="192"/>
                  </a:lnTo>
                  <a:lnTo>
                    <a:pt x="190" y="190"/>
                  </a:lnTo>
                  <a:lnTo>
                    <a:pt x="136" y="188"/>
                  </a:lnTo>
                  <a:lnTo>
                    <a:pt x="130" y="178"/>
                  </a:lnTo>
                  <a:lnTo>
                    <a:pt x="124" y="166"/>
                  </a:lnTo>
                  <a:lnTo>
                    <a:pt x="102" y="154"/>
                  </a:lnTo>
                  <a:lnTo>
                    <a:pt x="92" y="144"/>
                  </a:lnTo>
                  <a:lnTo>
                    <a:pt x="58" y="142"/>
                  </a:lnTo>
                  <a:lnTo>
                    <a:pt x="50" y="138"/>
                  </a:lnTo>
                  <a:lnTo>
                    <a:pt x="46" y="126"/>
                  </a:lnTo>
                  <a:lnTo>
                    <a:pt x="52" y="118"/>
                  </a:lnTo>
                  <a:lnTo>
                    <a:pt x="52" y="110"/>
                  </a:lnTo>
                  <a:lnTo>
                    <a:pt x="44" y="98"/>
                  </a:lnTo>
                  <a:lnTo>
                    <a:pt x="30" y="84"/>
                  </a:lnTo>
                  <a:lnTo>
                    <a:pt x="14" y="82"/>
                  </a:lnTo>
                  <a:lnTo>
                    <a:pt x="4" y="72"/>
                  </a:lnTo>
                  <a:lnTo>
                    <a:pt x="0" y="6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85" name="Freeform 281">
              <a:extLst>
                <a:ext uri="{FF2B5EF4-FFF2-40B4-BE49-F238E27FC236}">
                  <a16:creationId xmlns:a16="http://schemas.microsoft.com/office/drawing/2014/main" id="{039B6C79-388B-40BA-9D98-E11480FC036E}"/>
                </a:ext>
              </a:extLst>
            </p:cNvPr>
            <p:cNvSpPr>
              <a:spLocks/>
            </p:cNvSpPr>
            <p:nvPr/>
          </p:nvSpPr>
          <p:spPr bwMode="gray">
            <a:xfrm>
              <a:off x="8791935" y="4583466"/>
              <a:ext cx="42928" cy="34857"/>
            </a:xfrm>
            <a:custGeom>
              <a:avLst/>
              <a:gdLst>
                <a:gd name="T0" fmla="*/ 1 w 26"/>
                <a:gd name="T1" fmla="*/ 10 h 21"/>
                <a:gd name="T2" fmla="*/ 11 w 26"/>
                <a:gd name="T3" fmla="*/ 0 h 21"/>
                <a:gd name="T4" fmla="*/ 1 w 26"/>
                <a:gd name="T5" fmla="*/ 10 h 21"/>
              </a:gdLst>
              <a:ahLst/>
              <a:cxnLst>
                <a:cxn ang="0">
                  <a:pos x="T0" y="T1"/>
                </a:cxn>
                <a:cxn ang="0">
                  <a:pos x="T2" y="T3"/>
                </a:cxn>
                <a:cxn ang="0">
                  <a:pos x="T4" y="T5"/>
                </a:cxn>
              </a:cxnLst>
              <a:rect l="0" t="0" r="r" b="b"/>
              <a:pathLst>
                <a:path w="26" h="21">
                  <a:moveTo>
                    <a:pt x="1" y="10"/>
                  </a:moveTo>
                  <a:cubicBezTo>
                    <a:pt x="13" y="18"/>
                    <a:pt x="26" y="10"/>
                    <a:pt x="11" y="0"/>
                  </a:cubicBezTo>
                  <a:cubicBezTo>
                    <a:pt x="0" y="3"/>
                    <a:pt x="1" y="21"/>
                    <a:pt x="1" y="10"/>
                  </a:cubicBezTo>
                  <a:close/>
                </a:path>
              </a:pathLst>
            </a:custGeom>
            <a:grpFill/>
            <a:ln w="3175" cap="flat">
              <a:solidFill>
                <a:srgbClr val="1A1D24"/>
              </a:solidFill>
              <a:prstDash val="solid"/>
              <a:miter lim="800000"/>
              <a:headEnd/>
              <a:tailEnd/>
            </a:ln>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algn="ctr"/>
              <a:endParaRPr lang="en-GB" sz="1000" dirty="0"/>
            </a:p>
          </p:txBody>
        </p:sp>
        <p:sp>
          <p:nvSpPr>
            <p:cNvPr id="1086" name="Freeform 282">
              <a:extLst>
                <a:ext uri="{FF2B5EF4-FFF2-40B4-BE49-F238E27FC236}">
                  <a16:creationId xmlns:a16="http://schemas.microsoft.com/office/drawing/2014/main" id="{2CB3F1D0-C8B1-46E4-B469-42918BD2063A}"/>
                </a:ext>
              </a:extLst>
            </p:cNvPr>
            <p:cNvSpPr>
              <a:spLocks/>
            </p:cNvSpPr>
            <p:nvPr/>
          </p:nvSpPr>
          <p:spPr bwMode="gray">
            <a:xfrm>
              <a:off x="8522811" y="4629942"/>
              <a:ext cx="29719" cy="26557"/>
            </a:xfrm>
            <a:custGeom>
              <a:avLst/>
              <a:gdLst>
                <a:gd name="T0" fmla="*/ 18 w 18"/>
                <a:gd name="T1" fmla="*/ 16 h 16"/>
                <a:gd name="T2" fmla="*/ 10 w 18"/>
                <a:gd name="T3" fmla="*/ 2 h 16"/>
                <a:gd name="T4" fmla="*/ 4 w 18"/>
                <a:gd name="T5" fmla="*/ 14 h 16"/>
                <a:gd name="T6" fmla="*/ 12 w 18"/>
                <a:gd name="T7" fmla="*/ 12 h 16"/>
                <a:gd name="T8" fmla="*/ 18 w 18"/>
                <a:gd name="T9" fmla="*/ 16 h 16"/>
              </a:gdLst>
              <a:ahLst/>
              <a:cxnLst>
                <a:cxn ang="0">
                  <a:pos x="T0" y="T1"/>
                </a:cxn>
                <a:cxn ang="0">
                  <a:pos x="T2" y="T3"/>
                </a:cxn>
                <a:cxn ang="0">
                  <a:pos x="T4" y="T5"/>
                </a:cxn>
                <a:cxn ang="0">
                  <a:pos x="T6" y="T7"/>
                </a:cxn>
                <a:cxn ang="0">
                  <a:pos x="T8" y="T9"/>
                </a:cxn>
              </a:cxnLst>
              <a:rect l="0" t="0" r="r" b="b"/>
              <a:pathLst>
                <a:path w="18" h="16">
                  <a:moveTo>
                    <a:pt x="18" y="16"/>
                  </a:moveTo>
                  <a:cubicBezTo>
                    <a:pt x="17" y="14"/>
                    <a:pt x="17" y="0"/>
                    <a:pt x="10" y="2"/>
                  </a:cubicBezTo>
                  <a:cubicBezTo>
                    <a:pt x="5" y="2"/>
                    <a:pt x="0" y="11"/>
                    <a:pt x="4" y="14"/>
                  </a:cubicBezTo>
                  <a:cubicBezTo>
                    <a:pt x="6" y="15"/>
                    <a:pt x="9" y="11"/>
                    <a:pt x="12" y="12"/>
                  </a:cubicBezTo>
                  <a:cubicBezTo>
                    <a:pt x="14" y="12"/>
                    <a:pt x="16" y="14"/>
                    <a:pt x="18" y="16"/>
                  </a:cubicBezTo>
                  <a:close/>
                </a:path>
              </a:pathLst>
            </a:custGeom>
            <a:grpFill/>
            <a:ln w="3175" cap="flat">
              <a:solidFill>
                <a:srgbClr val="1A1D24"/>
              </a:solidFill>
              <a:prstDash val="solid"/>
              <a:miter lim="800000"/>
              <a:headEnd/>
              <a:tailEnd/>
            </a:ln>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algn="ctr"/>
              <a:endParaRPr lang="en-GB" sz="1000" dirty="0"/>
            </a:p>
          </p:txBody>
        </p:sp>
        <p:sp>
          <p:nvSpPr>
            <p:cNvPr id="1087" name="Rectangle 11">
              <a:extLst>
                <a:ext uri="{FF2B5EF4-FFF2-40B4-BE49-F238E27FC236}">
                  <a16:creationId xmlns:a16="http://schemas.microsoft.com/office/drawing/2014/main" id="{A382AC5F-C33B-44D2-AC6C-A815B83CB5D9}"/>
                </a:ext>
              </a:extLst>
            </p:cNvPr>
            <p:cNvSpPr>
              <a:spLocks noChangeArrowheads="1"/>
            </p:cNvSpPr>
            <p:nvPr/>
          </p:nvSpPr>
          <p:spPr bwMode="auto">
            <a:xfrm>
              <a:off x="8132600" y="3980084"/>
              <a:ext cx="1497" cy="1497"/>
            </a:xfrm>
            <a:prstGeom prst="rect">
              <a:avLst/>
            </a:pr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a:p>
          </p:txBody>
        </p:sp>
        <p:sp>
          <p:nvSpPr>
            <p:cNvPr id="1088" name="Freeform 12">
              <a:extLst>
                <a:ext uri="{FF2B5EF4-FFF2-40B4-BE49-F238E27FC236}">
                  <a16:creationId xmlns:a16="http://schemas.microsoft.com/office/drawing/2014/main" id="{C3823860-5D21-4AAD-931F-30F4DCF29C99}"/>
                </a:ext>
              </a:extLst>
            </p:cNvPr>
            <p:cNvSpPr>
              <a:spLocks/>
            </p:cNvSpPr>
            <p:nvPr/>
          </p:nvSpPr>
          <p:spPr bwMode="auto">
            <a:xfrm>
              <a:off x="7421545" y="3671711"/>
              <a:ext cx="378730" cy="381724"/>
            </a:xfrm>
            <a:custGeom>
              <a:avLst/>
              <a:gdLst>
                <a:gd name="T0" fmla="*/ 109 w 253"/>
                <a:gd name="T1" fmla="*/ 243 h 255"/>
                <a:gd name="T2" fmla="*/ 116 w 253"/>
                <a:gd name="T3" fmla="*/ 236 h 255"/>
                <a:gd name="T4" fmla="*/ 109 w 253"/>
                <a:gd name="T5" fmla="*/ 239 h 255"/>
                <a:gd name="T6" fmla="*/ 111 w 253"/>
                <a:gd name="T7" fmla="*/ 234 h 255"/>
                <a:gd name="T8" fmla="*/ 116 w 253"/>
                <a:gd name="T9" fmla="*/ 229 h 255"/>
                <a:gd name="T10" fmla="*/ 120 w 253"/>
                <a:gd name="T11" fmla="*/ 229 h 255"/>
                <a:gd name="T12" fmla="*/ 123 w 253"/>
                <a:gd name="T13" fmla="*/ 232 h 255"/>
                <a:gd name="T14" fmla="*/ 139 w 253"/>
                <a:gd name="T15" fmla="*/ 234 h 255"/>
                <a:gd name="T16" fmla="*/ 153 w 253"/>
                <a:gd name="T17" fmla="*/ 232 h 255"/>
                <a:gd name="T18" fmla="*/ 156 w 253"/>
                <a:gd name="T19" fmla="*/ 234 h 255"/>
                <a:gd name="T20" fmla="*/ 158 w 253"/>
                <a:gd name="T21" fmla="*/ 229 h 255"/>
                <a:gd name="T22" fmla="*/ 161 w 253"/>
                <a:gd name="T23" fmla="*/ 227 h 255"/>
                <a:gd name="T24" fmla="*/ 158 w 253"/>
                <a:gd name="T25" fmla="*/ 217 h 255"/>
                <a:gd name="T26" fmla="*/ 153 w 253"/>
                <a:gd name="T27" fmla="*/ 208 h 255"/>
                <a:gd name="T28" fmla="*/ 146 w 253"/>
                <a:gd name="T29" fmla="*/ 203 h 255"/>
                <a:gd name="T30" fmla="*/ 146 w 253"/>
                <a:gd name="T31" fmla="*/ 201 h 255"/>
                <a:gd name="T32" fmla="*/ 149 w 253"/>
                <a:gd name="T33" fmla="*/ 191 h 255"/>
                <a:gd name="T34" fmla="*/ 135 w 253"/>
                <a:gd name="T35" fmla="*/ 184 h 255"/>
                <a:gd name="T36" fmla="*/ 149 w 253"/>
                <a:gd name="T37" fmla="*/ 168 h 255"/>
                <a:gd name="T38" fmla="*/ 156 w 253"/>
                <a:gd name="T39" fmla="*/ 163 h 255"/>
                <a:gd name="T40" fmla="*/ 161 w 253"/>
                <a:gd name="T41" fmla="*/ 165 h 255"/>
                <a:gd name="T42" fmla="*/ 163 w 253"/>
                <a:gd name="T43" fmla="*/ 170 h 255"/>
                <a:gd name="T44" fmla="*/ 184 w 253"/>
                <a:gd name="T45" fmla="*/ 158 h 255"/>
                <a:gd name="T46" fmla="*/ 201 w 253"/>
                <a:gd name="T47" fmla="*/ 149 h 255"/>
                <a:gd name="T48" fmla="*/ 215 w 253"/>
                <a:gd name="T49" fmla="*/ 125 h 255"/>
                <a:gd name="T50" fmla="*/ 227 w 253"/>
                <a:gd name="T51" fmla="*/ 120 h 255"/>
                <a:gd name="T52" fmla="*/ 236 w 253"/>
                <a:gd name="T53" fmla="*/ 109 h 255"/>
                <a:gd name="T54" fmla="*/ 236 w 253"/>
                <a:gd name="T55" fmla="*/ 99 h 255"/>
                <a:gd name="T56" fmla="*/ 248 w 253"/>
                <a:gd name="T57" fmla="*/ 92 h 255"/>
                <a:gd name="T58" fmla="*/ 253 w 253"/>
                <a:gd name="T59" fmla="*/ 90 h 255"/>
                <a:gd name="T60" fmla="*/ 250 w 253"/>
                <a:gd name="T61" fmla="*/ 85 h 255"/>
                <a:gd name="T62" fmla="*/ 243 w 253"/>
                <a:gd name="T63" fmla="*/ 80 h 255"/>
                <a:gd name="T64" fmla="*/ 241 w 253"/>
                <a:gd name="T65" fmla="*/ 78 h 255"/>
                <a:gd name="T66" fmla="*/ 236 w 253"/>
                <a:gd name="T67" fmla="*/ 76 h 255"/>
                <a:gd name="T68" fmla="*/ 231 w 253"/>
                <a:gd name="T69" fmla="*/ 69 h 255"/>
                <a:gd name="T70" fmla="*/ 239 w 253"/>
                <a:gd name="T71" fmla="*/ 38 h 255"/>
                <a:gd name="T72" fmla="*/ 227 w 253"/>
                <a:gd name="T73" fmla="*/ 26 h 255"/>
                <a:gd name="T74" fmla="*/ 215 w 253"/>
                <a:gd name="T75" fmla="*/ 19 h 255"/>
                <a:gd name="T76" fmla="*/ 220 w 253"/>
                <a:gd name="T77" fmla="*/ 12 h 255"/>
                <a:gd name="T78" fmla="*/ 224 w 253"/>
                <a:gd name="T79" fmla="*/ 7 h 255"/>
                <a:gd name="T80" fmla="*/ 231 w 253"/>
                <a:gd name="T81" fmla="*/ 5 h 255"/>
                <a:gd name="T82" fmla="*/ 248 w 253"/>
                <a:gd name="T83" fmla="*/ 5 h 255"/>
                <a:gd name="T84" fmla="*/ 248 w 253"/>
                <a:gd name="T85" fmla="*/ 2 h 255"/>
                <a:gd name="T86" fmla="*/ 227 w 253"/>
                <a:gd name="T87" fmla="*/ 2 h 255"/>
                <a:gd name="T88" fmla="*/ 201 w 253"/>
                <a:gd name="T89" fmla="*/ 2 h 255"/>
                <a:gd name="T90" fmla="*/ 177 w 253"/>
                <a:gd name="T91" fmla="*/ 21 h 255"/>
                <a:gd name="T92" fmla="*/ 177 w 253"/>
                <a:gd name="T93" fmla="*/ 57 h 255"/>
                <a:gd name="T94" fmla="*/ 156 w 253"/>
                <a:gd name="T95" fmla="*/ 76 h 255"/>
                <a:gd name="T96" fmla="*/ 144 w 253"/>
                <a:gd name="T97" fmla="*/ 92 h 255"/>
                <a:gd name="T98" fmla="*/ 118 w 253"/>
                <a:gd name="T99" fmla="*/ 106 h 255"/>
                <a:gd name="T100" fmla="*/ 94 w 253"/>
                <a:gd name="T101" fmla="*/ 116 h 255"/>
                <a:gd name="T102" fmla="*/ 90 w 253"/>
                <a:gd name="T103" fmla="*/ 142 h 255"/>
                <a:gd name="T104" fmla="*/ 61 w 253"/>
                <a:gd name="T105" fmla="*/ 146 h 255"/>
                <a:gd name="T106" fmla="*/ 19 w 253"/>
                <a:gd name="T107" fmla="*/ 149 h 255"/>
                <a:gd name="T108" fmla="*/ 0 w 253"/>
                <a:gd name="T109" fmla="*/ 146 h 255"/>
                <a:gd name="T110" fmla="*/ 31 w 253"/>
                <a:gd name="T111" fmla="*/ 180 h 255"/>
                <a:gd name="T112" fmla="*/ 40 w 253"/>
                <a:gd name="T113" fmla="*/ 194 h 255"/>
                <a:gd name="T114" fmla="*/ 26 w 253"/>
                <a:gd name="T115" fmla="*/ 203 h 255"/>
                <a:gd name="T116" fmla="*/ 9 w 253"/>
                <a:gd name="T117" fmla="*/ 232 h 255"/>
                <a:gd name="T118" fmla="*/ 42 w 253"/>
                <a:gd name="T119" fmla="*/ 227 h 255"/>
                <a:gd name="T120" fmla="*/ 94 w 253"/>
                <a:gd name="T121" fmla="*/ 227 h 255"/>
                <a:gd name="T122" fmla="*/ 118 w 253"/>
                <a:gd name="T123" fmla="*/ 25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3" h="255">
                  <a:moveTo>
                    <a:pt x="113" y="250"/>
                  </a:moveTo>
                  <a:lnTo>
                    <a:pt x="109" y="243"/>
                  </a:lnTo>
                  <a:lnTo>
                    <a:pt x="111" y="241"/>
                  </a:lnTo>
                  <a:lnTo>
                    <a:pt x="116" y="236"/>
                  </a:lnTo>
                  <a:lnTo>
                    <a:pt x="113" y="236"/>
                  </a:lnTo>
                  <a:lnTo>
                    <a:pt x="109" y="239"/>
                  </a:lnTo>
                  <a:lnTo>
                    <a:pt x="106" y="239"/>
                  </a:lnTo>
                  <a:lnTo>
                    <a:pt x="111" y="234"/>
                  </a:lnTo>
                  <a:lnTo>
                    <a:pt x="113" y="234"/>
                  </a:lnTo>
                  <a:lnTo>
                    <a:pt x="116" y="229"/>
                  </a:lnTo>
                  <a:lnTo>
                    <a:pt x="118" y="229"/>
                  </a:lnTo>
                  <a:lnTo>
                    <a:pt x="120" y="229"/>
                  </a:lnTo>
                  <a:lnTo>
                    <a:pt x="123" y="229"/>
                  </a:lnTo>
                  <a:lnTo>
                    <a:pt x="123" y="232"/>
                  </a:lnTo>
                  <a:lnTo>
                    <a:pt x="132" y="232"/>
                  </a:lnTo>
                  <a:lnTo>
                    <a:pt x="139" y="234"/>
                  </a:lnTo>
                  <a:lnTo>
                    <a:pt x="151" y="229"/>
                  </a:lnTo>
                  <a:lnTo>
                    <a:pt x="153" y="232"/>
                  </a:lnTo>
                  <a:lnTo>
                    <a:pt x="153" y="234"/>
                  </a:lnTo>
                  <a:lnTo>
                    <a:pt x="156" y="234"/>
                  </a:lnTo>
                  <a:lnTo>
                    <a:pt x="161" y="232"/>
                  </a:lnTo>
                  <a:lnTo>
                    <a:pt x="158" y="229"/>
                  </a:lnTo>
                  <a:lnTo>
                    <a:pt x="161" y="227"/>
                  </a:lnTo>
                  <a:lnTo>
                    <a:pt x="161" y="227"/>
                  </a:lnTo>
                  <a:lnTo>
                    <a:pt x="158" y="224"/>
                  </a:lnTo>
                  <a:lnTo>
                    <a:pt x="158" y="217"/>
                  </a:lnTo>
                  <a:lnTo>
                    <a:pt x="156" y="213"/>
                  </a:lnTo>
                  <a:lnTo>
                    <a:pt x="153" y="208"/>
                  </a:lnTo>
                  <a:lnTo>
                    <a:pt x="149" y="206"/>
                  </a:lnTo>
                  <a:lnTo>
                    <a:pt x="146" y="203"/>
                  </a:lnTo>
                  <a:lnTo>
                    <a:pt x="146" y="203"/>
                  </a:lnTo>
                  <a:lnTo>
                    <a:pt x="146" y="201"/>
                  </a:lnTo>
                  <a:lnTo>
                    <a:pt x="146" y="198"/>
                  </a:lnTo>
                  <a:lnTo>
                    <a:pt x="149" y="191"/>
                  </a:lnTo>
                  <a:lnTo>
                    <a:pt x="142" y="189"/>
                  </a:lnTo>
                  <a:lnTo>
                    <a:pt x="135" y="184"/>
                  </a:lnTo>
                  <a:lnTo>
                    <a:pt x="137" y="180"/>
                  </a:lnTo>
                  <a:lnTo>
                    <a:pt x="149" y="168"/>
                  </a:lnTo>
                  <a:lnTo>
                    <a:pt x="153" y="163"/>
                  </a:lnTo>
                  <a:lnTo>
                    <a:pt x="156" y="163"/>
                  </a:lnTo>
                  <a:lnTo>
                    <a:pt x="158" y="163"/>
                  </a:lnTo>
                  <a:lnTo>
                    <a:pt x="161" y="165"/>
                  </a:lnTo>
                  <a:lnTo>
                    <a:pt x="161" y="168"/>
                  </a:lnTo>
                  <a:lnTo>
                    <a:pt x="163" y="170"/>
                  </a:lnTo>
                  <a:lnTo>
                    <a:pt x="182" y="168"/>
                  </a:lnTo>
                  <a:lnTo>
                    <a:pt x="184" y="158"/>
                  </a:lnTo>
                  <a:lnTo>
                    <a:pt x="194" y="151"/>
                  </a:lnTo>
                  <a:lnTo>
                    <a:pt x="201" y="149"/>
                  </a:lnTo>
                  <a:lnTo>
                    <a:pt x="215" y="130"/>
                  </a:lnTo>
                  <a:lnTo>
                    <a:pt x="215" y="125"/>
                  </a:lnTo>
                  <a:lnTo>
                    <a:pt x="224" y="125"/>
                  </a:lnTo>
                  <a:lnTo>
                    <a:pt x="227" y="120"/>
                  </a:lnTo>
                  <a:lnTo>
                    <a:pt x="236" y="113"/>
                  </a:lnTo>
                  <a:lnTo>
                    <a:pt x="236" y="109"/>
                  </a:lnTo>
                  <a:lnTo>
                    <a:pt x="239" y="102"/>
                  </a:lnTo>
                  <a:lnTo>
                    <a:pt x="236" y="99"/>
                  </a:lnTo>
                  <a:lnTo>
                    <a:pt x="241" y="97"/>
                  </a:lnTo>
                  <a:lnTo>
                    <a:pt x="248" y="92"/>
                  </a:lnTo>
                  <a:lnTo>
                    <a:pt x="253" y="90"/>
                  </a:lnTo>
                  <a:lnTo>
                    <a:pt x="253" y="90"/>
                  </a:lnTo>
                  <a:lnTo>
                    <a:pt x="253" y="90"/>
                  </a:lnTo>
                  <a:lnTo>
                    <a:pt x="250" y="85"/>
                  </a:lnTo>
                  <a:lnTo>
                    <a:pt x="243" y="85"/>
                  </a:lnTo>
                  <a:lnTo>
                    <a:pt x="243" y="80"/>
                  </a:lnTo>
                  <a:lnTo>
                    <a:pt x="243" y="78"/>
                  </a:lnTo>
                  <a:lnTo>
                    <a:pt x="241" y="78"/>
                  </a:lnTo>
                  <a:lnTo>
                    <a:pt x="236" y="78"/>
                  </a:lnTo>
                  <a:lnTo>
                    <a:pt x="236" y="76"/>
                  </a:lnTo>
                  <a:lnTo>
                    <a:pt x="234" y="73"/>
                  </a:lnTo>
                  <a:lnTo>
                    <a:pt x="231" y="69"/>
                  </a:lnTo>
                  <a:lnTo>
                    <a:pt x="229" y="50"/>
                  </a:lnTo>
                  <a:lnTo>
                    <a:pt x="239" y="38"/>
                  </a:lnTo>
                  <a:lnTo>
                    <a:pt x="236" y="33"/>
                  </a:lnTo>
                  <a:lnTo>
                    <a:pt x="227" y="26"/>
                  </a:lnTo>
                  <a:lnTo>
                    <a:pt x="217" y="24"/>
                  </a:lnTo>
                  <a:lnTo>
                    <a:pt x="215" y="19"/>
                  </a:lnTo>
                  <a:lnTo>
                    <a:pt x="215" y="12"/>
                  </a:lnTo>
                  <a:lnTo>
                    <a:pt x="220" y="12"/>
                  </a:lnTo>
                  <a:lnTo>
                    <a:pt x="224" y="12"/>
                  </a:lnTo>
                  <a:lnTo>
                    <a:pt x="224" y="7"/>
                  </a:lnTo>
                  <a:lnTo>
                    <a:pt x="227" y="2"/>
                  </a:lnTo>
                  <a:lnTo>
                    <a:pt x="231" y="5"/>
                  </a:lnTo>
                  <a:lnTo>
                    <a:pt x="236" y="7"/>
                  </a:lnTo>
                  <a:lnTo>
                    <a:pt x="248" y="5"/>
                  </a:lnTo>
                  <a:lnTo>
                    <a:pt x="248" y="5"/>
                  </a:lnTo>
                  <a:lnTo>
                    <a:pt x="248" y="2"/>
                  </a:lnTo>
                  <a:lnTo>
                    <a:pt x="241" y="0"/>
                  </a:lnTo>
                  <a:lnTo>
                    <a:pt x="227" y="2"/>
                  </a:lnTo>
                  <a:lnTo>
                    <a:pt x="210" y="2"/>
                  </a:lnTo>
                  <a:lnTo>
                    <a:pt x="201" y="2"/>
                  </a:lnTo>
                  <a:lnTo>
                    <a:pt x="184" y="14"/>
                  </a:lnTo>
                  <a:lnTo>
                    <a:pt x="177" y="21"/>
                  </a:lnTo>
                  <a:lnTo>
                    <a:pt x="184" y="33"/>
                  </a:lnTo>
                  <a:lnTo>
                    <a:pt x="177" y="57"/>
                  </a:lnTo>
                  <a:lnTo>
                    <a:pt x="158" y="64"/>
                  </a:lnTo>
                  <a:lnTo>
                    <a:pt x="156" y="76"/>
                  </a:lnTo>
                  <a:lnTo>
                    <a:pt x="149" y="80"/>
                  </a:lnTo>
                  <a:lnTo>
                    <a:pt x="144" y="92"/>
                  </a:lnTo>
                  <a:lnTo>
                    <a:pt x="144" y="106"/>
                  </a:lnTo>
                  <a:lnTo>
                    <a:pt x="118" y="106"/>
                  </a:lnTo>
                  <a:lnTo>
                    <a:pt x="113" y="116"/>
                  </a:lnTo>
                  <a:lnTo>
                    <a:pt x="94" y="116"/>
                  </a:lnTo>
                  <a:lnTo>
                    <a:pt x="92" y="123"/>
                  </a:lnTo>
                  <a:lnTo>
                    <a:pt x="90" y="142"/>
                  </a:lnTo>
                  <a:lnTo>
                    <a:pt x="78" y="144"/>
                  </a:lnTo>
                  <a:lnTo>
                    <a:pt x="61" y="146"/>
                  </a:lnTo>
                  <a:lnTo>
                    <a:pt x="38" y="149"/>
                  </a:lnTo>
                  <a:lnTo>
                    <a:pt x="19" y="149"/>
                  </a:lnTo>
                  <a:lnTo>
                    <a:pt x="12" y="142"/>
                  </a:lnTo>
                  <a:lnTo>
                    <a:pt x="0" y="146"/>
                  </a:lnTo>
                  <a:lnTo>
                    <a:pt x="19" y="168"/>
                  </a:lnTo>
                  <a:lnTo>
                    <a:pt x="31" y="180"/>
                  </a:lnTo>
                  <a:lnTo>
                    <a:pt x="31" y="194"/>
                  </a:lnTo>
                  <a:lnTo>
                    <a:pt x="40" y="194"/>
                  </a:lnTo>
                  <a:lnTo>
                    <a:pt x="40" y="203"/>
                  </a:lnTo>
                  <a:lnTo>
                    <a:pt x="26" y="203"/>
                  </a:lnTo>
                  <a:lnTo>
                    <a:pt x="9" y="213"/>
                  </a:lnTo>
                  <a:lnTo>
                    <a:pt x="9" y="232"/>
                  </a:lnTo>
                  <a:lnTo>
                    <a:pt x="38" y="234"/>
                  </a:lnTo>
                  <a:lnTo>
                    <a:pt x="42" y="227"/>
                  </a:lnTo>
                  <a:lnTo>
                    <a:pt x="94" y="222"/>
                  </a:lnTo>
                  <a:lnTo>
                    <a:pt x="94" y="227"/>
                  </a:lnTo>
                  <a:lnTo>
                    <a:pt x="116" y="253"/>
                  </a:lnTo>
                  <a:lnTo>
                    <a:pt x="118" y="255"/>
                  </a:lnTo>
                  <a:lnTo>
                    <a:pt x="113" y="25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a:p>
          </p:txBody>
        </p:sp>
        <p:sp>
          <p:nvSpPr>
            <p:cNvPr id="1089" name="Freeform 13">
              <a:extLst>
                <a:ext uri="{FF2B5EF4-FFF2-40B4-BE49-F238E27FC236}">
                  <a16:creationId xmlns:a16="http://schemas.microsoft.com/office/drawing/2014/main" id="{50101E2A-8D28-4B55-9E60-DEE26E65C74D}"/>
                </a:ext>
              </a:extLst>
            </p:cNvPr>
            <p:cNvSpPr>
              <a:spLocks/>
            </p:cNvSpPr>
            <p:nvPr/>
          </p:nvSpPr>
          <p:spPr bwMode="auto">
            <a:xfrm>
              <a:off x="8262835" y="4354323"/>
              <a:ext cx="7485" cy="17963"/>
            </a:xfrm>
            <a:custGeom>
              <a:avLst/>
              <a:gdLst>
                <a:gd name="T0" fmla="*/ 3 w 5"/>
                <a:gd name="T1" fmla="*/ 0 h 12"/>
                <a:gd name="T2" fmla="*/ 0 w 5"/>
                <a:gd name="T3" fmla="*/ 2 h 12"/>
                <a:gd name="T4" fmla="*/ 0 w 5"/>
                <a:gd name="T5" fmla="*/ 12 h 12"/>
                <a:gd name="T6" fmla="*/ 5 w 5"/>
                <a:gd name="T7" fmla="*/ 7 h 12"/>
                <a:gd name="T8" fmla="*/ 3 w 5"/>
                <a:gd name="T9" fmla="*/ 5 h 12"/>
                <a:gd name="T10" fmla="*/ 5 w 5"/>
                <a:gd name="T11" fmla="*/ 2 h 12"/>
                <a:gd name="T12" fmla="*/ 3 w 5"/>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5" h="12">
                  <a:moveTo>
                    <a:pt x="3" y="0"/>
                  </a:moveTo>
                  <a:lnTo>
                    <a:pt x="0" y="2"/>
                  </a:lnTo>
                  <a:lnTo>
                    <a:pt x="0" y="12"/>
                  </a:lnTo>
                  <a:lnTo>
                    <a:pt x="5" y="7"/>
                  </a:lnTo>
                  <a:lnTo>
                    <a:pt x="3" y="5"/>
                  </a:lnTo>
                  <a:lnTo>
                    <a:pt x="5" y="2"/>
                  </a:lnTo>
                  <a:lnTo>
                    <a:pt x="3"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a:p>
          </p:txBody>
        </p:sp>
        <p:sp>
          <p:nvSpPr>
            <p:cNvPr id="1090" name="Freeform 14">
              <a:extLst>
                <a:ext uri="{FF2B5EF4-FFF2-40B4-BE49-F238E27FC236}">
                  <a16:creationId xmlns:a16="http://schemas.microsoft.com/office/drawing/2014/main" id="{D06D5451-B5C7-4C08-9D21-25113D033395}"/>
                </a:ext>
              </a:extLst>
            </p:cNvPr>
            <p:cNvSpPr>
              <a:spLocks/>
            </p:cNvSpPr>
            <p:nvPr/>
          </p:nvSpPr>
          <p:spPr bwMode="auto">
            <a:xfrm>
              <a:off x="8267326" y="4372287"/>
              <a:ext cx="2994" cy="17963"/>
            </a:xfrm>
            <a:custGeom>
              <a:avLst/>
              <a:gdLst>
                <a:gd name="T0" fmla="*/ 0 w 2"/>
                <a:gd name="T1" fmla="*/ 12 h 12"/>
                <a:gd name="T2" fmla="*/ 2 w 2"/>
                <a:gd name="T3" fmla="*/ 12 h 12"/>
                <a:gd name="T4" fmla="*/ 2 w 2"/>
                <a:gd name="T5" fmla="*/ 0 h 12"/>
                <a:gd name="T6" fmla="*/ 0 w 2"/>
                <a:gd name="T7" fmla="*/ 5 h 12"/>
                <a:gd name="T8" fmla="*/ 0 w 2"/>
                <a:gd name="T9" fmla="*/ 12 h 12"/>
              </a:gdLst>
              <a:ahLst/>
              <a:cxnLst>
                <a:cxn ang="0">
                  <a:pos x="T0" y="T1"/>
                </a:cxn>
                <a:cxn ang="0">
                  <a:pos x="T2" y="T3"/>
                </a:cxn>
                <a:cxn ang="0">
                  <a:pos x="T4" y="T5"/>
                </a:cxn>
                <a:cxn ang="0">
                  <a:pos x="T6" y="T7"/>
                </a:cxn>
                <a:cxn ang="0">
                  <a:pos x="T8" y="T9"/>
                </a:cxn>
              </a:cxnLst>
              <a:rect l="0" t="0" r="r" b="b"/>
              <a:pathLst>
                <a:path w="2" h="12">
                  <a:moveTo>
                    <a:pt x="0" y="12"/>
                  </a:moveTo>
                  <a:lnTo>
                    <a:pt x="2" y="12"/>
                  </a:lnTo>
                  <a:lnTo>
                    <a:pt x="2" y="0"/>
                  </a:lnTo>
                  <a:lnTo>
                    <a:pt x="0" y="5"/>
                  </a:lnTo>
                  <a:lnTo>
                    <a:pt x="0" y="1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a:p>
          </p:txBody>
        </p:sp>
        <p:sp>
          <p:nvSpPr>
            <p:cNvPr id="1091" name="Freeform 15">
              <a:extLst>
                <a:ext uri="{FF2B5EF4-FFF2-40B4-BE49-F238E27FC236}">
                  <a16:creationId xmlns:a16="http://schemas.microsoft.com/office/drawing/2014/main" id="{C095E2D1-0132-4FF0-9812-F3975F0DD7A6}"/>
                </a:ext>
              </a:extLst>
            </p:cNvPr>
            <p:cNvSpPr>
              <a:spLocks/>
            </p:cNvSpPr>
            <p:nvPr/>
          </p:nvSpPr>
          <p:spPr bwMode="auto">
            <a:xfrm>
              <a:off x="8262835" y="4393244"/>
              <a:ext cx="4491" cy="17963"/>
            </a:xfrm>
            <a:custGeom>
              <a:avLst/>
              <a:gdLst>
                <a:gd name="T0" fmla="*/ 0 w 3"/>
                <a:gd name="T1" fmla="*/ 9 h 12"/>
                <a:gd name="T2" fmla="*/ 0 w 3"/>
                <a:gd name="T3" fmla="*/ 12 h 12"/>
                <a:gd name="T4" fmla="*/ 3 w 3"/>
                <a:gd name="T5" fmla="*/ 5 h 12"/>
                <a:gd name="T6" fmla="*/ 3 w 3"/>
                <a:gd name="T7" fmla="*/ 0 h 12"/>
                <a:gd name="T8" fmla="*/ 0 w 3"/>
                <a:gd name="T9" fmla="*/ 9 h 12"/>
              </a:gdLst>
              <a:ahLst/>
              <a:cxnLst>
                <a:cxn ang="0">
                  <a:pos x="T0" y="T1"/>
                </a:cxn>
                <a:cxn ang="0">
                  <a:pos x="T2" y="T3"/>
                </a:cxn>
                <a:cxn ang="0">
                  <a:pos x="T4" y="T5"/>
                </a:cxn>
                <a:cxn ang="0">
                  <a:pos x="T6" y="T7"/>
                </a:cxn>
                <a:cxn ang="0">
                  <a:pos x="T8" y="T9"/>
                </a:cxn>
              </a:cxnLst>
              <a:rect l="0" t="0" r="r" b="b"/>
              <a:pathLst>
                <a:path w="3" h="12">
                  <a:moveTo>
                    <a:pt x="0" y="9"/>
                  </a:moveTo>
                  <a:lnTo>
                    <a:pt x="0" y="12"/>
                  </a:lnTo>
                  <a:lnTo>
                    <a:pt x="3" y="5"/>
                  </a:lnTo>
                  <a:lnTo>
                    <a:pt x="3" y="0"/>
                  </a:lnTo>
                  <a:lnTo>
                    <a:pt x="0" y="9"/>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a:p>
          </p:txBody>
        </p:sp>
        <p:sp>
          <p:nvSpPr>
            <p:cNvPr id="1092" name="Freeform 16">
              <a:extLst>
                <a:ext uri="{FF2B5EF4-FFF2-40B4-BE49-F238E27FC236}">
                  <a16:creationId xmlns:a16="http://schemas.microsoft.com/office/drawing/2014/main" id="{590231D7-7B00-44B9-BB4F-327E7946C202}"/>
                </a:ext>
              </a:extLst>
            </p:cNvPr>
            <p:cNvSpPr>
              <a:spLocks noEditPoints="1"/>
            </p:cNvSpPr>
            <p:nvPr/>
          </p:nvSpPr>
          <p:spPr bwMode="auto">
            <a:xfrm>
              <a:off x="7580223" y="3671711"/>
              <a:ext cx="795641" cy="827818"/>
            </a:xfrm>
            <a:custGeom>
              <a:avLst/>
              <a:gdLst>
                <a:gd name="T0" fmla="*/ 219 w 227"/>
                <a:gd name="T1" fmla="*/ 70 h 234"/>
                <a:gd name="T2" fmla="*/ 215 w 227"/>
                <a:gd name="T3" fmla="*/ 64 h 234"/>
                <a:gd name="T4" fmla="*/ 196 w 227"/>
                <a:gd name="T5" fmla="*/ 74 h 234"/>
                <a:gd name="T6" fmla="*/ 187 w 227"/>
                <a:gd name="T7" fmla="*/ 80 h 234"/>
                <a:gd name="T8" fmla="*/ 177 w 227"/>
                <a:gd name="T9" fmla="*/ 86 h 234"/>
                <a:gd name="T10" fmla="*/ 162 w 227"/>
                <a:gd name="T11" fmla="*/ 82 h 234"/>
                <a:gd name="T12" fmla="*/ 156 w 227"/>
                <a:gd name="T13" fmla="*/ 82 h 234"/>
                <a:gd name="T14" fmla="*/ 156 w 227"/>
                <a:gd name="T15" fmla="*/ 87 h 234"/>
                <a:gd name="T16" fmla="*/ 136 w 227"/>
                <a:gd name="T17" fmla="*/ 85 h 234"/>
                <a:gd name="T18" fmla="*/ 97 w 227"/>
                <a:gd name="T19" fmla="*/ 61 h 234"/>
                <a:gd name="T20" fmla="*/ 89 w 227"/>
                <a:gd name="T21" fmla="*/ 46 h 234"/>
                <a:gd name="T22" fmla="*/ 87 w 227"/>
                <a:gd name="T23" fmla="*/ 37 h 234"/>
                <a:gd name="T24" fmla="*/ 94 w 227"/>
                <a:gd name="T25" fmla="*/ 26 h 234"/>
                <a:gd name="T26" fmla="*/ 87 w 227"/>
                <a:gd name="T27" fmla="*/ 13 h 234"/>
                <a:gd name="T28" fmla="*/ 67 w 227"/>
                <a:gd name="T29" fmla="*/ 1 h 234"/>
                <a:gd name="T30" fmla="*/ 46 w 227"/>
                <a:gd name="T31" fmla="*/ 5 h 234"/>
                <a:gd name="T32" fmla="*/ 55 w 227"/>
                <a:gd name="T33" fmla="*/ 32 h 234"/>
                <a:gd name="T34" fmla="*/ 62 w 227"/>
                <a:gd name="T35" fmla="*/ 38 h 234"/>
                <a:gd name="T36" fmla="*/ 46 w 227"/>
                <a:gd name="T37" fmla="*/ 53 h 234"/>
                <a:gd name="T38" fmla="*/ 22 w 227"/>
                <a:gd name="T39" fmla="*/ 69 h 234"/>
                <a:gd name="T40" fmla="*/ 18 w 227"/>
                <a:gd name="T41" fmla="*/ 87 h 234"/>
                <a:gd name="T42" fmla="*/ 21 w 227"/>
                <a:gd name="T43" fmla="*/ 99 h 234"/>
                <a:gd name="T44" fmla="*/ 5 w 227"/>
                <a:gd name="T45" fmla="*/ 97 h 234"/>
                <a:gd name="T46" fmla="*/ 1 w 227"/>
                <a:gd name="T47" fmla="*/ 103 h 234"/>
                <a:gd name="T48" fmla="*/ 13 w 227"/>
                <a:gd name="T49" fmla="*/ 113 h 234"/>
                <a:gd name="T50" fmla="*/ 18 w 227"/>
                <a:gd name="T51" fmla="*/ 128 h 234"/>
                <a:gd name="T52" fmla="*/ 30 w 227"/>
                <a:gd name="T53" fmla="*/ 119 h 234"/>
                <a:gd name="T54" fmla="*/ 33 w 227"/>
                <a:gd name="T55" fmla="*/ 121 h 234"/>
                <a:gd name="T56" fmla="*/ 33 w 227"/>
                <a:gd name="T57" fmla="*/ 134 h 234"/>
                <a:gd name="T58" fmla="*/ 33 w 227"/>
                <a:gd name="T59" fmla="*/ 142 h 234"/>
                <a:gd name="T60" fmla="*/ 34 w 227"/>
                <a:gd name="T61" fmla="*/ 157 h 234"/>
                <a:gd name="T62" fmla="*/ 39 w 227"/>
                <a:gd name="T63" fmla="*/ 177 h 234"/>
                <a:gd name="T64" fmla="*/ 44 w 227"/>
                <a:gd name="T65" fmla="*/ 195 h 234"/>
                <a:gd name="T66" fmla="*/ 56 w 227"/>
                <a:gd name="T67" fmla="*/ 222 h 234"/>
                <a:gd name="T68" fmla="*/ 64 w 227"/>
                <a:gd name="T69" fmla="*/ 234 h 234"/>
                <a:gd name="T70" fmla="*/ 78 w 227"/>
                <a:gd name="T71" fmla="*/ 224 h 234"/>
                <a:gd name="T72" fmla="*/ 85 w 227"/>
                <a:gd name="T73" fmla="*/ 205 h 234"/>
                <a:gd name="T74" fmla="*/ 88 w 227"/>
                <a:gd name="T75" fmla="*/ 190 h 234"/>
                <a:gd name="T76" fmla="*/ 97 w 227"/>
                <a:gd name="T77" fmla="*/ 171 h 234"/>
                <a:gd name="T78" fmla="*/ 109 w 227"/>
                <a:gd name="T79" fmla="*/ 162 h 234"/>
                <a:gd name="T80" fmla="*/ 133 w 227"/>
                <a:gd name="T81" fmla="*/ 143 h 234"/>
                <a:gd name="T82" fmla="*/ 147 w 227"/>
                <a:gd name="T83" fmla="*/ 134 h 234"/>
                <a:gd name="T84" fmla="*/ 153 w 227"/>
                <a:gd name="T85" fmla="*/ 127 h 234"/>
                <a:gd name="T86" fmla="*/ 159 w 227"/>
                <a:gd name="T87" fmla="*/ 125 h 234"/>
                <a:gd name="T88" fmla="*/ 163 w 227"/>
                <a:gd name="T89" fmla="*/ 124 h 234"/>
                <a:gd name="T90" fmla="*/ 161 w 227"/>
                <a:gd name="T91" fmla="*/ 107 h 234"/>
                <a:gd name="T92" fmla="*/ 159 w 227"/>
                <a:gd name="T93" fmla="*/ 99 h 234"/>
                <a:gd name="T94" fmla="*/ 160 w 227"/>
                <a:gd name="T95" fmla="*/ 89 h 234"/>
                <a:gd name="T96" fmla="*/ 169 w 227"/>
                <a:gd name="T97" fmla="*/ 90 h 234"/>
                <a:gd name="T98" fmla="*/ 184 w 227"/>
                <a:gd name="T99" fmla="*/ 99 h 234"/>
                <a:gd name="T100" fmla="*/ 189 w 227"/>
                <a:gd name="T101" fmla="*/ 104 h 234"/>
                <a:gd name="T102" fmla="*/ 186 w 227"/>
                <a:gd name="T103" fmla="*/ 114 h 234"/>
                <a:gd name="T104" fmla="*/ 194 w 227"/>
                <a:gd name="T105" fmla="*/ 123 h 234"/>
                <a:gd name="T106" fmla="*/ 198 w 227"/>
                <a:gd name="T107" fmla="*/ 108 h 234"/>
                <a:gd name="T108" fmla="*/ 208 w 227"/>
                <a:gd name="T109" fmla="*/ 98 h 234"/>
                <a:gd name="T110" fmla="*/ 218 w 227"/>
                <a:gd name="T111" fmla="*/ 81 h 234"/>
                <a:gd name="T112" fmla="*/ 85 w 227"/>
                <a:gd name="T113" fmla="*/ 36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 h="234">
                  <a:moveTo>
                    <a:pt x="224" y="77"/>
                  </a:moveTo>
                  <a:cubicBezTo>
                    <a:pt x="227" y="75"/>
                    <a:pt x="227" y="75"/>
                    <a:pt x="227" y="75"/>
                  </a:cubicBezTo>
                  <a:cubicBezTo>
                    <a:pt x="227" y="72"/>
                    <a:pt x="227" y="72"/>
                    <a:pt x="227" y="72"/>
                  </a:cubicBezTo>
                  <a:cubicBezTo>
                    <a:pt x="226" y="72"/>
                    <a:pt x="226" y="72"/>
                    <a:pt x="226" y="72"/>
                  </a:cubicBezTo>
                  <a:cubicBezTo>
                    <a:pt x="224" y="72"/>
                    <a:pt x="224" y="72"/>
                    <a:pt x="224" y="72"/>
                  </a:cubicBezTo>
                  <a:cubicBezTo>
                    <a:pt x="221" y="71"/>
                    <a:pt x="221" y="71"/>
                    <a:pt x="221" y="71"/>
                  </a:cubicBezTo>
                  <a:cubicBezTo>
                    <a:pt x="220" y="71"/>
                    <a:pt x="220" y="71"/>
                    <a:pt x="220" y="71"/>
                  </a:cubicBezTo>
                  <a:cubicBezTo>
                    <a:pt x="219" y="71"/>
                    <a:pt x="219" y="71"/>
                    <a:pt x="219" y="71"/>
                  </a:cubicBezTo>
                  <a:cubicBezTo>
                    <a:pt x="219" y="70"/>
                    <a:pt x="219" y="70"/>
                    <a:pt x="219" y="70"/>
                  </a:cubicBezTo>
                  <a:cubicBezTo>
                    <a:pt x="221" y="68"/>
                    <a:pt x="221" y="68"/>
                    <a:pt x="221" y="68"/>
                  </a:cubicBezTo>
                  <a:cubicBezTo>
                    <a:pt x="220" y="66"/>
                    <a:pt x="220" y="66"/>
                    <a:pt x="220" y="66"/>
                  </a:cubicBezTo>
                  <a:cubicBezTo>
                    <a:pt x="219" y="66"/>
                    <a:pt x="219" y="66"/>
                    <a:pt x="219" y="66"/>
                  </a:cubicBezTo>
                  <a:cubicBezTo>
                    <a:pt x="219" y="67"/>
                    <a:pt x="219" y="67"/>
                    <a:pt x="219" y="67"/>
                  </a:cubicBezTo>
                  <a:cubicBezTo>
                    <a:pt x="218" y="67"/>
                    <a:pt x="218" y="67"/>
                    <a:pt x="218" y="67"/>
                  </a:cubicBezTo>
                  <a:cubicBezTo>
                    <a:pt x="218" y="66"/>
                    <a:pt x="218" y="66"/>
                    <a:pt x="218" y="66"/>
                  </a:cubicBezTo>
                  <a:cubicBezTo>
                    <a:pt x="219" y="65"/>
                    <a:pt x="219" y="65"/>
                    <a:pt x="219" y="65"/>
                  </a:cubicBezTo>
                  <a:cubicBezTo>
                    <a:pt x="217" y="64"/>
                    <a:pt x="217" y="64"/>
                    <a:pt x="217" y="64"/>
                  </a:cubicBezTo>
                  <a:cubicBezTo>
                    <a:pt x="215" y="64"/>
                    <a:pt x="215" y="64"/>
                    <a:pt x="215" y="64"/>
                  </a:cubicBezTo>
                  <a:cubicBezTo>
                    <a:pt x="212" y="66"/>
                    <a:pt x="212" y="66"/>
                    <a:pt x="212" y="66"/>
                  </a:cubicBezTo>
                  <a:cubicBezTo>
                    <a:pt x="208" y="66"/>
                    <a:pt x="208" y="66"/>
                    <a:pt x="208" y="66"/>
                  </a:cubicBezTo>
                  <a:cubicBezTo>
                    <a:pt x="207" y="65"/>
                    <a:pt x="207" y="65"/>
                    <a:pt x="207" y="65"/>
                  </a:cubicBezTo>
                  <a:cubicBezTo>
                    <a:pt x="203" y="67"/>
                    <a:pt x="203" y="67"/>
                    <a:pt x="203" y="67"/>
                  </a:cubicBezTo>
                  <a:cubicBezTo>
                    <a:pt x="201" y="67"/>
                    <a:pt x="201" y="67"/>
                    <a:pt x="201" y="67"/>
                  </a:cubicBezTo>
                  <a:cubicBezTo>
                    <a:pt x="200" y="70"/>
                    <a:pt x="200" y="70"/>
                    <a:pt x="200" y="70"/>
                  </a:cubicBezTo>
                  <a:cubicBezTo>
                    <a:pt x="198" y="70"/>
                    <a:pt x="198" y="70"/>
                    <a:pt x="198" y="70"/>
                  </a:cubicBezTo>
                  <a:cubicBezTo>
                    <a:pt x="196" y="71"/>
                    <a:pt x="196" y="71"/>
                    <a:pt x="196" y="71"/>
                  </a:cubicBezTo>
                  <a:cubicBezTo>
                    <a:pt x="196" y="74"/>
                    <a:pt x="196" y="74"/>
                    <a:pt x="196" y="74"/>
                  </a:cubicBezTo>
                  <a:cubicBezTo>
                    <a:pt x="192" y="75"/>
                    <a:pt x="192" y="75"/>
                    <a:pt x="192" y="75"/>
                  </a:cubicBezTo>
                  <a:cubicBezTo>
                    <a:pt x="191" y="76"/>
                    <a:pt x="191" y="76"/>
                    <a:pt x="191" y="76"/>
                  </a:cubicBezTo>
                  <a:cubicBezTo>
                    <a:pt x="188" y="77"/>
                    <a:pt x="188" y="77"/>
                    <a:pt x="188" y="77"/>
                  </a:cubicBezTo>
                  <a:cubicBezTo>
                    <a:pt x="186" y="77"/>
                    <a:pt x="186" y="77"/>
                    <a:pt x="186" y="77"/>
                  </a:cubicBezTo>
                  <a:cubicBezTo>
                    <a:pt x="183" y="77"/>
                    <a:pt x="183" y="77"/>
                    <a:pt x="183" y="77"/>
                  </a:cubicBezTo>
                  <a:cubicBezTo>
                    <a:pt x="184" y="79"/>
                    <a:pt x="184" y="79"/>
                    <a:pt x="184" y="79"/>
                  </a:cubicBezTo>
                  <a:cubicBezTo>
                    <a:pt x="184" y="79"/>
                    <a:pt x="184" y="79"/>
                    <a:pt x="184" y="79"/>
                  </a:cubicBezTo>
                  <a:cubicBezTo>
                    <a:pt x="186" y="80"/>
                    <a:pt x="186" y="80"/>
                    <a:pt x="186" y="80"/>
                  </a:cubicBezTo>
                  <a:cubicBezTo>
                    <a:pt x="187" y="80"/>
                    <a:pt x="187" y="80"/>
                    <a:pt x="187" y="80"/>
                  </a:cubicBezTo>
                  <a:cubicBezTo>
                    <a:pt x="187" y="82"/>
                    <a:pt x="187" y="82"/>
                    <a:pt x="187" y="82"/>
                  </a:cubicBezTo>
                  <a:cubicBezTo>
                    <a:pt x="187" y="84"/>
                    <a:pt x="187" y="84"/>
                    <a:pt x="187" y="84"/>
                  </a:cubicBezTo>
                  <a:cubicBezTo>
                    <a:pt x="187" y="84"/>
                    <a:pt x="187" y="84"/>
                    <a:pt x="187" y="84"/>
                  </a:cubicBezTo>
                  <a:cubicBezTo>
                    <a:pt x="186" y="84"/>
                    <a:pt x="186" y="84"/>
                    <a:pt x="186" y="84"/>
                  </a:cubicBezTo>
                  <a:cubicBezTo>
                    <a:pt x="187" y="84"/>
                    <a:pt x="187" y="84"/>
                    <a:pt x="187" y="84"/>
                  </a:cubicBezTo>
                  <a:cubicBezTo>
                    <a:pt x="187" y="84"/>
                    <a:pt x="187" y="84"/>
                    <a:pt x="187" y="84"/>
                  </a:cubicBezTo>
                  <a:cubicBezTo>
                    <a:pt x="187" y="84"/>
                    <a:pt x="187" y="84"/>
                    <a:pt x="187" y="84"/>
                  </a:cubicBezTo>
                  <a:cubicBezTo>
                    <a:pt x="184" y="85"/>
                    <a:pt x="184" y="85"/>
                    <a:pt x="184" y="85"/>
                  </a:cubicBezTo>
                  <a:cubicBezTo>
                    <a:pt x="177" y="86"/>
                    <a:pt x="177" y="86"/>
                    <a:pt x="177" y="86"/>
                  </a:cubicBezTo>
                  <a:cubicBezTo>
                    <a:pt x="174" y="85"/>
                    <a:pt x="174" y="85"/>
                    <a:pt x="174" y="85"/>
                  </a:cubicBezTo>
                  <a:cubicBezTo>
                    <a:pt x="172" y="85"/>
                    <a:pt x="172" y="85"/>
                    <a:pt x="172" y="85"/>
                  </a:cubicBezTo>
                  <a:cubicBezTo>
                    <a:pt x="171" y="85"/>
                    <a:pt x="171" y="85"/>
                    <a:pt x="171" y="85"/>
                  </a:cubicBezTo>
                  <a:cubicBezTo>
                    <a:pt x="171" y="85"/>
                    <a:pt x="171" y="85"/>
                    <a:pt x="171" y="85"/>
                  </a:cubicBezTo>
                  <a:cubicBezTo>
                    <a:pt x="171" y="86"/>
                    <a:pt x="171" y="86"/>
                    <a:pt x="171" y="86"/>
                  </a:cubicBezTo>
                  <a:cubicBezTo>
                    <a:pt x="167" y="85"/>
                    <a:pt x="167" y="85"/>
                    <a:pt x="167" y="85"/>
                  </a:cubicBezTo>
                  <a:cubicBezTo>
                    <a:pt x="163" y="84"/>
                    <a:pt x="163" y="84"/>
                    <a:pt x="163" y="84"/>
                  </a:cubicBezTo>
                  <a:cubicBezTo>
                    <a:pt x="162" y="82"/>
                    <a:pt x="162" y="82"/>
                    <a:pt x="162" y="82"/>
                  </a:cubicBezTo>
                  <a:cubicBezTo>
                    <a:pt x="162" y="82"/>
                    <a:pt x="162" y="82"/>
                    <a:pt x="162" y="82"/>
                  </a:cubicBezTo>
                  <a:cubicBezTo>
                    <a:pt x="162" y="82"/>
                    <a:pt x="162" y="82"/>
                    <a:pt x="162" y="82"/>
                  </a:cubicBezTo>
                  <a:cubicBezTo>
                    <a:pt x="163" y="82"/>
                    <a:pt x="163" y="82"/>
                    <a:pt x="163" y="82"/>
                  </a:cubicBezTo>
                  <a:cubicBezTo>
                    <a:pt x="163" y="81"/>
                    <a:pt x="163" y="81"/>
                    <a:pt x="163" y="81"/>
                  </a:cubicBezTo>
                  <a:cubicBezTo>
                    <a:pt x="162" y="76"/>
                    <a:pt x="162" y="76"/>
                    <a:pt x="162" y="76"/>
                  </a:cubicBezTo>
                  <a:cubicBezTo>
                    <a:pt x="161" y="75"/>
                    <a:pt x="161" y="75"/>
                    <a:pt x="161" y="75"/>
                  </a:cubicBezTo>
                  <a:cubicBezTo>
                    <a:pt x="161" y="75"/>
                    <a:pt x="161" y="75"/>
                    <a:pt x="161" y="75"/>
                  </a:cubicBezTo>
                  <a:cubicBezTo>
                    <a:pt x="157" y="76"/>
                    <a:pt x="157" y="76"/>
                    <a:pt x="157" y="76"/>
                  </a:cubicBezTo>
                  <a:cubicBezTo>
                    <a:pt x="157" y="77"/>
                    <a:pt x="157" y="77"/>
                    <a:pt x="157" y="77"/>
                  </a:cubicBezTo>
                  <a:cubicBezTo>
                    <a:pt x="156" y="82"/>
                    <a:pt x="156" y="82"/>
                    <a:pt x="156" y="82"/>
                  </a:cubicBezTo>
                  <a:cubicBezTo>
                    <a:pt x="156" y="82"/>
                    <a:pt x="156" y="82"/>
                    <a:pt x="156" y="82"/>
                  </a:cubicBezTo>
                  <a:cubicBezTo>
                    <a:pt x="156" y="82"/>
                    <a:pt x="156" y="82"/>
                    <a:pt x="156" y="82"/>
                  </a:cubicBezTo>
                  <a:cubicBezTo>
                    <a:pt x="155" y="82"/>
                    <a:pt x="155" y="82"/>
                    <a:pt x="155" y="82"/>
                  </a:cubicBezTo>
                  <a:cubicBezTo>
                    <a:pt x="156" y="83"/>
                    <a:pt x="156" y="83"/>
                    <a:pt x="156" y="83"/>
                  </a:cubicBezTo>
                  <a:cubicBezTo>
                    <a:pt x="157" y="86"/>
                    <a:pt x="157" y="86"/>
                    <a:pt x="157" y="86"/>
                  </a:cubicBezTo>
                  <a:cubicBezTo>
                    <a:pt x="156" y="86"/>
                    <a:pt x="156" y="86"/>
                    <a:pt x="156" y="86"/>
                  </a:cubicBezTo>
                  <a:cubicBezTo>
                    <a:pt x="156" y="86"/>
                    <a:pt x="156" y="86"/>
                    <a:pt x="156" y="86"/>
                  </a:cubicBezTo>
                  <a:cubicBezTo>
                    <a:pt x="156" y="87"/>
                    <a:pt x="156" y="87"/>
                    <a:pt x="156" y="87"/>
                  </a:cubicBezTo>
                  <a:cubicBezTo>
                    <a:pt x="156" y="87"/>
                    <a:pt x="156" y="87"/>
                    <a:pt x="156" y="87"/>
                  </a:cubicBezTo>
                  <a:cubicBezTo>
                    <a:pt x="156" y="87"/>
                    <a:pt x="156" y="87"/>
                    <a:pt x="156" y="87"/>
                  </a:cubicBezTo>
                  <a:cubicBezTo>
                    <a:pt x="155" y="88"/>
                    <a:pt x="155" y="88"/>
                    <a:pt x="155" y="88"/>
                  </a:cubicBezTo>
                  <a:cubicBezTo>
                    <a:pt x="154" y="88"/>
                    <a:pt x="154" y="88"/>
                    <a:pt x="154" y="88"/>
                  </a:cubicBezTo>
                  <a:cubicBezTo>
                    <a:pt x="152" y="88"/>
                    <a:pt x="152" y="88"/>
                    <a:pt x="152" y="88"/>
                  </a:cubicBezTo>
                  <a:cubicBezTo>
                    <a:pt x="151" y="89"/>
                    <a:pt x="151" y="89"/>
                    <a:pt x="151" y="89"/>
                  </a:cubicBezTo>
                  <a:cubicBezTo>
                    <a:pt x="149" y="88"/>
                    <a:pt x="149" y="88"/>
                    <a:pt x="149" y="88"/>
                  </a:cubicBezTo>
                  <a:cubicBezTo>
                    <a:pt x="149" y="88"/>
                    <a:pt x="149" y="88"/>
                    <a:pt x="149" y="88"/>
                  </a:cubicBezTo>
                  <a:cubicBezTo>
                    <a:pt x="143" y="88"/>
                    <a:pt x="143" y="88"/>
                    <a:pt x="143" y="88"/>
                  </a:cubicBezTo>
                  <a:cubicBezTo>
                    <a:pt x="136" y="85"/>
                    <a:pt x="136" y="85"/>
                    <a:pt x="136" y="85"/>
                  </a:cubicBezTo>
                  <a:cubicBezTo>
                    <a:pt x="129" y="80"/>
                    <a:pt x="129" y="80"/>
                    <a:pt x="129" y="80"/>
                  </a:cubicBezTo>
                  <a:cubicBezTo>
                    <a:pt x="117" y="79"/>
                    <a:pt x="117" y="79"/>
                    <a:pt x="117" y="79"/>
                  </a:cubicBezTo>
                  <a:cubicBezTo>
                    <a:pt x="111" y="76"/>
                    <a:pt x="111" y="76"/>
                    <a:pt x="111" y="76"/>
                  </a:cubicBezTo>
                  <a:cubicBezTo>
                    <a:pt x="104" y="71"/>
                    <a:pt x="104" y="71"/>
                    <a:pt x="104" y="71"/>
                  </a:cubicBezTo>
                  <a:cubicBezTo>
                    <a:pt x="95" y="69"/>
                    <a:pt x="95" y="69"/>
                    <a:pt x="95" y="69"/>
                  </a:cubicBezTo>
                  <a:cubicBezTo>
                    <a:pt x="97" y="62"/>
                    <a:pt x="97" y="62"/>
                    <a:pt x="97" y="62"/>
                  </a:cubicBezTo>
                  <a:cubicBezTo>
                    <a:pt x="97" y="62"/>
                    <a:pt x="97" y="62"/>
                    <a:pt x="97" y="62"/>
                  </a:cubicBezTo>
                  <a:cubicBezTo>
                    <a:pt x="97" y="62"/>
                    <a:pt x="97" y="62"/>
                    <a:pt x="97" y="62"/>
                  </a:cubicBezTo>
                  <a:cubicBezTo>
                    <a:pt x="97" y="61"/>
                    <a:pt x="97" y="61"/>
                    <a:pt x="97" y="61"/>
                  </a:cubicBezTo>
                  <a:cubicBezTo>
                    <a:pt x="103" y="57"/>
                    <a:pt x="103" y="57"/>
                    <a:pt x="103" y="57"/>
                  </a:cubicBezTo>
                  <a:cubicBezTo>
                    <a:pt x="103" y="57"/>
                    <a:pt x="103" y="57"/>
                    <a:pt x="103" y="57"/>
                  </a:cubicBezTo>
                  <a:cubicBezTo>
                    <a:pt x="101" y="55"/>
                    <a:pt x="101" y="55"/>
                    <a:pt x="101" y="55"/>
                  </a:cubicBezTo>
                  <a:cubicBezTo>
                    <a:pt x="96" y="53"/>
                    <a:pt x="96" y="53"/>
                    <a:pt x="96" y="53"/>
                  </a:cubicBezTo>
                  <a:cubicBezTo>
                    <a:pt x="96" y="52"/>
                    <a:pt x="96" y="52"/>
                    <a:pt x="96" y="52"/>
                  </a:cubicBezTo>
                  <a:cubicBezTo>
                    <a:pt x="95" y="50"/>
                    <a:pt x="95" y="50"/>
                    <a:pt x="95" y="50"/>
                  </a:cubicBezTo>
                  <a:cubicBezTo>
                    <a:pt x="92" y="50"/>
                    <a:pt x="92" y="50"/>
                    <a:pt x="92" y="50"/>
                  </a:cubicBezTo>
                  <a:cubicBezTo>
                    <a:pt x="90" y="46"/>
                    <a:pt x="90" y="46"/>
                    <a:pt x="90" y="46"/>
                  </a:cubicBezTo>
                  <a:cubicBezTo>
                    <a:pt x="89" y="46"/>
                    <a:pt x="89" y="46"/>
                    <a:pt x="89" y="46"/>
                  </a:cubicBezTo>
                  <a:cubicBezTo>
                    <a:pt x="88" y="47"/>
                    <a:pt x="88" y="47"/>
                    <a:pt x="88" y="47"/>
                  </a:cubicBezTo>
                  <a:cubicBezTo>
                    <a:pt x="88" y="47"/>
                    <a:pt x="88" y="47"/>
                    <a:pt x="88" y="47"/>
                  </a:cubicBezTo>
                  <a:cubicBezTo>
                    <a:pt x="87" y="47"/>
                    <a:pt x="87" y="47"/>
                    <a:pt x="87" y="47"/>
                  </a:cubicBezTo>
                  <a:cubicBezTo>
                    <a:pt x="88" y="44"/>
                    <a:pt x="88" y="44"/>
                    <a:pt x="88" y="44"/>
                  </a:cubicBezTo>
                  <a:cubicBezTo>
                    <a:pt x="88" y="42"/>
                    <a:pt x="88" y="42"/>
                    <a:pt x="88" y="42"/>
                  </a:cubicBezTo>
                  <a:cubicBezTo>
                    <a:pt x="85" y="39"/>
                    <a:pt x="85" y="39"/>
                    <a:pt x="85" y="39"/>
                  </a:cubicBezTo>
                  <a:cubicBezTo>
                    <a:pt x="86" y="37"/>
                    <a:pt x="86" y="37"/>
                    <a:pt x="86" y="37"/>
                  </a:cubicBezTo>
                  <a:cubicBezTo>
                    <a:pt x="86" y="37"/>
                    <a:pt x="86" y="37"/>
                    <a:pt x="86" y="37"/>
                  </a:cubicBezTo>
                  <a:cubicBezTo>
                    <a:pt x="87" y="37"/>
                    <a:pt x="87" y="37"/>
                    <a:pt x="87" y="37"/>
                  </a:cubicBezTo>
                  <a:cubicBezTo>
                    <a:pt x="88" y="38"/>
                    <a:pt x="88" y="38"/>
                    <a:pt x="88" y="38"/>
                  </a:cubicBezTo>
                  <a:cubicBezTo>
                    <a:pt x="90" y="38"/>
                    <a:pt x="90" y="38"/>
                    <a:pt x="90" y="38"/>
                  </a:cubicBezTo>
                  <a:cubicBezTo>
                    <a:pt x="91" y="38"/>
                    <a:pt x="91" y="38"/>
                    <a:pt x="91" y="38"/>
                  </a:cubicBezTo>
                  <a:cubicBezTo>
                    <a:pt x="93" y="34"/>
                    <a:pt x="93" y="34"/>
                    <a:pt x="93" y="34"/>
                  </a:cubicBezTo>
                  <a:cubicBezTo>
                    <a:pt x="93" y="32"/>
                    <a:pt x="93" y="32"/>
                    <a:pt x="93" y="32"/>
                  </a:cubicBezTo>
                  <a:cubicBezTo>
                    <a:pt x="91" y="32"/>
                    <a:pt x="91" y="32"/>
                    <a:pt x="91" y="32"/>
                  </a:cubicBezTo>
                  <a:cubicBezTo>
                    <a:pt x="90" y="30"/>
                    <a:pt x="90" y="30"/>
                    <a:pt x="90" y="30"/>
                  </a:cubicBezTo>
                  <a:cubicBezTo>
                    <a:pt x="90" y="27"/>
                    <a:pt x="90" y="27"/>
                    <a:pt x="90" y="27"/>
                  </a:cubicBezTo>
                  <a:cubicBezTo>
                    <a:pt x="94" y="26"/>
                    <a:pt x="94" y="26"/>
                    <a:pt x="94" y="26"/>
                  </a:cubicBezTo>
                  <a:cubicBezTo>
                    <a:pt x="95" y="23"/>
                    <a:pt x="95" y="23"/>
                    <a:pt x="95" y="23"/>
                  </a:cubicBezTo>
                  <a:cubicBezTo>
                    <a:pt x="98" y="21"/>
                    <a:pt x="98" y="21"/>
                    <a:pt x="98" y="21"/>
                  </a:cubicBezTo>
                  <a:cubicBezTo>
                    <a:pt x="99" y="16"/>
                    <a:pt x="99" y="16"/>
                    <a:pt x="99" y="16"/>
                  </a:cubicBezTo>
                  <a:cubicBezTo>
                    <a:pt x="101" y="14"/>
                    <a:pt x="101" y="14"/>
                    <a:pt x="101" y="14"/>
                  </a:cubicBezTo>
                  <a:cubicBezTo>
                    <a:pt x="99" y="12"/>
                    <a:pt x="99" y="12"/>
                    <a:pt x="99" y="12"/>
                  </a:cubicBezTo>
                  <a:cubicBezTo>
                    <a:pt x="96" y="12"/>
                    <a:pt x="96" y="12"/>
                    <a:pt x="96" y="12"/>
                  </a:cubicBezTo>
                  <a:cubicBezTo>
                    <a:pt x="92" y="10"/>
                    <a:pt x="92" y="10"/>
                    <a:pt x="92" y="10"/>
                  </a:cubicBezTo>
                  <a:cubicBezTo>
                    <a:pt x="90" y="13"/>
                    <a:pt x="90" y="13"/>
                    <a:pt x="90" y="13"/>
                  </a:cubicBezTo>
                  <a:cubicBezTo>
                    <a:pt x="87" y="13"/>
                    <a:pt x="87" y="13"/>
                    <a:pt x="87" y="13"/>
                  </a:cubicBezTo>
                  <a:cubicBezTo>
                    <a:pt x="85" y="14"/>
                    <a:pt x="85" y="14"/>
                    <a:pt x="85" y="14"/>
                  </a:cubicBezTo>
                  <a:cubicBezTo>
                    <a:pt x="81" y="14"/>
                    <a:pt x="81" y="14"/>
                    <a:pt x="81" y="14"/>
                  </a:cubicBezTo>
                  <a:cubicBezTo>
                    <a:pt x="76" y="12"/>
                    <a:pt x="76" y="12"/>
                    <a:pt x="76" y="12"/>
                  </a:cubicBezTo>
                  <a:cubicBezTo>
                    <a:pt x="75" y="8"/>
                    <a:pt x="75" y="8"/>
                    <a:pt x="75" y="8"/>
                  </a:cubicBezTo>
                  <a:cubicBezTo>
                    <a:pt x="74" y="8"/>
                    <a:pt x="74" y="8"/>
                    <a:pt x="74" y="8"/>
                  </a:cubicBezTo>
                  <a:cubicBezTo>
                    <a:pt x="73" y="6"/>
                    <a:pt x="73" y="6"/>
                    <a:pt x="73" y="6"/>
                  </a:cubicBezTo>
                  <a:cubicBezTo>
                    <a:pt x="70" y="6"/>
                    <a:pt x="70" y="6"/>
                    <a:pt x="70" y="6"/>
                  </a:cubicBezTo>
                  <a:cubicBezTo>
                    <a:pt x="69" y="3"/>
                    <a:pt x="69" y="3"/>
                    <a:pt x="69" y="3"/>
                  </a:cubicBezTo>
                  <a:cubicBezTo>
                    <a:pt x="67" y="1"/>
                    <a:pt x="67" y="1"/>
                    <a:pt x="67" y="1"/>
                  </a:cubicBezTo>
                  <a:cubicBezTo>
                    <a:pt x="65" y="0"/>
                    <a:pt x="65" y="0"/>
                    <a:pt x="65" y="0"/>
                  </a:cubicBezTo>
                  <a:cubicBezTo>
                    <a:pt x="60" y="2"/>
                    <a:pt x="60" y="2"/>
                    <a:pt x="60" y="2"/>
                  </a:cubicBezTo>
                  <a:cubicBezTo>
                    <a:pt x="55" y="3"/>
                    <a:pt x="55" y="3"/>
                    <a:pt x="55" y="3"/>
                  </a:cubicBezTo>
                  <a:cubicBezTo>
                    <a:pt x="53" y="2"/>
                    <a:pt x="53" y="2"/>
                    <a:pt x="53" y="2"/>
                  </a:cubicBezTo>
                  <a:cubicBezTo>
                    <a:pt x="51" y="1"/>
                    <a:pt x="51" y="1"/>
                    <a:pt x="51" y="1"/>
                  </a:cubicBezTo>
                  <a:cubicBezTo>
                    <a:pt x="50" y="3"/>
                    <a:pt x="50" y="3"/>
                    <a:pt x="50" y="3"/>
                  </a:cubicBezTo>
                  <a:cubicBezTo>
                    <a:pt x="50" y="5"/>
                    <a:pt x="50" y="5"/>
                    <a:pt x="50" y="5"/>
                  </a:cubicBezTo>
                  <a:cubicBezTo>
                    <a:pt x="48" y="5"/>
                    <a:pt x="48" y="5"/>
                    <a:pt x="48" y="5"/>
                  </a:cubicBezTo>
                  <a:cubicBezTo>
                    <a:pt x="46" y="5"/>
                    <a:pt x="46" y="5"/>
                    <a:pt x="46" y="5"/>
                  </a:cubicBezTo>
                  <a:cubicBezTo>
                    <a:pt x="46" y="8"/>
                    <a:pt x="46" y="8"/>
                    <a:pt x="46" y="8"/>
                  </a:cubicBezTo>
                  <a:cubicBezTo>
                    <a:pt x="47" y="10"/>
                    <a:pt x="47" y="10"/>
                    <a:pt x="47" y="10"/>
                  </a:cubicBezTo>
                  <a:cubicBezTo>
                    <a:pt x="51" y="11"/>
                    <a:pt x="51" y="11"/>
                    <a:pt x="51" y="11"/>
                  </a:cubicBezTo>
                  <a:cubicBezTo>
                    <a:pt x="55" y="14"/>
                    <a:pt x="55" y="14"/>
                    <a:pt x="55" y="14"/>
                  </a:cubicBezTo>
                  <a:cubicBezTo>
                    <a:pt x="56" y="16"/>
                    <a:pt x="56" y="16"/>
                    <a:pt x="56" y="16"/>
                  </a:cubicBezTo>
                  <a:cubicBezTo>
                    <a:pt x="52" y="21"/>
                    <a:pt x="52" y="21"/>
                    <a:pt x="52" y="21"/>
                  </a:cubicBezTo>
                  <a:cubicBezTo>
                    <a:pt x="53" y="29"/>
                    <a:pt x="53" y="29"/>
                    <a:pt x="53" y="29"/>
                  </a:cubicBezTo>
                  <a:cubicBezTo>
                    <a:pt x="54" y="31"/>
                    <a:pt x="54" y="31"/>
                    <a:pt x="54" y="31"/>
                  </a:cubicBezTo>
                  <a:cubicBezTo>
                    <a:pt x="55" y="32"/>
                    <a:pt x="55" y="32"/>
                    <a:pt x="55" y="32"/>
                  </a:cubicBezTo>
                  <a:cubicBezTo>
                    <a:pt x="55" y="33"/>
                    <a:pt x="55" y="33"/>
                    <a:pt x="55" y="33"/>
                  </a:cubicBezTo>
                  <a:cubicBezTo>
                    <a:pt x="57" y="33"/>
                    <a:pt x="57" y="33"/>
                    <a:pt x="57" y="33"/>
                  </a:cubicBezTo>
                  <a:cubicBezTo>
                    <a:pt x="58" y="33"/>
                    <a:pt x="58" y="33"/>
                    <a:pt x="58" y="33"/>
                  </a:cubicBezTo>
                  <a:cubicBezTo>
                    <a:pt x="58" y="34"/>
                    <a:pt x="58" y="34"/>
                    <a:pt x="58" y="34"/>
                  </a:cubicBezTo>
                  <a:cubicBezTo>
                    <a:pt x="58" y="36"/>
                    <a:pt x="58" y="36"/>
                    <a:pt x="58" y="36"/>
                  </a:cubicBezTo>
                  <a:cubicBezTo>
                    <a:pt x="61" y="36"/>
                    <a:pt x="61" y="36"/>
                    <a:pt x="61" y="36"/>
                  </a:cubicBezTo>
                  <a:cubicBezTo>
                    <a:pt x="62" y="38"/>
                    <a:pt x="62" y="38"/>
                    <a:pt x="62" y="38"/>
                  </a:cubicBezTo>
                  <a:cubicBezTo>
                    <a:pt x="62" y="38"/>
                    <a:pt x="62" y="38"/>
                    <a:pt x="62" y="38"/>
                  </a:cubicBezTo>
                  <a:cubicBezTo>
                    <a:pt x="62" y="38"/>
                    <a:pt x="62" y="38"/>
                    <a:pt x="62" y="38"/>
                  </a:cubicBezTo>
                  <a:cubicBezTo>
                    <a:pt x="60" y="39"/>
                    <a:pt x="60" y="39"/>
                    <a:pt x="60" y="39"/>
                  </a:cubicBezTo>
                  <a:cubicBezTo>
                    <a:pt x="57" y="41"/>
                    <a:pt x="57" y="41"/>
                    <a:pt x="57" y="41"/>
                  </a:cubicBezTo>
                  <a:cubicBezTo>
                    <a:pt x="55" y="42"/>
                    <a:pt x="55" y="42"/>
                    <a:pt x="55" y="42"/>
                  </a:cubicBezTo>
                  <a:cubicBezTo>
                    <a:pt x="56" y="43"/>
                    <a:pt x="56" y="43"/>
                    <a:pt x="56" y="43"/>
                  </a:cubicBezTo>
                  <a:cubicBezTo>
                    <a:pt x="55" y="46"/>
                    <a:pt x="55" y="46"/>
                    <a:pt x="55" y="46"/>
                  </a:cubicBezTo>
                  <a:cubicBezTo>
                    <a:pt x="55" y="48"/>
                    <a:pt x="55" y="48"/>
                    <a:pt x="55" y="48"/>
                  </a:cubicBezTo>
                  <a:cubicBezTo>
                    <a:pt x="51" y="51"/>
                    <a:pt x="51" y="51"/>
                    <a:pt x="51" y="51"/>
                  </a:cubicBezTo>
                  <a:cubicBezTo>
                    <a:pt x="50" y="53"/>
                    <a:pt x="50" y="53"/>
                    <a:pt x="50" y="53"/>
                  </a:cubicBezTo>
                  <a:cubicBezTo>
                    <a:pt x="46" y="53"/>
                    <a:pt x="46" y="53"/>
                    <a:pt x="46" y="53"/>
                  </a:cubicBezTo>
                  <a:cubicBezTo>
                    <a:pt x="46" y="55"/>
                    <a:pt x="46" y="55"/>
                    <a:pt x="46" y="55"/>
                  </a:cubicBezTo>
                  <a:cubicBezTo>
                    <a:pt x="40" y="63"/>
                    <a:pt x="40" y="63"/>
                    <a:pt x="40" y="63"/>
                  </a:cubicBezTo>
                  <a:cubicBezTo>
                    <a:pt x="37" y="64"/>
                    <a:pt x="37" y="64"/>
                    <a:pt x="37" y="64"/>
                  </a:cubicBezTo>
                  <a:cubicBezTo>
                    <a:pt x="33" y="67"/>
                    <a:pt x="33" y="67"/>
                    <a:pt x="33" y="67"/>
                  </a:cubicBezTo>
                  <a:cubicBezTo>
                    <a:pt x="32" y="71"/>
                    <a:pt x="32" y="71"/>
                    <a:pt x="32" y="71"/>
                  </a:cubicBezTo>
                  <a:cubicBezTo>
                    <a:pt x="24" y="72"/>
                    <a:pt x="24" y="72"/>
                    <a:pt x="24" y="72"/>
                  </a:cubicBezTo>
                  <a:cubicBezTo>
                    <a:pt x="23" y="71"/>
                    <a:pt x="23" y="71"/>
                    <a:pt x="23" y="71"/>
                  </a:cubicBezTo>
                  <a:cubicBezTo>
                    <a:pt x="23" y="70"/>
                    <a:pt x="23" y="70"/>
                    <a:pt x="23" y="70"/>
                  </a:cubicBezTo>
                  <a:cubicBezTo>
                    <a:pt x="22" y="69"/>
                    <a:pt x="22" y="69"/>
                    <a:pt x="22" y="69"/>
                  </a:cubicBezTo>
                  <a:cubicBezTo>
                    <a:pt x="21" y="69"/>
                    <a:pt x="21" y="69"/>
                    <a:pt x="21" y="69"/>
                  </a:cubicBezTo>
                  <a:cubicBezTo>
                    <a:pt x="20" y="69"/>
                    <a:pt x="20" y="69"/>
                    <a:pt x="20" y="69"/>
                  </a:cubicBezTo>
                  <a:cubicBezTo>
                    <a:pt x="18" y="71"/>
                    <a:pt x="18" y="71"/>
                    <a:pt x="18" y="71"/>
                  </a:cubicBezTo>
                  <a:cubicBezTo>
                    <a:pt x="13" y="76"/>
                    <a:pt x="13" y="76"/>
                    <a:pt x="13" y="76"/>
                  </a:cubicBezTo>
                  <a:cubicBezTo>
                    <a:pt x="12" y="78"/>
                    <a:pt x="12" y="78"/>
                    <a:pt x="12" y="78"/>
                  </a:cubicBezTo>
                  <a:cubicBezTo>
                    <a:pt x="15" y="80"/>
                    <a:pt x="15" y="80"/>
                    <a:pt x="15" y="80"/>
                  </a:cubicBezTo>
                  <a:cubicBezTo>
                    <a:pt x="18" y="81"/>
                    <a:pt x="18" y="81"/>
                    <a:pt x="18" y="81"/>
                  </a:cubicBezTo>
                  <a:cubicBezTo>
                    <a:pt x="17" y="84"/>
                    <a:pt x="17" y="84"/>
                    <a:pt x="17" y="84"/>
                  </a:cubicBezTo>
                  <a:cubicBezTo>
                    <a:pt x="18" y="87"/>
                    <a:pt x="18" y="87"/>
                    <a:pt x="18" y="87"/>
                  </a:cubicBezTo>
                  <a:cubicBezTo>
                    <a:pt x="20" y="88"/>
                    <a:pt x="20" y="88"/>
                    <a:pt x="20" y="88"/>
                  </a:cubicBezTo>
                  <a:cubicBezTo>
                    <a:pt x="21" y="90"/>
                    <a:pt x="21" y="90"/>
                    <a:pt x="21" y="90"/>
                  </a:cubicBezTo>
                  <a:cubicBezTo>
                    <a:pt x="22" y="92"/>
                    <a:pt x="22" y="92"/>
                    <a:pt x="22" y="92"/>
                  </a:cubicBezTo>
                  <a:cubicBezTo>
                    <a:pt x="22" y="95"/>
                    <a:pt x="22" y="95"/>
                    <a:pt x="22" y="95"/>
                  </a:cubicBezTo>
                  <a:cubicBezTo>
                    <a:pt x="23" y="96"/>
                    <a:pt x="23" y="96"/>
                    <a:pt x="23" y="96"/>
                  </a:cubicBezTo>
                  <a:cubicBezTo>
                    <a:pt x="23" y="96"/>
                    <a:pt x="23" y="96"/>
                    <a:pt x="23" y="96"/>
                  </a:cubicBezTo>
                  <a:cubicBezTo>
                    <a:pt x="22" y="97"/>
                    <a:pt x="22" y="97"/>
                    <a:pt x="22" y="97"/>
                  </a:cubicBezTo>
                  <a:cubicBezTo>
                    <a:pt x="23" y="98"/>
                    <a:pt x="23" y="98"/>
                    <a:pt x="23" y="98"/>
                  </a:cubicBezTo>
                  <a:cubicBezTo>
                    <a:pt x="21" y="99"/>
                    <a:pt x="21" y="99"/>
                    <a:pt x="21" y="99"/>
                  </a:cubicBezTo>
                  <a:cubicBezTo>
                    <a:pt x="20" y="99"/>
                    <a:pt x="20" y="99"/>
                    <a:pt x="20" y="99"/>
                  </a:cubicBezTo>
                  <a:cubicBezTo>
                    <a:pt x="20" y="98"/>
                    <a:pt x="20" y="98"/>
                    <a:pt x="20" y="98"/>
                  </a:cubicBezTo>
                  <a:cubicBezTo>
                    <a:pt x="19" y="97"/>
                    <a:pt x="19" y="97"/>
                    <a:pt x="19" y="97"/>
                  </a:cubicBezTo>
                  <a:cubicBezTo>
                    <a:pt x="14" y="99"/>
                    <a:pt x="14" y="99"/>
                    <a:pt x="14" y="99"/>
                  </a:cubicBezTo>
                  <a:cubicBezTo>
                    <a:pt x="11" y="98"/>
                    <a:pt x="11" y="98"/>
                    <a:pt x="11" y="98"/>
                  </a:cubicBezTo>
                  <a:cubicBezTo>
                    <a:pt x="7" y="98"/>
                    <a:pt x="7" y="98"/>
                    <a:pt x="7" y="98"/>
                  </a:cubicBezTo>
                  <a:cubicBezTo>
                    <a:pt x="7" y="97"/>
                    <a:pt x="7" y="97"/>
                    <a:pt x="7" y="97"/>
                  </a:cubicBezTo>
                  <a:cubicBezTo>
                    <a:pt x="6" y="97"/>
                    <a:pt x="6" y="97"/>
                    <a:pt x="6" y="97"/>
                  </a:cubicBezTo>
                  <a:cubicBezTo>
                    <a:pt x="5" y="97"/>
                    <a:pt x="5" y="97"/>
                    <a:pt x="5" y="97"/>
                  </a:cubicBezTo>
                  <a:cubicBezTo>
                    <a:pt x="4" y="97"/>
                    <a:pt x="4" y="97"/>
                    <a:pt x="4" y="97"/>
                  </a:cubicBezTo>
                  <a:cubicBezTo>
                    <a:pt x="3" y="99"/>
                    <a:pt x="3" y="99"/>
                    <a:pt x="3" y="99"/>
                  </a:cubicBezTo>
                  <a:cubicBezTo>
                    <a:pt x="2" y="99"/>
                    <a:pt x="2" y="99"/>
                    <a:pt x="2" y="99"/>
                  </a:cubicBezTo>
                  <a:cubicBezTo>
                    <a:pt x="0" y="101"/>
                    <a:pt x="0" y="101"/>
                    <a:pt x="0" y="101"/>
                  </a:cubicBezTo>
                  <a:cubicBezTo>
                    <a:pt x="1" y="101"/>
                    <a:pt x="1" y="101"/>
                    <a:pt x="1" y="101"/>
                  </a:cubicBezTo>
                  <a:cubicBezTo>
                    <a:pt x="3" y="100"/>
                    <a:pt x="3" y="100"/>
                    <a:pt x="3" y="100"/>
                  </a:cubicBezTo>
                  <a:cubicBezTo>
                    <a:pt x="4" y="100"/>
                    <a:pt x="4" y="100"/>
                    <a:pt x="4" y="100"/>
                  </a:cubicBezTo>
                  <a:cubicBezTo>
                    <a:pt x="2" y="102"/>
                    <a:pt x="2" y="102"/>
                    <a:pt x="2" y="102"/>
                  </a:cubicBezTo>
                  <a:cubicBezTo>
                    <a:pt x="1" y="103"/>
                    <a:pt x="1" y="103"/>
                    <a:pt x="1" y="103"/>
                  </a:cubicBezTo>
                  <a:cubicBezTo>
                    <a:pt x="3" y="106"/>
                    <a:pt x="3" y="106"/>
                    <a:pt x="3" y="106"/>
                  </a:cubicBezTo>
                  <a:cubicBezTo>
                    <a:pt x="8" y="109"/>
                    <a:pt x="8" y="109"/>
                    <a:pt x="8" y="109"/>
                  </a:cubicBezTo>
                  <a:cubicBezTo>
                    <a:pt x="11" y="110"/>
                    <a:pt x="11" y="110"/>
                    <a:pt x="11" y="110"/>
                  </a:cubicBezTo>
                  <a:cubicBezTo>
                    <a:pt x="12" y="109"/>
                    <a:pt x="12" y="109"/>
                    <a:pt x="12" y="109"/>
                  </a:cubicBezTo>
                  <a:cubicBezTo>
                    <a:pt x="15" y="109"/>
                    <a:pt x="15" y="109"/>
                    <a:pt x="15" y="109"/>
                  </a:cubicBezTo>
                  <a:cubicBezTo>
                    <a:pt x="16" y="108"/>
                    <a:pt x="16" y="108"/>
                    <a:pt x="16" y="108"/>
                  </a:cubicBezTo>
                  <a:cubicBezTo>
                    <a:pt x="17" y="108"/>
                    <a:pt x="17" y="108"/>
                    <a:pt x="17" y="108"/>
                  </a:cubicBezTo>
                  <a:cubicBezTo>
                    <a:pt x="14" y="112"/>
                    <a:pt x="14" y="112"/>
                    <a:pt x="14" y="112"/>
                  </a:cubicBezTo>
                  <a:cubicBezTo>
                    <a:pt x="13" y="113"/>
                    <a:pt x="13" y="113"/>
                    <a:pt x="13" y="113"/>
                  </a:cubicBezTo>
                  <a:cubicBezTo>
                    <a:pt x="10" y="113"/>
                    <a:pt x="10" y="113"/>
                    <a:pt x="10" y="113"/>
                  </a:cubicBezTo>
                  <a:cubicBezTo>
                    <a:pt x="7" y="113"/>
                    <a:pt x="7" y="113"/>
                    <a:pt x="7" y="113"/>
                  </a:cubicBezTo>
                  <a:cubicBezTo>
                    <a:pt x="5" y="113"/>
                    <a:pt x="5" y="113"/>
                    <a:pt x="5" y="113"/>
                  </a:cubicBezTo>
                  <a:cubicBezTo>
                    <a:pt x="5" y="113"/>
                    <a:pt x="5" y="113"/>
                    <a:pt x="5" y="113"/>
                  </a:cubicBezTo>
                  <a:cubicBezTo>
                    <a:pt x="5" y="115"/>
                    <a:pt x="5" y="115"/>
                    <a:pt x="5" y="115"/>
                  </a:cubicBezTo>
                  <a:cubicBezTo>
                    <a:pt x="14" y="127"/>
                    <a:pt x="14" y="127"/>
                    <a:pt x="14" y="127"/>
                  </a:cubicBezTo>
                  <a:cubicBezTo>
                    <a:pt x="17" y="127"/>
                    <a:pt x="17" y="127"/>
                    <a:pt x="17" y="127"/>
                  </a:cubicBezTo>
                  <a:cubicBezTo>
                    <a:pt x="17" y="128"/>
                    <a:pt x="17" y="128"/>
                    <a:pt x="17" y="128"/>
                  </a:cubicBezTo>
                  <a:cubicBezTo>
                    <a:pt x="18" y="128"/>
                    <a:pt x="18" y="128"/>
                    <a:pt x="18" y="128"/>
                  </a:cubicBezTo>
                  <a:cubicBezTo>
                    <a:pt x="19" y="128"/>
                    <a:pt x="19" y="128"/>
                    <a:pt x="19" y="128"/>
                  </a:cubicBezTo>
                  <a:cubicBezTo>
                    <a:pt x="19" y="128"/>
                    <a:pt x="19" y="128"/>
                    <a:pt x="19" y="128"/>
                  </a:cubicBezTo>
                  <a:cubicBezTo>
                    <a:pt x="23" y="127"/>
                    <a:pt x="23" y="127"/>
                    <a:pt x="23" y="127"/>
                  </a:cubicBezTo>
                  <a:cubicBezTo>
                    <a:pt x="25" y="126"/>
                    <a:pt x="25" y="126"/>
                    <a:pt x="25" y="126"/>
                  </a:cubicBezTo>
                  <a:cubicBezTo>
                    <a:pt x="28" y="125"/>
                    <a:pt x="28" y="125"/>
                    <a:pt x="28" y="125"/>
                  </a:cubicBezTo>
                  <a:cubicBezTo>
                    <a:pt x="28" y="124"/>
                    <a:pt x="28" y="124"/>
                    <a:pt x="28" y="124"/>
                  </a:cubicBezTo>
                  <a:cubicBezTo>
                    <a:pt x="29" y="123"/>
                    <a:pt x="29" y="123"/>
                    <a:pt x="29" y="123"/>
                  </a:cubicBezTo>
                  <a:cubicBezTo>
                    <a:pt x="29" y="121"/>
                    <a:pt x="29" y="121"/>
                    <a:pt x="29" y="121"/>
                  </a:cubicBezTo>
                  <a:cubicBezTo>
                    <a:pt x="30" y="119"/>
                    <a:pt x="30" y="119"/>
                    <a:pt x="30" y="119"/>
                  </a:cubicBezTo>
                  <a:cubicBezTo>
                    <a:pt x="31" y="116"/>
                    <a:pt x="31" y="116"/>
                    <a:pt x="31" y="116"/>
                  </a:cubicBezTo>
                  <a:cubicBezTo>
                    <a:pt x="32" y="117"/>
                    <a:pt x="32" y="117"/>
                    <a:pt x="32" y="117"/>
                  </a:cubicBezTo>
                  <a:cubicBezTo>
                    <a:pt x="34" y="116"/>
                    <a:pt x="34" y="116"/>
                    <a:pt x="34" y="116"/>
                  </a:cubicBezTo>
                  <a:cubicBezTo>
                    <a:pt x="34" y="116"/>
                    <a:pt x="34" y="116"/>
                    <a:pt x="34" y="116"/>
                  </a:cubicBezTo>
                  <a:cubicBezTo>
                    <a:pt x="34" y="117"/>
                    <a:pt x="34" y="117"/>
                    <a:pt x="34" y="117"/>
                  </a:cubicBezTo>
                  <a:cubicBezTo>
                    <a:pt x="33" y="118"/>
                    <a:pt x="33" y="118"/>
                    <a:pt x="33" y="118"/>
                  </a:cubicBezTo>
                  <a:cubicBezTo>
                    <a:pt x="33" y="119"/>
                    <a:pt x="33" y="119"/>
                    <a:pt x="33" y="119"/>
                  </a:cubicBezTo>
                  <a:cubicBezTo>
                    <a:pt x="33" y="120"/>
                    <a:pt x="33" y="120"/>
                    <a:pt x="33" y="120"/>
                  </a:cubicBezTo>
                  <a:cubicBezTo>
                    <a:pt x="33" y="121"/>
                    <a:pt x="33" y="121"/>
                    <a:pt x="33" y="121"/>
                  </a:cubicBezTo>
                  <a:cubicBezTo>
                    <a:pt x="36" y="121"/>
                    <a:pt x="36" y="121"/>
                    <a:pt x="36" y="121"/>
                  </a:cubicBezTo>
                  <a:cubicBezTo>
                    <a:pt x="33" y="123"/>
                    <a:pt x="33" y="123"/>
                    <a:pt x="33" y="123"/>
                  </a:cubicBezTo>
                  <a:cubicBezTo>
                    <a:pt x="32" y="125"/>
                    <a:pt x="32" y="125"/>
                    <a:pt x="32" y="125"/>
                  </a:cubicBezTo>
                  <a:cubicBezTo>
                    <a:pt x="33" y="126"/>
                    <a:pt x="33" y="126"/>
                    <a:pt x="33" y="126"/>
                  </a:cubicBezTo>
                  <a:cubicBezTo>
                    <a:pt x="34" y="131"/>
                    <a:pt x="34" y="131"/>
                    <a:pt x="34" y="131"/>
                  </a:cubicBezTo>
                  <a:cubicBezTo>
                    <a:pt x="34" y="131"/>
                    <a:pt x="34" y="131"/>
                    <a:pt x="34" y="131"/>
                  </a:cubicBezTo>
                  <a:cubicBezTo>
                    <a:pt x="34" y="132"/>
                    <a:pt x="34" y="132"/>
                    <a:pt x="34" y="132"/>
                  </a:cubicBezTo>
                  <a:cubicBezTo>
                    <a:pt x="34" y="132"/>
                    <a:pt x="34" y="132"/>
                    <a:pt x="34" y="132"/>
                  </a:cubicBezTo>
                  <a:cubicBezTo>
                    <a:pt x="33" y="134"/>
                    <a:pt x="33" y="134"/>
                    <a:pt x="33" y="134"/>
                  </a:cubicBezTo>
                  <a:cubicBezTo>
                    <a:pt x="33" y="134"/>
                    <a:pt x="33" y="134"/>
                    <a:pt x="33" y="134"/>
                  </a:cubicBezTo>
                  <a:cubicBezTo>
                    <a:pt x="32" y="135"/>
                    <a:pt x="32" y="135"/>
                    <a:pt x="32" y="135"/>
                  </a:cubicBezTo>
                  <a:cubicBezTo>
                    <a:pt x="32" y="138"/>
                    <a:pt x="32" y="138"/>
                    <a:pt x="32" y="138"/>
                  </a:cubicBezTo>
                  <a:cubicBezTo>
                    <a:pt x="32" y="139"/>
                    <a:pt x="32" y="139"/>
                    <a:pt x="32" y="139"/>
                  </a:cubicBezTo>
                  <a:cubicBezTo>
                    <a:pt x="32" y="140"/>
                    <a:pt x="32" y="140"/>
                    <a:pt x="32" y="140"/>
                  </a:cubicBezTo>
                  <a:cubicBezTo>
                    <a:pt x="33" y="141"/>
                    <a:pt x="33" y="141"/>
                    <a:pt x="33" y="141"/>
                  </a:cubicBezTo>
                  <a:cubicBezTo>
                    <a:pt x="32" y="142"/>
                    <a:pt x="32" y="142"/>
                    <a:pt x="32" y="142"/>
                  </a:cubicBezTo>
                  <a:cubicBezTo>
                    <a:pt x="32" y="143"/>
                    <a:pt x="32" y="143"/>
                    <a:pt x="32" y="143"/>
                  </a:cubicBezTo>
                  <a:cubicBezTo>
                    <a:pt x="33" y="142"/>
                    <a:pt x="33" y="142"/>
                    <a:pt x="33" y="142"/>
                  </a:cubicBezTo>
                  <a:cubicBezTo>
                    <a:pt x="34" y="143"/>
                    <a:pt x="34" y="143"/>
                    <a:pt x="34" y="143"/>
                  </a:cubicBezTo>
                  <a:cubicBezTo>
                    <a:pt x="34" y="145"/>
                    <a:pt x="34" y="145"/>
                    <a:pt x="34" y="145"/>
                  </a:cubicBezTo>
                  <a:cubicBezTo>
                    <a:pt x="33" y="146"/>
                    <a:pt x="33" y="146"/>
                    <a:pt x="33" y="146"/>
                  </a:cubicBezTo>
                  <a:cubicBezTo>
                    <a:pt x="33" y="148"/>
                    <a:pt x="33" y="148"/>
                    <a:pt x="33" y="148"/>
                  </a:cubicBezTo>
                  <a:cubicBezTo>
                    <a:pt x="33" y="149"/>
                    <a:pt x="33" y="149"/>
                    <a:pt x="33" y="149"/>
                  </a:cubicBezTo>
                  <a:cubicBezTo>
                    <a:pt x="33" y="150"/>
                    <a:pt x="33" y="150"/>
                    <a:pt x="33" y="150"/>
                  </a:cubicBezTo>
                  <a:cubicBezTo>
                    <a:pt x="33" y="154"/>
                    <a:pt x="33" y="154"/>
                    <a:pt x="33" y="154"/>
                  </a:cubicBezTo>
                  <a:cubicBezTo>
                    <a:pt x="35" y="157"/>
                    <a:pt x="35" y="157"/>
                    <a:pt x="35" y="157"/>
                  </a:cubicBezTo>
                  <a:cubicBezTo>
                    <a:pt x="34" y="157"/>
                    <a:pt x="34" y="157"/>
                    <a:pt x="34" y="157"/>
                  </a:cubicBezTo>
                  <a:cubicBezTo>
                    <a:pt x="34" y="163"/>
                    <a:pt x="34" y="163"/>
                    <a:pt x="34" y="163"/>
                  </a:cubicBezTo>
                  <a:cubicBezTo>
                    <a:pt x="36" y="170"/>
                    <a:pt x="36" y="170"/>
                    <a:pt x="36" y="170"/>
                  </a:cubicBezTo>
                  <a:cubicBezTo>
                    <a:pt x="36" y="170"/>
                    <a:pt x="36" y="170"/>
                    <a:pt x="36" y="170"/>
                  </a:cubicBezTo>
                  <a:cubicBezTo>
                    <a:pt x="36" y="170"/>
                    <a:pt x="36" y="170"/>
                    <a:pt x="36" y="170"/>
                  </a:cubicBezTo>
                  <a:cubicBezTo>
                    <a:pt x="36" y="170"/>
                    <a:pt x="36" y="170"/>
                    <a:pt x="36" y="170"/>
                  </a:cubicBezTo>
                  <a:cubicBezTo>
                    <a:pt x="37" y="173"/>
                    <a:pt x="37" y="173"/>
                    <a:pt x="37" y="173"/>
                  </a:cubicBezTo>
                  <a:cubicBezTo>
                    <a:pt x="37" y="174"/>
                    <a:pt x="37" y="174"/>
                    <a:pt x="37" y="174"/>
                  </a:cubicBezTo>
                  <a:cubicBezTo>
                    <a:pt x="39" y="177"/>
                    <a:pt x="39" y="177"/>
                    <a:pt x="39" y="177"/>
                  </a:cubicBezTo>
                  <a:cubicBezTo>
                    <a:pt x="39" y="177"/>
                    <a:pt x="39" y="177"/>
                    <a:pt x="39" y="177"/>
                  </a:cubicBezTo>
                  <a:cubicBezTo>
                    <a:pt x="40" y="179"/>
                    <a:pt x="40" y="179"/>
                    <a:pt x="40" y="179"/>
                  </a:cubicBezTo>
                  <a:cubicBezTo>
                    <a:pt x="42" y="182"/>
                    <a:pt x="42" y="182"/>
                    <a:pt x="42" y="182"/>
                  </a:cubicBezTo>
                  <a:cubicBezTo>
                    <a:pt x="42" y="183"/>
                    <a:pt x="42" y="183"/>
                    <a:pt x="42" y="183"/>
                  </a:cubicBezTo>
                  <a:cubicBezTo>
                    <a:pt x="42" y="185"/>
                    <a:pt x="42" y="185"/>
                    <a:pt x="42" y="185"/>
                  </a:cubicBezTo>
                  <a:cubicBezTo>
                    <a:pt x="43" y="187"/>
                    <a:pt x="43" y="187"/>
                    <a:pt x="43" y="187"/>
                  </a:cubicBezTo>
                  <a:cubicBezTo>
                    <a:pt x="43" y="188"/>
                    <a:pt x="43" y="188"/>
                    <a:pt x="43" y="188"/>
                  </a:cubicBezTo>
                  <a:cubicBezTo>
                    <a:pt x="43" y="190"/>
                    <a:pt x="43" y="190"/>
                    <a:pt x="43" y="190"/>
                  </a:cubicBezTo>
                  <a:cubicBezTo>
                    <a:pt x="44" y="195"/>
                    <a:pt x="44" y="195"/>
                    <a:pt x="44" y="195"/>
                  </a:cubicBezTo>
                  <a:cubicBezTo>
                    <a:pt x="44" y="195"/>
                    <a:pt x="44" y="195"/>
                    <a:pt x="44" y="195"/>
                  </a:cubicBezTo>
                  <a:cubicBezTo>
                    <a:pt x="44" y="195"/>
                    <a:pt x="44" y="195"/>
                    <a:pt x="44" y="195"/>
                  </a:cubicBezTo>
                  <a:cubicBezTo>
                    <a:pt x="46" y="201"/>
                    <a:pt x="46" y="201"/>
                    <a:pt x="46" y="201"/>
                  </a:cubicBezTo>
                  <a:cubicBezTo>
                    <a:pt x="47" y="203"/>
                    <a:pt x="47" y="203"/>
                    <a:pt x="47" y="203"/>
                  </a:cubicBezTo>
                  <a:cubicBezTo>
                    <a:pt x="48" y="204"/>
                    <a:pt x="48" y="204"/>
                    <a:pt x="48" y="204"/>
                  </a:cubicBezTo>
                  <a:cubicBezTo>
                    <a:pt x="50" y="208"/>
                    <a:pt x="50" y="208"/>
                    <a:pt x="50" y="208"/>
                  </a:cubicBezTo>
                  <a:cubicBezTo>
                    <a:pt x="51" y="210"/>
                    <a:pt x="51" y="210"/>
                    <a:pt x="51" y="210"/>
                  </a:cubicBezTo>
                  <a:cubicBezTo>
                    <a:pt x="53" y="217"/>
                    <a:pt x="53" y="217"/>
                    <a:pt x="53" y="217"/>
                  </a:cubicBezTo>
                  <a:cubicBezTo>
                    <a:pt x="55" y="219"/>
                    <a:pt x="55" y="219"/>
                    <a:pt x="55" y="219"/>
                  </a:cubicBezTo>
                  <a:cubicBezTo>
                    <a:pt x="56" y="222"/>
                    <a:pt x="56" y="222"/>
                    <a:pt x="56" y="222"/>
                  </a:cubicBezTo>
                  <a:cubicBezTo>
                    <a:pt x="55" y="223"/>
                    <a:pt x="55" y="223"/>
                    <a:pt x="55" y="223"/>
                  </a:cubicBezTo>
                  <a:cubicBezTo>
                    <a:pt x="55" y="222"/>
                    <a:pt x="55" y="222"/>
                    <a:pt x="55" y="222"/>
                  </a:cubicBezTo>
                  <a:cubicBezTo>
                    <a:pt x="55" y="221"/>
                    <a:pt x="55" y="221"/>
                    <a:pt x="55" y="221"/>
                  </a:cubicBezTo>
                  <a:cubicBezTo>
                    <a:pt x="54" y="220"/>
                    <a:pt x="54" y="220"/>
                    <a:pt x="54" y="220"/>
                  </a:cubicBezTo>
                  <a:cubicBezTo>
                    <a:pt x="54" y="223"/>
                    <a:pt x="54" y="223"/>
                    <a:pt x="54" y="223"/>
                  </a:cubicBezTo>
                  <a:cubicBezTo>
                    <a:pt x="58" y="230"/>
                    <a:pt x="58" y="230"/>
                    <a:pt x="58" y="230"/>
                  </a:cubicBezTo>
                  <a:cubicBezTo>
                    <a:pt x="60" y="232"/>
                    <a:pt x="60" y="232"/>
                    <a:pt x="60" y="232"/>
                  </a:cubicBezTo>
                  <a:cubicBezTo>
                    <a:pt x="60" y="232"/>
                    <a:pt x="60" y="232"/>
                    <a:pt x="60" y="232"/>
                  </a:cubicBezTo>
                  <a:cubicBezTo>
                    <a:pt x="64" y="234"/>
                    <a:pt x="64" y="234"/>
                    <a:pt x="64" y="234"/>
                  </a:cubicBezTo>
                  <a:cubicBezTo>
                    <a:pt x="64" y="234"/>
                    <a:pt x="64" y="234"/>
                    <a:pt x="64" y="234"/>
                  </a:cubicBezTo>
                  <a:cubicBezTo>
                    <a:pt x="66" y="233"/>
                    <a:pt x="66" y="233"/>
                    <a:pt x="66" y="233"/>
                  </a:cubicBezTo>
                  <a:cubicBezTo>
                    <a:pt x="68" y="231"/>
                    <a:pt x="68" y="231"/>
                    <a:pt x="68" y="231"/>
                  </a:cubicBezTo>
                  <a:cubicBezTo>
                    <a:pt x="69" y="229"/>
                    <a:pt x="69" y="229"/>
                    <a:pt x="69" y="229"/>
                  </a:cubicBezTo>
                  <a:cubicBezTo>
                    <a:pt x="72" y="226"/>
                    <a:pt x="72" y="226"/>
                    <a:pt x="72" y="226"/>
                  </a:cubicBezTo>
                  <a:cubicBezTo>
                    <a:pt x="77" y="225"/>
                    <a:pt x="77" y="225"/>
                    <a:pt x="77" y="225"/>
                  </a:cubicBezTo>
                  <a:cubicBezTo>
                    <a:pt x="80" y="226"/>
                    <a:pt x="80" y="226"/>
                    <a:pt x="80" y="226"/>
                  </a:cubicBezTo>
                  <a:cubicBezTo>
                    <a:pt x="80" y="225"/>
                    <a:pt x="80" y="225"/>
                    <a:pt x="80" y="225"/>
                  </a:cubicBezTo>
                  <a:cubicBezTo>
                    <a:pt x="78" y="224"/>
                    <a:pt x="78" y="224"/>
                    <a:pt x="78" y="224"/>
                  </a:cubicBezTo>
                  <a:cubicBezTo>
                    <a:pt x="77" y="223"/>
                    <a:pt x="77" y="223"/>
                    <a:pt x="77" y="223"/>
                  </a:cubicBezTo>
                  <a:cubicBezTo>
                    <a:pt x="78" y="221"/>
                    <a:pt x="78" y="221"/>
                    <a:pt x="78" y="221"/>
                  </a:cubicBezTo>
                  <a:cubicBezTo>
                    <a:pt x="79" y="218"/>
                    <a:pt x="79" y="218"/>
                    <a:pt x="79" y="218"/>
                  </a:cubicBezTo>
                  <a:cubicBezTo>
                    <a:pt x="81" y="217"/>
                    <a:pt x="81" y="217"/>
                    <a:pt x="81" y="217"/>
                  </a:cubicBezTo>
                  <a:cubicBezTo>
                    <a:pt x="82" y="217"/>
                    <a:pt x="82" y="217"/>
                    <a:pt x="82" y="217"/>
                  </a:cubicBezTo>
                  <a:cubicBezTo>
                    <a:pt x="85" y="217"/>
                    <a:pt x="85" y="217"/>
                    <a:pt x="85" y="217"/>
                  </a:cubicBezTo>
                  <a:cubicBezTo>
                    <a:pt x="85" y="212"/>
                    <a:pt x="85" y="212"/>
                    <a:pt x="85" y="212"/>
                  </a:cubicBezTo>
                  <a:cubicBezTo>
                    <a:pt x="85" y="211"/>
                    <a:pt x="85" y="211"/>
                    <a:pt x="85" y="211"/>
                  </a:cubicBezTo>
                  <a:cubicBezTo>
                    <a:pt x="85" y="205"/>
                    <a:pt x="85" y="205"/>
                    <a:pt x="85" y="205"/>
                  </a:cubicBezTo>
                  <a:cubicBezTo>
                    <a:pt x="85" y="204"/>
                    <a:pt x="85" y="204"/>
                    <a:pt x="85" y="204"/>
                  </a:cubicBezTo>
                  <a:cubicBezTo>
                    <a:pt x="85" y="204"/>
                    <a:pt x="85" y="204"/>
                    <a:pt x="85" y="204"/>
                  </a:cubicBezTo>
                  <a:cubicBezTo>
                    <a:pt x="86" y="202"/>
                    <a:pt x="86" y="202"/>
                    <a:pt x="86" y="202"/>
                  </a:cubicBezTo>
                  <a:cubicBezTo>
                    <a:pt x="86" y="201"/>
                    <a:pt x="86" y="201"/>
                    <a:pt x="86" y="201"/>
                  </a:cubicBezTo>
                  <a:cubicBezTo>
                    <a:pt x="87" y="200"/>
                    <a:pt x="87" y="200"/>
                    <a:pt x="87" y="200"/>
                  </a:cubicBezTo>
                  <a:cubicBezTo>
                    <a:pt x="89" y="198"/>
                    <a:pt x="89" y="198"/>
                    <a:pt x="89" y="198"/>
                  </a:cubicBezTo>
                  <a:cubicBezTo>
                    <a:pt x="90" y="193"/>
                    <a:pt x="90" y="193"/>
                    <a:pt x="90" y="193"/>
                  </a:cubicBezTo>
                  <a:cubicBezTo>
                    <a:pt x="88" y="190"/>
                    <a:pt x="88" y="190"/>
                    <a:pt x="88" y="190"/>
                  </a:cubicBezTo>
                  <a:cubicBezTo>
                    <a:pt x="88" y="190"/>
                    <a:pt x="88" y="190"/>
                    <a:pt x="88" y="190"/>
                  </a:cubicBezTo>
                  <a:cubicBezTo>
                    <a:pt x="88" y="188"/>
                    <a:pt x="89" y="186"/>
                    <a:pt x="89" y="184"/>
                  </a:cubicBezTo>
                  <a:cubicBezTo>
                    <a:pt x="89" y="179"/>
                    <a:pt x="89" y="179"/>
                    <a:pt x="89" y="179"/>
                  </a:cubicBezTo>
                  <a:cubicBezTo>
                    <a:pt x="90" y="175"/>
                    <a:pt x="90" y="175"/>
                    <a:pt x="90" y="175"/>
                  </a:cubicBezTo>
                  <a:cubicBezTo>
                    <a:pt x="93" y="172"/>
                    <a:pt x="93" y="172"/>
                    <a:pt x="93" y="172"/>
                  </a:cubicBezTo>
                  <a:cubicBezTo>
                    <a:pt x="96" y="172"/>
                    <a:pt x="96" y="172"/>
                    <a:pt x="96" y="172"/>
                  </a:cubicBezTo>
                  <a:cubicBezTo>
                    <a:pt x="95" y="169"/>
                    <a:pt x="95" y="169"/>
                    <a:pt x="95" y="169"/>
                  </a:cubicBezTo>
                  <a:cubicBezTo>
                    <a:pt x="95" y="169"/>
                    <a:pt x="95" y="168"/>
                    <a:pt x="95" y="168"/>
                  </a:cubicBezTo>
                  <a:cubicBezTo>
                    <a:pt x="95" y="168"/>
                    <a:pt x="95" y="168"/>
                    <a:pt x="95" y="168"/>
                  </a:cubicBezTo>
                  <a:cubicBezTo>
                    <a:pt x="97" y="171"/>
                    <a:pt x="97" y="171"/>
                    <a:pt x="97" y="171"/>
                  </a:cubicBezTo>
                  <a:cubicBezTo>
                    <a:pt x="97" y="171"/>
                    <a:pt x="97" y="172"/>
                    <a:pt x="97" y="172"/>
                  </a:cubicBezTo>
                  <a:cubicBezTo>
                    <a:pt x="98" y="171"/>
                    <a:pt x="98" y="171"/>
                    <a:pt x="98" y="171"/>
                  </a:cubicBezTo>
                  <a:cubicBezTo>
                    <a:pt x="99" y="170"/>
                    <a:pt x="99" y="170"/>
                    <a:pt x="99" y="170"/>
                  </a:cubicBezTo>
                  <a:cubicBezTo>
                    <a:pt x="99" y="169"/>
                    <a:pt x="100" y="169"/>
                    <a:pt x="100" y="169"/>
                  </a:cubicBezTo>
                  <a:cubicBezTo>
                    <a:pt x="105" y="169"/>
                    <a:pt x="105" y="169"/>
                    <a:pt x="105" y="169"/>
                  </a:cubicBezTo>
                  <a:cubicBezTo>
                    <a:pt x="109" y="167"/>
                    <a:pt x="109" y="167"/>
                    <a:pt x="109" y="167"/>
                  </a:cubicBezTo>
                  <a:cubicBezTo>
                    <a:pt x="109" y="166"/>
                    <a:pt x="109" y="166"/>
                    <a:pt x="109" y="166"/>
                  </a:cubicBezTo>
                  <a:cubicBezTo>
                    <a:pt x="108" y="166"/>
                    <a:pt x="108" y="165"/>
                    <a:pt x="108" y="165"/>
                  </a:cubicBezTo>
                  <a:cubicBezTo>
                    <a:pt x="108" y="164"/>
                    <a:pt x="109" y="163"/>
                    <a:pt x="109" y="162"/>
                  </a:cubicBezTo>
                  <a:cubicBezTo>
                    <a:pt x="117" y="159"/>
                    <a:pt x="117" y="159"/>
                    <a:pt x="117" y="159"/>
                  </a:cubicBezTo>
                  <a:cubicBezTo>
                    <a:pt x="118" y="157"/>
                    <a:pt x="118" y="157"/>
                    <a:pt x="118" y="157"/>
                  </a:cubicBezTo>
                  <a:cubicBezTo>
                    <a:pt x="126" y="151"/>
                    <a:pt x="126" y="151"/>
                    <a:pt x="126" y="151"/>
                  </a:cubicBezTo>
                  <a:cubicBezTo>
                    <a:pt x="129" y="147"/>
                    <a:pt x="129" y="147"/>
                    <a:pt x="129" y="147"/>
                  </a:cubicBezTo>
                  <a:cubicBezTo>
                    <a:pt x="129" y="147"/>
                    <a:pt x="129" y="147"/>
                    <a:pt x="129" y="147"/>
                  </a:cubicBezTo>
                  <a:cubicBezTo>
                    <a:pt x="129" y="147"/>
                    <a:pt x="129" y="147"/>
                    <a:pt x="129" y="147"/>
                  </a:cubicBezTo>
                  <a:cubicBezTo>
                    <a:pt x="129" y="147"/>
                    <a:pt x="129" y="147"/>
                    <a:pt x="129" y="147"/>
                  </a:cubicBezTo>
                  <a:cubicBezTo>
                    <a:pt x="133" y="143"/>
                    <a:pt x="133" y="143"/>
                    <a:pt x="133" y="143"/>
                  </a:cubicBezTo>
                  <a:cubicBezTo>
                    <a:pt x="133" y="143"/>
                    <a:pt x="133" y="143"/>
                    <a:pt x="133" y="143"/>
                  </a:cubicBezTo>
                  <a:cubicBezTo>
                    <a:pt x="133" y="142"/>
                    <a:pt x="133" y="142"/>
                    <a:pt x="133" y="142"/>
                  </a:cubicBezTo>
                  <a:cubicBezTo>
                    <a:pt x="136" y="141"/>
                    <a:pt x="136" y="141"/>
                    <a:pt x="136" y="141"/>
                  </a:cubicBezTo>
                  <a:cubicBezTo>
                    <a:pt x="136" y="141"/>
                    <a:pt x="136" y="141"/>
                    <a:pt x="136" y="141"/>
                  </a:cubicBezTo>
                  <a:cubicBezTo>
                    <a:pt x="137" y="142"/>
                    <a:pt x="137" y="142"/>
                    <a:pt x="137" y="142"/>
                  </a:cubicBezTo>
                  <a:cubicBezTo>
                    <a:pt x="138" y="142"/>
                    <a:pt x="138" y="142"/>
                    <a:pt x="138" y="142"/>
                  </a:cubicBezTo>
                  <a:cubicBezTo>
                    <a:pt x="140" y="142"/>
                    <a:pt x="140" y="142"/>
                    <a:pt x="140" y="142"/>
                  </a:cubicBezTo>
                  <a:cubicBezTo>
                    <a:pt x="145" y="138"/>
                    <a:pt x="145" y="138"/>
                    <a:pt x="145" y="138"/>
                  </a:cubicBezTo>
                  <a:cubicBezTo>
                    <a:pt x="145" y="136"/>
                    <a:pt x="145" y="136"/>
                    <a:pt x="145" y="136"/>
                  </a:cubicBezTo>
                  <a:cubicBezTo>
                    <a:pt x="147" y="134"/>
                    <a:pt x="147" y="134"/>
                    <a:pt x="147" y="134"/>
                  </a:cubicBezTo>
                  <a:cubicBezTo>
                    <a:pt x="146" y="133"/>
                    <a:pt x="146" y="133"/>
                    <a:pt x="146" y="133"/>
                  </a:cubicBezTo>
                  <a:cubicBezTo>
                    <a:pt x="146" y="133"/>
                    <a:pt x="146" y="133"/>
                    <a:pt x="146" y="133"/>
                  </a:cubicBezTo>
                  <a:cubicBezTo>
                    <a:pt x="146" y="129"/>
                    <a:pt x="146" y="129"/>
                    <a:pt x="146" y="129"/>
                  </a:cubicBezTo>
                  <a:cubicBezTo>
                    <a:pt x="149" y="128"/>
                    <a:pt x="149" y="128"/>
                    <a:pt x="149" y="128"/>
                  </a:cubicBezTo>
                  <a:cubicBezTo>
                    <a:pt x="152" y="127"/>
                    <a:pt x="152" y="127"/>
                    <a:pt x="152" y="127"/>
                  </a:cubicBezTo>
                  <a:cubicBezTo>
                    <a:pt x="152" y="127"/>
                    <a:pt x="152" y="127"/>
                    <a:pt x="152" y="127"/>
                  </a:cubicBezTo>
                  <a:cubicBezTo>
                    <a:pt x="152" y="127"/>
                    <a:pt x="152" y="127"/>
                    <a:pt x="152" y="127"/>
                  </a:cubicBezTo>
                  <a:cubicBezTo>
                    <a:pt x="152" y="127"/>
                    <a:pt x="152" y="127"/>
                    <a:pt x="152" y="127"/>
                  </a:cubicBezTo>
                  <a:cubicBezTo>
                    <a:pt x="153" y="127"/>
                    <a:pt x="153" y="127"/>
                    <a:pt x="153" y="127"/>
                  </a:cubicBezTo>
                  <a:cubicBezTo>
                    <a:pt x="153" y="127"/>
                    <a:pt x="154" y="126"/>
                    <a:pt x="154" y="126"/>
                  </a:cubicBezTo>
                  <a:cubicBezTo>
                    <a:pt x="155" y="125"/>
                    <a:pt x="155" y="125"/>
                    <a:pt x="155" y="125"/>
                  </a:cubicBezTo>
                  <a:cubicBezTo>
                    <a:pt x="156" y="124"/>
                    <a:pt x="156" y="124"/>
                    <a:pt x="156" y="124"/>
                  </a:cubicBezTo>
                  <a:cubicBezTo>
                    <a:pt x="156" y="123"/>
                    <a:pt x="156" y="123"/>
                    <a:pt x="156" y="123"/>
                  </a:cubicBezTo>
                  <a:cubicBezTo>
                    <a:pt x="157" y="124"/>
                    <a:pt x="157" y="124"/>
                    <a:pt x="157" y="124"/>
                  </a:cubicBezTo>
                  <a:cubicBezTo>
                    <a:pt x="157" y="127"/>
                    <a:pt x="157" y="127"/>
                    <a:pt x="157" y="127"/>
                  </a:cubicBezTo>
                  <a:cubicBezTo>
                    <a:pt x="158" y="126"/>
                    <a:pt x="158" y="126"/>
                    <a:pt x="158" y="126"/>
                  </a:cubicBezTo>
                  <a:cubicBezTo>
                    <a:pt x="158" y="127"/>
                    <a:pt x="158" y="127"/>
                    <a:pt x="158" y="127"/>
                  </a:cubicBezTo>
                  <a:cubicBezTo>
                    <a:pt x="159" y="125"/>
                    <a:pt x="159" y="125"/>
                    <a:pt x="159" y="125"/>
                  </a:cubicBezTo>
                  <a:cubicBezTo>
                    <a:pt x="161" y="124"/>
                    <a:pt x="161" y="124"/>
                    <a:pt x="161" y="124"/>
                  </a:cubicBezTo>
                  <a:cubicBezTo>
                    <a:pt x="161" y="125"/>
                    <a:pt x="161" y="125"/>
                    <a:pt x="161" y="125"/>
                  </a:cubicBezTo>
                  <a:cubicBezTo>
                    <a:pt x="161" y="126"/>
                    <a:pt x="161" y="126"/>
                    <a:pt x="161" y="126"/>
                  </a:cubicBezTo>
                  <a:cubicBezTo>
                    <a:pt x="162" y="127"/>
                    <a:pt x="162" y="127"/>
                    <a:pt x="162" y="127"/>
                  </a:cubicBezTo>
                  <a:cubicBezTo>
                    <a:pt x="162" y="126"/>
                    <a:pt x="162" y="126"/>
                    <a:pt x="162" y="126"/>
                  </a:cubicBezTo>
                  <a:cubicBezTo>
                    <a:pt x="163" y="127"/>
                    <a:pt x="163" y="127"/>
                    <a:pt x="163" y="127"/>
                  </a:cubicBezTo>
                  <a:cubicBezTo>
                    <a:pt x="163" y="126"/>
                    <a:pt x="163" y="126"/>
                    <a:pt x="163" y="126"/>
                  </a:cubicBezTo>
                  <a:cubicBezTo>
                    <a:pt x="162" y="125"/>
                    <a:pt x="162" y="125"/>
                    <a:pt x="162" y="125"/>
                  </a:cubicBezTo>
                  <a:cubicBezTo>
                    <a:pt x="163" y="124"/>
                    <a:pt x="163" y="124"/>
                    <a:pt x="163" y="124"/>
                  </a:cubicBezTo>
                  <a:cubicBezTo>
                    <a:pt x="164" y="123"/>
                    <a:pt x="164" y="123"/>
                    <a:pt x="164" y="123"/>
                  </a:cubicBezTo>
                  <a:cubicBezTo>
                    <a:pt x="163" y="123"/>
                    <a:pt x="163" y="123"/>
                    <a:pt x="163" y="123"/>
                  </a:cubicBezTo>
                  <a:cubicBezTo>
                    <a:pt x="163" y="118"/>
                    <a:pt x="163" y="118"/>
                    <a:pt x="163" y="118"/>
                  </a:cubicBezTo>
                  <a:cubicBezTo>
                    <a:pt x="162" y="117"/>
                    <a:pt x="162" y="117"/>
                    <a:pt x="162" y="117"/>
                  </a:cubicBezTo>
                  <a:cubicBezTo>
                    <a:pt x="162" y="115"/>
                    <a:pt x="162" y="115"/>
                    <a:pt x="162" y="115"/>
                  </a:cubicBezTo>
                  <a:cubicBezTo>
                    <a:pt x="161" y="114"/>
                    <a:pt x="161" y="114"/>
                    <a:pt x="161" y="114"/>
                  </a:cubicBezTo>
                  <a:cubicBezTo>
                    <a:pt x="161" y="113"/>
                    <a:pt x="161" y="113"/>
                    <a:pt x="161" y="113"/>
                  </a:cubicBezTo>
                  <a:cubicBezTo>
                    <a:pt x="159" y="111"/>
                    <a:pt x="159" y="111"/>
                    <a:pt x="159" y="111"/>
                  </a:cubicBezTo>
                  <a:cubicBezTo>
                    <a:pt x="161" y="107"/>
                    <a:pt x="161" y="107"/>
                    <a:pt x="161" y="107"/>
                  </a:cubicBezTo>
                  <a:cubicBezTo>
                    <a:pt x="160" y="105"/>
                    <a:pt x="160" y="105"/>
                    <a:pt x="160" y="105"/>
                  </a:cubicBezTo>
                  <a:cubicBezTo>
                    <a:pt x="158" y="104"/>
                    <a:pt x="158" y="104"/>
                    <a:pt x="158" y="104"/>
                  </a:cubicBezTo>
                  <a:cubicBezTo>
                    <a:pt x="156" y="103"/>
                    <a:pt x="156" y="103"/>
                    <a:pt x="156" y="103"/>
                  </a:cubicBezTo>
                  <a:cubicBezTo>
                    <a:pt x="156" y="102"/>
                    <a:pt x="156" y="102"/>
                    <a:pt x="156" y="102"/>
                  </a:cubicBezTo>
                  <a:cubicBezTo>
                    <a:pt x="158" y="100"/>
                    <a:pt x="158" y="100"/>
                    <a:pt x="158" y="100"/>
                  </a:cubicBezTo>
                  <a:cubicBezTo>
                    <a:pt x="158" y="101"/>
                    <a:pt x="158" y="101"/>
                    <a:pt x="158" y="101"/>
                  </a:cubicBezTo>
                  <a:cubicBezTo>
                    <a:pt x="159" y="100"/>
                    <a:pt x="159" y="100"/>
                    <a:pt x="159" y="100"/>
                  </a:cubicBezTo>
                  <a:cubicBezTo>
                    <a:pt x="159" y="99"/>
                    <a:pt x="159" y="99"/>
                    <a:pt x="159" y="99"/>
                  </a:cubicBezTo>
                  <a:cubicBezTo>
                    <a:pt x="159" y="99"/>
                    <a:pt x="159" y="99"/>
                    <a:pt x="159" y="99"/>
                  </a:cubicBezTo>
                  <a:cubicBezTo>
                    <a:pt x="163" y="98"/>
                    <a:pt x="163" y="98"/>
                    <a:pt x="163" y="98"/>
                  </a:cubicBezTo>
                  <a:cubicBezTo>
                    <a:pt x="163" y="97"/>
                    <a:pt x="163" y="97"/>
                    <a:pt x="163" y="97"/>
                  </a:cubicBezTo>
                  <a:cubicBezTo>
                    <a:pt x="162" y="97"/>
                    <a:pt x="162" y="97"/>
                    <a:pt x="162" y="97"/>
                  </a:cubicBezTo>
                  <a:cubicBezTo>
                    <a:pt x="162" y="96"/>
                    <a:pt x="162" y="96"/>
                    <a:pt x="162" y="96"/>
                  </a:cubicBezTo>
                  <a:cubicBezTo>
                    <a:pt x="159" y="96"/>
                    <a:pt x="159" y="96"/>
                    <a:pt x="159" y="96"/>
                  </a:cubicBezTo>
                  <a:cubicBezTo>
                    <a:pt x="159" y="94"/>
                    <a:pt x="159" y="94"/>
                    <a:pt x="159" y="94"/>
                  </a:cubicBezTo>
                  <a:cubicBezTo>
                    <a:pt x="157" y="93"/>
                    <a:pt x="157" y="93"/>
                    <a:pt x="157" y="93"/>
                  </a:cubicBezTo>
                  <a:cubicBezTo>
                    <a:pt x="156" y="93"/>
                    <a:pt x="156" y="93"/>
                    <a:pt x="156" y="93"/>
                  </a:cubicBezTo>
                  <a:cubicBezTo>
                    <a:pt x="160" y="89"/>
                    <a:pt x="160" y="89"/>
                    <a:pt x="160" y="89"/>
                  </a:cubicBezTo>
                  <a:cubicBezTo>
                    <a:pt x="159" y="88"/>
                    <a:pt x="159" y="88"/>
                    <a:pt x="159" y="88"/>
                  </a:cubicBezTo>
                  <a:cubicBezTo>
                    <a:pt x="159" y="87"/>
                    <a:pt x="159" y="87"/>
                    <a:pt x="159" y="87"/>
                  </a:cubicBezTo>
                  <a:cubicBezTo>
                    <a:pt x="161" y="88"/>
                    <a:pt x="161" y="88"/>
                    <a:pt x="161" y="88"/>
                  </a:cubicBezTo>
                  <a:cubicBezTo>
                    <a:pt x="163" y="89"/>
                    <a:pt x="163" y="89"/>
                    <a:pt x="163" y="89"/>
                  </a:cubicBezTo>
                  <a:cubicBezTo>
                    <a:pt x="164" y="89"/>
                    <a:pt x="164" y="89"/>
                    <a:pt x="164" y="89"/>
                  </a:cubicBezTo>
                  <a:cubicBezTo>
                    <a:pt x="167" y="91"/>
                    <a:pt x="167" y="91"/>
                    <a:pt x="167" y="91"/>
                  </a:cubicBezTo>
                  <a:cubicBezTo>
                    <a:pt x="168" y="91"/>
                    <a:pt x="168" y="91"/>
                    <a:pt x="168" y="91"/>
                  </a:cubicBezTo>
                  <a:cubicBezTo>
                    <a:pt x="169" y="90"/>
                    <a:pt x="169" y="90"/>
                    <a:pt x="169" y="90"/>
                  </a:cubicBezTo>
                  <a:cubicBezTo>
                    <a:pt x="169" y="90"/>
                    <a:pt x="169" y="90"/>
                    <a:pt x="169" y="90"/>
                  </a:cubicBezTo>
                  <a:cubicBezTo>
                    <a:pt x="170" y="95"/>
                    <a:pt x="170" y="95"/>
                    <a:pt x="170" y="95"/>
                  </a:cubicBezTo>
                  <a:cubicBezTo>
                    <a:pt x="170" y="97"/>
                    <a:pt x="170" y="97"/>
                    <a:pt x="170" y="97"/>
                  </a:cubicBezTo>
                  <a:cubicBezTo>
                    <a:pt x="171" y="96"/>
                    <a:pt x="171" y="96"/>
                    <a:pt x="171" y="96"/>
                  </a:cubicBezTo>
                  <a:cubicBezTo>
                    <a:pt x="171" y="96"/>
                    <a:pt x="171" y="96"/>
                    <a:pt x="171" y="96"/>
                  </a:cubicBezTo>
                  <a:cubicBezTo>
                    <a:pt x="170" y="97"/>
                    <a:pt x="170" y="97"/>
                    <a:pt x="170" y="97"/>
                  </a:cubicBezTo>
                  <a:cubicBezTo>
                    <a:pt x="171" y="97"/>
                    <a:pt x="171" y="97"/>
                    <a:pt x="171" y="97"/>
                  </a:cubicBezTo>
                  <a:cubicBezTo>
                    <a:pt x="173" y="99"/>
                    <a:pt x="173" y="99"/>
                    <a:pt x="173" y="99"/>
                  </a:cubicBezTo>
                  <a:cubicBezTo>
                    <a:pt x="183" y="99"/>
                    <a:pt x="183" y="99"/>
                    <a:pt x="183" y="99"/>
                  </a:cubicBezTo>
                  <a:cubicBezTo>
                    <a:pt x="184" y="99"/>
                    <a:pt x="184" y="99"/>
                    <a:pt x="184" y="99"/>
                  </a:cubicBezTo>
                  <a:cubicBezTo>
                    <a:pt x="185" y="98"/>
                    <a:pt x="185" y="98"/>
                    <a:pt x="185" y="98"/>
                  </a:cubicBezTo>
                  <a:cubicBezTo>
                    <a:pt x="187" y="99"/>
                    <a:pt x="187" y="99"/>
                    <a:pt x="187" y="99"/>
                  </a:cubicBezTo>
                  <a:cubicBezTo>
                    <a:pt x="190" y="100"/>
                    <a:pt x="190" y="100"/>
                    <a:pt x="190" y="100"/>
                  </a:cubicBezTo>
                  <a:cubicBezTo>
                    <a:pt x="190" y="100"/>
                    <a:pt x="190" y="100"/>
                    <a:pt x="190" y="100"/>
                  </a:cubicBezTo>
                  <a:cubicBezTo>
                    <a:pt x="190" y="101"/>
                    <a:pt x="190" y="101"/>
                    <a:pt x="190" y="101"/>
                  </a:cubicBezTo>
                  <a:cubicBezTo>
                    <a:pt x="189" y="102"/>
                    <a:pt x="189" y="102"/>
                    <a:pt x="189" y="102"/>
                  </a:cubicBezTo>
                  <a:cubicBezTo>
                    <a:pt x="189" y="103"/>
                    <a:pt x="189" y="103"/>
                    <a:pt x="189" y="103"/>
                  </a:cubicBezTo>
                  <a:cubicBezTo>
                    <a:pt x="189" y="104"/>
                    <a:pt x="189" y="104"/>
                    <a:pt x="189" y="104"/>
                  </a:cubicBezTo>
                  <a:cubicBezTo>
                    <a:pt x="189" y="104"/>
                    <a:pt x="189" y="104"/>
                    <a:pt x="189" y="104"/>
                  </a:cubicBezTo>
                  <a:cubicBezTo>
                    <a:pt x="188" y="104"/>
                    <a:pt x="188" y="104"/>
                    <a:pt x="188" y="104"/>
                  </a:cubicBezTo>
                  <a:cubicBezTo>
                    <a:pt x="186" y="106"/>
                    <a:pt x="186" y="106"/>
                    <a:pt x="186" y="106"/>
                  </a:cubicBezTo>
                  <a:cubicBezTo>
                    <a:pt x="182" y="109"/>
                    <a:pt x="182" y="109"/>
                    <a:pt x="182" y="109"/>
                  </a:cubicBezTo>
                  <a:cubicBezTo>
                    <a:pt x="181" y="110"/>
                    <a:pt x="181" y="110"/>
                    <a:pt x="181" y="110"/>
                  </a:cubicBezTo>
                  <a:cubicBezTo>
                    <a:pt x="182" y="115"/>
                    <a:pt x="182" y="115"/>
                    <a:pt x="182" y="115"/>
                  </a:cubicBezTo>
                  <a:cubicBezTo>
                    <a:pt x="183" y="116"/>
                    <a:pt x="183" y="116"/>
                    <a:pt x="183" y="116"/>
                  </a:cubicBezTo>
                  <a:cubicBezTo>
                    <a:pt x="185" y="116"/>
                    <a:pt x="185" y="116"/>
                    <a:pt x="185" y="116"/>
                  </a:cubicBezTo>
                  <a:cubicBezTo>
                    <a:pt x="186" y="116"/>
                    <a:pt x="186" y="116"/>
                    <a:pt x="186" y="116"/>
                  </a:cubicBezTo>
                  <a:cubicBezTo>
                    <a:pt x="186" y="114"/>
                    <a:pt x="186" y="114"/>
                    <a:pt x="186" y="114"/>
                  </a:cubicBezTo>
                  <a:cubicBezTo>
                    <a:pt x="186" y="113"/>
                    <a:pt x="186" y="113"/>
                    <a:pt x="186" y="113"/>
                  </a:cubicBezTo>
                  <a:cubicBezTo>
                    <a:pt x="187" y="111"/>
                    <a:pt x="187" y="111"/>
                    <a:pt x="187" y="111"/>
                  </a:cubicBezTo>
                  <a:cubicBezTo>
                    <a:pt x="187" y="110"/>
                    <a:pt x="187" y="110"/>
                    <a:pt x="187" y="110"/>
                  </a:cubicBezTo>
                  <a:cubicBezTo>
                    <a:pt x="190" y="110"/>
                    <a:pt x="190" y="110"/>
                    <a:pt x="190" y="110"/>
                  </a:cubicBezTo>
                  <a:cubicBezTo>
                    <a:pt x="190" y="110"/>
                    <a:pt x="190" y="110"/>
                    <a:pt x="190" y="110"/>
                  </a:cubicBezTo>
                  <a:cubicBezTo>
                    <a:pt x="191" y="117"/>
                    <a:pt x="191" y="117"/>
                    <a:pt x="191" y="117"/>
                  </a:cubicBezTo>
                  <a:cubicBezTo>
                    <a:pt x="192" y="119"/>
                    <a:pt x="192" y="119"/>
                    <a:pt x="192" y="119"/>
                  </a:cubicBezTo>
                  <a:cubicBezTo>
                    <a:pt x="193" y="123"/>
                    <a:pt x="193" y="123"/>
                    <a:pt x="193" y="123"/>
                  </a:cubicBezTo>
                  <a:cubicBezTo>
                    <a:pt x="194" y="123"/>
                    <a:pt x="194" y="123"/>
                    <a:pt x="194" y="123"/>
                  </a:cubicBezTo>
                  <a:cubicBezTo>
                    <a:pt x="195" y="124"/>
                    <a:pt x="195" y="124"/>
                    <a:pt x="195" y="124"/>
                  </a:cubicBezTo>
                  <a:cubicBezTo>
                    <a:pt x="196" y="124"/>
                    <a:pt x="196" y="124"/>
                    <a:pt x="196" y="124"/>
                  </a:cubicBezTo>
                  <a:cubicBezTo>
                    <a:pt x="197" y="121"/>
                    <a:pt x="197" y="121"/>
                    <a:pt x="197" y="121"/>
                  </a:cubicBezTo>
                  <a:cubicBezTo>
                    <a:pt x="196" y="117"/>
                    <a:pt x="196" y="117"/>
                    <a:pt x="196" y="117"/>
                  </a:cubicBezTo>
                  <a:cubicBezTo>
                    <a:pt x="197" y="115"/>
                    <a:pt x="197" y="115"/>
                    <a:pt x="197" y="115"/>
                  </a:cubicBezTo>
                  <a:cubicBezTo>
                    <a:pt x="198" y="113"/>
                    <a:pt x="198" y="113"/>
                    <a:pt x="198" y="113"/>
                  </a:cubicBezTo>
                  <a:cubicBezTo>
                    <a:pt x="198" y="109"/>
                    <a:pt x="198" y="109"/>
                    <a:pt x="198" y="109"/>
                  </a:cubicBezTo>
                  <a:cubicBezTo>
                    <a:pt x="198" y="108"/>
                    <a:pt x="198" y="108"/>
                    <a:pt x="198" y="108"/>
                  </a:cubicBezTo>
                  <a:cubicBezTo>
                    <a:pt x="198" y="108"/>
                    <a:pt x="198" y="108"/>
                    <a:pt x="198" y="108"/>
                  </a:cubicBezTo>
                  <a:cubicBezTo>
                    <a:pt x="198" y="108"/>
                    <a:pt x="198" y="108"/>
                    <a:pt x="198" y="108"/>
                  </a:cubicBezTo>
                  <a:cubicBezTo>
                    <a:pt x="198" y="108"/>
                    <a:pt x="198" y="108"/>
                    <a:pt x="198" y="108"/>
                  </a:cubicBezTo>
                  <a:cubicBezTo>
                    <a:pt x="201" y="107"/>
                    <a:pt x="201" y="107"/>
                    <a:pt x="201" y="107"/>
                  </a:cubicBezTo>
                  <a:cubicBezTo>
                    <a:pt x="202" y="108"/>
                    <a:pt x="202" y="108"/>
                    <a:pt x="202" y="108"/>
                  </a:cubicBezTo>
                  <a:cubicBezTo>
                    <a:pt x="204" y="108"/>
                    <a:pt x="204" y="108"/>
                    <a:pt x="204" y="108"/>
                  </a:cubicBezTo>
                  <a:cubicBezTo>
                    <a:pt x="205" y="107"/>
                    <a:pt x="205" y="107"/>
                    <a:pt x="205" y="107"/>
                  </a:cubicBezTo>
                  <a:cubicBezTo>
                    <a:pt x="207" y="102"/>
                    <a:pt x="207" y="102"/>
                    <a:pt x="207" y="102"/>
                  </a:cubicBezTo>
                  <a:cubicBezTo>
                    <a:pt x="208" y="99"/>
                    <a:pt x="208" y="99"/>
                    <a:pt x="208" y="99"/>
                  </a:cubicBezTo>
                  <a:cubicBezTo>
                    <a:pt x="208" y="98"/>
                    <a:pt x="208" y="98"/>
                    <a:pt x="208" y="98"/>
                  </a:cubicBezTo>
                  <a:cubicBezTo>
                    <a:pt x="208" y="96"/>
                    <a:pt x="208" y="96"/>
                    <a:pt x="208" y="96"/>
                  </a:cubicBezTo>
                  <a:cubicBezTo>
                    <a:pt x="208" y="96"/>
                    <a:pt x="208" y="96"/>
                    <a:pt x="208" y="96"/>
                  </a:cubicBezTo>
                  <a:cubicBezTo>
                    <a:pt x="209" y="95"/>
                    <a:pt x="209" y="95"/>
                    <a:pt x="209" y="95"/>
                  </a:cubicBezTo>
                  <a:cubicBezTo>
                    <a:pt x="210" y="92"/>
                    <a:pt x="210" y="92"/>
                    <a:pt x="210" y="92"/>
                  </a:cubicBezTo>
                  <a:cubicBezTo>
                    <a:pt x="210" y="88"/>
                    <a:pt x="210" y="88"/>
                    <a:pt x="210" y="88"/>
                  </a:cubicBezTo>
                  <a:cubicBezTo>
                    <a:pt x="211" y="86"/>
                    <a:pt x="211" y="86"/>
                    <a:pt x="211" y="86"/>
                  </a:cubicBezTo>
                  <a:cubicBezTo>
                    <a:pt x="211" y="86"/>
                    <a:pt x="211" y="86"/>
                    <a:pt x="211" y="86"/>
                  </a:cubicBezTo>
                  <a:cubicBezTo>
                    <a:pt x="217" y="83"/>
                    <a:pt x="217" y="83"/>
                    <a:pt x="217" y="83"/>
                  </a:cubicBezTo>
                  <a:cubicBezTo>
                    <a:pt x="218" y="81"/>
                    <a:pt x="218" y="81"/>
                    <a:pt x="218" y="81"/>
                  </a:cubicBezTo>
                  <a:cubicBezTo>
                    <a:pt x="221" y="80"/>
                    <a:pt x="221" y="80"/>
                    <a:pt x="221" y="80"/>
                  </a:cubicBezTo>
                  <a:cubicBezTo>
                    <a:pt x="223" y="80"/>
                    <a:pt x="223" y="80"/>
                    <a:pt x="223" y="80"/>
                  </a:cubicBezTo>
                  <a:cubicBezTo>
                    <a:pt x="226" y="82"/>
                    <a:pt x="226" y="82"/>
                    <a:pt x="226" y="82"/>
                  </a:cubicBezTo>
                  <a:cubicBezTo>
                    <a:pt x="226" y="81"/>
                    <a:pt x="226" y="81"/>
                    <a:pt x="226" y="81"/>
                  </a:cubicBezTo>
                  <a:cubicBezTo>
                    <a:pt x="225" y="79"/>
                    <a:pt x="225" y="79"/>
                    <a:pt x="225" y="79"/>
                  </a:cubicBezTo>
                  <a:lnTo>
                    <a:pt x="224" y="77"/>
                  </a:lnTo>
                  <a:close/>
                  <a:moveTo>
                    <a:pt x="85" y="36"/>
                  </a:moveTo>
                  <a:cubicBezTo>
                    <a:pt x="85" y="36"/>
                    <a:pt x="85" y="36"/>
                    <a:pt x="85" y="36"/>
                  </a:cubicBezTo>
                  <a:cubicBezTo>
                    <a:pt x="85" y="36"/>
                    <a:pt x="85" y="36"/>
                    <a:pt x="85" y="36"/>
                  </a:cubicBez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a:p>
          </p:txBody>
        </p:sp>
        <p:sp>
          <p:nvSpPr>
            <p:cNvPr id="1093" name="Freeform 17">
              <a:extLst>
                <a:ext uri="{FF2B5EF4-FFF2-40B4-BE49-F238E27FC236}">
                  <a16:creationId xmlns:a16="http://schemas.microsoft.com/office/drawing/2014/main" id="{887B52D6-7A85-4C2D-91C6-99C4A1D2F09F}"/>
                </a:ext>
              </a:extLst>
            </p:cNvPr>
            <p:cNvSpPr>
              <a:spLocks/>
            </p:cNvSpPr>
            <p:nvPr/>
          </p:nvSpPr>
          <p:spPr bwMode="auto">
            <a:xfrm>
              <a:off x="7917039" y="3866315"/>
              <a:ext cx="218555" cy="119756"/>
            </a:xfrm>
            <a:custGeom>
              <a:avLst/>
              <a:gdLst>
                <a:gd name="T0" fmla="*/ 8 w 62"/>
                <a:gd name="T1" fmla="*/ 2 h 34"/>
                <a:gd name="T2" fmla="*/ 8 w 62"/>
                <a:gd name="T3" fmla="*/ 2 h 34"/>
                <a:gd name="T4" fmla="*/ 2 w 62"/>
                <a:gd name="T5" fmla="*/ 6 h 34"/>
                <a:gd name="T6" fmla="*/ 2 w 62"/>
                <a:gd name="T7" fmla="*/ 7 h 34"/>
                <a:gd name="T8" fmla="*/ 2 w 62"/>
                <a:gd name="T9" fmla="*/ 7 h 34"/>
                <a:gd name="T10" fmla="*/ 0 w 62"/>
                <a:gd name="T11" fmla="*/ 14 h 34"/>
                <a:gd name="T12" fmla="*/ 9 w 62"/>
                <a:gd name="T13" fmla="*/ 16 h 34"/>
                <a:gd name="T14" fmla="*/ 16 w 62"/>
                <a:gd name="T15" fmla="*/ 21 h 34"/>
                <a:gd name="T16" fmla="*/ 22 w 62"/>
                <a:gd name="T17" fmla="*/ 24 h 34"/>
                <a:gd name="T18" fmla="*/ 34 w 62"/>
                <a:gd name="T19" fmla="*/ 25 h 34"/>
                <a:gd name="T20" fmla="*/ 41 w 62"/>
                <a:gd name="T21" fmla="*/ 30 h 34"/>
                <a:gd name="T22" fmla="*/ 48 w 62"/>
                <a:gd name="T23" fmla="*/ 33 h 34"/>
                <a:gd name="T24" fmla="*/ 54 w 62"/>
                <a:gd name="T25" fmla="*/ 33 h 34"/>
                <a:gd name="T26" fmla="*/ 54 w 62"/>
                <a:gd name="T27" fmla="*/ 33 h 34"/>
                <a:gd name="T28" fmla="*/ 56 w 62"/>
                <a:gd name="T29" fmla="*/ 34 h 34"/>
                <a:gd name="T30" fmla="*/ 57 w 62"/>
                <a:gd name="T31" fmla="*/ 33 h 34"/>
                <a:gd name="T32" fmla="*/ 59 w 62"/>
                <a:gd name="T33" fmla="*/ 33 h 34"/>
                <a:gd name="T34" fmla="*/ 60 w 62"/>
                <a:gd name="T35" fmla="*/ 33 h 34"/>
                <a:gd name="T36" fmla="*/ 61 w 62"/>
                <a:gd name="T37" fmla="*/ 32 h 34"/>
                <a:gd name="T38" fmla="*/ 61 w 62"/>
                <a:gd name="T39" fmla="*/ 32 h 34"/>
                <a:gd name="T40" fmla="*/ 61 w 62"/>
                <a:gd name="T41" fmla="*/ 32 h 34"/>
                <a:gd name="T42" fmla="*/ 61 w 62"/>
                <a:gd name="T43" fmla="*/ 31 h 34"/>
                <a:gd name="T44" fmla="*/ 61 w 62"/>
                <a:gd name="T45" fmla="*/ 31 h 34"/>
                <a:gd name="T46" fmla="*/ 62 w 62"/>
                <a:gd name="T47" fmla="*/ 31 h 34"/>
                <a:gd name="T48" fmla="*/ 61 w 62"/>
                <a:gd name="T49" fmla="*/ 28 h 34"/>
                <a:gd name="T50" fmla="*/ 60 w 62"/>
                <a:gd name="T51" fmla="*/ 27 h 34"/>
                <a:gd name="T52" fmla="*/ 61 w 62"/>
                <a:gd name="T53" fmla="*/ 27 h 34"/>
                <a:gd name="T54" fmla="*/ 61 w 62"/>
                <a:gd name="T55" fmla="*/ 27 h 34"/>
                <a:gd name="T56" fmla="*/ 61 w 62"/>
                <a:gd name="T57" fmla="*/ 27 h 34"/>
                <a:gd name="T58" fmla="*/ 62 w 62"/>
                <a:gd name="T59" fmla="*/ 22 h 34"/>
                <a:gd name="T60" fmla="*/ 62 w 62"/>
                <a:gd name="T61" fmla="*/ 21 h 34"/>
                <a:gd name="T62" fmla="*/ 49 w 62"/>
                <a:gd name="T63" fmla="*/ 20 h 34"/>
                <a:gd name="T64" fmla="*/ 41 w 62"/>
                <a:gd name="T65" fmla="*/ 18 h 34"/>
                <a:gd name="T66" fmla="*/ 34 w 62"/>
                <a:gd name="T67" fmla="*/ 14 h 34"/>
                <a:gd name="T68" fmla="*/ 28 w 62"/>
                <a:gd name="T69" fmla="*/ 10 h 34"/>
                <a:gd name="T70" fmla="*/ 21 w 62"/>
                <a:gd name="T71" fmla="*/ 6 h 34"/>
                <a:gd name="T72" fmla="*/ 14 w 62"/>
                <a:gd name="T73" fmla="*/ 0 h 34"/>
                <a:gd name="T74" fmla="*/ 8 w 62"/>
                <a:gd name="T75" fmla="*/ 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2" h="34">
                  <a:moveTo>
                    <a:pt x="8" y="2"/>
                  </a:moveTo>
                  <a:cubicBezTo>
                    <a:pt x="8" y="2"/>
                    <a:pt x="8" y="2"/>
                    <a:pt x="8" y="2"/>
                  </a:cubicBezTo>
                  <a:cubicBezTo>
                    <a:pt x="2" y="6"/>
                    <a:pt x="2" y="6"/>
                    <a:pt x="2" y="6"/>
                  </a:cubicBezTo>
                  <a:cubicBezTo>
                    <a:pt x="2" y="7"/>
                    <a:pt x="2" y="7"/>
                    <a:pt x="2" y="7"/>
                  </a:cubicBezTo>
                  <a:cubicBezTo>
                    <a:pt x="2" y="7"/>
                    <a:pt x="2" y="7"/>
                    <a:pt x="2" y="7"/>
                  </a:cubicBezTo>
                  <a:cubicBezTo>
                    <a:pt x="0" y="14"/>
                    <a:pt x="0" y="14"/>
                    <a:pt x="0" y="14"/>
                  </a:cubicBezTo>
                  <a:cubicBezTo>
                    <a:pt x="9" y="16"/>
                    <a:pt x="9" y="16"/>
                    <a:pt x="9" y="16"/>
                  </a:cubicBezTo>
                  <a:cubicBezTo>
                    <a:pt x="16" y="21"/>
                    <a:pt x="16" y="21"/>
                    <a:pt x="16" y="21"/>
                  </a:cubicBezTo>
                  <a:cubicBezTo>
                    <a:pt x="22" y="24"/>
                    <a:pt x="22" y="24"/>
                    <a:pt x="22" y="24"/>
                  </a:cubicBezTo>
                  <a:cubicBezTo>
                    <a:pt x="34" y="25"/>
                    <a:pt x="34" y="25"/>
                    <a:pt x="34" y="25"/>
                  </a:cubicBezTo>
                  <a:cubicBezTo>
                    <a:pt x="41" y="30"/>
                    <a:pt x="41" y="30"/>
                    <a:pt x="41" y="30"/>
                  </a:cubicBezTo>
                  <a:cubicBezTo>
                    <a:pt x="48" y="33"/>
                    <a:pt x="48" y="33"/>
                    <a:pt x="48" y="33"/>
                  </a:cubicBezTo>
                  <a:cubicBezTo>
                    <a:pt x="54" y="33"/>
                    <a:pt x="54" y="33"/>
                    <a:pt x="54" y="33"/>
                  </a:cubicBezTo>
                  <a:cubicBezTo>
                    <a:pt x="54" y="33"/>
                    <a:pt x="54" y="33"/>
                    <a:pt x="54" y="33"/>
                  </a:cubicBezTo>
                  <a:cubicBezTo>
                    <a:pt x="56" y="34"/>
                    <a:pt x="56" y="34"/>
                    <a:pt x="56" y="34"/>
                  </a:cubicBezTo>
                  <a:cubicBezTo>
                    <a:pt x="57" y="33"/>
                    <a:pt x="57" y="33"/>
                    <a:pt x="57" y="33"/>
                  </a:cubicBezTo>
                  <a:cubicBezTo>
                    <a:pt x="59" y="33"/>
                    <a:pt x="59" y="33"/>
                    <a:pt x="59" y="33"/>
                  </a:cubicBezTo>
                  <a:cubicBezTo>
                    <a:pt x="60" y="33"/>
                    <a:pt x="60" y="33"/>
                    <a:pt x="60" y="33"/>
                  </a:cubicBezTo>
                  <a:cubicBezTo>
                    <a:pt x="61" y="32"/>
                    <a:pt x="61" y="32"/>
                    <a:pt x="61" y="32"/>
                  </a:cubicBezTo>
                  <a:cubicBezTo>
                    <a:pt x="61" y="32"/>
                    <a:pt x="61" y="32"/>
                    <a:pt x="61" y="32"/>
                  </a:cubicBezTo>
                  <a:cubicBezTo>
                    <a:pt x="61" y="32"/>
                    <a:pt x="61" y="32"/>
                    <a:pt x="61" y="32"/>
                  </a:cubicBezTo>
                  <a:cubicBezTo>
                    <a:pt x="61" y="31"/>
                    <a:pt x="61" y="31"/>
                    <a:pt x="61" y="31"/>
                  </a:cubicBezTo>
                  <a:cubicBezTo>
                    <a:pt x="61" y="31"/>
                    <a:pt x="61" y="31"/>
                    <a:pt x="61" y="31"/>
                  </a:cubicBezTo>
                  <a:cubicBezTo>
                    <a:pt x="62" y="31"/>
                    <a:pt x="62" y="31"/>
                    <a:pt x="62" y="31"/>
                  </a:cubicBezTo>
                  <a:cubicBezTo>
                    <a:pt x="61" y="28"/>
                    <a:pt x="61" y="28"/>
                    <a:pt x="61" y="28"/>
                  </a:cubicBezTo>
                  <a:cubicBezTo>
                    <a:pt x="60" y="27"/>
                    <a:pt x="60" y="27"/>
                    <a:pt x="60" y="27"/>
                  </a:cubicBezTo>
                  <a:cubicBezTo>
                    <a:pt x="61" y="27"/>
                    <a:pt x="61" y="27"/>
                    <a:pt x="61" y="27"/>
                  </a:cubicBezTo>
                  <a:cubicBezTo>
                    <a:pt x="61" y="27"/>
                    <a:pt x="61" y="27"/>
                    <a:pt x="61" y="27"/>
                  </a:cubicBezTo>
                  <a:cubicBezTo>
                    <a:pt x="61" y="27"/>
                    <a:pt x="61" y="27"/>
                    <a:pt x="61" y="27"/>
                  </a:cubicBezTo>
                  <a:cubicBezTo>
                    <a:pt x="62" y="22"/>
                    <a:pt x="62" y="22"/>
                    <a:pt x="62" y="22"/>
                  </a:cubicBezTo>
                  <a:cubicBezTo>
                    <a:pt x="62" y="21"/>
                    <a:pt x="62" y="21"/>
                    <a:pt x="62" y="21"/>
                  </a:cubicBezTo>
                  <a:cubicBezTo>
                    <a:pt x="49" y="20"/>
                    <a:pt x="49" y="20"/>
                    <a:pt x="49" y="20"/>
                  </a:cubicBezTo>
                  <a:cubicBezTo>
                    <a:pt x="41" y="18"/>
                    <a:pt x="41" y="18"/>
                    <a:pt x="41" y="18"/>
                  </a:cubicBezTo>
                  <a:cubicBezTo>
                    <a:pt x="34" y="14"/>
                    <a:pt x="34" y="14"/>
                    <a:pt x="34" y="14"/>
                  </a:cubicBezTo>
                  <a:cubicBezTo>
                    <a:pt x="28" y="10"/>
                    <a:pt x="28" y="10"/>
                    <a:pt x="28" y="10"/>
                  </a:cubicBezTo>
                  <a:cubicBezTo>
                    <a:pt x="21" y="6"/>
                    <a:pt x="21" y="6"/>
                    <a:pt x="21" y="6"/>
                  </a:cubicBezTo>
                  <a:cubicBezTo>
                    <a:pt x="14" y="0"/>
                    <a:pt x="14" y="0"/>
                    <a:pt x="14" y="0"/>
                  </a:cubicBezTo>
                  <a:cubicBezTo>
                    <a:pt x="8" y="2"/>
                    <a:pt x="8" y="2"/>
                    <a:pt x="8" y="2"/>
                  </a:cubicBez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a:p>
          </p:txBody>
        </p:sp>
        <p:sp>
          <p:nvSpPr>
            <p:cNvPr id="1261" name="Iceland">
              <a:extLst>
                <a:ext uri="{FF2B5EF4-FFF2-40B4-BE49-F238E27FC236}">
                  <a16:creationId xmlns:a16="http://schemas.microsoft.com/office/drawing/2014/main" id="{4C29F803-1F0F-44A3-98F6-FA84903D1452}"/>
                </a:ext>
              </a:extLst>
            </p:cNvPr>
            <p:cNvSpPr>
              <a:spLocks/>
            </p:cNvSpPr>
            <p:nvPr/>
          </p:nvSpPr>
          <p:spPr bwMode="auto">
            <a:xfrm>
              <a:off x="5250628" y="2556332"/>
              <a:ext cx="274750" cy="162619"/>
            </a:xfrm>
            <a:custGeom>
              <a:avLst/>
              <a:gdLst>
                <a:gd name="T0" fmla="*/ 305 w 340"/>
                <a:gd name="T1" fmla="*/ 12 h 230"/>
                <a:gd name="T2" fmla="*/ 292 w 340"/>
                <a:gd name="T3" fmla="*/ 33 h 230"/>
                <a:gd name="T4" fmla="*/ 305 w 340"/>
                <a:gd name="T5" fmla="*/ 49 h 230"/>
                <a:gd name="T6" fmla="*/ 315 w 340"/>
                <a:gd name="T7" fmla="*/ 61 h 230"/>
                <a:gd name="T8" fmla="*/ 332 w 340"/>
                <a:gd name="T9" fmla="*/ 72 h 230"/>
                <a:gd name="T10" fmla="*/ 336 w 340"/>
                <a:gd name="T11" fmla="*/ 87 h 230"/>
                <a:gd name="T12" fmla="*/ 338 w 340"/>
                <a:gd name="T13" fmla="*/ 98 h 230"/>
                <a:gd name="T14" fmla="*/ 339 w 340"/>
                <a:gd name="T15" fmla="*/ 113 h 230"/>
                <a:gd name="T16" fmla="*/ 325 w 340"/>
                <a:gd name="T17" fmla="*/ 135 h 230"/>
                <a:gd name="T18" fmla="*/ 313 w 340"/>
                <a:gd name="T19" fmla="*/ 150 h 230"/>
                <a:gd name="T20" fmla="*/ 280 w 340"/>
                <a:gd name="T21" fmla="*/ 170 h 230"/>
                <a:gd name="T22" fmla="*/ 230 w 340"/>
                <a:gd name="T23" fmla="*/ 202 h 230"/>
                <a:gd name="T24" fmla="*/ 203 w 340"/>
                <a:gd name="T25" fmla="*/ 221 h 230"/>
                <a:gd name="T26" fmla="*/ 192 w 340"/>
                <a:gd name="T27" fmla="*/ 227 h 230"/>
                <a:gd name="T28" fmla="*/ 124 w 340"/>
                <a:gd name="T29" fmla="*/ 210 h 230"/>
                <a:gd name="T30" fmla="*/ 125 w 340"/>
                <a:gd name="T31" fmla="*/ 203 h 230"/>
                <a:gd name="T32" fmla="*/ 103 w 340"/>
                <a:gd name="T33" fmla="*/ 195 h 230"/>
                <a:gd name="T34" fmla="*/ 58 w 340"/>
                <a:gd name="T35" fmla="*/ 200 h 230"/>
                <a:gd name="T36" fmla="*/ 58 w 340"/>
                <a:gd name="T37" fmla="*/ 185 h 230"/>
                <a:gd name="T38" fmla="*/ 82 w 340"/>
                <a:gd name="T39" fmla="*/ 174 h 230"/>
                <a:gd name="T40" fmla="*/ 79 w 340"/>
                <a:gd name="T41" fmla="*/ 166 h 230"/>
                <a:gd name="T42" fmla="*/ 79 w 340"/>
                <a:gd name="T43" fmla="*/ 151 h 230"/>
                <a:gd name="T44" fmla="*/ 72 w 340"/>
                <a:gd name="T45" fmla="*/ 149 h 230"/>
                <a:gd name="T46" fmla="*/ 63 w 340"/>
                <a:gd name="T47" fmla="*/ 131 h 230"/>
                <a:gd name="T48" fmla="*/ 15 w 340"/>
                <a:gd name="T49" fmla="*/ 129 h 230"/>
                <a:gd name="T50" fmla="*/ 36 w 340"/>
                <a:gd name="T51" fmla="*/ 119 h 230"/>
                <a:gd name="T52" fmla="*/ 53 w 340"/>
                <a:gd name="T53" fmla="*/ 112 h 230"/>
                <a:gd name="T54" fmla="*/ 84 w 340"/>
                <a:gd name="T55" fmla="*/ 103 h 230"/>
                <a:gd name="T56" fmla="*/ 72 w 340"/>
                <a:gd name="T57" fmla="*/ 90 h 230"/>
                <a:gd name="T58" fmla="*/ 52 w 340"/>
                <a:gd name="T59" fmla="*/ 75 h 230"/>
                <a:gd name="T60" fmla="*/ 1 w 340"/>
                <a:gd name="T61" fmla="*/ 79 h 230"/>
                <a:gd name="T62" fmla="*/ 15 w 340"/>
                <a:gd name="T63" fmla="*/ 68 h 230"/>
                <a:gd name="T64" fmla="*/ 31 w 340"/>
                <a:gd name="T65" fmla="*/ 64 h 230"/>
                <a:gd name="T66" fmla="*/ 21 w 340"/>
                <a:gd name="T67" fmla="*/ 51 h 230"/>
                <a:gd name="T68" fmla="*/ 23 w 340"/>
                <a:gd name="T69" fmla="*/ 35 h 230"/>
                <a:gd name="T70" fmla="*/ 29 w 340"/>
                <a:gd name="T71" fmla="*/ 28 h 230"/>
                <a:gd name="T72" fmla="*/ 45 w 340"/>
                <a:gd name="T73" fmla="*/ 42 h 230"/>
                <a:gd name="T74" fmla="*/ 58 w 340"/>
                <a:gd name="T75" fmla="*/ 45 h 230"/>
                <a:gd name="T76" fmla="*/ 63 w 340"/>
                <a:gd name="T77" fmla="*/ 35 h 230"/>
                <a:gd name="T78" fmla="*/ 62 w 340"/>
                <a:gd name="T79" fmla="*/ 20 h 230"/>
                <a:gd name="T80" fmla="*/ 42 w 340"/>
                <a:gd name="T81" fmla="*/ 13 h 230"/>
                <a:gd name="T82" fmla="*/ 72 w 340"/>
                <a:gd name="T83" fmla="*/ 17 h 230"/>
                <a:gd name="T84" fmla="*/ 92 w 340"/>
                <a:gd name="T85" fmla="*/ 43 h 230"/>
                <a:gd name="T86" fmla="*/ 88 w 340"/>
                <a:gd name="T87" fmla="*/ 62 h 230"/>
                <a:gd name="T88" fmla="*/ 97 w 340"/>
                <a:gd name="T89" fmla="*/ 76 h 230"/>
                <a:gd name="T90" fmla="*/ 104 w 340"/>
                <a:gd name="T91" fmla="*/ 96 h 230"/>
                <a:gd name="T92" fmla="*/ 114 w 340"/>
                <a:gd name="T93" fmla="*/ 68 h 230"/>
                <a:gd name="T94" fmla="*/ 128 w 340"/>
                <a:gd name="T95" fmla="*/ 62 h 230"/>
                <a:gd name="T96" fmla="*/ 143 w 340"/>
                <a:gd name="T97" fmla="*/ 46 h 230"/>
                <a:gd name="T98" fmla="*/ 156 w 340"/>
                <a:gd name="T99" fmla="*/ 42 h 230"/>
                <a:gd name="T100" fmla="*/ 178 w 340"/>
                <a:gd name="T101" fmla="*/ 28 h 230"/>
                <a:gd name="T102" fmla="*/ 198 w 340"/>
                <a:gd name="T103" fmla="*/ 60 h 230"/>
                <a:gd name="T104" fmla="*/ 205 w 340"/>
                <a:gd name="T105" fmla="*/ 30 h 230"/>
                <a:gd name="T106" fmla="*/ 223 w 340"/>
                <a:gd name="T107" fmla="*/ 34 h 230"/>
                <a:gd name="T108" fmla="*/ 245 w 340"/>
                <a:gd name="T109" fmla="*/ 28 h 230"/>
                <a:gd name="T110" fmla="*/ 265 w 340"/>
                <a:gd name="T111" fmla="*/ 1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40" h="230">
                  <a:moveTo>
                    <a:pt x="278" y="23"/>
                  </a:moveTo>
                  <a:lnTo>
                    <a:pt x="278" y="23"/>
                  </a:lnTo>
                  <a:lnTo>
                    <a:pt x="282" y="23"/>
                  </a:lnTo>
                  <a:lnTo>
                    <a:pt x="288" y="21"/>
                  </a:lnTo>
                  <a:lnTo>
                    <a:pt x="290" y="19"/>
                  </a:lnTo>
                  <a:lnTo>
                    <a:pt x="296" y="13"/>
                  </a:lnTo>
                  <a:lnTo>
                    <a:pt x="300" y="11"/>
                  </a:lnTo>
                  <a:lnTo>
                    <a:pt x="305" y="12"/>
                  </a:lnTo>
                  <a:lnTo>
                    <a:pt x="308" y="11"/>
                  </a:lnTo>
                  <a:lnTo>
                    <a:pt x="308" y="12"/>
                  </a:lnTo>
                  <a:lnTo>
                    <a:pt x="305" y="14"/>
                  </a:lnTo>
                  <a:lnTo>
                    <a:pt x="302" y="15"/>
                  </a:lnTo>
                  <a:lnTo>
                    <a:pt x="298" y="19"/>
                  </a:lnTo>
                  <a:lnTo>
                    <a:pt x="294" y="27"/>
                  </a:lnTo>
                  <a:lnTo>
                    <a:pt x="292" y="31"/>
                  </a:lnTo>
                  <a:lnTo>
                    <a:pt x="292" y="33"/>
                  </a:lnTo>
                  <a:lnTo>
                    <a:pt x="295" y="36"/>
                  </a:lnTo>
                  <a:lnTo>
                    <a:pt x="299" y="38"/>
                  </a:lnTo>
                  <a:lnTo>
                    <a:pt x="302" y="36"/>
                  </a:lnTo>
                  <a:lnTo>
                    <a:pt x="303" y="37"/>
                  </a:lnTo>
                  <a:lnTo>
                    <a:pt x="305" y="39"/>
                  </a:lnTo>
                  <a:lnTo>
                    <a:pt x="306" y="41"/>
                  </a:lnTo>
                  <a:lnTo>
                    <a:pt x="306" y="44"/>
                  </a:lnTo>
                  <a:lnTo>
                    <a:pt x="305" y="49"/>
                  </a:lnTo>
                  <a:lnTo>
                    <a:pt x="303" y="53"/>
                  </a:lnTo>
                  <a:lnTo>
                    <a:pt x="300" y="57"/>
                  </a:lnTo>
                  <a:lnTo>
                    <a:pt x="301" y="59"/>
                  </a:lnTo>
                  <a:lnTo>
                    <a:pt x="303" y="59"/>
                  </a:lnTo>
                  <a:lnTo>
                    <a:pt x="313" y="57"/>
                  </a:lnTo>
                  <a:lnTo>
                    <a:pt x="314" y="57"/>
                  </a:lnTo>
                  <a:lnTo>
                    <a:pt x="315" y="58"/>
                  </a:lnTo>
                  <a:lnTo>
                    <a:pt x="315" y="61"/>
                  </a:lnTo>
                  <a:lnTo>
                    <a:pt x="316" y="63"/>
                  </a:lnTo>
                  <a:lnTo>
                    <a:pt x="317" y="65"/>
                  </a:lnTo>
                  <a:lnTo>
                    <a:pt x="316" y="67"/>
                  </a:lnTo>
                  <a:lnTo>
                    <a:pt x="312" y="73"/>
                  </a:lnTo>
                  <a:lnTo>
                    <a:pt x="317" y="69"/>
                  </a:lnTo>
                  <a:lnTo>
                    <a:pt x="321" y="68"/>
                  </a:lnTo>
                  <a:lnTo>
                    <a:pt x="329" y="70"/>
                  </a:lnTo>
                  <a:lnTo>
                    <a:pt x="332" y="72"/>
                  </a:lnTo>
                  <a:lnTo>
                    <a:pt x="333" y="76"/>
                  </a:lnTo>
                  <a:lnTo>
                    <a:pt x="336" y="75"/>
                  </a:lnTo>
                  <a:lnTo>
                    <a:pt x="337" y="75"/>
                  </a:lnTo>
                  <a:lnTo>
                    <a:pt x="338" y="77"/>
                  </a:lnTo>
                  <a:lnTo>
                    <a:pt x="339" y="80"/>
                  </a:lnTo>
                  <a:lnTo>
                    <a:pt x="337" y="83"/>
                  </a:lnTo>
                  <a:lnTo>
                    <a:pt x="337" y="86"/>
                  </a:lnTo>
                  <a:lnTo>
                    <a:pt x="336" y="87"/>
                  </a:lnTo>
                  <a:lnTo>
                    <a:pt x="333" y="88"/>
                  </a:lnTo>
                  <a:lnTo>
                    <a:pt x="333" y="89"/>
                  </a:lnTo>
                  <a:lnTo>
                    <a:pt x="334" y="92"/>
                  </a:lnTo>
                  <a:lnTo>
                    <a:pt x="335" y="94"/>
                  </a:lnTo>
                  <a:lnTo>
                    <a:pt x="337" y="94"/>
                  </a:lnTo>
                  <a:lnTo>
                    <a:pt x="338" y="95"/>
                  </a:lnTo>
                  <a:lnTo>
                    <a:pt x="338" y="97"/>
                  </a:lnTo>
                  <a:lnTo>
                    <a:pt x="338" y="98"/>
                  </a:lnTo>
                  <a:lnTo>
                    <a:pt x="337" y="99"/>
                  </a:lnTo>
                  <a:lnTo>
                    <a:pt x="336" y="100"/>
                  </a:lnTo>
                  <a:lnTo>
                    <a:pt x="334" y="102"/>
                  </a:lnTo>
                  <a:lnTo>
                    <a:pt x="340" y="105"/>
                  </a:lnTo>
                  <a:lnTo>
                    <a:pt x="340" y="107"/>
                  </a:lnTo>
                  <a:lnTo>
                    <a:pt x="340" y="109"/>
                  </a:lnTo>
                  <a:lnTo>
                    <a:pt x="340" y="111"/>
                  </a:lnTo>
                  <a:lnTo>
                    <a:pt x="339" y="113"/>
                  </a:lnTo>
                  <a:lnTo>
                    <a:pt x="337" y="115"/>
                  </a:lnTo>
                  <a:lnTo>
                    <a:pt x="334" y="115"/>
                  </a:lnTo>
                  <a:lnTo>
                    <a:pt x="331" y="116"/>
                  </a:lnTo>
                  <a:lnTo>
                    <a:pt x="332" y="119"/>
                  </a:lnTo>
                  <a:lnTo>
                    <a:pt x="332" y="122"/>
                  </a:lnTo>
                  <a:lnTo>
                    <a:pt x="331" y="126"/>
                  </a:lnTo>
                  <a:lnTo>
                    <a:pt x="328" y="132"/>
                  </a:lnTo>
                  <a:lnTo>
                    <a:pt x="325" y="135"/>
                  </a:lnTo>
                  <a:lnTo>
                    <a:pt x="322" y="137"/>
                  </a:lnTo>
                  <a:lnTo>
                    <a:pt x="317" y="136"/>
                  </a:lnTo>
                  <a:lnTo>
                    <a:pt x="315" y="135"/>
                  </a:lnTo>
                  <a:lnTo>
                    <a:pt x="315" y="139"/>
                  </a:lnTo>
                  <a:lnTo>
                    <a:pt x="312" y="142"/>
                  </a:lnTo>
                  <a:lnTo>
                    <a:pt x="313" y="145"/>
                  </a:lnTo>
                  <a:lnTo>
                    <a:pt x="314" y="146"/>
                  </a:lnTo>
                  <a:lnTo>
                    <a:pt x="313" y="150"/>
                  </a:lnTo>
                  <a:lnTo>
                    <a:pt x="312" y="153"/>
                  </a:lnTo>
                  <a:lnTo>
                    <a:pt x="309" y="156"/>
                  </a:lnTo>
                  <a:lnTo>
                    <a:pt x="307" y="158"/>
                  </a:lnTo>
                  <a:lnTo>
                    <a:pt x="302" y="161"/>
                  </a:lnTo>
                  <a:lnTo>
                    <a:pt x="298" y="165"/>
                  </a:lnTo>
                  <a:lnTo>
                    <a:pt x="295" y="167"/>
                  </a:lnTo>
                  <a:lnTo>
                    <a:pt x="287" y="167"/>
                  </a:lnTo>
                  <a:lnTo>
                    <a:pt x="280" y="170"/>
                  </a:lnTo>
                  <a:lnTo>
                    <a:pt x="269" y="176"/>
                  </a:lnTo>
                  <a:lnTo>
                    <a:pt x="262" y="180"/>
                  </a:lnTo>
                  <a:lnTo>
                    <a:pt x="257" y="186"/>
                  </a:lnTo>
                  <a:lnTo>
                    <a:pt x="250" y="194"/>
                  </a:lnTo>
                  <a:lnTo>
                    <a:pt x="244" y="198"/>
                  </a:lnTo>
                  <a:lnTo>
                    <a:pt x="241" y="199"/>
                  </a:lnTo>
                  <a:lnTo>
                    <a:pt x="235" y="199"/>
                  </a:lnTo>
                  <a:lnTo>
                    <a:pt x="230" y="202"/>
                  </a:lnTo>
                  <a:lnTo>
                    <a:pt x="213" y="206"/>
                  </a:lnTo>
                  <a:lnTo>
                    <a:pt x="208" y="208"/>
                  </a:lnTo>
                  <a:lnTo>
                    <a:pt x="207" y="211"/>
                  </a:lnTo>
                  <a:lnTo>
                    <a:pt x="204" y="214"/>
                  </a:lnTo>
                  <a:lnTo>
                    <a:pt x="204" y="215"/>
                  </a:lnTo>
                  <a:lnTo>
                    <a:pt x="205" y="216"/>
                  </a:lnTo>
                  <a:lnTo>
                    <a:pt x="206" y="217"/>
                  </a:lnTo>
                  <a:lnTo>
                    <a:pt x="203" y="221"/>
                  </a:lnTo>
                  <a:lnTo>
                    <a:pt x="199" y="224"/>
                  </a:lnTo>
                  <a:lnTo>
                    <a:pt x="197" y="224"/>
                  </a:lnTo>
                  <a:lnTo>
                    <a:pt x="195" y="221"/>
                  </a:lnTo>
                  <a:lnTo>
                    <a:pt x="194" y="221"/>
                  </a:lnTo>
                  <a:lnTo>
                    <a:pt x="194" y="222"/>
                  </a:lnTo>
                  <a:lnTo>
                    <a:pt x="194" y="222"/>
                  </a:lnTo>
                  <a:lnTo>
                    <a:pt x="195" y="225"/>
                  </a:lnTo>
                  <a:lnTo>
                    <a:pt x="192" y="227"/>
                  </a:lnTo>
                  <a:lnTo>
                    <a:pt x="181" y="230"/>
                  </a:lnTo>
                  <a:lnTo>
                    <a:pt x="163" y="227"/>
                  </a:lnTo>
                  <a:lnTo>
                    <a:pt x="155" y="225"/>
                  </a:lnTo>
                  <a:lnTo>
                    <a:pt x="146" y="221"/>
                  </a:lnTo>
                  <a:lnTo>
                    <a:pt x="141" y="220"/>
                  </a:lnTo>
                  <a:lnTo>
                    <a:pt x="133" y="219"/>
                  </a:lnTo>
                  <a:lnTo>
                    <a:pt x="127" y="214"/>
                  </a:lnTo>
                  <a:lnTo>
                    <a:pt x="124" y="210"/>
                  </a:lnTo>
                  <a:lnTo>
                    <a:pt x="124" y="209"/>
                  </a:lnTo>
                  <a:lnTo>
                    <a:pt x="124" y="207"/>
                  </a:lnTo>
                  <a:lnTo>
                    <a:pt x="125" y="206"/>
                  </a:lnTo>
                  <a:lnTo>
                    <a:pt x="126" y="205"/>
                  </a:lnTo>
                  <a:lnTo>
                    <a:pt x="128" y="205"/>
                  </a:lnTo>
                  <a:lnTo>
                    <a:pt x="128" y="205"/>
                  </a:lnTo>
                  <a:lnTo>
                    <a:pt x="127" y="202"/>
                  </a:lnTo>
                  <a:lnTo>
                    <a:pt x="125" y="203"/>
                  </a:lnTo>
                  <a:lnTo>
                    <a:pt x="121" y="207"/>
                  </a:lnTo>
                  <a:lnTo>
                    <a:pt x="119" y="207"/>
                  </a:lnTo>
                  <a:lnTo>
                    <a:pt x="117" y="205"/>
                  </a:lnTo>
                  <a:lnTo>
                    <a:pt x="117" y="203"/>
                  </a:lnTo>
                  <a:lnTo>
                    <a:pt x="112" y="202"/>
                  </a:lnTo>
                  <a:lnTo>
                    <a:pt x="108" y="200"/>
                  </a:lnTo>
                  <a:lnTo>
                    <a:pt x="104" y="196"/>
                  </a:lnTo>
                  <a:lnTo>
                    <a:pt x="103" y="195"/>
                  </a:lnTo>
                  <a:lnTo>
                    <a:pt x="105" y="193"/>
                  </a:lnTo>
                  <a:lnTo>
                    <a:pt x="105" y="192"/>
                  </a:lnTo>
                  <a:lnTo>
                    <a:pt x="104" y="192"/>
                  </a:lnTo>
                  <a:lnTo>
                    <a:pt x="101" y="193"/>
                  </a:lnTo>
                  <a:lnTo>
                    <a:pt x="96" y="197"/>
                  </a:lnTo>
                  <a:lnTo>
                    <a:pt x="94" y="198"/>
                  </a:lnTo>
                  <a:lnTo>
                    <a:pt x="65" y="199"/>
                  </a:lnTo>
                  <a:lnTo>
                    <a:pt x="58" y="200"/>
                  </a:lnTo>
                  <a:lnTo>
                    <a:pt x="57" y="200"/>
                  </a:lnTo>
                  <a:lnTo>
                    <a:pt x="55" y="198"/>
                  </a:lnTo>
                  <a:lnTo>
                    <a:pt x="54" y="191"/>
                  </a:lnTo>
                  <a:lnTo>
                    <a:pt x="54" y="187"/>
                  </a:lnTo>
                  <a:lnTo>
                    <a:pt x="54" y="185"/>
                  </a:lnTo>
                  <a:lnTo>
                    <a:pt x="55" y="182"/>
                  </a:lnTo>
                  <a:lnTo>
                    <a:pt x="57" y="183"/>
                  </a:lnTo>
                  <a:lnTo>
                    <a:pt x="58" y="185"/>
                  </a:lnTo>
                  <a:lnTo>
                    <a:pt x="60" y="187"/>
                  </a:lnTo>
                  <a:lnTo>
                    <a:pt x="61" y="189"/>
                  </a:lnTo>
                  <a:lnTo>
                    <a:pt x="71" y="185"/>
                  </a:lnTo>
                  <a:lnTo>
                    <a:pt x="75" y="183"/>
                  </a:lnTo>
                  <a:lnTo>
                    <a:pt x="77" y="181"/>
                  </a:lnTo>
                  <a:lnTo>
                    <a:pt x="79" y="177"/>
                  </a:lnTo>
                  <a:lnTo>
                    <a:pt x="81" y="175"/>
                  </a:lnTo>
                  <a:lnTo>
                    <a:pt x="82" y="174"/>
                  </a:lnTo>
                  <a:lnTo>
                    <a:pt x="84" y="168"/>
                  </a:lnTo>
                  <a:lnTo>
                    <a:pt x="86" y="165"/>
                  </a:lnTo>
                  <a:lnTo>
                    <a:pt x="87" y="163"/>
                  </a:lnTo>
                  <a:lnTo>
                    <a:pt x="89" y="162"/>
                  </a:lnTo>
                  <a:lnTo>
                    <a:pt x="94" y="161"/>
                  </a:lnTo>
                  <a:lnTo>
                    <a:pt x="91" y="160"/>
                  </a:lnTo>
                  <a:lnTo>
                    <a:pt x="88" y="160"/>
                  </a:lnTo>
                  <a:lnTo>
                    <a:pt x="79" y="166"/>
                  </a:lnTo>
                  <a:lnTo>
                    <a:pt x="75" y="166"/>
                  </a:lnTo>
                  <a:lnTo>
                    <a:pt x="76" y="165"/>
                  </a:lnTo>
                  <a:lnTo>
                    <a:pt x="77" y="163"/>
                  </a:lnTo>
                  <a:lnTo>
                    <a:pt x="80" y="160"/>
                  </a:lnTo>
                  <a:lnTo>
                    <a:pt x="78" y="160"/>
                  </a:lnTo>
                  <a:lnTo>
                    <a:pt x="77" y="159"/>
                  </a:lnTo>
                  <a:lnTo>
                    <a:pt x="77" y="156"/>
                  </a:lnTo>
                  <a:lnTo>
                    <a:pt x="79" y="151"/>
                  </a:lnTo>
                  <a:lnTo>
                    <a:pt x="86" y="145"/>
                  </a:lnTo>
                  <a:lnTo>
                    <a:pt x="89" y="144"/>
                  </a:lnTo>
                  <a:lnTo>
                    <a:pt x="90" y="143"/>
                  </a:lnTo>
                  <a:lnTo>
                    <a:pt x="89" y="142"/>
                  </a:lnTo>
                  <a:lnTo>
                    <a:pt x="87" y="142"/>
                  </a:lnTo>
                  <a:lnTo>
                    <a:pt x="79" y="148"/>
                  </a:lnTo>
                  <a:lnTo>
                    <a:pt x="74" y="150"/>
                  </a:lnTo>
                  <a:lnTo>
                    <a:pt x="72" y="149"/>
                  </a:lnTo>
                  <a:lnTo>
                    <a:pt x="69" y="147"/>
                  </a:lnTo>
                  <a:lnTo>
                    <a:pt x="68" y="146"/>
                  </a:lnTo>
                  <a:lnTo>
                    <a:pt x="67" y="143"/>
                  </a:lnTo>
                  <a:lnTo>
                    <a:pt x="67" y="142"/>
                  </a:lnTo>
                  <a:lnTo>
                    <a:pt x="70" y="137"/>
                  </a:lnTo>
                  <a:lnTo>
                    <a:pt x="69" y="136"/>
                  </a:lnTo>
                  <a:lnTo>
                    <a:pt x="68" y="135"/>
                  </a:lnTo>
                  <a:lnTo>
                    <a:pt x="63" y="131"/>
                  </a:lnTo>
                  <a:lnTo>
                    <a:pt x="55" y="131"/>
                  </a:lnTo>
                  <a:lnTo>
                    <a:pt x="35" y="129"/>
                  </a:lnTo>
                  <a:lnTo>
                    <a:pt x="31" y="130"/>
                  </a:lnTo>
                  <a:lnTo>
                    <a:pt x="24" y="134"/>
                  </a:lnTo>
                  <a:lnTo>
                    <a:pt x="20" y="135"/>
                  </a:lnTo>
                  <a:lnTo>
                    <a:pt x="19" y="134"/>
                  </a:lnTo>
                  <a:lnTo>
                    <a:pt x="17" y="132"/>
                  </a:lnTo>
                  <a:lnTo>
                    <a:pt x="15" y="129"/>
                  </a:lnTo>
                  <a:lnTo>
                    <a:pt x="14" y="126"/>
                  </a:lnTo>
                  <a:lnTo>
                    <a:pt x="15" y="123"/>
                  </a:lnTo>
                  <a:lnTo>
                    <a:pt x="17" y="122"/>
                  </a:lnTo>
                  <a:lnTo>
                    <a:pt x="19" y="121"/>
                  </a:lnTo>
                  <a:lnTo>
                    <a:pt x="24" y="122"/>
                  </a:lnTo>
                  <a:lnTo>
                    <a:pt x="31" y="120"/>
                  </a:lnTo>
                  <a:lnTo>
                    <a:pt x="35" y="119"/>
                  </a:lnTo>
                  <a:lnTo>
                    <a:pt x="36" y="119"/>
                  </a:lnTo>
                  <a:lnTo>
                    <a:pt x="39" y="116"/>
                  </a:lnTo>
                  <a:lnTo>
                    <a:pt x="40" y="116"/>
                  </a:lnTo>
                  <a:lnTo>
                    <a:pt x="42" y="117"/>
                  </a:lnTo>
                  <a:lnTo>
                    <a:pt x="42" y="118"/>
                  </a:lnTo>
                  <a:lnTo>
                    <a:pt x="49" y="116"/>
                  </a:lnTo>
                  <a:lnTo>
                    <a:pt x="51" y="114"/>
                  </a:lnTo>
                  <a:lnTo>
                    <a:pt x="52" y="113"/>
                  </a:lnTo>
                  <a:lnTo>
                    <a:pt x="53" y="112"/>
                  </a:lnTo>
                  <a:lnTo>
                    <a:pt x="56" y="114"/>
                  </a:lnTo>
                  <a:lnTo>
                    <a:pt x="58" y="114"/>
                  </a:lnTo>
                  <a:lnTo>
                    <a:pt x="62" y="113"/>
                  </a:lnTo>
                  <a:lnTo>
                    <a:pt x="67" y="112"/>
                  </a:lnTo>
                  <a:lnTo>
                    <a:pt x="80" y="112"/>
                  </a:lnTo>
                  <a:lnTo>
                    <a:pt x="82" y="110"/>
                  </a:lnTo>
                  <a:lnTo>
                    <a:pt x="83" y="108"/>
                  </a:lnTo>
                  <a:lnTo>
                    <a:pt x="84" y="103"/>
                  </a:lnTo>
                  <a:lnTo>
                    <a:pt x="84" y="102"/>
                  </a:lnTo>
                  <a:lnTo>
                    <a:pt x="76" y="107"/>
                  </a:lnTo>
                  <a:lnTo>
                    <a:pt x="74" y="106"/>
                  </a:lnTo>
                  <a:lnTo>
                    <a:pt x="65" y="104"/>
                  </a:lnTo>
                  <a:lnTo>
                    <a:pt x="61" y="101"/>
                  </a:lnTo>
                  <a:lnTo>
                    <a:pt x="62" y="99"/>
                  </a:lnTo>
                  <a:lnTo>
                    <a:pt x="67" y="94"/>
                  </a:lnTo>
                  <a:lnTo>
                    <a:pt x="72" y="90"/>
                  </a:lnTo>
                  <a:lnTo>
                    <a:pt x="80" y="86"/>
                  </a:lnTo>
                  <a:lnTo>
                    <a:pt x="82" y="84"/>
                  </a:lnTo>
                  <a:lnTo>
                    <a:pt x="82" y="83"/>
                  </a:lnTo>
                  <a:lnTo>
                    <a:pt x="77" y="79"/>
                  </a:lnTo>
                  <a:lnTo>
                    <a:pt x="67" y="80"/>
                  </a:lnTo>
                  <a:lnTo>
                    <a:pt x="65" y="76"/>
                  </a:lnTo>
                  <a:lnTo>
                    <a:pt x="57" y="74"/>
                  </a:lnTo>
                  <a:lnTo>
                    <a:pt x="52" y="75"/>
                  </a:lnTo>
                  <a:lnTo>
                    <a:pt x="49" y="73"/>
                  </a:lnTo>
                  <a:lnTo>
                    <a:pt x="42" y="76"/>
                  </a:lnTo>
                  <a:lnTo>
                    <a:pt x="27" y="81"/>
                  </a:lnTo>
                  <a:lnTo>
                    <a:pt x="21" y="84"/>
                  </a:lnTo>
                  <a:lnTo>
                    <a:pt x="18" y="86"/>
                  </a:lnTo>
                  <a:lnTo>
                    <a:pt x="14" y="83"/>
                  </a:lnTo>
                  <a:lnTo>
                    <a:pt x="8" y="80"/>
                  </a:lnTo>
                  <a:lnTo>
                    <a:pt x="1" y="79"/>
                  </a:lnTo>
                  <a:lnTo>
                    <a:pt x="0" y="77"/>
                  </a:lnTo>
                  <a:lnTo>
                    <a:pt x="4" y="71"/>
                  </a:lnTo>
                  <a:lnTo>
                    <a:pt x="7" y="70"/>
                  </a:lnTo>
                  <a:lnTo>
                    <a:pt x="10" y="70"/>
                  </a:lnTo>
                  <a:lnTo>
                    <a:pt x="15" y="74"/>
                  </a:lnTo>
                  <a:lnTo>
                    <a:pt x="19" y="76"/>
                  </a:lnTo>
                  <a:lnTo>
                    <a:pt x="14" y="70"/>
                  </a:lnTo>
                  <a:lnTo>
                    <a:pt x="15" y="68"/>
                  </a:lnTo>
                  <a:lnTo>
                    <a:pt x="14" y="64"/>
                  </a:lnTo>
                  <a:lnTo>
                    <a:pt x="13" y="63"/>
                  </a:lnTo>
                  <a:lnTo>
                    <a:pt x="11" y="59"/>
                  </a:lnTo>
                  <a:lnTo>
                    <a:pt x="12" y="58"/>
                  </a:lnTo>
                  <a:lnTo>
                    <a:pt x="14" y="57"/>
                  </a:lnTo>
                  <a:lnTo>
                    <a:pt x="18" y="59"/>
                  </a:lnTo>
                  <a:lnTo>
                    <a:pt x="27" y="65"/>
                  </a:lnTo>
                  <a:lnTo>
                    <a:pt x="31" y="64"/>
                  </a:lnTo>
                  <a:lnTo>
                    <a:pt x="34" y="62"/>
                  </a:lnTo>
                  <a:lnTo>
                    <a:pt x="37" y="60"/>
                  </a:lnTo>
                  <a:lnTo>
                    <a:pt x="36" y="59"/>
                  </a:lnTo>
                  <a:lnTo>
                    <a:pt x="28" y="59"/>
                  </a:lnTo>
                  <a:lnTo>
                    <a:pt x="24" y="57"/>
                  </a:lnTo>
                  <a:lnTo>
                    <a:pt x="22" y="55"/>
                  </a:lnTo>
                  <a:lnTo>
                    <a:pt x="20" y="52"/>
                  </a:lnTo>
                  <a:lnTo>
                    <a:pt x="21" y="51"/>
                  </a:lnTo>
                  <a:lnTo>
                    <a:pt x="23" y="50"/>
                  </a:lnTo>
                  <a:lnTo>
                    <a:pt x="30" y="50"/>
                  </a:lnTo>
                  <a:lnTo>
                    <a:pt x="25" y="44"/>
                  </a:lnTo>
                  <a:lnTo>
                    <a:pt x="22" y="41"/>
                  </a:lnTo>
                  <a:lnTo>
                    <a:pt x="22" y="39"/>
                  </a:lnTo>
                  <a:lnTo>
                    <a:pt x="22" y="37"/>
                  </a:lnTo>
                  <a:lnTo>
                    <a:pt x="22" y="36"/>
                  </a:lnTo>
                  <a:lnTo>
                    <a:pt x="23" y="35"/>
                  </a:lnTo>
                  <a:lnTo>
                    <a:pt x="31" y="39"/>
                  </a:lnTo>
                  <a:lnTo>
                    <a:pt x="32" y="39"/>
                  </a:lnTo>
                  <a:lnTo>
                    <a:pt x="31" y="37"/>
                  </a:lnTo>
                  <a:lnTo>
                    <a:pt x="27" y="34"/>
                  </a:lnTo>
                  <a:lnTo>
                    <a:pt x="27" y="32"/>
                  </a:lnTo>
                  <a:lnTo>
                    <a:pt x="29" y="31"/>
                  </a:lnTo>
                  <a:lnTo>
                    <a:pt x="29" y="30"/>
                  </a:lnTo>
                  <a:lnTo>
                    <a:pt x="29" y="28"/>
                  </a:lnTo>
                  <a:lnTo>
                    <a:pt x="32" y="27"/>
                  </a:lnTo>
                  <a:lnTo>
                    <a:pt x="34" y="27"/>
                  </a:lnTo>
                  <a:lnTo>
                    <a:pt x="37" y="28"/>
                  </a:lnTo>
                  <a:lnTo>
                    <a:pt x="44" y="34"/>
                  </a:lnTo>
                  <a:lnTo>
                    <a:pt x="45" y="36"/>
                  </a:lnTo>
                  <a:lnTo>
                    <a:pt x="45" y="38"/>
                  </a:lnTo>
                  <a:lnTo>
                    <a:pt x="45" y="41"/>
                  </a:lnTo>
                  <a:lnTo>
                    <a:pt x="45" y="42"/>
                  </a:lnTo>
                  <a:lnTo>
                    <a:pt x="48" y="41"/>
                  </a:lnTo>
                  <a:lnTo>
                    <a:pt x="51" y="42"/>
                  </a:lnTo>
                  <a:lnTo>
                    <a:pt x="52" y="42"/>
                  </a:lnTo>
                  <a:lnTo>
                    <a:pt x="55" y="38"/>
                  </a:lnTo>
                  <a:lnTo>
                    <a:pt x="56" y="39"/>
                  </a:lnTo>
                  <a:lnTo>
                    <a:pt x="58" y="41"/>
                  </a:lnTo>
                  <a:lnTo>
                    <a:pt x="58" y="42"/>
                  </a:lnTo>
                  <a:lnTo>
                    <a:pt x="58" y="45"/>
                  </a:lnTo>
                  <a:lnTo>
                    <a:pt x="58" y="50"/>
                  </a:lnTo>
                  <a:lnTo>
                    <a:pt x="58" y="51"/>
                  </a:lnTo>
                  <a:lnTo>
                    <a:pt x="60" y="48"/>
                  </a:lnTo>
                  <a:lnTo>
                    <a:pt x="63" y="48"/>
                  </a:lnTo>
                  <a:lnTo>
                    <a:pt x="64" y="46"/>
                  </a:lnTo>
                  <a:lnTo>
                    <a:pt x="64" y="41"/>
                  </a:lnTo>
                  <a:lnTo>
                    <a:pt x="64" y="36"/>
                  </a:lnTo>
                  <a:lnTo>
                    <a:pt x="63" y="35"/>
                  </a:lnTo>
                  <a:lnTo>
                    <a:pt x="52" y="29"/>
                  </a:lnTo>
                  <a:lnTo>
                    <a:pt x="50" y="27"/>
                  </a:lnTo>
                  <a:lnTo>
                    <a:pt x="48" y="24"/>
                  </a:lnTo>
                  <a:lnTo>
                    <a:pt x="48" y="23"/>
                  </a:lnTo>
                  <a:lnTo>
                    <a:pt x="50" y="21"/>
                  </a:lnTo>
                  <a:lnTo>
                    <a:pt x="54" y="21"/>
                  </a:lnTo>
                  <a:lnTo>
                    <a:pt x="61" y="21"/>
                  </a:lnTo>
                  <a:lnTo>
                    <a:pt x="62" y="20"/>
                  </a:lnTo>
                  <a:lnTo>
                    <a:pt x="61" y="19"/>
                  </a:lnTo>
                  <a:lnTo>
                    <a:pt x="57" y="17"/>
                  </a:lnTo>
                  <a:lnTo>
                    <a:pt x="56" y="17"/>
                  </a:lnTo>
                  <a:lnTo>
                    <a:pt x="56" y="15"/>
                  </a:lnTo>
                  <a:lnTo>
                    <a:pt x="52" y="16"/>
                  </a:lnTo>
                  <a:lnTo>
                    <a:pt x="47" y="16"/>
                  </a:lnTo>
                  <a:lnTo>
                    <a:pt x="42" y="15"/>
                  </a:lnTo>
                  <a:lnTo>
                    <a:pt x="42" y="13"/>
                  </a:lnTo>
                  <a:lnTo>
                    <a:pt x="44" y="11"/>
                  </a:lnTo>
                  <a:lnTo>
                    <a:pt x="48" y="8"/>
                  </a:lnTo>
                  <a:lnTo>
                    <a:pt x="49" y="7"/>
                  </a:lnTo>
                  <a:lnTo>
                    <a:pt x="55" y="7"/>
                  </a:lnTo>
                  <a:lnTo>
                    <a:pt x="60" y="6"/>
                  </a:lnTo>
                  <a:lnTo>
                    <a:pt x="64" y="7"/>
                  </a:lnTo>
                  <a:lnTo>
                    <a:pt x="67" y="11"/>
                  </a:lnTo>
                  <a:lnTo>
                    <a:pt x="72" y="17"/>
                  </a:lnTo>
                  <a:lnTo>
                    <a:pt x="78" y="21"/>
                  </a:lnTo>
                  <a:lnTo>
                    <a:pt x="79" y="22"/>
                  </a:lnTo>
                  <a:lnTo>
                    <a:pt x="82" y="25"/>
                  </a:lnTo>
                  <a:lnTo>
                    <a:pt x="89" y="34"/>
                  </a:lnTo>
                  <a:lnTo>
                    <a:pt x="96" y="39"/>
                  </a:lnTo>
                  <a:lnTo>
                    <a:pt x="96" y="40"/>
                  </a:lnTo>
                  <a:lnTo>
                    <a:pt x="95" y="41"/>
                  </a:lnTo>
                  <a:lnTo>
                    <a:pt x="92" y="43"/>
                  </a:lnTo>
                  <a:lnTo>
                    <a:pt x="93" y="44"/>
                  </a:lnTo>
                  <a:lnTo>
                    <a:pt x="96" y="45"/>
                  </a:lnTo>
                  <a:lnTo>
                    <a:pt x="99" y="49"/>
                  </a:lnTo>
                  <a:lnTo>
                    <a:pt x="99" y="50"/>
                  </a:lnTo>
                  <a:lnTo>
                    <a:pt x="97" y="60"/>
                  </a:lnTo>
                  <a:lnTo>
                    <a:pt x="95" y="63"/>
                  </a:lnTo>
                  <a:lnTo>
                    <a:pt x="94" y="64"/>
                  </a:lnTo>
                  <a:lnTo>
                    <a:pt x="88" y="62"/>
                  </a:lnTo>
                  <a:lnTo>
                    <a:pt x="89" y="65"/>
                  </a:lnTo>
                  <a:lnTo>
                    <a:pt x="94" y="68"/>
                  </a:lnTo>
                  <a:lnTo>
                    <a:pt x="95" y="70"/>
                  </a:lnTo>
                  <a:lnTo>
                    <a:pt x="94" y="72"/>
                  </a:lnTo>
                  <a:lnTo>
                    <a:pt x="95" y="73"/>
                  </a:lnTo>
                  <a:lnTo>
                    <a:pt x="96" y="72"/>
                  </a:lnTo>
                  <a:lnTo>
                    <a:pt x="97" y="73"/>
                  </a:lnTo>
                  <a:lnTo>
                    <a:pt x="97" y="76"/>
                  </a:lnTo>
                  <a:lnTo>
                    <a:pt x="96" y="78"/>
                  </a:lnTo>
                  <a:lnTo>
                    <a:pt x="95" y="81"/>
                  </a:lnTo>
                  <a:lnTo>
                    <a:pt x="95" y="81"/>
                  </a:lnTo>
                  <a:lnTo>
                    <a:pt x="97" y="81"/>
                  </a:lnTo>
                  <a:lnTo>
                    <a:pt x="99" y="82"/>
                  </a:lnTo>
                  <a:lnTo>
                    <a:pt x="101" y="85"/>
                  </a:lnTo>
                  <a:lnTo>
                    <a:pt x="103" y="93"/>
                  </a:lnTo>
                  <a:lnTo>
                    <a:pt x="104" y="96"/>
                  </a:lnTo>
                  <a:lnTo>
                    <a:pt x="105" y="94"/>
                  </a:lnTo>
                  <a:lnTo>
                    <a:pt x="106" y="87"/>
                  </a:lnTo>
                  <a:lnTo>
                    <a:pt x="107" y="84"/>
                  </a:lnTo>
                  <a:lnTo>
                    <a:pt x="108" y="84"/>
                  </a:lnTo>
                  <a:lnTo>
                    <a:pt x="108" y="83"/>
                  </a:lnTo>
                  <a:lnTo>
                    <a:pt x="109" y="81"/>
                  </a:lnTo>
                  <a:lnTo>
                    <a:pt x="110" y="74"/>
                  </a:lnTo>
                  <a:lnTo>
                    <a:pt x="114" y="68"/>
                  </a:lnTo>
                  <a:lnTo>
                    <a:pt x="116" y="67"/>
                  </a:lnTo>
                  <a:lnTo>
                    <a:pt x="118" y="66"/>
                  </a:lnTo>
                  <a:lnTo>
                    <a:pt x="119" y="67"/>
                  </a:lnTo>
                  <a:lnTo>
                    <a:pt x="122" y="73"/>
                  </a:lnTo>
                  <a:lnTo>
                    <a:pt x="124" y="74"/>
                  </a:lnTo>
                  <a:lnTo>
                    <a:pt x="125" y="73"/>
                  </a:lnTo>
                  <a:lnTo>
                    <a:pt x="127" y="69"/>
                  </a:lnTo>
                  <a:lnTo>
                    <a:pt x="128" y="62"/>
                  </a:lnTo>
                  <a:lnTo>
                    <a:pt x="129" y="54"/>
                  </a:lnTo>
                  <a:lnTo>
                    <a:pt x="128" y="45"/>
                  </a:lnTo>
                  <a:lnTo>
                    <a:pt x="128" y="38"/>
                  </a:lnTo>
                  <a:lnTo>
                    <a:pt x="130" y="34"/>
                  </a:lnTo>
                  <a:lnTo>
                    <a:pt x="133" y="33"/>
                  </a:lnTo>
                  <a:lnTo>
                    <a:pt x="136" y="35"/>
                  </a:lnTo>
                  <a:lnTo>
                    <a:pt x="139" y="37"/>
                  </a:lnTo>
                  <a:lnTo>
                    <a:pt x="143" y="46"/>
                  </a:lnTo>
                  <a:lnTo>
                    <a:pt x="147" y="51"/>
                  </a:lnTo>
                  <a:lnTo>
                    <a:pt x="150" y="56"/>
                  </a:lnTo>
                  <a:lnTo>
                    <a:pt x="152" y="58"/>
                  </a:lnTo>
                  <a:lnTo>
                    <a:pt x="155" y="58"/>
                  </a:lnTo>
                  <a:lnTo>
                    <a:pt x="156" y="58"/>
                  </a:lnTo>
                  <a:lnTo>
                    <a:pt x="157" y="57"/>
                  </a:lnTo>
                  <a:lnTo>
                    <a:pt x="157" y="55"/>
                  </a:lnTo>
                  <a:lnTo>
                    <a:pt x="156" y="42"/>
                  </a:lnTo>
                  <a:lnTo>
                    <a:pt x="157" y="38"/>
                  </a:lnTo>
                  <a:lnTo>
                    <a:pt x="159" y="35"/>
                  </a:lnTo>
                  <a:lnTo>
                    <a:pt x="165" y="33"/>
                  </a:lnTo>
                  <a:lnTo>
                    <a:pt x="168" y="31"/>
                  </a:lnTo>
                  <a:lnTo>
                    <a:pt x="171" y="28"/>
                  </a:lnTo>
                  <a:lnTo>
                    <a:pt x="173" y="27"/>
                  </a:lnTo>
                  <a:lnTo>
                    <a:pt x="175" y="27"/>
                  </a:lnTo>
                  <a:lnTo>
                    <a:pt x="178" y="28"/>
                  </a:lnTo>
                  <a:lnTo>
                    <a:pt x="180" y="30"/>
                  </a:lnTo>
                  <a:lnTo>
                    <a:pt x="183" y="35"/>
                  </a:lnTo>
                  <a:lnTo>
                    <a:pt x="188" y="43"/>
                  </a:lnTo>
                  <a:lnTo>
                    <a:pt x="193" y="50"/>
                  </a:lnTo>
                  <a:lnTo>
                    <a:pt x="196" y="59"/>
                  </a:lnTo>
                  <a:lnTo>
                    <a:pt x="197" y="61"/>
                  </a:lnTo>
                  <a:lnTo>
                    <a:pt x="197" y="61"/>
                  </a:lnTo>
                  <a:lnTo>
                    <a:pt x="198" y="60"/>
                  </a:lnTo>
                  <a:lnTo>
                    <a:pt x="199" y="58"/>
                  </a:lnTo>
                  <a:lnTo>
                    <a:pt x="199" y="54"/>
                  </a:lnTo>
                  <a:lnTo>
                    <a:pt x="197" y="48"/>
                  </a:lnTo>
                  <a:lnTo>
                    <a:pt x="192" y="34"/>
                  </a:lnTo>
                  <a:lnTo>
                    <a:pt x="192" y="31"/>
                  </a:lnTo>
                  <a:lnTo>
                    <a:pt x="193" y="29"/>
                  </a:lnTo>
                  <a:lnTo>
                    <a:pt x="196" y="28"/>
                  </a:lnTo>
                  <a:lnTo>
                    <a:pt x="205" y="30"/>
                  </a:lnTo>
                  <a:lnTo>
                    <a:pt x="207" y="32"/>
                  </a:lnTo>
                  <a:lnTo>
                    <a:pt x="213" y="41"/>
                  </a:lnTo>
                  <a:lnTo>
                    <a:pt x="215" y="43"/>
                  </a:lnTo>
                  <a:lnTo>
                    <a:pt x="216" y="43"/>
                  </a:lnTo>
                  <a:lnTo>
                    <a:pt x="216" y="42"/>
                  </a:lnTo>
                  <a:lnTo>
                    <a:pt x="218" y="41"/>
                  </a:lnTo>
                  <a:lnTo>
                    <a:pt x="220" y="39"/>
                  </a:lnTo>
                  <a:lnTo>
                    <a:pt x="223" y="34"/>
                  </a:lnTo>
                  <a:lnTo>
                    <a:pt x="228" y="25"/>
                  </a:lnTo>
                  <a:lnTo>
                    <a:pt x="229" y="25"/>
                  </a:lnTo>
                  <a:lnTo>
                    <a:pt x="231" y="26"/>
                  </a:lnTo>
                  <a:lnTo>
                    <a:pt x="234" y="28"/>
                  </a:lnTo>
                  <a:lnTo>
                    <a:pt x="235" y="30"/>
                  </a:lnTo>
                  <a:lnTo>
                    <a:pt x="238" y="31"/>
                  </a:lnTo>
                  <a:lnTo>
                    <a:pt x="241" y="31"/>
                  </a:lnTo>
                  <a:lnTo>
                    <a:pt x="245" y="28"/>
                  </a:lnTo>
                  <a:lnTo>
                    <a:pt x="249" y="26"/>
                  </a:lnTo>
                  <a:lnTo>
                    <a:pt x="251" y="21"/>
                  </a:lnTo>
                  <a:lnTo>
                    <a:pt x="251" y="19"/>
                  </a:lnTo>
                  <a:lnTo>
                    <a:pt x="247" y="6"/>
                  </a:lnTo>
                  <a:lnTo>
                    <a:pt x="249" y="3"/>
                  </a:lnTo>
                  <a:lnTo>
                    <a:pt x="256" y="0"/>
                  </a:lnTo>
                  <a:lnTo>
                    <a:pt x="263" y="0"/>
                  </a:lnTo>
                  <a:lnTo>
                    <a:pt x="265" y="1"/>
                  </a:lnTo>
                  <a:lnTo>
                    <a:pt x="269" y="7"/>
                  </a:lnTo>
                  <a:lnTo>
                    <a:pt x="272" y="10"/>
                  </a:lnTo>
                  <a:lnTo>
                    <a:pt x="273" y="13"/>
                  </a:lnTo>
                  <a:lnTo>
                    <a:pt x="273" y="19"/>
                  </a:lnTo>
                  <a:lnTo>
                    <a:pt x="275" y="21"/>
                  </a:lnTo>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grpSp>
      <p:sp>
        <p:nvSpPr>
          <p:cNvPr id="1209" name="Andorra">
            <a:extLst>
              <a:ext uri="{FF2B5EF4-FFF2-40B4-BE49-F238E27FC236}">
                <a16:creationId xmlns:a16="http://schemas.microsoft.com/office/drawing/2014/main" id="{916ECE3E-28E2-4860-AFDD-8B7AA2A402E3}"/>
              </a:ext>
            </a:extLst>
          </p:cNvPr>
          <p:cNvSpPr>
            <a:spLocks/>
          </p:cNvSpPr>
          <p:nvPr/>
        </p:nvSpPr>
        <p:spPr bwMode="auto">
          <a:xfrm>
            <a:off x="5859233" y="3400833"/>
            <a:ext cx="11161" cy="7846"/>
          </a:xfrm>
          <a:custGeom>
            <a:avLst/>
            <a:gdLst>
              <a:gd name="T0" fmla="*/ 9 w 10"/>
              <a:gd name="T1" fmla="*/ 6 h 9"/>
              <a:gd name="T2" fmla="*/ 9 w 10"/>
              <a:gd name="T3" fmla="*/ 6 h 9"/>
              <a:gd name="T4" fmla="*/ 8 w 10"/>
              <a:gd name="T5" fmla="*/ 6 h 9"/>
              <a:gd name="T6" fmla="*/ 6 w 10"/>
              <a:gd name="T7" fmla="*/ 8 h 9"/>
              <a:gd name="T8" fmla="*/ 4 w 10"/>
              <a:gd name="T9" fmla="*/ 8 h 9"/>
              <a:gd name="T10" fmla="*/ 2 w 10"/>
              <a:gd name="T11" fmla="*/ 9 h 9"/>
              <a:gd name="T12" fmla="*/ 1 w 10"/>
              <a:gd name="T13" fmla="*/ 8 h 9"/>
              <a:gd name="T14" fmla="*/ 1 w 10"/>
              <a:gd name="T15" fmla="*/ 7 h 9"/>
              <a:gd name="T16" fmla="*/ 1 w 10"/>
              <a:gd name="T17" fmla="*/ 6 h 9"/>
              <a:gd name="T18" fmla="*/ 0 w 10"/>
              <a:gd name="T19" fmla="*/ 4 h 9"/>
              <a:gd name="T20" fmla="*/ 0 w 10"/>
              <a:gd name="T21" fmla="*/ 4 h 9"/>
              <a:gd name="T22" fmla="*/ 1 w 10"/>
              <a:gd name="T23" fmla="*/ 2 h 9"/>
              <a:gd name="T24" fmla="*/ 2 w 10"/>
              <a:gd name="T25" fmla="*/ 1 h 9"/>
              <a:gd name="T26" fmla="*/ 3 w 10"/>
              <a:gd name="T27" fmla="*/ 0 h 9"/>
              <a:gd name="T28" fmla="*/ 5 w 10"/>
              <a:gd name="T29" fmla="*/ 0 h 9"/>
              <a:gd name="T30" fmla="*/ 9 w 10"/>
              <a:gd name="T31" fmla="*/ 1 h 9"/>
              <a:gd name="T32" fmla="*/ 10 w 10"/>
              <a:gd name="T33" fmla="*/ 3 h 9"/>
              <a:gd name="T34" fmla="*/ 10 w 10"/>
              <a:gd name="T35" fmla="*/ 3 h 9"/>
              <a:gd name="T36" fmla="*/ 10 w 10"/>
              <a:gd name="T3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 h="9">
                <a:moveTo>
                  <a:pt x="9" y="6"/>
                </a:moveTo>
                <a:lnTo>
                  <a:pt x="9" y="6"/>
                </a:lnTo>
                <a:lnTo>
                  <a:pt x="8" y="6"/>
                </a:lnTo>
                <a:lnTo>
                  <a:pt x="6" y="8"/>
                </a:lnTo>
                <a:lnTo>
                  <a:pt x="4" y="8"/>
                </a:lnTo>
                <a:lnTo>
                  <a:pt x="2" y="9"/>
                </a:lnTo>
                <a:lnTo>
                  <a:pt x="1" y="8"/>
                </a:lnTo>
                <a:lnTo>
                  <a:pt x="1" y="7"/>
                </a:lnTo>
                <a:lnTo>
                  <a:pt x="1" y="6"/>
                </a:lnTo>
                <a:lnTo>
                  <a:pt x="0" y="4"/>
                </a:lnTo>
                <a:lnTo>
                  <a:pt x="0" y="4"/>
                </a:lnTo>
                <a:lnTo>
                  <a:pt x="1" y="2"/>
                </a:lnTo>
                <a:lnTo>
                  <a:pt x="2" y="1"/>
                </a:lnTo>
                <a:lnTo>
                  <a:pt x="3" y="0"/>
                </a:lnTo>
                <a:lnTo>
                  <a:pt x="5" y="0"/>
                </a:lnTo>
                <a:lnTo>
                  <a:pt x="9" y="1"/>
                </a:lnTo>
                <a:lnTo>
                  <a:pt x="10" y="3"/>
                </a:lnTo>
                <a:lnTo>
                  <a:pt x="10" y="3"/>
                </a:lnTo>
                <a:lnTo>
                  <a:pt x="10" y="5"/>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1210" name="Albania">
            <a:extLst>
              <a:ext uri="{FF2B5EF4-FFF2-40B4-BE49-F238E27FC236}">
                <a16:creationId xmlns:a16="http://schemas.microsoft.com/office/drawing/2014/main" id="{9B46F632-411E-4EE0-BFC1-04D8028C0E45}"/>
              </a:ext>
            </a:extLst>
          </p:cNvPr>
          <p:cNvSpPr>
            <a:spLocks/>
          </p:cNvSpPr>
          <p:nvPr/>
        </p:nvSpPr>
        <p:spPr bwMode="auto">
          <a:xfrm>
            <a:off x="6397145" y="3400833"/>
            <a:ext cx="53568" cy="105926"/>
          </a:xfrm>
          <a:custGeom>
            <a:avLst/>
            <a:gdLst>
              <a:gd name="T0" fmla="*/ 25 w 55"/>
              <a:gd name="T1" fmla="*/ 4 h 123"/>
              <a:gd name="T2" fmla="*/ 29 w 55"/>
              <a:gd name="T3" fmla="*/ 9 h 123"/>
              <a:gd name="T4" fmla="*/ 34 w 55"/>
              <a:gd name="T5" fmla="*/ 14 h 123"/>
              <a:gd name="T6" fmla="*/ 38 w 55"/>
              <a:gd name="T7" fmla="*/ 17 h 123"/>
              <a:gd name="T8" fmla="*/ 41 w 55"/>
              <a:gd name="T9" fmla="*/ 26 h 123"/>
              <a:gd name="T10" fmla="*/ 40 w 55"/>
              <a:gd name="T11" fmla="*/ 32 h 123"/>
              <a:gd name="T12" fmla="*/ 39 w 55"/>
              <a:gd name="T13" fmla="*/ 39 h 123"/>
              <a:gd name="T14" fmla="*/ 39 w 55"/>
              <a:gd name="T15" fmla="*/ 44 h 123"/>
              <a:gd name="T16" fmla="*/ 37 w 55"/>
              <a:gd name="T17" fmla="*/ 47 h 123"/>
              <a:gd name="T18" fmla="*/ 38 w 55"/>
              <a:gd name="T19" fmla="*/ 54 h 123"/>
              <a:gd name="T20" fmla="*/ 40 w 55"/>
              <a:gd name="T21" fmla="*/ 63 h 123"/>
              <a:gd name="T22" fmla="*/ 43 w 55"/>
              <a:gd name="T23" fmla="*/ 66 h 123"/>
              <a:gd name="T24" fmla="*/ 46 w 55"/>
              <a:gd name="T25" fmla="*/ 72 h 123"/>
              <a:gd name="T26" fmla="*/ 52 w 55"/>
              <a:gd name="T27" fmla="*/ 72 h 123"/>
              <a:gd name="T28" fmla="*/ 53 w 55"/>
              <a:gd name="T29" fmla="*/ 74 h 123"/>
              <a:gd name="T30" fmla="*/ 54 w 55"/>
              <a:gd name="T31" fmla="*/ 80 h 123"/>
              <a:gd name="T32" fmla="*/ 55 w 55"/>
              <a:gd name="T33" fmla="*/ 84 h 123"/>
              <a:gd name="T34" fmla="*/ 52 w 55"/>
              <a:gd name="T35" fmla="*/ 89 h 123"/>
              <a:gd name="T36" fmla="*/ 48 w 55"/>
              <a:gd name="T37" fmla="*/ 91 h 123"/>
              <a:gd name="T38" fmla="*/ 46 w 55"/>
              <a:gd name="T39" fmla="*/ 95 h 123"/>
              <a:gd name="T40" fmla="*/ 45 w 55"/>
              <a:gd name="T41" fmla="*/ 99 h 123"/>
              <a:gd name="T42" fmla="*/ 43 w 55"/>
              <a:gd name="T43" fmla="*/ 104 h 123"/>
              <a:gd name="T44" fmla="*/ 39 w 55"/>
              <a:gd name="T45" fmla="*/ 106 h 123"/>
              <a:gd name="T46" fmla="*/ 36 w 55"/>
              <a:gd name="T47" fmla="*/ 107 h 123"/>
              <a:gd name="T48" fmla="*/ 33 w 55"/>
              <a:gd name="T49" fmla="*/ 109 h 123"/>
              <a:gd name="T50" fmla="*/ 33 w 55"/>
              <a:gd name="T51" fmla="*/ 111 h 123"/>
              <a:gd name="T52" fmla="*/ 35 w 55"/>
              <a:gd name="T53" fmla="*/ 116 h 123"/>
              <a:gd name="T54" fmla="*/ 34 w 55"/>
              <a:gd name="T55" fmla="*/ 118 h 123"/>
              <a:gd name="T56" fmla="*/ 32 w 55"/>
              <a:gd name="T57" fmla="*/ 118 h 123"/>
              <a:gd name="T58" fmla="*/ 31 w 55"/>
              <a:gd name="T59" fmla="*/ 121 h 123"/>
              <a:gd name="T60" fmla="*/ 29 w 55"/>
              <a:gd name="T61" fmla="*/ 123 h 123"/>
              <a:gd name="T62" fmla="*/ 25 w 55"/>
              <a:gd name="T63" fmla="*/ 121 h 123"/>
              <a:gd name="T64" fmla="*/ 23 w 55"/>
              <a:gd name="T65" fmla="*/ 121 h 123"/>
              <a:gd name="T66" fmla="*/ 22 w 55"/>
              <a:gd name="T67" fmla="*/ 114 h 123"/>
              <a:gd name="T68" fmla="*/ 7 w 55"/>
              <a:gd name="T69" fmla="*/ 101 h 123"/>
              <a:gd name="T70" fmla="*/ 3 w 55"/>
              <a:gd name="T71" fmla="*/ 95 h 123"/>
              <a:gd name="T72" fmla="*/ 3 w 55"/>
              <a:gd name="T73" fmla="*/ 92 h 123"/>
              <a:gd name="T74" fmla="*/ 5 w 55"/>
              <a:gd name="T75" fmla="*/ 94 h 123"/>
              <a:gd name="T76" fmla="*/ 5 w 55"/>
              <a:gd name="T77" fmla="*/ 90 h 123"/>
              <a:gd name="T78" fmla="*/ 2 w 55"/>
              <a:gd name="T79" fmla="*/ 82 h 123"/>
              <a:gd name="T80" fmla="*/ 6 w 55"/>
              <a:gd name="T81" fmla="*/ 71 h 123"/>
              <a:gd name="T82" fmla="*/ 7 w 55"/>
              <a:gd name="T83" fmla="*/ 59 h 123"/>
              <a:gd name="T84" fmla="*/ 5 w 55"/>
              <a:gd name="T85" fmla="*/ 51 h 123"/>
              <a:gd name="T86" fmla="*/ 9 w 55"/>
              <a:gd name="T87" fmla="*/ 44 h 123"/>
              <a:gd name="T88" fmla="*/ 10 w 55"/>
              <a:gd name="T89" fmla="*/ 36 h 123"/>
              <a:gd name="T90" fmla="*/ 2 w 55"/>
              <a:gd name="T91" fmla="*/ 32 h 123"/>
              <a:gd name="T92" fmla="*/ 3 w 55"/>
              <a:gd name="T93" fmla="*/ 27 h 123"/>
              <a:gd name="T94" fmla="*/ 3 w 55"/>
              <a:gd name="T95" fmla="*/ 24 h 123"/>
              <a:gd name="T96" fmla="*/ 0 w 55"/>
              <a:gd name="T97" fmla="*/ 20 h 123"/>
              <a:gd name="T98" fmla="*/ 4 w 55"/>
              <a:gd name="T99" fmla="*/ 12 h 123"/>
              <a:gd name="T100" fmla="*/ 9 w 55"/>
              <a:gd name="T101" fmla="*/ 6 h 123"/>
              <a:gd name="T102" fmla="*/ 12 w 55"/>
              <a:gd name="T103" fmla="*/ 0 h 123"/>
              <a:gd name="T104" fmla="*/ 14 w 55"/>
              <a:gd name="T105" fmla="*/ 0 h 123"/>
              <a:gd name="T106" fmla="*/ 15 w 55"/>
              <a:gd name="T107" fmla="*/ 5 h 123"/>
              <a:gd name="T108" fmla="*/ 16 w 55"/>
              <a:gd name="T109" fmla="*/ 7 h 123"/>
              <a:gd name="T110" fmla="*/ 21 w 55"/>
              <a:gd name="T111" fmla="*/ 6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5" h="123">
                <a:moveTo>
                  <a:pt x="25" y="4"/>
                </a:moveTo>
                <a:lnTo>
                  <a:pt x="25" y="4"/>
                </a:lnTo>
                <a:lnTo>
                  <a:pt x="26" y="5"/>
                </a:lnTo>
                <a:lnTo>
                  <a:pt x="29" y="9"/>
                </a:lnTo>
                <a:lnTo>
                  <a:pt x="30" y="13"/>
                </a:lnTo>
                <a:lnTo>
                  <a:pt x="34" y="14"/>
                </a:lnTo>
                <a:lnTo>
                  <a:pt x="36" y="15"/>
                </a:lnTo>
                <a:lnTo>
                  <a:pt x="38" y="17"/>
                </a:lnTo>
                <a:lnTo>
                  <a:pt x="39" y="20"/>
                </a:lnTo>
                <a:lnTo>
                  <a:pt x="41" y="26"/>
                </a:lnTo>
                <a:lnTo>
                  <a:pt x="41" y="30"/>
                </a:lnTo>
                <a:lnTo>
                  <a:pt x="40" y="32"/>
                </a:lnTo>
                <a:lnTo>
                  <a:pt x="40" y="33"/>
                </a:lnTo>
                <a:lnTo>
                  <a:pt x="39" y="39"/>
                </a:lnTo>
                <a:lnTo>
                  <a:pt x="39" y="42"/>
                </a:lnTo>
                <a:lnTo>
                  <a:pt x="39" y="44"/>
                </a:lnTo>
                <a:lnTo>
                  <a:pt x="38" y="45"/>
                </a:lnTo>
                <a:lnTo>
                  <a:pt x="37" y="47"/>
                </a:lnTo>
                <a:lnTo>
                  <a:pt x="38" y="52"/>
                </a:lnTo>
                <a:lnTo>
                  <a:pt x="38" y="54"/>
                </a:lnTo>
                <a:lnTo>
                  <a:pt x="38" y="57"/>
                </a:lnTo>
                <a:lnTo>
                  <a:pt x="40" y="63"/>
                </a:lnTo>
                <a:lnTo>
                  <a:pt x="42" y="65"/>
                </a:lnTo>
                <a:lnTo>
                  <a:pt x="43" y="66"/>
                </a:lnTo>
                <a:lnTo>
                  <a:pt x="45" y="71"/>
                </a:lnTo>
                <a:lnTo>
                  <a:pt x="46" y="72"/>
                </a:lnTo>
                <a:lnTo>
                  <a:pt x="50" y="72"/>
                </a:lnTo>
                <a:lnTo>
                  <a:pt x="52" y="72"/>
                </a:lnTo>
                <a:lnTo>
                  <a:pt x="53" y="74"/>
                </a:lnTo>
                <a:lnTo>
                  <a:pt x="53" y="74"/>
                </a:lnTo>
                <a:lnTo>
                  <a:pt x="53" y="78"/>
                </a:lnTo>
                <a:lnTo>
                  <a:pt x="54" y="80"/>
                </a:lnTo>
                <a:lnTo>
                  <a:pt x="55" y="82"/>
                </a:lnTo>
                <a:lnTo>
                  <a:pt x="55" y="84"/>
                </a:lnTo>
                <a:lnTo>
                  <a:pt x="54" y="86"/>
                </a:lnTo>
                <a:lnTo>
                  <a:pt x="52" y="89"/>
                </a:lnTo>
                <a:lnTo>
                  <a:pt x="50" y="90"/>
                </a:lnTo>
                <a:lnTo>
                  <a:pt x="48" y="91"/>
                </a:lnTo>
                <a:lnTo>
                  <a:pt x="47" y="93"/>
                </a:lnTo>
                <a:lnTo>
                  <a:pt x="46" y="95"/>
                </a:lnTo>
                <a:lnTo>
                  <a:pt x="45" y="97"/>
                </a:lnTo>
                <a:lnTo>
                  <a:pt x="45" y="99"/>
                </a:lnTo>
                <a:lnTo>
                  <a:pt x="44" y="103"/>
                </a:lnTo>
                <a:lnTo>
                  <a:pt x="43" y="104"/>
                </a:lnTo>
                <a:lnTo>
                  <a:pt x="42" y="106"/>
                </a:lnTo>
                <a:lnTo>
                  <a:pt x="39" y="106"/>
                </a:lnTo>
                <a:lnTo>
                  <a:pt x="37" y="106"/>
                </a:lnTo>
                <a:lnTo>
                  <a:pt x="36" y="107"/>
                </a:lnTo>
                <a:lnTo>
                  <a:pt x="35" y="108"/>
                </a:lnTo>
                <a:lnTo>
                  <a:pt x="33" y="109"/>
                </a:lnTo>
                <a:lnTo>
                  <a:pt x="33" y="110"/>
                </a:lnTo>
                <a:lnTo>
                  <a:pt x="33" y="111"/>
                </a:lnTo>
                <a:lnTo>
                  <a:pt x="34" y="114"/>
                </a:lnTo>
                <a:lnTo>
                  <a:pt x="35" y="116"/>
                </a:lnTo>
                <a:lnTo>
                  <a:pt x="35" y="117"/>
                </a:lnTo>
                <a:lnTo>
                  <a:pt x="34" y="118"/>
                </a:lnTo>
                <a:lnTo>
                  <a:pt x="32" y="117"/>
                </a:lnTo>
                <a:lnTo>
                  <a:pt x="32" y="118"/>
                </a:lnTo>
                <a:lnTo>
                  <a:pt x="32" y="120"/>
                </a:lnTo>
                <a:lnTo>
                  <a:pt x="31" y="121"/>
                </a:lnTo>
                <a:lnTo>
                  <a:pt x="31" y="122"/>
                </a:lnTo>
                <a:lnTo>
                  <a:pt x="29" y="123"/>
                </a:lnTo>
                <a:lnTo>
                  <a:pt x="27" y="123"/>
                </a:lnTo>
                <a:lnTo>
                  <a:pt x="25" y="121"/>
                </a:lnTo>
                <a:lnTo>
                  <a:pt x="23" y="121"/>
                </a:lnTo>
                <a:lnTo>
                  <a:pt x="23" y="121"/>
                </a:lnTo>
                <a:lnTo>
                  <a:pt x="23" y="117"/>
                </a:lnTo>
                <a:lnTo>
                  <a:pt x="22" y="114"/>
                </a:lnTo>
                <a:lnTo>
                  <a:pt x="18" y="107"/>
                </a:lnTo>
                <a:lnTo>
                  <a:pt x="7" y="101"/>
                </a:lnTo>
                <a:lnTo>
                  <a:pt x="4" y="98"/>
                </a:lnTo>
                <a:lnTo>
                  <a:pt x="3" y="95"/>
                </a:lnTo>
                <a:lnTo>
                  <a:pt x="2" y="93"/>
                </a:lnTo>
                <a:lnTo>
                  <a:pt x="3" y="92"/>
                </a:lnTo>
                <a:lnTo>
                  <a:pt x="4" y="93"/>
                </a:lnTo>
                <a:lnTo>
                  <a:pt x="5" y="94"/>
                </a:lnTo>
                <a:lnTo>
                  <a:pt x="6" y="93"/>
                </a:lnTo>
                <a:lnTo>
                  <a:pt x="5" y="90"/>
                </a:lnTo>
                <a:lnTo>
                  <a:pt x="2" y="84"/>
                </a:lnTo>
                <a:lnTo>
                  <a:pt x="2" y="82"/>
                </a:lnTo>
                <a:lnTo>
                  <a:pt x="4" y="77"/>
                </a:lnTo>
                <a:lnTo>
                  <a:pt x="6" y="71"/>
                </a:lnTo>
                <a:lnTo>
                  <a:pt x="6" y="64"/>
                </a:lnTo>
                <a:lnTo>
                  <a:pt x="7" y="59"/>
                </a:lnTo>
                <a:lnTo>
                  <a:pt x="6" y="55"/>
                </a:lnTo>
                <a:lnTo>
                  <a:pt x="5" y="51"/>
                </a:lnTo>
                <a:lnTo>
                  <a:pt x="7" y="45"/>
                </a:lnTo>
                <a:lnTo>
                  <a:pt x="9" y="44"/>
                </a:lnTo>
                <a:lnTo>
                  <a:pt x="10" y="42"/>
                </a:lnTo>
                <a:lnTo>
                  <a:pt x="10" y="36"/>
                </a:lnTo>
                <a:lnTo>
                  <a:pt x="6" y="33"/>
                </a:lnTo>
                <a:lnTo>
                  <a:pt x="2" y="32"/>
                </a:lnTo>
                <a:lnTo>
                  <a:pt x="2" y="30"/>
                </a:lnTo>
                <a:lnTo>
                  <a:pt x="3" y="27"/>
                </a:lnTo>
                <a:lnTo>
                  <a:pt x="3" y="26"/>
                </a:lnTo>
                <a:lnTo>
                  <a:pt x="3" y="24"/>
                </a:lnTo>
                <a:lnTo>
                  <a:pt x="2" y="21"/>
                </a:lnTo>
                <a:lnTo>
                  <a:pt x="0" y="20"/>
                </a:lnTo>
                <a:lnTo>
                  <a:pt x="2" y="16"/>
                </a:lnTo>
                <a:lnTo>
                  <a:pt x="4" y="12"/>
                </a:lnTo>
                <a:lnTo>
                  <a:pt x="6" y="9"/>
                </a:lnTo>
                <a:lnTo>
                  <a:pt x="9" y="6"/>
                </a:lnTo>
                <a:lnTo>
                  <a:pt x="10" y="3"/>
                </a:lnTo>
                <a:lnTo>
                  <a:pt x="12" y="0"/>
                </a:lnTo>
                <a:lnTo>
                  <a:pt x="14" y="0"/>
                </a:lnTo>
                <a:lnTo>
                  <a:pt x="14" y="0"/>
                </a:lnTo>
                <a:lnTo>
                  <a:pt x="15" y="1"/>
                </a:lnTo>
                <a:lnTo>
                  <a:pt x="15" y="5"/>
                </a:lnTo>
                <a:lnTo>
                  <a:pt x="15" y="6"/>
                </a:lnTo>
                <a:lnTo>
                  <a:pt x="16" y="7"/>
                </a:lnTo>
                <a:lnTo>
                  <a:pt x="18" y="6"/>
                </a:lnTo>
                <a:lnTo>
                  <a:pt x="21" y="6"/>
                </a:lnTo>
                <a:lnTo>
                  <a:pt x="24" y="4"/>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1211" name="Austria">
            <a:extLst>
              <a:ext uri="{FF2B5EF4-FFF2-40B4-BE49-F238E27FC236}">
                <a16:creationId xmlns:a16="http://schemas.microsoft.com/office/drawing/2014/main" id="{015E5BA0-CE7C-4D8B-B2F2-12C8F232C96D}"/>
              </a:ext>
            </a:extLst>
          </p:cNvPr>
          <p:cNvSpPr>
            <a:spLocks/>
          </p:cNvSpPr>
          <p:nvPr/>
        </p:nvSpPr>
        <p:spPr bwMode="auto">
          <a:xfrm>
            <a:off x="6104752" y="3161518"/>
            <a:ext cx="227664" cy="102003"/>
          </a:xfrm>
          <a:custGeom>
            <a:avLst/>
            <a:gdLst>
              <a:gd name="T0" fmla="*/ 230 w 238"/>
              <a:gd name="T1" fmla="*/ 23 h 120"/>
              <a:gd name="T2" fmla="*/ 236 w 238"/>
              <a:gd name="T3" fmla="*/ 45 h 120"/>
              <a:gd name="T4" fmla="*/ 234 w 238"/>
              <a:gd name="T5" fmla="*/ 54 h 120"/>
              <a:gd name="T6" fmla="*/ 229 w 238"/>
              <a:gd name="T7" fmla="*/ 61 h 120"/>
              <a:gd name="T8" fmla="*/ 221 w 238"/>
              <a:gd name="T9" fmla="*/ 58 h 120"/>
              <a:gd name="T10" fmla="*/ 216 w 238"/>
              <a:gd name="T11" fmla="*/ 63 h 120"/>
              <a:gd name="T12" fmla="*/ 220 w 238"/>
              <a:gd name="T13" fmla="*/ 73 h 120"/>
              <a:gd name="T14" fmla="*/ 216 w 238"/>
              <a:gd name="T15" fmla="*/ 81 h 120"/>
              <a:gd name="T16" fmla="*/ 217 w 238"/>
              <a:gd name="T17" fmla="*/ 89 h 120"/>
              <a:gd name="T18" fmla="*/ 212 w 238"/>
              <a:gd name="T19" fmla="*/ 93 h 120"/>
              <a:gd name="T20" fmla="*/ 201 w 238"/>
              <a:gd name="T21" fmla="*/ 106 h 120"/>
              <a:gd name="T22" fmla="*/ 191 w 238"/>
              <a:gd name="T23" fmla="*/ 106 h 120"/>
              <a:gd name="T24" fmla="*/ 169 w 238"/>
              <a:gd name="T25" fmla="*/ 110 h 120"/>
              <a:gd name="T26" fmla="*/ 161 w 238"/>
              <a:gd name="T27" fmla="*/ 117 h 120"/>
              <a:gd name="T28" fmla="*/ 154 w 238"/>
              <a:gd name="T29" fmla="*/ 119 h 120"/>
              <a:gd name="T30" fmla="*/ 137 w 238"/>
              <a:gd name="T31" fmla="*/ 115 h 120"/>
              <a:gd name="T32" fmla="*/ 119 w 238"/>
              <a:gd name="T33" fmla="*/ 113 h 120"/>
              <a:gd name="T34" fmla="*/ 92 w 238"/>
              <a:gd name="T35" fmla="*/ 108 h 120"/>
              <a:gd name="T36" fmla="*/ 81 w 238"/>
              <a:gd name="T37" fmla="*/ 93 h 120"/>
              <a:gd name="T38" fmla="*/ 76 w 238"/>
              <a:gd name="T39" fmla="*/ 91 h 120"/>
              <a:gd name="T40" fmla="*/ 60 w 238"/>
              <a:gd name="T41" fmla="*/ 94 h 120"/>
              <a:gd name="T42" fmla="*/ 46 w 238"/>
              <a:gd name="T43" fmla="*/ 103 h 120"/>
              <a:gd name="T44" fmla="*/ 33 w 238"/>
              <a:gd name="T45" fmla="*/ 99 h 120"/>
              <a:gd name="T46" fmla="*/ 26 w 238"/>
              <a:gd name="T47" fmla="*/ 93 h 120"/>
              <a:gd name="T48" fmla="*/ 11 w 238"/>
              <a:gd name="T49" fmla="*/ 94 h 120"/>
              <a:gd name="T50" fmla="*/ 2 w 238"/>
              <a:gd name="T51" fmla="*/ 89 h 120"/>
              <a:gd name="T52" fmla="*/ 1 w 238"/>
              <a:gd name="T53" fmla="*/ 83 h 120"/>
              <a:gd name="T54" fmla="*/ 3 w 238"/>
              <a:gd name="T55" fmla="*/ 71 h 120"/>
              <a:gd name="T56" fmla="*/ 6 w 238"/>
              <a:gd name="T57" fmla="*/ 67 h 120"/>
              <a:gd name="T58" fmla="*/ 17 w 238"/>
              <a:gd name="T59" fmla="*/ 72 h 120"/>
              <a:gd name="T60" fmla="*/ 21 w 238"/>
              <a:gd name="T61" fmla="*/ 76 h 120"/>
              <a:gd name="T62" fmla="*/ 26 w 238"/>
              <a:gd name="T63" fmla="*/ 76 h 120"/>
              <a:gd name="T64" fmla="*/ 36 w 238"/>
              <a:gd name="T65" fmla="*/ 68 h 120"/>
              <a:gd name="T66" fmla="*/ 45 w 238"/>
              <a:gd name="T67" fmla="*/ 73 h 120"/>
              <a:gd name="T68" fmla="*/ 53 w 238"/>
              <a:gd name="T69" fmla="*/ 74 h 120"/>
              <a:gd name="T70" fmla="*/ 64 w 238"/>
              <a:gd name="T71" fmla="*/ 68 h 120"/>
              <a:gd name="T72" fmla="*/ 84 w 238"/>
              <a:gd name="T73" fmla="*/ 60 h 120"/>
              <a:gd name="T74" fmla="*/ 94 w 238"/>
              <a:gd name="T75" fmla="*/ 64 h 120"/>
              <a:gd name="T76" fmla="*/ 102 w 238"/>
              <a:gd name="T77" fmla="*/ 66 h 120"/>
              <a:gd name="T78" fmla="*/ 109 w 238"/>
              <a:gd name="T79" fmla="*/ 71 h 120"/>
              <a:gd name="T80" fmla="*/ 108 w 238"/>
              <a:gd name="T81" fmla="*/ 60 h 120"/>
              <a:gd name="T82" fmla="*/ 107 w 238"/>
              <a:gd name="T83" fmla="*/ 52 h 120"/>
              <a:gd name="T84" fmla="*/ 105 w 238"/>
              <a:gd name="T85" fmla="*/ 37 h 120"/>
              <a:gd name="T86" fmla="*/ 120 w 238"/>
              <a:gd name="T87" fmla="*/ 30 h 120"/>
              <a:gd name="T88" fmla="*/ 130 w 238"/>
              <a:gd name="T89" fmla="*/ 22 h 120"/>
              <a:gd name="T90" fmla="*/ 133 w 238"/>
              <a:gd name="T91" fmla="*/ 15 h 120"/>
              <a:gd name="T92" fmla="*/ 139 w 238"/>
              <a:gd name="T93" fmla="*/ 14 h 120"/>
              <a:gd name="T94" fmla="*/ 155 w 238"/>
              <a:gd name="T95" fmla="*/ 17 h 120"/>
              <a:gd name="T96" fmla="*/ 165 w 238"/>
              <a:gd name="T97" fmla="*/ 10 h 120"/>
              <a:gd name="T98" fmla="*/ 173 w 238"/>
              <a:gd name="T99" fmla="*/ 0 h 120"/>
              <a:gd name="T100" fmla="*/ 181 w 238"/>
              <a:gd name="T101" fmla="*/ 1 h 120"/>
              <a:gd name="T102" fmla="*/ 197 w 238"/>
              <a:gd name="T103" fmla="*/ 6 h 120"/>
              <a:gd name="T104" fmla="*/ 217 w 238"/>
              <a:gd name="T105" fmla="*/ 9 h 120"/>
              <a:gd name="T106" fmla="*/ 228 w 238"/>
              <a:gd name="T107" fmla="*/ 1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8" h="120">
                <a:moveTo>
                  <a:pt x="232" y="19"/>
                </a:moveTo>
                <a:lnTo>
                  <a:pt x="232" y="19"/>
                </a:lnTo>
                <a:lnTo>
                  <a:pt x="232" y="19"/>
                </a:lnTo>
                <a:lnTo>
                  <a:pt x="231" y="21"/>
                </a:lnTo>
                <a:lnTo>
                  <a:pt x="230" y="23"/>
                </a:lnTo>
                <a:lnTo>
                  <a:pt x="229" y="26"/>
                </a:lnTo>
                <a:lnTo>
                  <a:pt x="229" y="29"/>
                </a:lnTo>
                <a:lnTo>
                  <a:pt x="232" y="37"/>
                </a:lnTo>
                <a:lnTo>
                  <a:pt x="235" y="43"/>
                </a:lnTo>
                <a:lnTo>
                  <a:pt x="236" y="45"/>
                </a:lnTo>
                <a:lnTo>
                  <a:pt x="238" y="46"/>
                </a:lnTo>
                <a:lnTo>
                  <a:pt x="236" y="48"/>
                </a:lnTo>
                <a:lnTo>
                  <a:pt x="236" y="51"/>
                </a:lnTo>
                <a:lnTo>
                  <a:pt x="235" y="53"/>
                </a:lnTo>
                <a:lnTo>
                  <a:pt x="234" y="54"/>
                </a:lnTo>
                <a:lnTo>
                  <a:pt x="235" y="56"/>
                </a:lnTo>
                <a:lnTo>
                  <a:pt x="235" y="58"/>
                </a:lnTo>
                <a:lnTo>
                  <a:pt x="235" y="60"/>
                </a:lnTo>
                <a:lnTo>
                  <a:pt x="232" y="61"/>
                </a:lnTo>
                <a:lnTo>
                  <a:pt x="229" y="61"/>
                </a:lnTo>
                <a:lnTo>
                  <a:pt x="228" y="61"/>
                </a:lnTo>
                <a:lnTo>
                  <a:pt x="227" y="62"/>
                </a:lnTo>
                <a:lnTo>
                  <a:pt x="225" y="61"/>
                </a:lnTo>
                <a:lnTo>
                  <a:pt x="222" y="59"/>
                </a:lnTo>
                <a:lnTo>
                  <a:pt x="221" y="58"/>
                </a:lnTo>
                <a:lnTo>
                  <a:pt x="219" y="58"/>
                </a:lnTo>
                <a:lnTo>
                  <a:pt x="218" y="59"/>
                </a:lnTo>
                <a:lnTo>
                  <a:pt x="217" y="61"/>
                </a:lnTo>
                <a:lnTo>
                  <a:pt x="215" y="62"/>
                </a:lnTo>
                <a:lnTo>
                  <a:pt x="216" y="63"/>
                </a:lnTo>
                <a:lnTo>
                  <a:pt x="222" y="65"/>
                </a:lnTo>
                <a:lnTo>
                  <a:pt x="223" y="68"/>
                </a:lnTo>
                <a:lnTo>
                  <a:pt x="222" y="71"/>
                </a:lnTo>
                <a:lnTo>
                  <a:pt x="221" y="72"/>
                </a:lnTo>
                <a:lnTo>
                  <a:pt x="220" y="73"/>
                </a:lnTo>
                <a:lnTo>
                  <a:pt x="218" y="74"/>
                </a:lnTo>
                <a:lnTo>
                  <a:pt x="216" y="74"/>
                </a:lnTo>
                <a:lnTo>
                  <a:pt x="216" y="76"/>
                </a:lnTo>
                <a:lnTo>
                  <a:pt x="216" y="80"/>
                </a:lnTo>
                <a:lnTo>
                  <a:pt x="216" y="81"/>
                </a:lnTo>
                <a:lnTo>
                  <a:pt x="215" y="82"/>
                </a:lnTo>
                <a:lnTo>
                  <a:pt x="216" y="86"/>
                </a:lnTo>
                <a:lnTo>
                  <a:pt x="217" y="86"/>
                </a:lnTo>
                <a:lnTo>
                  <a:pt x="217" y="87"/>
                </a:lnTo>
                <a:lnTo>
                  <a:pt x="217" y="89"/>
                </a:lnTo>
                <a:lnTo>
                  <a:pt x="217" y="90"/>
                </a:lnTo>
                <a:lnTo>
                  <a:pt x="216" y="92"/>
                </a:lnTo>
                <a:lnTo>
                  <a:pt x="216" y="92"/>
                </a:lnTo>
                <a:lnTo>
                  <a:pt x="215" y="93"/>
                </a:lnTo>
                <a:lnTo>
                  <a:pt x="212" y="93"/>
                </a:lnTo>
                <a:lnTo>
                  <a:pt x="210" y="94"/>
                </a:lnTo>
                <a:lnTo>
                  <a:pt x="205" y="99"/>
                </a:lnTo>
                <a:lnTo>
                  <a:pt x="203" y="100"/>
                </a:lnTo>
                <a:lnTo>
                  <a:pt x="201" y="102"/>
                </a:lnTo>
                <a:lnTo>
                  <a:pt x="201" y="106"/>
                </a:lnTo>
                <a:lnTo>
                  <a:pt x="201" y="106"/>
                </a:lnTo>
                <a:lnTo>
                  <a:pt x="201" y="107"/>
                </a:lnTo>
                <a:lnTo>
                  <a:pt x="195" y="106"/>
                </a:lnTo>
                <a:lnTo>
                  <a:pt x="195" y="106"/>
                </a:lnTo>
                <a:lnTo>
                  <a:pt x="191" y="106"/>
                </a:lnTo>
                <a:lnTo>
                  <a:pt x="188" y="108"/>
                </a:lnTo>
                <a:lnTo>
                  <a:pt x="185" y="110"/>
                </a:lnTo>
                <a:lnTo>
                  <a:pt x="178" y="109"/>
                </a:lnTo>
                <a:lnTo>
                  <a:pt x="171" y="110"/>
                </a:lnTo>
                <a:lnTo>
                  <a:pt x="169" y="110"/>
                </a:lnTo>
                <a:lnTo>
                  <a:pt x="168" y="111"/>
                </a:lnTo>
                <a:lnTo>
                  <a:pt x="166" y="112"/>
                </a:lnTo>
                <a:lnTo>
                  <a:pt x="165" y="113"/>
                </a:lnTo>
                <a:lnTo>
                  <a:pt x="163" y="115"/>
                </a:lnTo>
                <a:lnTo>
                  <a:pt x="161" y="117"/>
                </a:lnTo>
                <a:lnTo>
                  <a:pt x="158" y="118"/>
                </a:lnTo>
                <a:lnTo>
                  <a:pt x="158" y="119"/>
                </a:lnTo>
                <a:lnTo>
                  <a:pt x="157" y="120"/>
                </a:lnTo>
                <a:lnTo>
                  <a:pt x="155" y="119"/>
                </a:lnTo>
                <a:lnTo>
                  <a:pt x="154" y="119"/>
                </a:lnTo>
                <a:lnTo>
                  <a:pt x="153" y="119"/>
                </a:lnTo>
                <a:lnTo>
                  <a:pt x="148" y="118"/>
                </a:lnTo>
                <a:lnTo>
                  <a:pt x="143" y="117"/>
                </a:lnTo>
                <a:lnTo>
                  <a:pt x="140" y="116"/>
                </a:lnTo>
                <a:lnTo>
                  <a:pt x="137" y="115"/>
                </a:lnTo>
                <a:lnTo>
                  <a:pt x="134" y="115"/>
                </a:lnTo>
                <a:lnTo>
                  <a:pt x="132" y="115"/>
                </a:lnTo>
                <a:lnTo>
                  <a:pt x="130" y="115"/>
                </a:lnTo>
                <a:lnTo>
                  <a:pt x="124" y="113"/>
                </a:lnTo>
                <a:lnTo>
                  <a:pt x="119" y="113"/>
                </a:lnTo>
                <a:lnTo>
                  <a:pt x="114" y="112"/>
                </a:lnTo>
                <a:lnTo>
                  <a:pt x="102" y="110"/>
                </a:lnTo>
                <a:lnTo>
                  <a:pt x="99" y="109"/>
                </a:lnTo>
                <a:lnTo>
                  <a:pt x="96" y="108"/>
                </a:lnTo>
                <a:lnTo>
                  <a:pt x="92" y="108"/>
                </a:lnTo>
                <a:lnTo>
                  <a:pt x="89" y="106"/>
                </a:lnTo>
                <a:lnTo>
                  <a:pt x="88" y="104"/>
                </a:lnTo>
                <a:lnTo>
                  <a:pt x="86" y="100"/>
                </a:lnTo>
                <a:lnTo>
                  <a:pt x="82" y="96"/>
                </a:lnTo>
                <a:lnTo>
                  <a:pt x="81" y="93"/>
                </a:lnTo>
                <a:lnTo>
                  <a:pt x="82" y="91"/>
                </a:lnTo>
                <a:lnTo>
                  <a:pt x="84" y="90"/>
                </a:lnTo>
                <a:lnTo>
                  <a:pt x="83" y="89"/>
                </a:lnTo>
                <a:lnTo>
                  <a:pt x="83" y="89"/>
                </a:lnTo>
                <a:lnTo>
                  <a:pt x="76" y="91"/>
                </a:lnTo>
                <a:lnTo>
                  <a:pt x="70" y="93"/>
                </a:lnTo>
                <a:lnTo>
                  <a:pt x="68" y="93"/>
                </a:lnTo>
                <a:lnTo>
                  <a:pt x="66" y="93"/>
                </a:lnTo>
                <a:lnTo>
                  <a:pt x="63" y="93"/>
                </a:lnTo>
                <a:lnTo>
                  <a:pt x="60" y="94"/>
                </a:lnTo>
                <a:lnTo>
                  <a:pt x="54" y="94"/>
                </a:lnTo>
                <a:lnTo>
                  <a:pt x="50" y="96"/>
                </a:lnTo>
                <a:lnTo>
                  <a:pt x="48" y="99"/>
                </a:lnTo>
                <a:lnTo>
                  <a:pt x="47" y="102"/>
                </a:lnTo>
                <a:lnTo>
                  <a:pt x="46" y="103"/>
                </a:lnTo>
                <a:lnTo>
                  <a:pt x="44" y="103"/>
                </a:lnTo>
                <a:lnTo>
                  <a:pt x="41" y="103"/>
                </a:lnTo>
                <a:lnTo>
                  <a:pt x="39" y="102"/>
                </a:lnTo>
                <a:lnTo>
                  <a:pt x="36" y="100"/>
                </a:lnTo>
                <a:lnTo>
                  <a:pt x="33" y="99"/>
                </a:lnTo>
                <a:lnTo>
                  <a:pt x="30" y="99"/>
                </a:lnTo>
                <a:lnTo>
                  <a:pt x="29" y="99"/>
                </a:lnTo>
                <a:lnTo>
                  <a:pt x="29" y="97"/>
                </a:lnTo>
                <a:lnTo>
                  <a:pt x="28" y="94"/>
                </a:lnTo>
                <a:lnTo>
                  <a:pt x="26" y="93"/>
                </a:lnTo>
                <a:lnTo>
                  <a:pt x="21" y="99"/>
                </a:lnTo>
                <a:lnTo>
                  <a:pt x="19" y="99"/>
                </a:lnTo>
                <a:lnTo>
                  <a:pt x="15" y="98"/>
                </a:lnTo>
                <a:lnTo>
                  <a:pt x="11" y="96"/>
                </a:lnTo>
                <a:lnTo>
                  <a:pt x="11" y="94"/>
                </a:lnTo>
                <a:lnTo>
                  <a:pt x="10" y="92"/>
                </a:lnTo>
                <a:lnTo>
                  <a:pt x="7" y="91"/>
                </a:lnTo>
                <a:lnTo>
                  <a:pt x="3" y="90"/>
                </a:lnTo>
                <a:lnTo>
                  <a:pt x="2" y="90"/>
                </a:lnTo>
                <a:lnTo>
                  <a:pt x="2" y="89"/>
                </a:lnTo>
                <a:lnTo>
                  <a:pt x="3" y="88"/>
                </a:lnTo>
                <a:lnTo>
                  <a:pt x="3" y="87"/>
                </a:lnTo>
                <a:lnTo>
                  <a:pt x="2" y="86"/>
                </a:lnTo>
                <a:lnTo>
                  <a:pt x="1" y="84"/>
                </a:lnTo>
                <a:lnTo>
                  <a:pt x="1" y="83"/>
                </a:lnTo>
                <a:lnTo>
                  <a:pt x="1" y="82"/>
                </a:lnTo>
                <a:lnTo>
                  <a:pt x="1" y="81"/>
                </a:lnTo>
                <a:lnTo>
                  <a:pt x="0" y="80"/>
                </a:lnTo>
                <a:lnTo>
                  <a:pt x="3" y="75"/>
                </a:lnTo>
                <a:lnTo>
                  <a:pt x="3" y="71"/>
                </a:lnTo>
                <a:lnTo>
                  <a:pt x="1" y="69"/>
                </a:lnTo>
                <a:lnTo>
                  <a:pt x="0" y="69"/>
                </a:lnTo>
                <a:lnTo>
                  <a:pt x="1" y="68"/>
                </a:lnTo>
                <a:lnTo>
                  <a:pt x="4" y="69"/>
                </a:lnTo>
                <a:lnTo>
                  <a:pt x="6" y="67"/>
                </a:lnTo>
                <a:lnTo>
                  <a:pt x="7" y="66"/>
                </a:lnTo>
                <a:lnTo>
                  <a:pt x="10" y="67"/>
                </a:lnTo>
                <a:lnTo>
                  <a:pt x="14" y="70"/>
                </a:lnTo>
                <a:lnTo>
                  <a:pt x="16" y="71"/>
                </a:lnTo>
                <a:lnTo>
                  <a:pt x="17" y="72"/>
                </a:lnTo>
                <a:lnTo>
                  <a:pt x="17" y="73"/>
                </a:lnTo>
                <a:lnTo>
                  <a:pt x="17" y="75"/>
                </a:lnTo>
                <a:lnTo>
                  <a:pt x="18" y="75"/>
                </a:lnTo>
                <a:lnTo>
                  <a:pt x="20" y="76"/>
                </a:lnTo>
                <a:lnTo>
                  <a:pt x="21" y="76"/>
                </a:lnTo>
                <a:lnTo>
                  <a:pt x="21" y="78"/>
                </a:lnTo>
                <a:lnTo>
                  <a:pt x="21" y="80"/>
                </a:lnTo>
                <a:lnTo>
                  <a:pt x="22" y="80"/>
                </a:lnTo>
                <a:lnTo>
                  <a:pt x="25" y="78"/>
                </a:lnTo>
                <a:lnTo>
                  <a:pt x="26" y="76"/>
                </a:lnTo>
                <a:lnTo>
                  <a:pt x="28" y="74"/>
                </a:lnTo>
                <a:lnTo>
                  <a:pt x="28" y="68"/>
                </a:lnTo>
                <a:lnTo>
                  <a:pt x="29" y="67"/>
                </a:lnTo>
                <a:lnTo>
                  <a:pt x="30" y="68"/>
                </a:lnTo>
                <a:lnTo>
                  <a:pt x="36" y="68"/>
                </a:lnTo>
                <a:lnTo>
                  <a:pt x="38" y="69"/>
                </a:lnTo>
                <a:lnTo>
                  <a:pt x="42" y="69"/>
                </a:lnTo>
                <a:lnTo>
                  <a:pt x="42" y="70"/>
                </a:lnTo>
                <a:lnTo>
                  <a:pt x="43" y="71"/>
                </a:lnTo>
                <a:lnTo>
                  <a:pt x="45" y="73"/>
                </a:lnTo>
                <a:lnTo>
                  <a:pt x="46" y="75"/>
                </a:lnTo>
                <a:lnTo>
                  <a:pt x="47" y="75"/>
                </a:lnTo>
                <a:lnTo>
                  <a:pt x="50" y="74"/>
                </a:lnTo>
                <a:lnTo>
                  <a:pt x="52" y="73"/>
                </a:lnTo>
                <a:lnTo>
                  <a:pt x="53" y="74"/>
                </a:lnTo>
                <a:lnTo>
                  <a:pt x="55" y="73"/>
                </a:lnTo>
                <a:lnTo>
                  <a:pt x="58" y="72"/>
                </a:lnTo>
                <a:lnTo>
                  <a:pt x="58" y="70"/>
                </a:lnTo>
                <a:lnTo>
                  <a:pt x="61" y="70"/>
                </a:lnTo>
                <a:lnTo>
                  <a:pt x="64" y="68"/>
                </a:lnTo>
                <a:lnTo>
                  <a:pt x="68" y="66"/>
                </a:lnTo>
                <a:lnTo>
                  <a:pt x="83" y="64"/>
                </a:lnTo>
                <a:lnTo>
                  <a:pt x="84" y="63"/>
                </a:lnTo>
                <a:lnTo>
                  <a:pt x="83" y="60"/>
                </a:lnTo>
                <a:lnTo>
                  <a:pt x="84" y="60"/>
                </a:lnTo>
                <a:lnTo>
                  <a:pt x="86" y="60"/>
                </a:lnTo>
                <a:lnTo>
                  <a:pt x="89" y="61"/>
                </a:lnTo>
                <a:lnTo>
                  <a:pt x="91" y="62"/>
                </a:lnTo>
                <a:lnTo>
                  <a:pt x="92" y="64"/>
                </a:lnTo>
                <a:lnTo>
                  <a:pt x="94" y="64"/>
                </a:lnTo>
                <a:lnTo>
                  <a:pt x="96" y="63"/>
                </a:lnTo>
                <a:lnTo>
                  <a:pt x="99" y="62"/>
                </a:lnTo>
                <a:lnTo>
                  <a:pt x="101" y="63"/>
                </a:lnTo>
                <a:lnTo>
                  <a:pt x="102" y="65"/>
                </a:lnTo>
                <a:lnTo>
                  <a:pt x="102" y="66"/>
                </a:lnTo>
                <a:lnTo>
                  <a:pt x="102" y="67"/>
                </a:lnTo>
                <a:lnTo>
                  <a:pt x="103" y="68"/>
                </a:lnTo>
                <a:lnTo>
                  <a:pt x="105" y="70"/>
                </a:lnTo>
                <a:lnTo>
                  <a:pt x="107" y="71"/>
                </a:lnTo>
                <a:lnTo>
                  <a:pt x="109" y="71"/>
                </a:lnTo>
                <a:lnTo>
                  <a:pt x="110" y="69"/>
                </a:lnTo>
                <a:lnTo>
                  <a:pt x="110" y="66"/>
                </a:lnTo>
                <a:lnTo>
                  <a:pt x="110" y="63"/>
                </a:lnTo>
                <a:lnTo>
                  <a:pt x="110" y="61"/>
                </a:lnTo>
                <a:lnTo>
                  <a:pt x="108" y="60"/>
                </a:lnTo>
                <a:lnTo>
                  <a:pt x="106" y="60"/>
                </a:lnTo>
                <a:lnTo>
                  <a:pt x="105" y="60"/>
                </a:lnTo>
                <a:lnTo>
                  <a:pt x="106" y="58"/>
                </a:lnTo>
                <a:lnTo>
                  <a:pt x="107" y="56"/>
                </a:lnTo>
                <a:lnTo>
                  <a:pt x="107" y="52"/>
                </a:lnTo>
                <a:lnTo>
                  <a:pt x="104" y="47"/>
                </a:lnTo>
                <a:lnTo>
                  <a:pt x="101" y="43"/>
                </a:lnTo>
                <a:lnTo>
                  <a:pt x="101" y="42"/>
                </a:lnTo>
                <a:lnTo>
                  <a:pt x="103" y="39"/>
                </a:lnTo>
                <a:lnTo>
                  <a:pt x="105" y="37"/>
                </a:lnTo>
                <a:lnTo>
                  <a:pt x="111" y="34"/>
                </a:lnTo>
                <a:lnTo>
                  <a:pt x="113" y="33"/>
                </a:lnTo>
                <a:lnTo>
                  <a:pt x="115" y="33"/>
                </a:lnTo>
                <a:lnTo>
                  <a:pt x="119" y="31"/>
                </a:lnTo>
                <a:lnTo>
                  <a:pt x="120" y="30"/>
                </a:lnTo>
                <a:lnTo>
                  <a:pt x="121" y="28"/>
                </a:lnTo>
                <a:lnTo>
                  <a:pt x="123" y="20"/>
                </a:lnTo>
                <a:lnTo>
                  <a:pt x="123" y="20"/>
                </a:lnTo>
                <a:lnTo>
                  <a:pt x="124" y="20"/>
                </a:lnTo>
                <a:lnTo>
                  <a:pt x="130" y="22"/>
                </a:lnTo>
                <a:lnTo>
                  <a:pt x="130" y="22"/>
                </a:lnTo>
                <a:lnTo>
                  <a:pt x="131" y="21"/>
                </a:lnTo>
                <a:lnTo>
                  <a:pt x="133" y="19"/>
                </a:lnTo>
                <a:lnTo>
                  <a:pt x="133" y="18"/>
                </a:lnTo>
                <a:lnTo>
                  <a:pt x="133" y="15"/>
                </a:lnTo>
                <a:lnTo>
                  <a:pt x="134" y="12"/>
                </a:lnTo>
                <a:lnTo>
                  <a:pt x="134" y="11"/>
                </a:lnTo>
                <a:lnTo>
                  <a:pt x="135" y="11"/>
                </a:lnTo>
                <a:lnTo>
                  <a:pt x="137" y="13"/>
                </a:lnTo>
                <a:lnTo>
                  <a:pt x="139" y="14"/>
                </a:lnTo>
                <a:lnTo>
                  <a:pt x="141" y="19"/>
                </a:lnTo>
                <a:lnTo>
                  <a:pt x="146" y="20"/>
                </a:lnTo>
                <a:lnTo>
                  <a:pt x="151" y="20"/>
                </a:lnTo>
                <a:lnTo>
                  <a:pt x="153" y="18"/>
                </a:lnTo>
                <a:lnTo>
                  <a:pt x="155" y="17"/>
                </a:lnTo>
                <a:lnTo>
                  <a:pt x="157" y="18"/>
                </a:lnTo>
                <a:lnTo>
                  <a:pt x="161" y="19"/>
                </a:lnTo>
                <a:lnTo>
                  <a:pt x="162" y="15"/>
                </a:lnTo>
                <a:lnTo>
                  <a:pt x="164" y="12"/>
                </a:lnTo>
                <a:lnTo>
                  <a:pt x="165" y="10"/>
                </a:lnTo>
                <a:lnTo>
                  <a:pt x="168" y="11"/>
                </a:lnTo>
                <a:lnTo>
                  <a:pt x="169" y="8"/>
                </a:lnTo>
                <a:lnTo>
                  <a:pt x="170" y="1"/>
                </a:lnTo>
                <a:lnTo>
                  <a:pt x="171" y="0"/>
                </a:lnTo>
                <a:lnTo>
                  <a:pt x="173" y="0"/>
                </a:lnTo>
                <a:lnTo>
                  <a:pt x="175" y="1"/>
                </a:lnTo>
                <a:lnTo>
                  <a:pt x="176" y="2"/>
                </a:lnTo>
                <a:lnTo>
                  <a:pt x="177" y="2"/>
                </a:lnTo>
                <a:lnTo>
                  <a:pt x="179" y="1"/>
                </a:lnTo>
                <a:lnTo>
                  <a:pt x="181" y="1"/>
                </a:lnTo>
                <a:lnTo>
                  <a:pt x="183" y="2"/>
                </a:lnTo>
                <a:lnTo>
                  <a:pt x="190" y="5"/>
                </a:lnTo>
                <a:lnTo>
                  <a:pt x="193" y="6"/>
                </a:lnTo>
                <a:lnTo>
                  <a:pt x="195" y="6"/>
                </a:lnTo>
                <a:lnTo>
                  <a:pt x="197" y="6"/>
                </a:lnTo>
                <a:lnTo>
                  <a:pt x="204" y="11"/>
                </a:lnTo>
                <a:lnTo>
                  <a:pt x="209" y="12"/>
                </a:lnTo>
                <a:lnTo>
                  <a:pt x="214" y="12"/>
                </a:lnTo>
                <a:lnTo>
                  <a:pt x="215" y="11"/>
                </a:lnTo>
                <a:lnTo>
                  <a:pt x="217" y="9"/>
                </a:lnTo>
                <a:lnTo>
                  <a:pt x="219" y="9"/>
                </a:lnTo>
                <a:lnTo>
                  <a:pt x="221" y="10"/>
                </a:lnTo>
                <a:lnTo>
                  <a:pt x="224" y="12"/>
                </a:lnTo>
                <a:lnTo>
                  <a:pt x="226" y="13"/>
                </a:lnTo>
                <a:lnTo>
                  <a:pt x="228" y="13"/>
                </a:lnTo>
                <a:lnTo>
                  <a:pt x="230" y="14"/>
                </a:lnTo>
                <a:lnTo>
                  <a:pt x="231" y="18"/>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1212" name="Bosnia and Herzegovina">
            <a:extLst>
              <a:ext uri="{FF2B5EF4-FFF2-40B4-BE49-F238E27FC236}">
                <a16:creationId xmlns:a16="http://schemas.microsoft.com/office/drawing/2014/main" id="{F5286AC3-FC6F-4932-B993-42A1220478FB}"/>
              </a:ext>
            </a:extLst>
          </p:cNvPr>
          <p:cNvSpPr>
            <a:spLocks/>
          </p:cNvSpPr>
          <p:nvPr/>
        </p:nvSpPr>
        <p:spPr bwMode="auto">
          <a:xfrm>
            <a:off x="6290008" y="3304714"/>
            <a:ext cx="116064" cy="100042"/>
          </a:xfrm>
          <a:custGeom>
            <a:avLst/>
            <a:gdLst>
              <a:gd name="T0" fmla="*/ 43 w 120"/>
              <a:gd name="T1" fmla="*/ 5 h 117"/>
              <a:gd name="T2" fmla="*/ 49 w 120"/>
              <a:gd name="T3" fmla="*/ 5 h 117"/>
              <a:gd name="T4" fmla="*/ 56 w 120"/>
              <a:gd name="T5" fmla="*/ 7 h 117"/>
              <a:gd name="T6" fmla="*/ 65 w 120"/>
              <a:gd name="T7" fmla="*/ 9 h 117"/>
              <a:gd name="T8" fmla="*/ 70 w 120"/>
              <a:gd name="T9" fmla="*/ 6 h 117"/>
              <a:gd name="T10" fmla="*/ 79 w 120"/>
              <a:gd name="T11" fmla="*/ 6 h 117"/>
              <a:gd name="T12" fmla="*/ 86 w 120"/>
              <a:gd name="T13" fmla="*/ 8 h 117"/>
              <a:gd name="T14" fmla="*/ 95 w 120"/>
              <a:gd name="T15" fmla="*/ 13 h 117"/>
              <a:gd name="T16" fmla="*/ 96 w 120"/>
              <a:gd name="T17" fmla="*/ 17 h 117"/>
              <a:gd name="T18" fmla="*/ 103 w 120"/>
              <a:gd name="T19" fmla="*/ 18 h 117"/>
              <a:gd name="T20" fmla="*/ 111 w 120"/>
              <a:gd name="T21" fmla="*/ 17 h 117"/>
              <a:gd name="T22" fmla="*/ 112 w 120"/>
              <a:gd name="T23" fmla="*/ 22 h 117"/>
              <a:gd name="T24" fmla="*/ 106 w 120"/>
              <a:gd name="T25" fmla="*/ 33 h 117"/>
              <a:gd name="T26" fmla="*/ 105 w 120"/>
              <a:gd name="T27" fmla="*/ 40 h 117"/>
              <a:gd name="T28" fmla="*/ 109 w 120"/>
              <a:gd name="T29" fmla="*/ 44 h 117"/>
              <a:gd name="T30" fmla="*/ 119 w 120"/>
              <a:gd name="T31" fmla="*/ 53 h 117"/>
              <a:gd name="T32" fmla="*/ 119 w 120"/>
              <a:gd name="T33" fmla="*/ 56 h 117"/>
              <a:gd name="T34" fmla="*/ 111 w 120"/>
              <a:gd name="T35" fmla="*/ 56 h 117"/>
              <a:gd name="T36" fmla="*/ 110 w 120"/>
              <a:gd name="T37" fmla="*/ 58 h 117"/>
              <a:gd name="T38" fmla="*/ 117 w 120"/>
              <a:gd name="T39" fmla="*/ 71 h 117"/>
              <a:gd name="T40" fmla="*/ 114 w 120"/>
              <a:gd name="T41" fmla="*/ 74 h 117"/>
              <a:gd name="T42" fmla="*/ 110 w 120"/>
              <a:gd name="T43" fmla="*/ 74 h 117"/>
              <a:gd name="T44" fmla="*/ 105 w 120"/>
              <a:gd name="T45" fmla="*/ 76 h 117"/>
              <a:gd name="T46" fmla="*/ 101 w 120"/>
              <a:gd name="T47" fmla="*/ 75 h 117"/>
              <a:gd name="T48" fmla="*/ 101 w 120"/>
              <a:gd name="T49" fmla="*/ 80 h 117"/>
              <a:gd name="T50" fmla="*/ 101 w 120"/>
              <a:gd name="T51" fmla="*/ 86 h 117"/>
              <a:gd name="T52" fmla="*/ 97 w 120"/>
              <a:gd name="T53" fmla="*/ 84 h 117"/>
              <a:gd name="T54" fmla="*/ 91 w 120"/>
              <a:gd name="T55" fmla="*/ 90 h 117"/>
              <a:gd name="T56" fmla="*/ 90 w 120"/>
              <a:gd name="T57" fmla="*/ 97 h 117"/>
              <a:gd name="T58" fmla="*/ 84 w 120"/>
              <a:gd name="T59" fmla="*/ 100 h 117"/>
              <a:gd name="T60" fmla="*/ 87 w 120"/>
              <a:gd name="T61" fmla="*/ 112 h 117"/>
              <a:gd name="T62" fmla="*/ 85 w 120"/>
              <a:gd name="T63" fmla="*/ 116 h 117"/>
              <a:gd name="T64" fmla="*/ 81 w 120"/>
              <a:gd name="T65" fmla="*/ 116 h 117"/>
              <a:gd name="T66" fmla="*/ 72 w 120"/>
              <a:gd name="T67" fmla="*/ 110 h 117"/>
              <a:gd name="T68" fmla="*/ 64 w 120"/>
              <a:gd name="T69" fmla="*/ 103 h 117"/>
              <a:gd name="T70" fmla="*/ 57 w 120"/>
              <a:gd name="T71" fmla="*/ 101 h 117"/>
              <a:gd name="T72" fmla="*/ 59 w 120"/>
              <a:gd name="T73" fmla="*/ 98 h 117"/>
              <a:gd name="T74" fmla="*/ 48 w 120"/>
              <a:gd name="T75" fmla="*/ 86 h 117"/>
              <a:gd name="T76" fmla="*/ 47 w 120"/>
              <a:gd name="T77" fmla="*/ 79 h 117"/>
              <a:gd name="T78" fmla="*/ 30 w 120"/>
              <a:gd name="T79" fmla="*/ 65 h 117"/>
              <a:gd name="T80" fmla="*/ 23 w 120"/>
              <a:gd name="T81" fmla="*/ 56 h 117"/>
              <a:gd name="T82" fmla="*/ 15 w 120"/>
              <a:gd name="T83" fmla="*/ 46 h 117"/>
              <a:gd name="T84" fmla="*/ 11 w 120"/>
              <a:gd name="T85" fmla="*/ 33 h 117"/>
              <a:gd name="T86" fmla="*/ 0 w 120"/>
              <a:gd name="T87" fmla="*/ 23 h 117"/>
              <a:gd name="T88" fmla="*/ 1 w 120"/>
              <a:gd name="T89" fmla="*/ 4 h 117"/>
              <a:gd name="T90" fmla="*/ 7 w 120"/>
              <a:gd name="T91" fmla="*/ 3 h 117"/>
              <a:gd name="T92" fmla="*/ 15 w 120"/>
              <a:gd name="T93" fmla="*/ 11 h 117"/>
              <a:gd name="T94" fmla="*/ 22 w 120"/>
              <a:gd name="T95" fmla="*/ 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0" h="117">
                <a:moveTo>
                  <a:pt x="37" y="0"/>
                </a:moveTo>
                <a:lnTo>
                  <a:pt x="37" y="0"/>
                </a:lnTo>
                <a:lnTo>
                  <a:pt x="43" y="5"/>
                </a:lnTo>
                <a:lnTo>
                  <a:pt x="46" y="5"/>
                </a:lnTo>
                <a:lnTo>
                  <a:pt x="47" y="5"/>
                </a:lnTo>
                <a:lnTo>
                  <a:pt x="49" y="5"/>
                </a:lnTo>
                <a:lnTo>
                  <a:pt x="54" y="6"/>
                </a:lnTo>
                <a:lnTo>
                  <a:pt x="55" y="7"/>
                </a:lnTo>
                <a:lnTo>
                  <a:pt x="56" y="7"/>
                </a:lnTo>
                <a:lnTo>
                  <a:pt x="60" y="5"/>
                </a:lnTo>
                <a:lnTo>
                  <a:pt x="61" y="5"/>
                </a:lnTo>
                <a:lnTo>
                  <a:pt x="65" y="9"/>
                </a:lnTo>
                <a:lnTo>
                  <a:pt x="66" y="9"/>
                </a:lnTo>
                <a:lnTo>
                  <a:pt x="69" y="7"/>
                </a:lnTo>
                <a:lnTo>
                  <a:pt x="70" y="6"/>
                </a:lnTo>
                <a:lnTo>
                  <a:pt x="75" y="7"/>
                </a:lnTo>
                <a:lnTo>
                  <a:pt x="77" y="6"/>
                </a:lnTo>
                <a:lnTo>
                  <a:pt x="79" y="6"/>
                </a:lnTo>
                <a:lnTo>
                  <a:pt x="82" y="7"/>
                </a:lnTo>
                <a:lnTo>
                  <a:pt x="84" y="8"/>
                </a:lnTo>
                <a:lnTo>
                  <a:pt x="86" y="8"/>
                </a:lnTo>
                <a:lnTo>
                  <a:pt x="91" y="9"/>
                </a:lnTo>
                <a:lnTo>
                  <a:pt x="94" y="11"/>
                </a:lnTo>
                <a:lnTo>
                  <a:pt x="95" y="13"/>
                </a:lnTo>
                <a:lnTo>
                  <a:pt x="95" y="15"/>
                </a:lnTo>
                <a:lnTo>
                  <a:pt x="95" y="16"/>
                </a:lnTo>
                <a:lnTo>
                  <a:pt x="96" y="17"/>
                </a:lnTo>
                <a:lnTo>
                  <a:pt x="100" y="18"/>
                </a:lnTo>
                <a:lnTo>
                  <a:pt x="102" y="18"/>
                </a:lnTo>
                <a:lnTo>
                  <a:pt x="103" y="18"/>
                </a:lnTo>
                <a:lnTo>
                  <a:pt x="106" y="17"/>
                </a:lnTo>
                <a:lnTo>
                  <a:pt x="109" y="16"/>
                </a:lnTo>
                <a:lnTo>
                  <a:pt x="111" y="17"/>
                </a:lnTo>
                <a:lnTo>
                  <a:pt x="112" y="17"/>
                </a:lnTo>
                <a:lnTo>
                  <a:pt x="113" y="18"/>
                </a:lnTo>
                <a:lnTo>
                  <a:pt x="112" y="22"/>
                </a:lnTo>
                <a:lnTo>
                  <a:pt x="111" y="26"/>
                </a:lnTo>
                <a:lnTo>
                  <a:pt x="109" y="29"/>
                </a:lnTo>
                <a:lnTo>
                  <a:pt x="106" y="33"/>
                </a:lnTo>
                <a:lnTo>
                  <a:pt x="106" y="35"/>
                </a:lnTo>
                <a:lnTo>
                  <a:pt x="106" y="38"/>
                </a:lnTo>
                <a:lnTo>
                  <a:pt x="105" y="40"/>
                </a:lnTo>
                <a:lnTo>
                  <a:pt x="106" y="42"/>
                </a:lnTo>
                <a:lnTo>
                  <a:pt x="106" y="43"/>
                </a:lnTo>
                <a:lnTo>
                  <a:pt x="109" y="44"/>
                </a:lnTo>
                <a:lnTo>
                  <a:pt x="112" y="46"/>
                </a:lnTo>
                <a:lnTo>
                  <a:pt x="115" y="49"/>
                </a:lnTo>
                <a:lnTo>
                  <a:pt x="119" y="53"/>
                </a:lnTo>
                <a:lnTo>
                  <a:pt x="120" y="54"/>
                </a:lnTo>
                <a:lnTo>
                  <a:pt x="120" y="55"/>
                </a:lnTo>
                <a:lnTo>
                  <a:pt x="119" y="56"/>
                </a:lnTo>
                <a:lnTo>
                  <a:pt x="116" y="57"/>
                </a:lnTo>
                <a:lnTo>
                  <a:pt x="112" y="56"/>
                </a:lnTo>
                <a:lnTo>
                  <a:pt x="111" y="56"/>
                </a:lnTo>
                <a:lnTo>
                  <a:pt x="110" y="56"/>
                </a:lnTo>
                <a:lnTo>
                  <a:pt x="109" y="57"/>
                </a:lnTo>
                <a:lnTo>
                  <a:pt x="110" y="58"/>
                </a:lnTo>
                <a:lnTo>
                  <a:pt x="113" y="63"/>
                </a:lnTo>
                <a:lnTo>
                  <a:pt x="117" y="69"/>
                </a:lnTo>
                <a:lnTo>
                  <a:pt x="117" y="71"/>
                </a:lnTo>
                <a:lnTo>
                  <a:pt x="117" y="73"/>
                </a:lnTo>
                <a:lnTo>
                  <a:pt x="116" y="75"/>
                </a:lnTo>
                <a:lnTo>
                  <a:pt x="114" y="74"/>
                </a:lnTo>
                <a:lnTo>
                  <a:pt x="113" y="73"/>
                </a:lnTo>
                <a:lnTo>
                  <a:pt x="111" y="73"/>
                </a:lnTo>
                <a:lnTo>
                  <a:pt x="110" y="74"/>
                </a:lnTo>
                <a:lnTo>
                  <a:pt x="108" y="76"/>
                </a:lnTo>
                <a:lnTo>
                  <a:pt x="107" y="76"/>
                </a:lnTo>
                <a:lnTo>
                  <a:pt x="105" y="76"/>
                </a:lnTo>
                <a:lnTo>
                  <a:pt x="104" y="77"/>
                </a:lnTo>
                <a:lnTo>
                  <a:pt x="103" y="76"/>
                </a:lnTo>
                <a:lnTo>
                  <a:pt x="101" y="75"/>
                </a:lnTo>
                <a:lnTo>
                  <a:pt x="100" y="76"/>
                </a:lnTo>
                <a:lnTo>
                  <a:pt x="100" y="77"/>
                </a:lnTo>
                <a:lnTo>
                  <a:pt x="101" y="80"/>
                </a:lnTo>
                <a:lnTo>
                  <a:pt x="103" y="83"/>
                </a:lnTo>
                <a:lnTo>
                  <a:pt x="102" y="86"/>
                </a:lnTo>
                <a:lnTo>
                  <a:pt x="101" y="86"/>
                </a:lnTo>
                <a:lnTo>
                  <a:pt x="100" y="84"/>
                </a:lnTo>
                <a:lnTo>
                  <a:pt x="98" y="84"/>
                </a:lnTo>
                <a:lnTo>
                  <a:pt x="97" y="84"/>
                </a:lnTo>
                <a:lnTo>
                  <a:pt x="94" y="87"/>
                </a:lnTo>
                <a:lnTo>
                  <a:pt x="91" y="89"/>
                </a:lnTo>
                <a:lnTo>
                  <a:pt x="91" y="90"/>
                </a:lnTo>
                <a:lnTo>
                  <a:pt x="90" y="92"/>
                </a:lnTo>
                <a:lnTo>
                  <a:pt x="90" y="93"/>
                </a:lnTo>
                <a:lnTo>
                  <a:pt x="90" y="97"/>
                </a:lnTo>
                <a:lnTo>
                  <a:pt x="86" y="98"/>
                </a:lnTo>
                <a:lnTo>
                  <a:pt x="85" y="99"/>
                </a:lnTo>
                <a:lnTo>
                  <a:pt x="84" y="100"/>
                </a:lnTo>
                <a:lnTo>
                  <a:pt x="85" y="105"/>
                </a:lnTo>
                <a:lnTo>
                  <a:pt x="85" y="108"/>
                </a:lnTo>
                <a:lnTo>
                  <a:pt x="87" y="112"/>
                </a:lnTo>
                <a:lnTo>
                  <a:pt x="87" y="114"/>
                </a:lnTo>
                <a:lnTo>
                  <a:pt x="87" y="115"/>
                </a:lnTo>
                <a:lnTo>
                  <a:pt x="85" y="116"/>
                </a:lnTo>
                <a:lnTo>
                  <a:pt x="85" y="117"/>
                </a:lnTo>
                <a:lnTo>
                  <a:pt x="84" y="117"/>
                </a:lnTo>
                <a:lnTo>
                  <a:pt x="81" y="116"/>
                </a:lnTo>
                <a:lnTo>
                  <a:pt x="80" y="116"/>
                </a:lnTo>
                <a:lnTo>
                  <a:pt x="74" y="112"/>
                </a:lnTo>
                <a:lnTo>
                  <a:pt x="72" y="110"/>
                </a:lnTo>
                <a:lnTo>
                  <a:pt x="68" y="107"/>
                </a:lnTo>
                <a:lnTo>
                  <a:pt x="65" y="105"/>
                </a:lnTo>
                <a:lnTo>
                  <a:pt x="64" y="103"/>
                </a:lnTo>
                <a:lnTo>
                  <a:pt x="62" y="102"/>
                </a:lnTo>
                <a:lnTo>
                  <a:pt x="60" y="103"/>
                </a:lnTo>
                <a:lnTo>
                  <a:pt x="57" y="101"/>
                </a:lnTo>
                <a:lnTo>
                  <a:pt x="59" y="100"/>
                </a:lnTo>
                <a:lnTo>
                  <a:pt x="60" y="100"/>
                </a:lnTo>
                <a:lnTo>
                  <a:pt x="59" y="98"/>
                </a:lnTo>
                <a:lnTo>
                  <a:pt x="59" y="97"/>
                </a:lnTo>
                <a:lnTo>
                  <a:pt x="52" y="90"/>
                </a:lnTo>
                <a:lnTo>
                  <a:pt x="48" y="86"/>
                </a:lnTo>
                <a:lnTo>
                  <a:pt x="48" y="84"/>
                </a:lnTo>
                <a:lnTo>
                  <a:pt x="48" y="80"/>
                </a:lnTo>
                <a:lnTo>
                  <a:pt x="47" y="79"/>
                </a:lnTo>
                <a:lnTo>
                  <a:pt x="42" y="77"/>
                </a:lnTo>
                <a:lnTo>
                  <a:pt x="36" y="71"/>
                </a:lnTo>
                <a:lnTo>
                  <a:pt x="30" y="65"/>
                </a:lnTo>
                <a:lnTo>
                  <a:pt x="29" y="64"/>
                </a:lnTo>
                <a:lnTo>
                  <a:pt x="26" y="60"/>
                </a:lnTo>
                <a:lnTo>
                  <a:pt x="23" y="56"/>
                </a:lnTo>
                <a:lnTo>
                  <a:pt x="20" y="53"/>
                </a:lnTo>
                <a:lnTo>
                  <a:pt x="17" y="50"/>
                </a:lnTo>
                <a:lnTo>
                  <a:pt x="15" y="46"/>
                </a:lnTo>
                <a:lnTo>
                  <a:pt x="13" y="41"/>
                </a:lnTo>
                <a:lnTo>
                  <a:pt x="12" y="35"/>
                </a:lnTo>
                <a:lnTo>
                  <a:pt x="11" y="33"/>
                </a:lnTo>
                <a:lnTo>
                  <a:pt x="10" y="32"/>
                </a:lnTo>
                <a:lnTo>
                  <a:pt x="4" y="26"/>
                </a:lnTo>
                <a:lnTo>
                  <a:pt x="0" y="23"/>
                </a:lnTo>
                <a:lnTo>
                  <a:pt x="0" y="19"/>
                </a:lnTo>
                <a:lnTo>
                  <a:pt x="1" y="12"/>
                </a:lnTo>
                <a:lnTo>
                  <a:pt x="1" y="4"/>
                </a:lnTo>
                <a:lnTo>
                  <a:pt x="3" y="3"/>
                </a:lnTo>
                <a:lnTo>
                  <a:pt x="5" y="3"/>
                </a:lnTo>
                <a:lnTo>
                  <a:pt x="7" y="3"/>
                </a:lnTo>
                <a:lnTo>
                  <a:pt x="9" y="4"/>
                </a:lnTo>
                <a:lnTo>
                  <a:pt x="13" y="9"/>
                </a:lnTo>
                <a:lnTo>
                  <a:pt x="15" y="11"/>
                </a:lnTo>
                <a:lnTo>
                  <a:pt x="17" y="12"/>
                </a:lnTo>
                <a:lnTo>
                  <a:pt x="19" y="10"/>
                </a:lnTo>
                <a:lnTo>
                  <a:pt x="22" y="5"/>
                </a:lnTo>
                <a:lnTo>
                  <a:pt x="25" y="3"/>
                </a:lnTo>
                <a:lnTo>
                  <a:pt x="33" y="4"/>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1213" name="Belgium">
            <a:extLst>
              <a:ext uri="{FF2B5EF4-FFF2-40B4-BE49-F238E27FC236}">
                <a16:creationId xmlns:a16="http://schemas.microsoft.com/office/drawing/2014/main" id="{6640E717-DAF1-4A0D-8B2E-4995DDF8C8A4}"/>
              </a:ext>
            </a:extLst>
          </p:cNvPr>
          <p:cNvSpPr>
            <a:spLocks/>
          </p:cNvSpPr>
          <p:nvPr/>
        </p:nvSpPr>
        <p:spPr bwMode="auto">
          <a:xfrm>
            <a:off x="5892713" y="3057552"/>
            <a:ext cx="116064" cy="82387"/>
          </a:xfrm>
          <a:custGeom>
            <a:avLst/>
            <a:gdLst>
              <a:gd name="T0" fmla="*/ 71 w 120"/>
              <a:gd name="T1" fmla="*/ 4 h 96"/>
              <a:gd name="T2" fmla="*/ 77 w 120"/>
              <a:gd name="T3" fmla="*/ 2 h 96"/>
              <a:gd name="T4" fmla="*/ 79 w 120"/>
              <a:gd name="T5" fmla="*/ 4 h 96"/>
              <a:gd name="T6" fmla="*/ 87 w 120"/>
              <a:gd name="T7" fmla="*/ 11 h 96"/>
              <a:gd name="T8" fmla="*/ 93 w 120"/>
              <a:gd name="T9" fmla="*/ 10 h 96"/>
              <a:gd name="T10" fmla="*/ 101 w 120"/>
              <a:gd name="T11" fmla="*/ 16 h 96"/>
              <a:gd name="T12" fmla="*/ 103 w 120"/>
              <a:gd name="T13" fmla="*/ 20 h 96"/>
              <a:gd name="T14" fmla="*/ 100 w 120"/>
              <a:gd name="T15" fmla="*/ 26 h 96"/>
              <a:gd name="T16" fmla="*/ 97 w 120"/>
              <a:gd name="T17" fmla="*/ 32 h 96"/>
              <a:gd name="T18" fmla="*/ 103 w 120"/>
              <a:gd name="T19" fmla="*/ 33 h 96"/>
              <a:gd name="T20" fmla="*/ 108 w 120"/>
              <a:gd name="T21" fmla="*/ 37 h 96"/>
              <a:gd name="T22" fmla="*/ 116 w 120"/>
              <a:gd name="T23" fmla="*/ 44 h 96"/>
              <a:gd name="T24" fmla="*/ 115 w 120"/>
              <a:gd name="T25" fmla="*/ 49 h 96"/>
              <a:gd name="T26" fmla="*/ 119 w 120"/>
              <a:gd name="T27" fmla="*/ 53 h 96"/>
              <a:gd name="T28" fmla="*/ 112 w 120"/>
              <a:gd name="T29" fmla="*/ 66 h 96"/>
              <a:gd name="T30" fmla="*/ 111 w 120"/>
              <a:gd name="T31" fmla="*/ 65 h 96"/>
              <a:gd name="T32" fmla="*/ 104 w 120"/>
              <a:gd name="T33" fmla="*/ 69 h 96"/>
              <a:gd name="T34" fmla="*/ 100 w 120"/>
              <a:gd name="T35" fmla="*/ 77 h 96"/>
              <a:gd name="T36" fmla="*/ 100 w 120"/>
              <a:gd name="T37" fmla="*/ 81 h 96"/>
              <a:gd name="T38" fmla="*/ 102 w 120"/>
              <a:gd name="T39" fmla="*/ 86 h 96"/>
              <a:gd name="T40" fmla="*/ 103 w 120"/>
              <a:gd name="T41" fmla="*/ 93 h 96"/>
              <a:gd name="T42" fmla="*/ 99 w 120"/>
              <a:gd name="T43" fmla="*/ 95 h 96"/>
              <a:gd name="T44" fmla="*/ 93 w 120"/>
              <a:gd name="T45" fmla="*/ 96 h 96"/>
              <a:gd name="T46" fmla="*/ 86 w 120"/>
              <a:gd name="T47" fmla="*/ 90 h 96"/>
              <a:gd name="T48" fmla="*/ 81 w 120"/>
              <a:gd name="T49" fmla="*/ 86 h 96"/>
              <a:gd name="T50" fmla="*/ 75 w 120"/>
              <a:gd name="T51" fmla="*/ 83 h 96"/>
              <a:gd name="T52" fmla="*/ 72 w 120"/>
              <a:gd name="T53" fmla="*/ 77 h 96"/>
              <a:gd name="T54" fmla="*/ 71 w 120"/>
              <a:gd name="T55" fmla="*/ 65 h 96"/>
              <a:gd name="T56" fmla="*/ 67 w 120"/>
              <a:gd name="T57" fmla="*/ 71 h 96"/>
              <a:gd name="T58" fmla="*/ 57 w 120"/>
              <a:gd name="T59" fmla="*/ 76 h 96"/>
              <a:gd name="T60" fmla="*/ 50 w 120"/>
              <a:gd name="T61" fmla="*/ 74 h 96"/>
              <a:gd name="T62" fmla="*/ 52 w 120"/>
              <a:gd name="T63" fmla="*/ 70 h 96"/>
              <a:gd name="T64" fmla="*/ 50 w 120"/>
              <a:gd name="T65" fmla="*/ 66 h 96"/>
              <a:gd name="T66" fmla="*/ 51 w 120"/>
              <a:gd name="T67" fmla="*/ 61 h 96"/>
              <a:gd name="T68" fmla="*/ 41 w 120"/>
              <a:gd name="T69" fmla="*/ 56 h 96"/>
              <a:gd name="T70" fmla="*/ 37 w 120"/>
              <a:gd name="T71" fmla="*/ 57 h 96"/>
              <a:gd name="T72" fmla="*/ 34 w 120"/>
              <a:gd name="T73" fmla="*/ 51 h 96"/>
              <a:gd name="T74" fmla="*/ 25 w 120"/>
              <a:gd name="T75" fmla="*/ 48 h 96"/>
              <a:gd name="T76" fmla="*/ 22 w 120"/>
              <a:gd name="T77" fmla="*/ 41 h 96"/>
              <a:gd name="T78" fmla="*/ 18 w 120"/>
              <a:gd name="T79" fmla="*/ 35 h 96"/>
              <a:gd name="T80" fmla="*/ 10 w 120"/>
              <a:gd name="T81" fmla="*/ 38 h 96"/>
              <a:gd name="T82" fmla="*/ 4 w 120"/>
              <a:gd name="T83" fmla="*/ 33 h 96"/>
              <a:gd name="T84" fmla="*/ 2 w 120"/>
              <a:gd name="T85" fmla="*/ 26 h 96"/>
              <a:gd name="T86" fmla="*/ 0 w 120"/>
              <a:gd name="T87" fmla="*/ 19 h 96"/>
              <a:gd name="T88" fmla="*/ 26 w 120"/>
              <a:gd name="T89" fmla="*/ 5 h 96"/>
              <a:gd name="T90" fmla="*/ 28 w 120"/>
              <a:gd name="T91" fmla="*/ 12 h 96"/>
              <a:gd name="T92" fmla="*/ 33 w 120"/>
              <a:gd name="T93" fmla="*/ 10 h 96"/>
              <a:gd name="T94" fmla="*/ 39 w 120"/>
              <a:gd name="T95" fmla="*/ 12 h 96"/>
              <a:gd name="T96" fmla="*/ 47 w 120"/>
              <a:gd name="T97" fmla="*/ 12 h 96"/>
              <a:gd name="T98" fmla="*/ 53 w 120"/>
              <a:gd name="T99" fmla="*/ 5 h 96"/>
              <a:gd name="T100" fmla="*/ 58 w 120"/>
              <a:gd name="T101" fmla="*/ 6 h 96"/>
              <a:gd name="T102" fmla="*/ 62 w 120"/>
              <a:gd name="T103" fmla="*/ 0 h 96"/>
              <a:gd name="T104" fmla="*/ 66 w 120"/>
              <a:gd name="T105" fmla="*/ 3 h 96"/>
              <a:gd name="T106" fmla="*/ 71 w 120"/>
              <a:gd name="T107" fmla="*/ 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0" h="96">
                <a:moveTo>
                  <a:pt x="71" y="3"/>
                </a:moveTo>
                <a:lnTo>
                  <a:pt x="71" y="3"/>
                </a:lnTo>
                <a:lnTo>
                  <a:pt x="71" y="4"/>
                </a:lnTo>
                <a:lnTo>
                  <a:pt x="72" y="4"/>
                </a:lnTo>
                <a:lnTo>
                  <a:pt x="75" y="4"/>
                </a:lnTo>
                <a:lnTo>
                  <a:pt x="77" y="2"/>
                </a:lnTo>
                <a:lnTo>
                  <a:pt x="78" y="1"/>
                </a:lnTo>
                <a:lnTo>
                  <a:pt x="79" y="2"/>
                </a:lnTo>
                <a:lnTo>
                  <a:pt x="79" y="4"/>
                </a:lnTo>
                <a:lnTo>
                  <a:pt x="80" y="7"/>
                </a:lnTo>
                <a:lnTo>
                  <a:pt x="84" y="10"/>
                </a:lnTo>
                <a:lnTo>
                  <a:pt x="87" y="11"/>
                </a:lnTo>
                <a:lnTo>
                  <a:pt x="90" y="10"/>
                </a:lnTo>
                <a:lnTo>
                  <a:pt x="92" y="10"/>
                </a:lnTo>
                <a:lnTo>
                  <a:pt x="93" y="10"/>
                </a:lnTo>
                <a:lnTo>
                  <a:pt x="94" y="12"/>
                </a:lnTo>
                <a:lnTo>
                  <a:pt x="96" y="14"/>
                </a:lnTo>
                <a:lnTo>
                  <a:pt x="101" y="16"/>
                </a:lnTo>
                <a:lnTo>
                  <a:pt x="102" y="16"/>
                </a:lnTo>
                <a:lnTo>
                  <a:pt x="103" y="18"/>
                </a:lnTo>
                <a:lnTo>
                  <a:pt x="103" y="20"/>
                </a:lnTo>
                <a:lnTo>
                  <a:pt x="100" y="25"/>
                </a:lnTo>
                <a:lnTo>
                  <a:pt x="100" y="26"/>
                </a:lnTo>
                <a:lnTo>
                  <a:pt x="100" y="26"/>
                </a:lnTo>
                <a:lnTo>
                  <a:pt x="100" y="27"/>
                </a:lnTo>
                <a:lnTo>
                  <a:pt x="97" y="31"/>
                </a:lnTo>
                <a:lnTo>
                  <a:pt x="97" y="32"/>
                </a:lnTo>
                <a:lnTo>
                  <a:pt x="98" y="34"/>
                </a:lnTo>
                <a:lnTo>
                  <a:pt x="99" y="35"/>
                </a:lnTo>
                <a:lnTo>
                  <a:pt x="103" y="33"/>
                </a:lnTo>
                <a:lnTo>
                  <a:pt x="105" y="36"/>
                </a:lnTo>
                <a:lnTo>
                  <a:pt x="108" y="36"/>
                </a:lnTo>
                <a:lnTo>
                  <a:pt x="108" y="37"/>
                </a:lnTo>
                <a:lnTo>
                  <a:pt x="112" y="40"/>
                </a:lnTo>
                <a:lnTo>
                  <a:pt x="113" y="42"/>
                </a:lnTo>
                <a:lnTo>
                  <a:pt x="116" y="44"/>
                </a:lnTo>
                <a:lnTo>
                  <a:pt x="113" y="46"/>
                </a:lnTo>
                <a:lnTo>
                  <a:pt x="114" y="47"/>
                </a:lnTo>
                <a:lnTo>
                  <a:pt x="115" y="49"/>
                </a:lnTo>
                <a:lnTo>
                  <a:pt x="117" y="49"/>
                </a:lnTo>
                <a:lnTo>
                  <a:pt x="119" y="51"/>
                </a:lnTo>
                <a:lnTo>
                  <a:pt x="119" y="53"/>
                </a:lnTo>
                <a:lnTo>
                  <a:pt x="120" y="58"/>
                </a:lnTo>
                <a:lnTo>
                  <a:pt x="114" y="62"/>
                </a:lnTo>
                <a:lnTo>
                  <a:pt x="112" y="66"/>
                </a:lnTo>
                <a:lnTo>
                  <a:pt x="112" y="67"/>
                </a:lnTo>
                <a:lnTo>
                  <a:pt x="112" y="67"/>
                </a:lnTo>
                <a:lnTo>
                  <a:pt x="111" y="65"/>
                </a:lnTo>
                <a:lnTo>
                  <a:pt x="110" y="65"/>
                </a:lnTo>
                <a:lnTo>
                  <a:pt x="108" y="65"/>
                </a:lnTo>
                <a:lnTo>
                  <a:pt x="104" y="69"/>
                </a:lnTo>
                <a:lnTo>
                  <a:pt x="103" y="72"/>
                </a:lnTo>
                <a:lnTo>
                  <a:pt x="102" y="75"/>
                </a:lnTo>
                <a:lnTo>
                  <a:pt x="100" y="77"/>
                </a:lnTo>
                <a:lnTo>
                  <a:pt x="100" y="79"/>
                </a:lnTo>
                <a:lnTo>
                  <a:pt x="100" y="80"/>
                </a:lnTo>
                <a:lnTo>
                  <a:pt x="100" y="81"/>
                </a:lnTo>
                <a:lnTo>
                  <a:pt x="100" y="82"/>
                </a:lnTo>
                <a:lnTo>
                  <a:pt x="102" y="85"/>
                </a:lnTo>
                <a:lnTo>
                  <a:pt x="102" y="86"/>
                </a:lnTo>
                <a:lnTo>
                  <a:pt x="104" y="90"/>
                </a:lnTo>
                <a:lnTo>
                  <a:pt x="104" y="92"/>
                </a:lnTo>
                <a:lnTo>
                  <a:pt x="103" y="93"/>
                </a:lnTo>
                <a:lnTo>
                  <a:pt x="102" y="94"/>
                </a:lnTo>
                <a:lnTo>
                  <a:pt x="102" y="95"/>
                </a:lnTo>
                <a:lnTo>
                  <a:pt x="99" y="95"/>
                </a:lnTo>
                <a:lnTo>
                  <a:pt x="96" y="96"/>
                </a:lnTo>
                <a:lnTo>
                  <a:pt x="94" y="96"/>
                </a:lnTo>
                <a:lnTo>
                  <a:pt x="93" y="96"/>
                </a:lnTo>
                <a:lnTo>
                  <a:pt x="91" y="94"/>
                </a:lnTo>
                <a:lnTo>
                  <a:pt x="88" y="91"/>
                </a:lnTo>
                <a:lnTo>
                  <a:pt x="86" y="90"/>
                </a:lnTo>
                <a:lnTo>
                  <a:pt x="86" y="88"/>
                </a:lnTo>
                <a:lnTo>
                  <a:pt x="84" y="88"/>
                </a:lnTo>
                <a:lnTo>
                  <a:pt x="81" y="86"/>
                </a:lnTo>
                <a:lnTo>
                  <a:pt x="79" y="85"/>
                </a:lnTo>
                <a:lnTo>
                  <a:pt x="77" y="84"/>
                </a:lnTo>
                <a:lnTo>
                  <a:pt x="75" y="83"/>
                </a:lnTo>
                <a:lnTo>
                  <a:pt x="73" y="83"/>
                </a:lnTo>
                <a:lnTo>
                  <a:pt x="72" y="80"/>
                </a:lnTo>
                <a:lnTo>
                  <a:pt x="72" y="77"/>
                </a:lnTo>
                <a:lnTo>
                  <a:pt x="71" y="75"/>
                </a:lnTo>
                <a:lnTo>
                  <a:pt x="73" y="66"/>
                </a:lnTo>
                <a:lnTo>
                  <a:pt x="71" y="65"/>
                </a:lnTo>
                <a:lnTo>
                  <a:pt x="70" y="66"/>
                </a:lnTo>
                <a:lnTo>
                  <a:pt x="68" y="68"/>
                </a:lnTo>
                <a:lnTo>
                  <a:pt x="67" y="71"/>
                </a:lnTo>
                <a:lnTo>
                  <a:pt x="66" y="73"/>
                </a:lnTo>
                <a:lnTo>
                  <a:pt x="63" y="75"/>
                </a:lnTo>
                <a:lnTo>
                  <a:pt x="57" y="76"/>
                </a:lnTo>
                <a:lnTo>
                  <a:pt x="51" y="75"/>
                </a:lnTo>
                <a:lnTo>
                  <a:pt x="51" y="74"/>
                </a:lnTo>
                <a:lnTo>
                  <a:pt x="50" y="74"/>
                </a:lnTo>
                <a:lnTo>
                  <a:pt x="50" y="73"/>
                </a:lnTo>
                <a:lnTo>
                  <a:pt x="51" y="72"/>
                </a:lnTo>
                <a:lnTo>
                  <a:pt x="52" y="70"/>
                </a:lnTo>
                <a:lnTo>
                  <a:pt x="52" y="68"/>
                </a:lnTo>
                <a:lnTo>
                  <a:pt x="51" y="67"/>
                </a:lnTo>
                <a:lnTo>
                  <a:pt x="50" y="66"/>
                </a:lnTo>
                <a:lnTo>
                  <a:pt x="50" y="64"/>
                </a:lnTo>
                <a:lnTo>
                  <a:pt x="51" y="62"/>
                </a:lnTo>
                <a:lnTo>
                  <a:pt x="51" y="61"/>
                </a:lnTo>
                <a:lnTo>
                  <a:pt x="47" y="57"/>
                </a:lnTo>
                <a:lnTo>
                  <a:pt x="44" y="57"/>
                </a:lnTo>
                <a:lnTo>
                  <a:pt x="41" y="56"/>
                </a:lnTo>
                <a:lnTo>
                  <a:pt x="39" y="56"/>
                </a:lnTo>
                <a:lnTo>
                  <a:pt x="38" y="56"/>
                </a:lnTo>
                <a:lnTo>
                  <a:pt x="37" y="57"/>
                </a:lnTo>
                <a:lnTo>
                  <a:pt x="36" y="58"/>
                </a:lnTo>
                <a:lnTo>
                  <a:pt x="35" y="57"/>
                </a:lnTo>
                <a:lnTo>
                  <a:pt x="34" y="51"/>
                </a:lnTo>
                <a:lnTo>
                  <a:pt x="33" y="50"/>
                </a:lnTo>
                <a:lnTo>
                  <a:pt x="30" y="49"/>
                </a:lnTo>
                <a:lnTo>
                  <a:pt x="25" y="48"/>
                </a:lnTo>
                <a:lnTo>
                  <a:pt x="23" y="47"/>
                </a:lnTo>
                <a:lnTo>
                  <a:pt x="22" y="44"/>
                </a:lnTo>
                <a:lnTo>
                  <a:pt x="22" y="41"/>
                </a:lnTo>
                <a:lnTo>
                  <a:pt x="20" y="37"/>
                </a:lnTo>
                <a:lnTo>
                  <a:pt x="20" y="36"/>
                </a:lnTo>
                <a:lnTo>
                  <a:pt x="18" y="35"/>
                </a:lnTo>
                <a:lnTo>
                  <a:pt x="15" y="35"/>
                </a:lnTo>
                <a:lnTo>
                  <a:pt x="12" y="37"/>
                </a:lnTo>
                <a:lnTo>
                  <a:pt x="10" y="38"/>
                </a:lnTo>
                <a:lnTo>
                  <a:pt x="10" y="38"/>
                </a:lnTo>
                <a:lnTo>
                  <a:pt x="7" y="36"/>
                </a:lnTo>
                <a:lnTo>
                  <a:pt x="4" y="33"/>
                </a:lnTo>
                <a:lnTo>
                  <a:pt x="2" y="30"/>
                </a:lnTo>
                <a:lnTo>
                  <a:pt x="2" y="28"/>
                </a:lnTo>
                <a:lnTo>
                  <a:pt x="2" y="26"/>
                </a:lnTo>
                <a:lnTo>
                  <a:pt x="1" y="25"/>
                </a:lnTo>
                <a:lnTo>
                  <a:pt x="0" y="22"/>
                </a:lnTo>
                <a:lnTo>
                  <a:pt x="0" y="19"/>
                </a:lnTo>
                <a:lnTo>
                  <a:pt x="13" y="11"/>
                </a:lnTo>
                <a:lnTo>
                  <a:pt x="22" y="7"/>
                </a:lnTo>
                <a:lnTo>
                  <a:pt x="26" y="5"/>
                </a:lnTo>
                <a:lnTo>
                  <a:pt x="27" y="10"/>
                </a:lnTo>
                <a:lnTo>
                  <a:pt x="27" y="11"/>
                </a:lnTo>
                <a:lnTo>
                  <a:pt x="28" y="12"/>
                </a:lnTo>
                <a:lnTo>
                  <a:pt x="29" y="12"/>
                </a:lnTo>
                <a:lnTo>
                  <a:pt x="31" y="11"/>
                </a:lnTo>
                <a:lnTo>
                  <a:pt x="33" y="10"/>
                </a:lnTo>
                <a:lnTo>
                  <a:pt x="36" y="10"/>
                </a:lnTo>
                <a:lnTo>
                  <a:pt x="38" y="11"/>
                </a:lnTo>
                <a:lnTo>
                  <a:pt x="39" y="12"/>
                </a:lnTo>
                <a:lnTo>
                  <a:pt x="41" y="14"/>
                </a:lnTo>
                <a:lnTo>
                  <a:pt x="43" y="14"/>
                </a:lnTo>
                <a:lnTo>
                  <a:pt x="47" y="12"/>
                </a:lnTo>
                <a:lnTo>
                  <a:pt x="51" y="9"/>
                </a:lnTo>
                <a:lnTo>
                  <a:pt x="52" y="7"/>
                </a:lnTo>
                <a:lnTo>
                  <a:pt x="53" y="5"/>
                </a:lnTo>
                <a:lnTo>
                  <a:pt x="55" y="6"/>
                </a:lnTo>
                <a:lnTo>
                  <a:pt x="57" y="6"/>
                </a:lnTo>
                <a:lnTo>
                  <a:pt x="58" y="6"/>
                </a:lnTo>
                <a:lnTo>
                  <a:pt x="58" y="3"/>
                </a:lnTo>
                <a:lnTo>
                  <a:pt x="60" y="1"/>
                </a:lnTo>
                <a:lnTo>
                  <a:pt x="62" y="0"/>
                </a:lnTo>
                <a:lnTo>
                  <a:pt x="62" y="2"/>
                </a:lnTo>
                <a:lnTo>
                  <a:pt x="64" y="3"/>
                </a:lnTo>
                <a:lnTo>
                  <a:pt x="66" y="3"/>
                </a:lnTo>
                <a:lnTo>
                  <a:pt x="69" y="0"/>
                </a:lnTo>
                <a:lnTo>
                  <a:pt x="70" y="0"/>
                </a:lnTo>
                <a:lnTo>
                  <a:pt x="71" y="2"/>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1214" name="Bulgaria">
            <a:extLst>
              <a:ext uri="{FF2B5EF4-FFF2-40B4-BE49-F238E27FC236}">
                <a16:creationId xmlns:a16="http://schemas.microsoft.com/office/drawing/2014/main" id="{62683F2F-7C57-4BF1-87AF-45C0453CD0D9}"/>
              </a:ext>
            </a:extLst>
          </p:cNvPr>
          <p:cNvSpPr>
            <a:spLocks/>
          </p:cNvSpPr>
          <p:nvPr/>
        </p:nvSpPr>
        <p:spPr bwMode="auto">
          <a:xfrm>
            <a:off x="6488655" y="3343946"/>
            <a:ext cx="189720" cy="105926"/>
          </a:xfrm>
          <a:custGeom>
            <a:avLst/>
            <a:gdLst>
              <a:gd name="T0" fmla="*/ 194 w 195"/>
              <a:gd name="T1" fmla="*/ 31 h 126"/>
              <a:gd name="T2" fmla="*/ 180 w 195"/>
              <a:gd name="T3" fmla="*/ 36 h 126"/>
              <a:gd name="T4" fmla="*/ 174 w 195"/>
              <a:gd name="T5" fmla="*/ 45 h 126"/>
              <a:gd name="T6" fmla="*/ 171 w 195"/>
              <a:gd name="T7" fmla="*/ 65 h 126"/>
              <a:gd name="T8" fmla="*/ 165 w 195"/>
              <a:gd name="T9" fmla="*/ 78 h 126"/>
              <a:gd name="T10" fmla="*/ 176 w 195"/>
              <a:gd name="T11" fmla="*/ 93 h 126"/>
              <a:gd name="T12" fmla="*/ 171 w 195"/>
              <a:gd name="T13" fmla="*/ 96 h 126"/>
              <a:gd name="T14" fmla="*/ 166 w 195"/>
              <a:gd name="T15" fmla="*/ 96 h 126"/>
              <a:gd name="T16" fmla="*/ 160 w 195"/>
              <a:gd name="T17" fmla="*/ 97 h 126"/>
              <a:gd name="T18" fmla="*/ 153 w 195"/>
              <a:gd name="T19" fmla="*/ 91 h 126"/>
              <a:gd name="T20" fmla="*/ 144 w 195"/>
              <a:gd name="T21" fmla="*/ 94 h 126"/>
              <a:gd name="T22" fmla="*/ 135 w 195"/>
              <a:gd name="T23" fmla="*/ 96 h 126"/>
              <a:gd name="T24" fmla="*/ 131 w 195"/>
              <a:gd name="T25" fmla="*/ 99 h 126"/>
              <a:gd name="T26" fmla="*/ 125 w 195"/>
              <a:gd name="T27" fmla="*/ 103 h 126"/>
              <a:gd name="T28" fmla="*/ 124 w 195"/>
              <a:gd name="T29" fmla="*/ 107 h 126"/>
              <a:gd name="T30" fmla="*/ 117 w 195"/>
              <a:gd name="T31" fmla="*/ 107 h 126"/>
              <a:gd name="T32" fmla="*/ 117 w 195"/>
              <a:gd name="T33" fmla="*/ 111 h 126"/>
              <a:gd name="T34" fmla="*/ 118 w 195"/>
              <a:gd name="T35" fmla="*/ 120 h 126"/>
              <a:gd name="T36" fmla="*/ 107 w 195"/>
              <a:gd name="T37" fmla="*/ 123 h 126"/>
              <a:gd name="T38" fmla="*/ 99 w 195"/>
              <a:gd name="T39" fmla="*/ 124 h 126"/>
              <a:gd name="T40" fmla="*/ 87 w 195"/>
              <a:gd name="T41" fmla="*/ 123 h 126"/>
              <a:gd name="T42" fmla="*/ 76 w 195"/>
              <a:gd name="T43" fmla="*/ 121 h 126"/>
              <a:gd name="T44" fmla="*/ 70 w 195"/>
              <a:gd name="T45" fmla="*/ 118 h 126"/>
              <a:gd name="T46" fmla="*/ 67 w 195"/>
              <a:gd name="T47" fmla="*/ 113 h 126"/>
              <a:gd name="T48" fmla="*/ 59 w 195"/>
              <a:gd name="T49" fmla="*/ 114 h 126"/>
              <a:gd name="T50" fmla="*/ 52 w 195"/>
              <a:gd name="T51" fmla="*/ 117 h 126"/>
              <a:gd name="T52" fmla="*/ 44 w 195"/>
              <a:gd name="T53" fmla="*/ 119 h 126"/>
              <a:gd name="T54" fmla="*/ 34 w 195"/>
              <a:gd name="T55" fmla="*/ 120 h 126"/>
              <a:gd name="T56" fmla="*/ 25 w 195"/>
              <a:gd name="T57" fmla="*/ 123 h 126"/>
              <a:gd name="T58" fmla="*/ 18 w 195"/>
              <a:gd name="T59" fmla="*/ 122 h 126"/>
              <a:gd name="T60" fmla="*/ 20 w 195"/>
              <a:gd name="T61" fmla="*/ 106 h 126"/>
              <a:gd name="T62" fmla="*/ 18 w 195"/>
              <a:gd name="T63" fmla="*/ 102 h 126"/>
              <a:gd name="T64" fmla="*/ 10 w 195"/>
              <a:gd name="T65" fmla="*/ 92 h 126"/>
              <a:gd name="T66" fmla="*/ 0 w 195"/>
              <a:gd name="T67" fmla="*/ 82 h 126"/>
              <a:gd name="T68" fmla="*/ 5 w 195"/>
              <a:gd name="T69" fmla="*/ 76 h 126"/>
              <a:gd name="T70" fmla="*/ 4 w 195"/>
              <a:gd name="T71" fmla="*/ 72 h 126"/>
              <a:gd name="T72" fmla="*/ 4 w 195"/>
              <a:gd name="T73" fmla="*/ 63 h 126"/>
              <a:gd name="T74" fmla="*/ 5 w 195"/>
              <a:gd name="T75" fmla="*/ 58 h 126"/>
              <a:gd name="T76" fmla="*/ 14 w 195"/>
              <a:gd name="T77" fmla="*/ 53 h 126"/>
              <a:gd name="T78" fmla="*/ 19 w 195"/>
              <a:gd name="T79" fmla="*/ 49 h 126"/>
              <a:gd name="T80" fmla="*/ 16 w 195"/>
              <a:gd name="T81" fmla="*/ 42 h 126"/>
              <a:gd name="T82" fmla="*/ 11 w 195"/>
              <a:gd name="T83" fmla="*/ 36 h 126"/>
              <a:gd name="T84" fmla="*/ 4 w 195"/>
              <a:gd name="T85" fmla="*/ 27 h 126"/>
              <a:gd name="T86" fmla="*/ 1 w 195"/>
              <a:gd name="T87" fmla="*/ 21 h 126"/>
              <a:gd name="T88" fmla="*/ 2 w 195"/>
              <a:gd name="T89" fmla="*/ 11 h 126"/>
              <a:gd name="T90" fmla="*/ 8 w 195"/>
              <a:gd name="T91" fmla="*/ 7 h 126"/>
              <a:gd name="T92" fmla="*/ 10 w 195"/>
              <a:gd name="T93" fmla="*/ 0 h 126"/>
              <a:gd name="T94" fmla="*/ 19 w 195"/>
              <a:gd name="T95" fmla="*/ 4 h 126"/>
              <a:gd name="T96" fmla="*/ 20 w 195"/>
              <a:gd name="T97" fmla="*/ 9 h 126"/>
              <a:gd name="T98" fmla="*/ 16 w 195"/>
              <a:gd name="T99" fmla="*/ 14 h 126"/>
              <a:gd name="T100" fmla="*/ 27 w 195"/>
              <a:gd name="T101" fmla="*/ 15 h 126"/>
              <a:gd name="T102" fmla="*/ 59 w 195"/>
              <a:gd name="T103" fmla="*/ 20 h 126"/>
              <a:gd name="T104" fmla="*/ 88 w 195"/>
              <a:gd name="T105" fmla="*/ 23 h 126"/>
              <a:gd name="T106" fmla="*/ 108 w 195"/>
              <a:gd name="T107" fmla="*/ 20 h 126"/>
              <a:gd name="T108" fmla="*/ 129 w 195"/>
              <a:gd name="T109" fmla="*/ 6 h 126"/>
              <a:gd name="T110" fmla="*/ 149 w 195"/>
              <a:gd name="T111" fmla="*/ 3 h 126"/>
              <a:gd name="T112" fmla="*/ 166 w 195"/>
              <a:gd name="T113" fmla="*/ 10 h 126"/>
              <a:gd name="T114" fmla="*/ 173 w 195"/>
              <a:gd name="T115" fmla="*/ 10 h 126"/>
              <a:gd name="T116" fmla="*/ 183 w 195"/>
              <a:gd name="T117" fmla="*/ 2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5" h="126">
                <a:moveTo>
                  <a:pt x="195" y="21"/>
                </a:moveTo>
                <a:lnTo>
                  <a:pt x="195" y="21"/>
                </a:lnTo>
                <a:lnTo>
                  <a:pt x="194" y="31"/>
                </a:lnTo>
                <a:lnTo>
                  <a:pt x="191" y="36"/>
                </a:lnTo>
                <a:lnTo>
                  <a:pt x="186" y="34"/>
                </a:lnTo>
                <a:lnTo>
                  <a:pt x="180" y="36"/>
                </a:lnTo>
                <a:lnTo>
                  <a:pt x="177" y="41"/>
                </a:lnTo>
                <a:lnTo>
                  <a:pt x="176" y="43"/>
                </a:lnTo>
                <a:lnTo>
                  <a:pt x="174" y="45"/>
                </a:lnTo>
                <a:lnTo>
                  <a:pt x="173" y="52"/>
                </a:lnTo>
                <a:lnTo>
                  <a:pt x="173" y="63"/>
                </a:lnTo>
                <a:lnTo>
                  <a:pt x="171" y="65"/>
                </a:lnTo>
                <a:lnTo>
                  <a:pt x="169" y="65"/>
                </a:lnTo>
                <a:lnTo>
                  <a:pt x="160" y="75"/>
                </a:lnTo>
                <a:lnTo>
                  <a:pt x="165" y="78"/>
                </a:lnTo>
                <a:lnTo>
                  <a:pt x="167" y="80"/>
                </a:lnTo>
                <a:lnTo>
                  <a:pt x="171" y="86"/>
                </a:lnTo>
                <a:lnTo>
                  <a:pt x="176" y="93"/>
                </a:lnTo>
                <a:lnTo>
                  <a:pt x="177" y="96"/>
                </a:lnTo>
                <a:lnTo>
                  <a:pt x="173" y="95"/>
                </a:lnTo>
                <a:lnTo>
                  <a:pt x="171" y="96"/>
                </a:lnTo>
                <a:lnTo>
                  <a:pt x="170" y="97"/>
                </a:lnTo>
                <a:lnTo>
                  <a:pt x="168" y="96"/>
                </a:lnTo>
                <a:lnTo>
                  <a:pt x="166" y="96"/>
                </a:lnTo>
                <a:lnTo>
                  <a:pt x="163" y="98"/>
                </a:lnTo>
                <a:lnTo>
                  <a:pt x="162" y="98"/>
                </a:lnTo>
                <a:lnTo>
                  <a:pt x="160" y="97"/>
                </a:lnTo>
                <a:lnTo>
                  <a:pt x="156" y="94"/>
                </a:lnTo>
                <a:lnTo>
                  <a:pt x="154" y="91"/>
                </a:lnTo>
                <a:lnTo>
                  <a:pt x="153" y="91"/>
                </a:lnTo>
                <a:lnTo>
                  <a:pt x="151" y="92"/>
                </a:lnTo>
                <a:lnTo>
                  <a:pt x="145" y="92"/>
                </a:lnTo>
                <a:lnTo>
                  <a:pt x="144" y="94"/>
                </a:lnTo>
                <a:lnTo>
                  <a:pt x="141" y="95"/>
                </a:lnTo>
                <a:lnTo>
                  <a:pt x="139" y="96"/>
                </a:lnTo>
                <a:lnTo>
                  <a:pt x="135" y="96"/>
                </a:lnTo>
                <a:lnTo>
                  <a:pt x="133" y="96"/>
                </a:lnTo>
                <a:lnTo>
                  <a:pt x="132" y="97"/>
                </a:lnTo>
                <a:lnTo>
                  <a:pt x="131" y="99"/>
                </a:lnTo>
                <a:lnTo>
                  <a:pt x="130" y="101"/>
                </a:lnTo>
                <a:lnTo>
                  <a:pt x="130" y="102"/>
                </a:lnTo>
                <a:lnTo>
                  <a:pt x="125" y="103"/>
                </a:lnTo>
                <a:lnTo>
                  <a:pt x="124" y="104"/>
                </a:lnTo>
                <a:lnTo>
                  <a:pt x="124" y="105"/>
                </a:lnTo>
                <a:lnTo>
                  <a:pt x="124" y="107"/>
                </a:lnTo>
                <a:lnTo>
                  <a:pt x="120" y="105"/>
                </a:lnTo>
                <a:lnTo>
                  <a:pt x="117" y="106"/>
                </a:lnTo>
                <a:lnTo>
                  <a:pt x="117" y="107"/>
                </a:lnTo>
                <a:lnTo>
                  <a:pt x="116" y="108"/>
                </a:lnTo>
                <a:lnTo>
                  <a:pt x="116" y="110"/>
                </a:lnTo>
                <a:lnTo>
                  <a:pt x="117" y="111"/>
                </a:lnTo>
                <a:lnTo>
                  <a:pt x="118" y="115"/>
                </a:lnTo>
                <a:lnTo>
                  <a:pt x="119" y="118"/>
                </a:lnTo>
                <a:lnTo>
                  <a:pt x="118" y="120"/>
                </a:lnTo>
                <a:lnTo>
                  <a:pt x="116" y="122"/>
                </a:lnTo>
                <a:lnTo>
                  <a:pt x="111" y="123"/>
                </a:lnTo>
                <a:lnTo>
                  <a:pt x="107" y="123"/>
                </a:lnTo>
                <a:lnTo>
                  <a:pt x="105" y="123"/>
                </a:lnTo>
                <a:lnTo>
                  <a:pt x="102" y="123"/>
                </a:lnTo>
                <a:lnTo>
                  <a:pt x="99" y="124"/>
                </a:lnTo>
                <a:lnTo>
                  <a:pt x="95" y="125"/>
                </a:lnTo>
                <a:lnTo>
                  <a:pt x="91" y="126"/>
                </a:lnTo>
                <a:lnTo>
                  <a:pt x="87" y="123"/>
                </a:lnTo>
                <a:lnTo>
                  <a:pt x="82" y="121"/>
                </a:lnTo>
                <a:lnTo>
                  <a:pt x="78" y="120"/>
                </a:lnTo>
                <a:lnTo>
                  <a:pt x="76" y="121"/>
                </a:lnTo>
                <a:lnTo>
                  <a:pt x="76" y="122"/>
                </a:lnTo>
                <a:lnTo>
                  <a:pt x="72" y="119"/>
                </a:lnTo>
                <a:lnTo>
                  <a:pt x="70" y="118"/>
                </a:lnTo>
                <a:lnTo>
                  <a:pt x="69" y="117"/>
                </a:lnTo>
                <a:lnTo>
                  <a:pt x="68" y="113"/>
                </a:lnTo>
                <a:lnTo>
                  <a:pt x="67" y="113"/>
                </a:lnTo>
                <a:lnTo>
                  <a:pt x="64" y="115"/>
                </a:lnTo>
                <a:lnTo>
                  <a:pt x="61" y="115"/>
                </a:lnTo>
                <a:lnTo>
                  <a:pt x="59" y="114"/>
                </a:lnTo>
                <a:lnTo>
                  <a:pt x="53" y="114"/>
                </a:lnTo>
                <a:lnTo>
                  <a:pt x="53" y="117"/>
                </a:lnTo>
                <a:lnTo>
                  <a:pt x="52" y="117"/>
                </a:lnTo>
                <a:lnTo>
                  <a:pt x="51" y="118"/>
                </a:lnTo>
                <a:lnTo>
                  <a:pt x="48" y="117"/>
                </a:lnTo>
                <a:lnTo>
                  <a:pt x="44" y="119"/>
                </a:lnTo>
                <a:lnTo>
                  <a:pt x="40" y="120"/>
                </a:lnTo>
                <a:lnTo>
                  <a:pt x="37" y="120"/>
                </a:lnTo>
                <a:lnTo>
                  <a:pt x="34" y="120"/>
                </a:lnTo>
                <a:lnTo>
                  <a:pt x="32" y="120"/>
                </a:lnTo>
                <a:lnTo>
                  <a:pt x="28" y="120"/>
                </a:lnTo>
                <a:lnTo>
                  <a:pt x="25" y="123"/>
                </a:lnTo>
                <a:lnTo>
                  <a:pt x="21" y="123"/>
                </a:lnTo>
                <a:lnTo>
                  <a:pt x="18" y="122"/>
                </a:lnTo>
                <a:lnTo>
                  <a:pt x="18" y="122"/>
                </a:lnTo>
                <a:lnTo>
                  <a:pt x="19" y="111"/>
                </a:lnTo>
                <a:lnTo>
                  <a:pt x="21" y="107"/>
                </a:lnTo>
                <a:lnTo>
                  <a:pt x="20" y="106"/>
                </a:lnTo>
                <a:lnTo>
                  <a:pt x="20" y="105"/>
                </a:lnTo>
                <a:lnTo>
                  <a:pt x="19" y="104"/>
                </a:lnTo>
                <a:lnTo>
                  <a:pt x="18" y="102"/>
                </a:lnTo>
                <a:lnTo>
                  <a:pt x="15" y="95"/>
                </a:lnTo>
                <a:lnTo>
                  <a:pt x="14" y="94"/>
                </a:lnTo>
                <a:lnTo>
                  <a:pt x="10" y="92"/>
                </a:lnTo>
                <a:lnTo>
                  <a:pt x="7" y="90"/>
                </a:lnTo>
                <a:lnTo>
                  <a:pt x="5" y="88"/>
                </a:lnTo>
                <a:lnTo>
                  <a:pt x="0" y="82"/>
                </a:lnTo>
                <a:lnTo>
                  <a:pt x="2" y="81"/>
                </a:lnTo>
                <a:lnTo>
                  <a:pt x="3" y="80"/>
                </a:lnTo>
                <a:lnTo>
                  <a:pt x="5" y="76"/>
                </a:lnTo>
                <a:lnTo>
                  <a:pt x="6" y="75"/>
                </a:lnTo>
                <a:lnTo>
                  <a:pt x="6" y="74"/>
                </a:lnTo>
                <a:lnTo>
                  <a:pt x="4" y="72"/>
                </a:lnTo>
                <a:lnTo>
                  <a:pt x="3" y="68"/>
                </a:lnTo>
                <a:lnTo>
                  <a:pt x="4" y="65"/>
                </a:lnTo>
                <a:lnTo>
                  <a:pt x="4" y="63"/>
                </a:lnTo>
                <a:lnTo>
                  <a:pt x="3" y="61"/>
                </a:lnTo>
                <a:lnTo>
                  <a:pt x="4" y="59"/>
                </a:lnTo>
                <a:lnTo>
                  <a:pt x="5" y="58"/>
                </a:lnTo>
                <a:lnTo>
                  <a:pt x="7" y="58"/>
                </a:lnTo>
                <a:lnTo>
                  <a:pt x="11" y="58"/>
                </a:lnTo>
                <a:lnTo>
                  <a:pt x="14" y="53"/>
                </a:lnTo>
                <a:lnTo>
                  <a:pt x="16" y="52"/>
                </a:lnTo>
                <a:lnTo>
                  <a:pt x="18" y="49"/>
                </a:lnTo>
                <a:lnTo>
                  <a:pt x="19" y="49"/>
                </a:lnTo>
                <a:lnTo>
                  <a:pt x="19" y="47"/>
                </a:lnTo>
                <a:lnTo>
                  <a:pt x="20" y="45"/>
                </a:lnTo>
                <a:lnTo>
                  <a:pt x="16" y="42"/>
                </a:lnTo>
                <a:lnTo>
                  <a:pt x="15" y="40"/>
                </a:lnTo>
                <a:lnTo>
                  <a:pt x="13" y="38"/>
                </a:lnTo>
                <a:lnTo>
                  <a:pt x="11" y="36"/>
                </a:lnTo>
                <a:lnTo>
                  <a:pt x="6" y="33"/>
                </a:lnTo>
                <a:lnTo>
                  <a:pt x="5" y="31"/>
                </a:lnTo>
                <a:lnTo>
                  <a:pt x="4" y="27"/>
                </a:lnTo>
                <a:lnTo>
                  <a:pt x="3" y="24"/>
                </a:lnTo>
                <a:lnTo>
                  <a:pt x="1" y="22"/>
                </a:lnTo>
                <a:lnTo>
                  <a:pt x="1" y="21"/>
                </a:lnTo>
                <a:lnTo>
                  <a:pt x="1" y="19"/>
                </a:lnTo>
                <a:lnTo>
                  <a:pt x="1" y="16"/>
                </a:lnTo>
                <a:lnTo>
                  <a:pt x="2" y="11"/>
                </a:lnTo>
                <a:lnTo>
                  <a:pt x="2" y="9"/>
                </a:lnTo>
                <a:lnTo>
                  <a:pt x="4" y="9"/>
                </a:lnTo>
                <a:lnTo>
                  <a:pt x="8" y="7"/>
                </a:lnTo>
                <a:lnTo>
                  <a:pt x="8" y="3"/>
                </a:lnTo>
                <a:lnTo>
                  <a:pt x="9" y="1"/>
                </a:lnTo>
                <a:lnTo>
                  <a:pt x="10" y="0"/>
                </a:lnTo>
                <a:lnTo>
                  <a:pt x="11" y="0"/>
                </a:lnTo>
                <a:lnTo>
                  <a:pt x="13" y="1"/>
                </a:lnTo>
                <a:lnTo>
                  <a:pt x="19" y="4"/>
                </a:lnTo>
                <a:lnTo>
                  <a:pt x="21" y="6"/>
                </a:lnTo>
                <a:lnTo>
                  <a:pt x="21" y="8"/>
                </a:lnTo>
                <a:lnTo>
                  <a:pt x="20" y="9"/>
                </a:lnTo>
                <a:lnTo>
                  <a:pt x="18" y="10"/>
                </a:lnTo>
                <a:lnTo>
                  <a:pt x="16" y="12"/>
                </a:lnTo>
                <a:lnTo>
                  <a:pt x="16" y="14"/>
                </a:lnTo>
                <a:lnTo>
                  <a:pt x="16" y="16"/>
                </a:lnTo>
                <a:lnTo>
                  <a:pt x="18" y="17"/>
                </a:lnTo>
                <a:lnTo>
                  <a:pt x="27" y="15"/>
                </a:lnTo>
                <a:lnTo>
                  <a:pt x="37" y="16"/>
                </a:lnTo>
                <a:lnTo>
                  <a:pt x="50" y="19"/>
                </a:lnTo>
                <a:lnTo>
                  <a:pt x="59" y="20"/>
                </a:lnTo>
                <a:lnTo>
                  <a:pt x="65" y="19"/>
                </a:lnTo>
                <a:lnTo>
                  <a:pt x="77" y="21"/>
                </a:lnTo>
                <a:lnTo>
                  <a:pt x="88" y="23"/>
                </a:lnTo>
                <a:lnTo>
                  <a:pt x="98" y="24"/>
                </a:lnTo>
                <a:lnTo>
                  <a:pt x="104" y="22"/>
                </a:lnTo>
                <a:lnTo>
                  <a:pt x="108" y="20"/>
                </a:lnTo>
                <a:lnTo>
                  <a:pt x="112" y="15"/>
                </a:lnTo>
                <a:lnTo>
                  <a:pt x="121" y="10"/>
                </a:lnTo>
                <a:lnTo>
                  <a:pt x="129" y="6"/>
                </a:lnTo>
                <a:lnTo>
                  <a:pt x="140" y="3"/>
                </a:lnTo>
                <a:lnTo>
                  <a:pt x="148" y="3"/>
                </a:lnTo>
                <a:lnTo>
                  <a:pt x="149" y="3"/>
                </a:lnTo>
                <a:lnTo>
                  <a:pt x="158" y="9"/>
                </a:lnTo>
                <a:lnTo>
                  <a:pt x="163" y="9"/>
                </a:lnTo>
                <a:lnTo>
                  <a:pt x="166" y="10"/>
                </a:lnTo>
                <a:lnTo>
                  <a:pt x="167" y="11"/>
                </a:lnTo>
                <a:lnTo>
                  <a:pt x="168" y="12"/>
                </a:lnTo>
                <a:lnTo>
                  <a:pt x="173" y="10"/>
                </a:lnTo>
                <a:lnTo>
                  <a:pt x="175" y="13"/>
                </a:lnTo>
                <a:lnTo>
                  <a:pt x="178" y="17"/>
                </a:lnTo>
                <a:lnTo>
                  <a:pt x="183" y="20"/>
                </a:lnTo>
                <a:lnTo>
                  <a:pt x="188" y="21"/>
                </a:lnTo>
                <a:lnTo>
                  <a:pt x="189" y="21"/>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1215" name="Belarus">
            <a:extLst>
              <a:ext uri="{FF2B5EF4-FFF2-40B4-BE49-F238E27FC236}">
                <a16:creationId xmlns:a16="http://schemas.microsoft.com/office/drawing/2014/main" id="{55F2BE97-D3A1-4A66-94A6-E9587C9A2569}"/>
              </a:ext>
            </a:extLst>
          </p:cNvPr>
          <p:cNvSpPr>
            <a:spLocks/>
          </p:cNvSpPr>
          <p:nvPr/>
        </p:nvSpPr>
        <p:spPr bwMode="auto">
          <a:xfrm>
            <a:off x="6515440" y="2849622"/>
            <a:ext cx="285695" cy="217739"/>
          </a:xfrm>
          <a:custGeom>
            <a:avLst/>
            <a:gdLst>
              <a:gd name="T0" fmla="*/ 163 w 297"/>
              <a:gd name="T1" fmla="*/ 3 h 257"/>
              <a:gd name="T2" fmla="*/ 180 w 297"/>
              <a:gd name="T3" fmla="*/ 8 h 257"/>
              <a:gd name="T4" fmla="*/ 194 w 297"/>
              <a:gd name="T5" fmla="*/ 15 h 257"/>
              <a:gd name="T6" fmla="*/ 203 w 297"/>
              <a:gd name="T7" fmla="*/ 21 h 257"/>
              <a:gd name="T8" fmla="*/ 220 w 297"/>
              <a:gd name="T9" fmla="*/ 17 h 257"/>
              <a:gd name="T10" fmla="*/ 235 w 297"/>
              <a:gd name="T11" fmla="*/ 29 h 257"/>
              <a:gd name="T12" fmla="*/ 241 w 297"/>
              <a:gd name="T13" fmla="*/ 41 h 257"/>
              <a:gd name="T14" fmla="*/ 243 w 297"/>
              <a:gd name="T15" fmla="*/ 56 h 257"/>
              <a:gd name="T16" fmla="*/ 237 w 297"/>
              <a:gd name="T17" fmla="*/ 74 h 257"/>
              <a:gd name="T18" fmla="*/ 246 w 297"/>
              <a:gd name="T19" fmla="*/ 89 h 257"/>
              <a:gd name="T20" fmla="*/ 263 w 297"/>
              <a:gd name="T21" fmla="*/ 111 h 257"/>
              <a:gd name="T22" fmla="*/ 267 w 297"/>
              <a:gd name="T23" fmla="*/ 127 h 257"/>
              <a:gd name="T24" fmla="*/ 288 w 297"/>
              <a:gd name="T25" fmla="*/ 137 h 257"/>
              <a:gd name="T26" fmla="*/ 297 w 297"/>
              <a:gd name="T27" fmla="*/ 151 h 257"/>
              <a:gd name="T28" fmla="*/ 279 w 297"/>
              <a:gd name="T29" fmla="*/ 164 h 257"/>
              <a:gd name="T30" fmla="*/ 261 w 297"/>
              <a:gd name="T31" fmla="*/ 158 h 257"/>
              <a:gd name="T32" fmla="*/ 253 w 297"/>
              <a:gd name="T33" fmla="*/ 170 h 257"/>
              <a:gd name="T34" fmla="*/ 260 w 297"/>
              <a:gd name="T35" fmla="*/ 184 h 257"/>
              <a:gd name="T36" fmla="*/ 263 w 297"/>
              <a:gd name="T37" fmla="*/ 206 h 257"/>
              <a:gd name="T38" fmla="*/ 255 w 297"/>
              <a:gd name="T39" fmla="*/ 215 h 257"/>
              <a:gd name="T40" fmla="*/ 236 w 297"/>
              <a:gd name="T41" fmla="*/ 225 h 257"/>
              <a:gd name="T42" fmla="*/ 231 w 297"/>
              <a:gd name="T43" fmla="*/ 247 h 257"/>
              <a:gd name="T44" fmla="*/ 223 w 297"/>
              <a:gd name="T45" fmla="*/ 254 h 257"/>
              <a:gd name="T46" fmla="*/ 203 w 297"/>
              <a:gd name="T47" fmla="*/ 248 h 257"/>
              <a:gd name="T48" fmla="*/ 187 w 297"/>
              <a:gd name="T49" fmla="*/ 241 h 257"/>
              <a:gd name="T50" fmla="*/ 179 w 297"/>
              <a:gd name="T51" fmla="*/ 242 h 257"/>
              <a:gd name="T52" fmla="*/ 169 w 297"/>
              <a:gd name="T53" fmla="*/ 243 h 257"/>
              <a:gd name="T54" fmla="*/ 153 w 297"/>
              <a:gd name="T55" fmla="*/ 242 h 257"/>
              <a:gd name="T56" fmla="*/ 141 w 297"/>
              <a:gd name="T57" fmla="*/ 246 h 257"/>
              <a:gd name="T58" fmla="*/ 128 w 297"/>
              <a:gd name="T59" fmla="*/ 240 h 257"/>
              <a:gd name="T60" fmla="*/ 106 w 297"/>
              <a:gd name="T61" fmla="*/ 230 h 257"/>
              <a:gd name="T62" fmla="*/ 75 w 297"/>
              <a:gd name="T63" fmla="*/ 224 h 257"/>
              <a:gd name="T64" fmla="*/ 45 w 297"/>
              <a:gd name="T65" fmla="*/ 226 h 257"/>
              <a:gd name="T66" fmla="*/ 25 w 297"/>
              <a:gd name="T67" fmla="*/ 241 h 257"/>
              <a:gd name="T68" fmla="*/ 13 w 297"/>
              <a:gd name="T69" fmla="*/ 240 h 257"/>
              <a:gd name="T70" fmla="*/ 14 w 297"/>
              <a:gd name="T71" fmla="*/ 230 h 257"/>
              <a:gd name="T72" fmla="*/ 10 w 297"/>
              <a:gd name="T73" fmla="*/ 213 h 257"/>
              <a:gd name="T74" fmla="*/ 1 w 297"/>
              <a:gd name="T75" fmla="*/ 203 h 257"/>
              <a:gd name="T76" fmla="*/ 23 w 297"/>
              <a:gd name="T77" fmla="*/ 181 h 257"/>
              <a:gd name="T78" fmla="*/ 13 w 297"/>
              <a:gd name="T79" fmla="*/ 138 h 257"/>
              <a:gd name="T80" fmla="*/ 26 w 297"/>
              <a:gd name="T81" fmla="*/ 120 h 257"/>
              <a:gd name="T82" fmla="*/ 45 w 297"/>
              <a:gd name="T83" fmla="*/ 118 h 257"/>
              <a:gd name="T84" fmla="*/ 60 w 297"/>
              <a:gd name="T85" fmla="*/ 108 h 257"/>
              <a:gd name="T86" fmla="*/ 73 w 297"/>
              <a:gd name="T87" fmla="*/ 105 h 257"/>
              <a:gd name="T88" fmla="*/ 81 w 297"/>
              <a:gd name="T89" fmla="*/ 107 h 257"/>
              <a:gd name="T90" fmla="*/ 74 w 297"/>
              <a:gd name="T91" fmla="*/ 99 h 257"/>
              <a:gd name="T92" fmla="*/ 79 w 297"/>
              <a:gd name="T93" fmla="*/ 83 h 257"/>
              <a:gd name="T94" fmla="*/ 93 w 297"/>
              <a:gd name="T95" fmla="*/ 63 h 257"/>
              <a:gd name="T96" fmla="*/ 108 w 297"/>
              <a:gd name="T97" fmla="*/ 52 h 257"/>
              <a:gd name="T98" fmla="*/ 103 w 297"/>
              <a:gd name="T99" fmla="*/ 46 h 257"/>
              <a:gd name="T100" fmla="*/ 106 w 297"/>
              <a:gd name="T101" fmla="*/ 27 h 257"/>
              <a:gd name="T102" fmla="*/ 129 w 297"/>
              <a:gd name="T103" fmla="*/ 19 h 257"/>
              <a:gd name="T104" fmla="*/ 141 w 297"/>
              <a:gd name="T105" fmla="*/ 11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7" h="257">
                <a:moveTo>
                  <a:pt x="155" y="0"/>
                </a:moveTo>
                <a:lnTo>
                  <a:pt x="155" y="0"/>
                </a:lnTo>
                <a:lnTo>
                  <a:pt x="159" y="5"/>
                </a:lnTo>
                <a:lnTo>
                  <a:pt x="160" y="5"/>
                </a:lnTo>
                <a:lnTo>
                  <a:pt x="163" y="3"/>
                </a:lnTo>
                <a:lnTo>
                  <a:pt x="163" y="3"/>
                </a:lnTo>
                <a:lnTo>
                  <a:pt x="168" y="3"/>
                </a:lnTo>
                <a:lnTo>
                  <a:pt x="170" y="5"/>
                </a:lnTo>
                <a:lnTo>
                  <a:pt x="172" y="8"/>
                </a:lnTo>
                <a:lnTo>
                  <a:pt x="173" y="11"/>
                </a:lnTo>
                <a:lnTo>
                  <a:pt x="175" y="11"/>
                </a:lnTo>
                <a:lnTo>
                  <a:pt x="180" y="8"/>
                </a:lnTo>
                <a:lnTo>
                  <a:pt x="182" y="7"/>
                </a:lnTo>
                <a:lnTo>
                  <a:pt x="184" y="7"/>
                </a:lnTo>
                <a:lnTo>
                  <a:pt x="190" y="10"/>
                </a:lnTo>
                <a:lnTo>
                  <a:pt x="193" y="12"/>
                </a:lnTo>
                <a:lnTo>
                  <a:pt x="194" y="13"/>
                </a:lnTo>
                <a:lnTo>
                  <a:pt x="194" y="15"/>
                </a:lnTo>
                <a:lnTo>
                  <a:pt x="193" y="17"/>
                </a:lnTo>
                <a:lnTo>
                  <a:pt x="192" y="20"/>
                </a:lnTo>
                <a:lnTo>
                  <a:pt x="194" y="23"/>
                </a:lnTo>
                <a:lnTo>
                  <a:pt x="196" y="26"/>
                </a:lnTo>
                <a:lnTo>
                  <a:pt x="201" y="22"/>
                </a:lnTo>
                <a:lnTo>
                  <a:pt x="203" y="21"/>
                </a:lnTo>
                <a:lnTo>
                  <a:pt x="205" y="21"/>
                </a:lnTo>
                <a:lnTo>
                  <a:pt x="207" y="19"/>
                </a:lnTo>
                <a:lnTo>
                  <a:pt x="209" y="17"/>
                </a:lnTo>
                <a:lnTo>
                  <a:pt x="211" y="17"/>
                </a:lnTo>
                <a:lnTo>
                  <a:pt x="214" y="17"/>
                </a:lnTo>
                <a:lnTo>
                  <a:pt x="220" y="17"/>
                </a:lnTo>
                <a:lnTo>
                  <a:pt x="227" y="20"/>
                </a:lnTo>
                <a:lnTo>
                  <a:pt x="227" y="21"/>
                </a:lnTo>
                <a:lnTo>
                  <a:pt x="231" y="25"/>
                </a:lnTo>
                <a:lnTo>
                  <a:pt x="232" y="27"/>
                </a:lnTo>
                <a:lnTo>
                  <a:pt x="233" y="27"/>
                </a:lnTo>
                <a:lnTo>
                  <a:pt x="235" y="29"/>
                </a:lnTo>
                <a:lnTo>
                  <a:pt x="238" y="30"/>
                </a:lnTo>
                <a:lnTo>
                  <a:pt x="239" y="30"/>
                </a:lnTo>
                <a:lnTo>
                  <a:pt x="240" y="30"/>
                </a:lnTo>
                <a:lnTo>
                  <a:pt x="241" y="32"/>
                </a:lnTo>
                <a:lnTo>
                  <a:pt x="241" y="34"/>
                </a:lnTo>
                <a:lnTo>
                  <a:pt x="241" y="41"/>
                </a:lnTo>
                <a:lnTo>
                  <a:pt x="239" y="43"/>
                </a:lnTo>
                <a:lnTo>
                  <a:pt x="238" y="45"/>
                </a:lnTo>
                <a:lnTo>
                  <a:pt x="238" y="46"/>
                </a:lnTo>
                <a:lnTo>
                  <a:pt x="238" y="48"/>
                </a:lnTo>
                <a:lnTo>
                  <a:pt x="240" y="51"/>
                </a:lnTo>
                <a:lnTo>
                  <a:pt x="243" y="56"/>
                </a:lnTo>
                <a:lnTo>
                  <a:pt x="243" y="58"/>
                </a:lnTo>
                <a:lnTo>
                  <a:pt x="243" y="60"/>
                </a:lnTo>
                <a:lnTo>
                  <a:pt x="240" y="66"/>
                </a:lnTo>
                <a:lnTo>
                  <a:pt x="239" y="68"/>
                </a:lnTo>
                <a:lnTo>
                  <a:pt x="238" y="71"/>
                </a:lnTo>
                <a:lnTo>
                  <a:pt x="237" y="74"/>
                </a:lnTo>
                <a:lnTo>
                  <a:pt x="238" y="75"/>
                </a:lnTo>
                <a:lnTo>
                  <a:pt x="243" y="79"/>
                </a:lnTo>
                <a:lnTo>
                  <a:pt x="248" y="82"/>
                </a:lnTo>
                <a:lnTo>
                  <a:pt x="249" y="83"/>
                </a:lnTo>
                <a:lnTo>
                  <a:pt x="249" y="84"/>
                </a:lnTo>
                <a:lnTo>
                  <a:pt x="246" y="89"/>
                </a:lnTo>
                <a:lnTo>
                  <a:pt x="246" y="90"/>
                </a:lnTo>
                <a:lnTo>
                  <a:pt x="250" y="93"/>
                </a:lnTo>
                <a:lnTo>
                  <a:pt x="251" y="96"/>
                </a:lnTo>
                <a:lnTo>
                  <a:pt x="253" y="101"/>
                </a:lnTo>
                <a:lnTo>
                  <a:pt x="256" y="106"/>
                </a:lnTo>
                <a:lnTo>
                  <a:pt x="263" y="111"/>
                </a:lnTo>
                <a:lnTo>
                  <a:pt x="269" y="114"/>
                </a:lnTo>
                <a:lnTo>
                  <a:pt x="270" y="115"/>
                </a:lnTo>
                <a:lnTo>
                  <a:pt x="270" y="117"/>
                </a:lnTo>
                <a:lnTo>
                  <a:pt x="270" y="120"/>
                </a:lnTo>
                <a:lnTo>
                  <a:pt x="268" y="124"/>
                </a:lnTo>
                <a:lnTo>
                  <a:pt x="267" y="127"/>
                </a:lnTo>
                <a:lnTo>
                  <a:pt x="269" y="128"/>
                </a:lnTo>
                <a:lnTo>
                  <a:pt x="275" y="127"/>
                </a:lnTo>
                <a:lnTo>
                  <a:pt x="281" y="128"/>
                </a:lnTo>
                <a:lnTo>
                  <a:pt x="289" y="133"/>
                </a:lnTo>
                <a:lnTo>
                  <a:pt x="289" y="135"/>
                </a:lnTo>
                <a:lnTo>
                  <a:pt x="288" y="137"/>
                </a:lnTo>
                <a:lnTo>
                  <a:pt x="289" y="139"/>
                </a:lnTo>
                <a:lnTo>
                  <a:pt x="290" y="140"/>
                </a:lnTo>
                <a:lnTo>
                  <a:pt x="296" y="146"/>
                </a:lnTo>
                <a:lnTo>
                  <a:pt x="297" y="147"/>
                </a:lnTo>
                <a:lnTo>
                  <a:pt x="297" y="150"/>
                </a:lnTo>
                <a:lnTo>
                  <a:pt x="297" y="151"/>
                </a:lnTo>
                <a:lnTo>
                  <a:pt x="295" y="152"/>
                </a:lnTo>
                <a:lnTo>
                  <a:pt x="293" y="153"/>
                </a:lnTo>
                <a:lnTo>
                  <a:pt x="290" y="155"/>
                </a:lnTo>
                <a:lnTo>
                  <a:pt x="288" y="158"/>
                </a:lnTo>
                <a:lnTo>
                  <a:pt x="283" y="162"/>
                </a:lnTo>
                <a:lnTo>
                  <a:pt x="279" y="164"/>
                </a:lnTo>
                <a:lnTo>
                  <a:pt x="277" y="164"/>
                </a:lnTo>
                <a:lnTo>
                  <a:pt x="270" y="163"/>
                </a:lnTo>
                <a:lnTo>
                  <a:pt x="268" y="161"/>
                </a:lnTo>
                <a:lnTo>
                  <a:pt x="267" y="159"/>
                </a:lnTo>
                <a:lnTo>
                  <a:pt x="265" y="159"/>
                </a:lnTo>
                <a:lnTo>
                  <a:pt x="261" y="158"/>
                </a:lnTo>
                <a:lnTo>
                  <a:pt x="257" y="159"/>
                </a:lnTo>
                <a:lnTo>
                  <a:pt x="256" y="159"/>
                </a:lnTo>
                <a:lnTo>
                  <a:pt x="255" y="162"/>
                </a:lnTo>
                <a:lnTo>
                  <a:pt x="253" y="166"/>
                </a:lnTo>
                <a:lnTo>
                  <a:pt x="252" y="168"/>
                </a:lnTo>
                <a:lnTo>
                  <a:pt x="253" y="170"/>
                </a:lnTo>
                <a:lnTo>
                  <a:pt x="255" y="172"/>
                </a:lnTo>
                <a:lnTo>
                  <a:pt x="258" y="176"/>
                </a:lnTo>
                <a:lnTo>
                  <a:pt x="260" y="179"/>
                </a:lnTo>
                <a:lnTo>
                  <a:pt x="261" y="181"/>
                </a:lnTo>
                <a:lnTo>
                  <a:pt x="261" y="183"/>
                </a:lnTo>
                <a:lnTo>
                  <a:pt x="260" y="184"/>
                </a:lnTo>
                <a:lnTo>
                  <a:pt x="260" y="188"/>
                </a:lnTo>
                <a:lnTo>
                  <a:pt x="263" y="192"/>
                </a:lnTo>
                <a:lnTo>
                  <a:pt x="262" y="193"/>
                </a:lnTo>
                <a:lnTo>
                  <a:pt x="262" y="198"/>
                </a:lnTo>
                <a:lnTo>
                  <a:pt x="262" y="204"/>
                </a:lnTo>
                <a:lnTo>
                  <a:pt x="263" y="206"/>
                </a:lnTo>
                <a:lnTo>
                  <a:pt x="264" y="207"/>
                </a:lnTo>
                <a:lnTo>
                  <a:pt x="265" y="209"/>
                </a:lnTo>
                <a:lnTo>
                  <a:pt x="267" y="214"/>
                </a:lnTo>
                <a:lnTo>
                  <a:pt x="268" y="215"/>
                </a:lnTo>
                <a:lnTo>
                  <a:pt x="262" y="215"/>
                </a:lnTo>
                <a:lnTo>
                  <a:pt x="255" y="215"/>
                </a:lnTo>
                <a:lnTo>
                  <a:pt x="251" y="218"/>
                </a:lnTo>
                <a:lnTo>
                  <a:pt x="249" y="217"/>
                </a:lnTo>
                <a:lnTo>
                  <a:pt x="246" y="216"/>
                </a:lnTo>
                <a:lnTo>
                  <a:pt x="243" y="218"/>
                </a:lnTo>
                <a:lnTo>
                  <a:pt x="239" y="222"/>
                </a:lnTo>
                <a:lnTo>
                  <a:pt x="236" y="225"/>
                </a:lnTo>
                <a:lnTo>
                  <a:pt x="233" y="229"/>
                </a:lnTo>
                <a:lnTo>
                  <a:pt x="233" y="232"/>
                </a:lnTo>
                <a:lnTo>
                  <a:pt x="231" y="236"/>
                </a:lnTo>
                <a:lnTo>
                  <a:pt x="229" y="240"/>
                </a:lnTo>
                <a:lnTo>
                  <a:pt x="230" y="244"/>
                </a:lnTo>
                <a:lnTo>
                  <a:pt x="231" y="247"/>
                </a:lnTo>
                <a:lnTo>
                  <a:pt x="232" y="250"/>
                </a:lnTo>
                <a:lnTo>
                  <a:pt x="232" y="252"/>
                </a:lnTo>
                <a:lnTo>
                  <a:pt x="231" y="254"/>
                </a:lnTo>
                <a:lnTo>
                  <a:pt x="230" y="257"/>
                </a:lnTo>
                <a:lnTo>
                  <a:pt x="227" y="256"/>
                </a:lnTo>
                <a:lnTo>
                  <a:pt x="223" y="254"/>
                </a:lnTo>
                <a:lnTo>
                  <a:pt x="222" y="250"/>
                </a:lnTo>
                <a:lnTo>
                  <a:pt x="219" y="248"/>
                </a:lnTo>
                <a:lnTo>
                  <a:pt x="218" y="246"/>
                </a:lnTo>
                <a:lnTo>
                  <a:pt x="215" y="246"/>
                </a:lnTo>
                <a:lnTo>
                  <a:pt x="210" y="247"/>
                </a:lnTo>
                <a:lnTo>
                  <a:pt x="203" y="248"/>
                </a:lnTo>
                <a:lnTo>
                  <a:pt x="199" y="248"/>
                </a:lnTo>
                <a:lnTo>
                  <a:pt x="196" y="250"/>
                </a:lnTo>
                <a:lnTo>
                  <a:pt x="192" y="251"/>
                </a:lnTo>
                <a:lnTo>
                  <a:pt x="191" y="250"/>
                </a:lnTo>
                <a:lnTo>
                  <a:pt x="189" y="245"/>
                </a:lnTo>
                <a:lnTo>
                  <a:pt x="187" y="241"/>
                </a:lnTo>
                <a:lnTo>
                  <a:pt x="186" y="239"/>
                </a:lnTo>
                <a:lnTo>
                  <a:pt x="185" y="239"/>
                </a:lnTo>
                <a:lnTo>
                  <a:pt x="183" y="239"/>
                </a:lnTo>
                <a:lnTo>
                  <a:pt x="182" y="240"/>
                </a:lnTo>
                <a:lnTo>
                  <a:pt x="181" y="242"/>
                </a:lnTo>
                <a:lnTo>
                  <a:pt x="179" y="242"/>
                </a:lnTo>
                <a:lnTo>
                  <a:pt x="177" y="243"/>
                </a:lnTo>
                <a:lnTo>
                  <a:pt x="175" y="245"/>
                </a:lnTo>
                <a:lnTo>
                  <a:pt x="173" y="248"/>
                </a:lnTo>
                <a:lnTo>
                  <a:pt x="172" y="248"/>
                </a:lnTo>
                <a:lnTo>
                  <a:pt x="170" y="247"/>
                </a:lnTo>
                <a:lnTo>
                  <a:pt x="169" y="243"/>
                </a:lnTo>
                <a:lnTo>
                  <a:pt x="167" y="242"/>
                </a:lnTo>
                <a:lnTo>
                  <a:pt x="163" y="242"/>
                </a:lnTo>
                <a:lnTo>
                  <a:pt x="159" y="241"/>
                </a:lnTo>
                <a:lnTo>
                  <a:pt x="156" y="240"/>
                </a:lnTo>
                <a:lnTo>
                  <a:pt x="155" y="240"/>
                </a:lnTo>
                <a:lnTo>
                  <a:pt x="153" y="242"/>
                </a:lnTo>
                <a:lnTo>
                  <a:pt x="151" y="242"/>
                </a:lnTo>
                <a:lnTo>
                  <a:pt x="146" y="241"/>
                </a:lnTo>
                <a:lnTo>
                  <a:pt x="145" y="241"/>
                </a:lnTo>
                <a:lnTo>
                  <a:pt x="144" y="244"/>
                </a:lnTo>
                <a:lnTo>
                  <a:pt x="142" y="246"/>
                </a:lnTo>
                <a:lnTo>
                  <a:pt x="141" y="246"/>
                </a:lnTo>
                <a:lnTo>
                  <a:pt x="140" y="246"/>
                </a:lnTo>
                <a:lnTo>
                  <a:pt x="141" y="242"/>
                </a:lnTo>
                <a:lnTo>
                  <a:pt x="138" y="240"/>
                </a:lnTo>
                <a:lnTo>
                  <a:pt x="133" y="240"/>
                </a:lnTo>
                <a:lnTo>
                  <a:pt x="130" y="240"/>
                </a:lnTo>
                <a:lnTo>
                  <a:pt x="128" y="240"/>
                </a:lnTo>
                <a:lnTo>
                  <a:pt x="128" y="239"/>
                </a:lnTo>
                <a:lnTo>
                  <a:pt x="123" y="233"/>
                </a:lnTo>
                <a:lnTo>
                  <a:pt x="121" y="232"/>
                </a:lnTo>
                <a:lnTo>
                  <a:pt x="118" y="232"/>
                </a:lnTo>
                <a:lnTo>
                  <a:pt x="112" y="232"/>
                </a:lnTo>
                <a:lnTo>
                  <a:pt x="106" y="230"/>
                </a:lnTo>
                <a:lnTo>
                  <a:pt x="102" y="229"/>
                </a:lnTo>
                <a:lnTo>
                  <a:pt x="100" y="228"/>
                </a:lnTo>
                <a:lnTo>
                  <a:pt x="96" y="227"/>
                </a:lnTo>
                <a:lnTo>
                  <a:pt x="86" y="224"/>
                </a:lnTo>
                <a:lnTo>
                  <a:pt x="81" y="224"/>
                </a:lnTo>
                <a:lnTo>
                  <a:pt x="75" y="224"/>
                </a:lnTo>
                <a:lnTo>
                  <a:pt x="65" y="223"/>
                </a:lnTo>
                <a:lnTo>
                  <a:pt x="59" y="224"/>
                </a:lnTo>
                <a:lnTo>
                  <a:pt x="56" y="225"/>
                </a:lnTo>
                <a:lnTo>
                  <a:pt x="53" y="225"/>
                </a:lnTo>
                <a:lnTo>
                  <a:pt x="47" y="226"/>
                </a:lnTo>
                <a:lnTo>
                  <a:pt x="45" y="226"/>
                </a:lnTo>
                <a:lnTo>
                  <a:pt x="41" y="226"/>
                </a:lnTo>
                <a:lnTo>
                  <a:pt x="37" y="227"/>
                </a:lnTo>
                <a:lnTo>
                  <a:pt x="36" y="228"/>
                </a:lnTo>
                <a:lnTo>
                  <a:pt x="34" y="231"/>
                </a:lnTo>
                <a:lnTo>
                  <a:pt x="29" y="237"/>
                </a:lnTo>
                <a:lnTo>
                  <a:pt x="25" y="241"/>
                </a:lnTo>
                <a:lnTo>
                  <a:pt x="24" y="241"/>
                </a:lnTo>
                <a:lnTo>
                  <a:pt x="21" y="239"/>
                </a:lnTo>
                <a:lnTo>
                  <a:pt x="19" y="238"/>
                </a:lnTo>
                <a:lnTo>
                  <a:pt x="16" y="238"/>
                </a:lnTo>
                <a:lnTo>
                  <a:pt x="15" y="239"/>
                </a:lnTo>
                <a:lnTo>
                  <a:pt x="13" y="240"/>
                </a:lnTo>
                <a:lnTo>
                  <a:pt x="13" y="244"/>
                </a:lnTo>
                <a:lnTo>
                  <a:pt x="13" y="244"/>
                </a:lnTo>
                <a:lnTo>
                  <a:pt x="11" y="239"/>
                </a:lnTo>
                <a:lnTo>
                  <a:pt x="11" y="235"/>
                </a:lnTo>
                <a:lnTo>
                  <a:pt x="12" y="232"/>
                </a:lnTo>
                <a:lnTo>
                  <a:pt x="14" y="230"/>
                </a:lnTo>
                <a:lnTo>
                  <a:pt x="13" y="226"/>
                </a:lnTo>
                <a:lnTo>
                  <a:pt x="15" y="221"/>
                </a:lnTo>
                <a:lnTo>
                  <a:pt x="15" y="218"/>
                </a:lnTo>
                <a:lnTo>
                  <a:pt x="14" y="217"/>
                </a:lnTo>
                <a:lnTo>
                  <a:pt x="13" y="215"/>
                </a:lnTo>
                <a:lnTo>
                  <a:pt x="10" y="213"/>
                </a:lnTo>
                <a:lnTo>
                  <a:pt x="9" y="211"/>
                </a:lnTo>
                <a:lnTo>
                  <a:pt x="5" y="209"/>
                </a:lnTo>
                <a:lnTo>
                  <a:pt x="1" y="207"/>
                </a:lnTo>
                <a:lnTo>
                  <a:pt x="0" y="206"/>
                </a:lnTo>
                <a:lnTo>
                  <a:pt x="0" y="204"/>
                </a:lnTo>
                <a:lnTo>
                  <a:pt x="1" y="203"/>
                </a:lnTo>
                <a:lnTo>
                  <a:pt x="4" y="198"/>
                </a:lnTo>
                <a:lnTo>
                  <a:pt x="7" y="194"/>
                </a:lnTo>
                <a:lnTo>
                  <a:pt x="9" y="192"/>
                </a:lnTo>
                <a:lnTo>
                  <a:pt x="21" y="186"/>
                </a:lnTo>
                <a:lnTo>
                  <a:pt x="22" y="184"/>
                </a:lnTo>
                <a:lnTo>
                  <a:pt x="23" y="181"/>
                </a:lnTo>
                <a:lnTo>
                  <a:pt x="23" y="178"/>
                </a:lnTo>
                <a:lnTo>
                  <a:pt x="23" y="174"/>
                </a:lnTo>
                <a:lnTo>
                  <a:pt x="22" y="168"/>
                </a:lnTo>
                <a:lnTo>
                  <a:pt x="21" y="163"/>
                </a:lnTo>
                <a:lnTo>
                  <a:pt x="19" y="155"/>
                </a:lnTo>
                <a:lnTo>
                  <a:pt x="13" y="138"/>
                </a:lnTo>
                <a:lnTo>
                  <a:pt x="9" y="120"/>
                </a:lnTo>
                <a:lnTo>
                  <a:pt x="12" y="121"/>
                </a:lnTo>
                <a:lnTo>
                  <a:pt x="17" y="121"/>
                </a:lnTo>
                <a:lnTo>
                  <a:pt x="22" y="120"/>
                </a:lnTo>
                <a:lnTo>
                  <a:pt x="24" y="120"/>
                </a:lnTo>
                <a:lnTo>
                  <a:pt x="26" y="120"/>
                </a:lnTo>
                <a:lnTo>
                  <a:pt x="29" y="120"/>
                </a:lnTo>
                <a:lnTo>
                  <a:pt x="31" y="119"/>
                </a:lnTo>
                <a:lnTo>
                  <a:pt x="33" y="121"/>
                </a:lnTo>
                <a:lnTo>
                  <a:pt x="35" y="122"/>
                </a:lnTo>
                <a:lnTo>
                  <a:pt x="40" y="120"/>
                </a:lnTo>
                <a:lnTo>
                  <a:pt x="45" y="118"/>
                </a:lnTo>
                <a:lnTo>
                  <a:pt x="49" y="118"/>
                </a:lnTo>
                <a:lnTo>
                  <a:pt x="50" y="117"/>
                </a:lnTo>
                <a:lnTo>
                  <a:pt x="51" y="110"/>
                </a:lnTo>
                <a:lnTo>
                  <a:pt x="53" y="109"/>
                </a:lnTo>
                <a:lnTo>
                  <a:pt x="58" y="110"/>
                </a:lnTo>
                <a:lnTo>
                  <a:pt x="60" y="108"/>
                </a:lnTo>
                <a:lnTo>
                  <a:pt x="62" y="105"/>
                </a:lnTo>
                <a:lnTo>
                  <a:pt x="66" y="103"/>
                </a:lnTo>
                <a:lnTo>
                  <a:pt x="68" y="103"/>
                </a:lnTo>
                <a:lnTo>
                  <a:pt x="71" y="101"/>
                </a:lnTo>
                <a:lnTo>
                  <a:pt x="72" y="103"/>
                </a:lnTo>
                <a:lnTo>
                  <a:pt x="73" y="105"/>
                </a:lnTo>
                <a:lnTo>
                  <a:pt x="72" y="107"/>
                </a:lnTo>
                <a:lnTo>
                  <a:pt x="73" y="108"/>
                </a:lnTo>
                <a:lnTo>
                  <a:pt x="75" y="109"/>
                </a:lnTo>
                <a:lnTo>
                  <a:pt x="78" y="109"/>
                </a:lnTo>
                <a:lnTo>
                  <a:pt x="80" y="108"/>
                </a:lnTo>
                <a:lnTo>
                  <a:pt x="81" y="107"/>
                </a:lnTo>
                <a:lnTo>
                  <a:pt x="81" y="105"/>
                </a:lnTo>
                <a:lnTo>
                  <a:pt x="80" y="103"/>
                </a:lnTo>
                <a:lnTo>
                  <a:pt x="79" y="101"/>
                </a:lnTo>
                <a:lnTo>
                  <a:pt x="76" y="100"/>
                </a:lnTo>
                <a:lnTo>
                  <a:pt x="74" y="100"/>
                </a:lnTo>
                <a:lnTo>
                  <a:pt x="74" y="99"/>
                </a:lnTo>
                <a:lnTo>
                  <a:pt x="74" y="97"/>
                </a:lnTo>
                <a:lnTo>
                  <a:pt x="76" y="92"/>
                </a:lnTo>
                <a:lnTo>
                  <a:pt x="78" y="88"/>
                </a:lnTo>
                <a:lnTo>
                  <a:pt x="79" y="87"/>
                </a:lnTo>
                <a:lnTo>
                  <a:pt x="80" y="85"/>
                </a:lnTo>
                <a:lnTo>
                  <a:pt x="79" y="83"/>
                </a:lnTo>
                <a:lnTo>
                  <a:pt x="79" y="78"/>
                </a:lnTo>
                <a:lnTo>
                  <a:pt x="81" y="72"/>
                </a:lnTo>
                <a:lnTo>
                  <a:pt x="84" y="67"/>
                </a:lnTo>
                <a:lnTo>
                  <a:pt x="87" y="66"/>
                </a:lnTo>
                <a:lnTo>
                  <a:pt x="91" y="65"/>
                </a:lnTo>
                <a:lnTo>
                  <a:pt x="93" y="63"/>
                </a:lnTo>
                <a:lnTo>
                  <a:pt x="95" y="60"/>
                </a:lnTo>
                <a:lnTo>
                  <a:pt x="95" y="58"/>
                </a:lnTo>
                <a:lnTo>
                  <a:pt x="96" y="56"/>
                </a:lnTo>
                <a:lnTo>
                  <a:pt x="97" y="55"/>
                </a:lnTo>
                <a:lnTo>
                  <a:pt x="107" y="56"/>
                </a:lnTo>
                <a:lnTo>
                  <a:pt x="108" y="52"/>
                </a:lnTo>
                <a:lnTo>
                  <a:pt x="109" y="51"/>
                </a:lnTo>
                <a:lnTo>
                  <a:pt x="111" y="50"/>
                </a:lnTo>
                <a:lnTo>
                  <a:pt x="112" y="48"/>
                </a:lnTo>
                <a:lnTo>
                  <a:pt x="112" y="47"/>
                </a:lnTo>
                <a:lnTo>
                  <a:pt x="109" y="46"/>
                </a:lnTo>
                <a:lnTo>
                  <a:pt x="103" y="46"/>
                </a:lnTo>
                <a:lnTo>
                  <a:pt x="102" y="44"/>
                </a:lnTo>
                <a:lnTo>
                  <a:pt x="103" y="43"/>
                </a:lnTo>
                <a:lnTo>
                  <a:pt x="104" y="39"/>
                </a:lnTo>
                <a:lnTo>
                  <a:pt x="106" y="33"/>
                </a:lnTo>
                <a:lnTo>
                  <a:pt x="106" y="29"/>
                </a:lnTo>
                <a:lnTo>
                  <a:pt x="106" y="27"/>
                </a:lnTo>
                <a:lnTo>
                  <a:pt x="107" y="26"/>
                </a:lnTo>
                <a:lnTo>
                  <a:pt x="112" y="25"/>
                </a:lnTo>
                <a:lnTo>
                  <a:pt x="114" y="24"/>
                </a:lnTo>
                <a:lnTo>
                  <a:pt x="118" y="19"/>
                </a:lnTo>
                <a:lnTo>
                  <a:pt x="121" y="18"/>
                </a:lnTo>
                <a:lnTo>
                  <a:pt x="129" y="19"/>
                </a:lnTo>
                <a:lnTo>
                  <a:pt x="132" y="19"/>
                </a:lnTo>
                <a:lnTo>
                  <a:pt x="133" y="19"/>
                </a:lnTo>
                <a:lnTo>
                  <a:pt x="137" y="19"/>
                </a:lnTo>
                <a:lnTo>
                  <a:pt x="137" y="19"/>
                </a:lnTo>
                <a:lnTo>
                  <a:pt x="139" y="13"/>
                </a:lnTo>
                <a:lnTo>
                  <a:pt x="141" y="11"/>
                </a:lnTo>
                <a:lnTo>
                  <a:pt x="147" y="4"/>
                </a:lnTo>
                <a:lnTo>
                  <a:pt x="151" y="1"/>
                </a:lnTo>
                <a:lnTo>
                  <a:pt x="154" y="0"/>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1216" name="Switzerland">
            <a:extLst>
              <a:ext uri="{FF2B5EF4-FFF2-40B4-BE49-F238E27FC236}">
                <a16:creationId xmlns:a16="http://schemas.microsoft.com/office/drawing/2014/main" id="{1C929687-2406-4404-A63D-A0009CFFD78D}"/>
              </a:ext>
            </a:extLst>
          </p:cNvPr>
          <p:cNvSpPr>
            <a:spLocks/>
          </p:cNvSpPr>
          <p:nvPr/>
        </p:nvSpPr>
        <p:spPr bwMode="auto">
          <a:xfrm>
            <a:off x="5997616" y="3208596"/>
            <a:ext cx="133919" cy="74542"/>
          </a:xfrm>
          <a:custGeom>
            <a:avLst/>
            <a:gdLst>
              <a:gd name="T0" fmla="*/ 112 w 140"/>
              <a:gd name="T1" fmla="*/ 12 h 88"/>
              <a:gd name="T2" fmla="*/ 111 w 140"/>
              <a:gd name="T3" fmla="*/ 23 h 88"/>
              <a:gd name="T4" fmla="*/ 110 w 140"/>
              <a:gd name="T5" fmla="*/ 33 h 88"/>
              <a:gd name="T6" fmla="*/ 114 w 140"/>
              <a:gd name="T7" fmla="*/ 33 h 88"/>
              <a:gd name="T8" fmla="*/ 122 w 140"/>
              <a:gd name="T9" fmla="*/ 37 h 88"/>
              <a:gd name="T10" fmla="*/ 130 w 140"/>
              <a:gd name="T11" fmla="*/ 42 h 88"/>
              <a:gd name="T12" fmla="*/ 139 w 140"/>
              <a:gd name="T13" fmla="*/ 37 h 88"/>
              <a:gd name="T14" fmla="*/ 139 w 140"/>
              <a:gd name="T15" fmla="*/ 48 h 88"/>
              <a:gd name="T16" fmla="*/ 140 w 140"/>
              <a:gd name="T17" fmla="*/ 55 h 88"/>
              <a:gd name="T18" fmla="*/ 134 w 140"/>
              <a:gd name="T19" fmla="*/ 56 h 88"/>
              <a:gd name="T20" fmla="*/ 129 w 140"/>
              <a:gd name="T21" fmla="*/ 54 h 88"/>
              <a:gd name="T22" fmla="*/ 127 w 140"/>
              <a:gd name="T23" fmla="*/ 61 h 88"/>
              <a:gd name="T24" fmla="*/ 130 w 140"/>
              <a:gd name="T25" fmla="*/ 68 h 88"/>
              <a:gd name="T26" fmla="*/ 128 w 140"/>
              <a:gd name="T27" fmla="*/ 71 h 88"/>
              <a:gd name="T28" fmla="*/ 124 w 140"/>
              <a:gd name="T29" fmla="*/ 65 h 88"/>
              <a:gd name="T30" fmla="*/ 115 w 140"/>
              <a:gd name="T31" fmla="*/ 68 h 88"/>
              <a:gd name="T32" fmla="*/ 110 w 140"/>
              <a:gd name="T33" fmla="*/ 65 h 88"/>
              <a:gd name="T34" fmla="*/ 107 w 140"/>
              <a:gd name="T35" fmla="*/ 59 h 88"/>
              <a:gd name="T36" fmla="*/ 103 w 140"/>
              <a:gd name="T37" fmla="*/ 63 h 88"/>
              <a:gd name="T38" fmla="*/ 97 w 140"/>
              <a:gd name="T39" fmla="*/ 76 h 88"/>
              <a:gd name="T40" fmla="*/ 95 w 140"/>
              <a:gd name="T41" fmla="*/ 82 h 88"/>
              <a:gd name="T42" fmla="*/ 96 w 140"/>
              <a:gd name="T43" fmla="*/ 88 h 88"/>
              <a:gd name="T44" fmla="*/ 91 w 140"/>
              <a:gd name="T45" fmla="*/ 85 h 88"/>
              <a:gd name="T46" fmla="*/ 89 w 140"/>
              <a:gd name="T47" fmla="*/ 77 h 88"/>
              <a:gd name="T48" fmla="*/ 78 w 140"/>
              <a:gd name="T49" fmla="*/ 70 h 88"/>
              <a:gd name="T50" fmla="*/ 77 w 140"/>
              <a:gd name="T51" fmla="*/ 61 h 88"/>
              <a:gd name="T52" fmla="*/ 73 w 140"/>
              <a:gd name="T53" fmla="*/ 63 h 88"/>
              <a:gd name="T54" fmla="*/ 66 w 140"/>
              <a:gd name="T55" fmla="*/ 69 h 88"/>
              <a:gd name="T56" fmla="*/ 64 w 140"/>
              <a:gd name="T57" fmla="*/ 79 h 88"/>
              <a:gd name="T58" fmla="*/ 57 w 140"/>
              <a:gd name="T59" fmla="*/ 84 h 88"/>
              <a:gd name="T60" fmla="*/ 46 w 140"/>
              <a:gd name="T61" fmla="*/ 83 h 88"/>
              <a:gd name="T62" fmla="*/ 34 w 140"/>
              <a:gd name="T63" fmla="*/ 85 h 88"/>
              <a:gd name="T64" fmla="*/ 31 w 140"/>
              <a:gd name="T65" fmla="*/ 80 h 88"/>
              <a:gd name="T66" fmla="*/ 26 w 140"/>
              <a:gd name="T67" fmla="*/ 75 h 88"/>
              <a:gd name="T68" fmla="*/ 26 w 140"/>
              <a:gd name="T69" fmla="*/ 67 h 88"/>
              <a:gd name="T70" fmla="*/ 25 w 140"/>
              <a:gd name="T71" fmla="*/ 62 h 88"/>
              <a:gd name="T72" fmla="*/ 11 w 140"/>
              <a:gd name="T73" fmla="*/ 63 h 88"/>
              <a:gd name="T74" fmla="*/ 8 w 140"/>
              <a:gd name="T75" fmla="*/ 67 h 88"/>
              <a:gd name="T76" fmla="*/ 4 w 140"/>
              <a:gd name="T77" fmla="*/ 74 h 88"/>
              <a:gd name="T78" fmla="*/ 0 w 140"/>
              <a:gd name="T79" fmla="*/ 71 h 88"/>
              <a:gd name="T80" fmla="*/ 5 w 140"/>
              <a:gd name="T81" fmla="*/ 66 h 88"/>
              <a:gd name="T82" fmla="*/ 3 w 140"/>
              <a:gd name="T83" fmla="*/ 60 h 88"/>
              <a:gd name="T84" fmla="*/ 6 w 140"/>
              <a:gd name="T85" fmla="*/ 53 h 88"/>
              <a:gd name="T86" fmla="*/ 15 w 140"/>
              <a:gd name="T87" fmla="*/ 43 h 88"/>
              <a:gd name="T88" fmla="*/ 21 w 140"/>
              <a:gd name="T89" fmla="*/ 36 h 88"/>
              <a:gd name="T90" fmla="*/ 27 w 140"/>
              <a:gd name="T91" fmla="*/ 28 h 88"/>
              <a:gd name="T92" fmla="*/ 32 w 140"/>
              <a:gd name="T93" fmla="*/ 21 h 88"/>
              <a:gd name="T94" fmla="*/ 30 w 140"/>
              <a:gd name="T95" fmla="*/ 19 h 88"/>
              <a:gd name="T96" fmla="*/ 34 w 140"/>
              <a:gd name="T97" fmla="*/ 13 h 88"/>
              <a:gd name="T98" fmla="*/ 38 w 140"/>
              <a:gd name="T99" fmla="*/ 15 h 88"/>
              <a:gd name="T100" fmla="*/ 43 w 140"/>
              <a:gd name="T101" fmla="*/ 16 h 88"/>
              <a:gd name="T102" fmla="*/ 48 w 140"/>
              <a:gd name="T103" fmla="*/ 11 h 88"/>
              <a:gd name="T104" fmla="*/ 61 w 140"/>
              <a:gd name="T105" fmla="*/ 10 h 88"/>
              <a:gd name="T106" fmla="*/ 74 w 140"/>
              <a:gd name="T107" fmla="*/ 8 h 88"/>
              <a:gd name="T108" fmla="*/ 78 w 140"/>
              <a:gd name="T109" fmla="*/ 8 h 88"/>
              <a:gd name="T110" fmla="*/ 81 w 140"/>
              <a:gd name="T111" fmla="*/ 6 h 88"/>
              <a:gd name="T112" fmla="*/ 78 w 140"/>
              <a:gd name="T113" fmla="*/ 6 h 88"/>
              <a:gd name="T114" fmla="*/ 77 w 140"/>
              <a:gd name="T115" fmla="*/ 2 h 88"/>
              <a:gd name="T116" fmla="*/ 83 w 140"/>
              <a:gd name="T117" fmla="*/ 1 h 88"/>
              <a:gd name="T118" fmla="*/ 88 w 140"/>
              <a:gd name="T119" fmla="*/ 3 h 88"/>
              <a:gd name="T120" fmla="*/ 91 w 140"/>
              <a:gd name="T121" fmla="*/ 5 h 88"/>
              <a:gd name="T122" fmla="*/ 100 w 140"/>
              <a:gd name="T123" fmla="*/ 5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0" h="88">
                <a:moveTo>
                  <a:pt x="111" y="12"/>
                </a:moveTo>
                <a:lnTo>
                  <a:pt x="111" y="12"/>
                </a:lnTo>
                <a:lnTo>
                  <a:pt x="112" y="12"/>
                </a:lnTo>
                <a:lnTo>
                  <a:pt x="114" y="14"/>
                </a:lnTo>
                <a:lnTo>
                  <a:pt x="114" y="18"/>
                </a:lnTo>
                <a:lnTo>
                  <a:pt x="111" y="23"/>
                </a:lnTo>
                <a:lnTo>
                  <a:pt x="110" y="28"/>
                </a:lnTo>
                <a:lnTo>
                  <a:pt x="110" y="31"/>
                </a:lnTo>
                <a:lnTo>
                  <a:pt x="110" y="33"/>
                </a:lnTo>
                <a:lnTo>
                  <a:pt x="110" y="33"/>
                </a:lnTo>
                <a:lnTo>
                  <a:pt x="113" y="33"/>
                </a:lnTo>
                <a:lnTo>
                  <a:pt x="114" y="33"/>
                </a:lnTo>
                <a:lnTo>
                  <a:pt x="118" y="34"/>
                </a:lnTo>
                <a:lnTo>
                  <a:pt x="121" y="35"/>
                </a:lnTo>
                <a:lnTo>
                  <a:pt x="122" y="37"/>
                </a:lnTo>
                <a:lnTo>
                  <a:pt x="122" y="39"/>
                </a:lnTo>
                <a:lnTo>
                  <a:pt x="126" y="41"/>
                </a:lnTo>
                <a:lnTo>
                  <a:pt x="130" y="42"/>
                </a:lnTo>
                <a:lnTo>
                  <a:pt x="132" y="42"/>
                </a:lnTo>
                <a:lnTo>
                  <a:pt x="137" y="36"/>
                </a:lnTo>
                <a:lnTo>
                  <a:pt x="139" y="37"/>
                </a:lnTo>
                <a:lnTo>
                  <a:pt x="140" y="40"/>
                </a:lnTo>
                <a:lnTo>
                  <a:pt x="140" y="42"/>
                </a:lnTo>
                <a:lnTo>
                  <a:pt x="139" y="48"/>
                </a:lnTo>
                <a:lnTo>
                  <a:pt x="138" y="51"/>
                </a:lnTo>
                <a:lnTo>
                  <a:pt x="140" y="53"/>
                </a:lnTo>
                <a:lnTo>
                  <a:pt x="140" y="55"/>
                </a:lnTo>
                <a:lnTo>
                  <a:pt x="139" y="56"/>
                </a:lnTo>
                <a:lnTo>
                  <a:pt x="137" y="56"/>
                </a:lnTo>
                <a:lnTo>
                  <a:pt x="134" y="56"/>
                </a:lnTo>
                <a:lnTo>
                  <a:pt x="132" y="53"/>
                </a:lnTo>
                <a:lnTo>
                  <a:pt x="130" y="53"/>
                </a:lnTo>
                <a:lnTo>
                  <a:pt x="129" y="54"/>
                </a:lnTo>
                <a:lnTo>
                  <a:pt x="128" y="56"/>
                </a:lnTo>
                <a:lnTo>
                  <a:pt x="127" y="59"/>
                </a:lnTo>
                <a:lnTo>
                  <a:pt x="127" y="61"/>
                </a:lnTo>
                <a:lnTo>
                  <a:pt x="128" y="62"/>
                </a:lnTo>
                <a:lnTo>
                  <a:pt x="129" y="65"/>
                </a:lnTo>
                <a:lnTo>
                  <a:pt x="130" y="68"/>
                </a:lnTo>
                <a:lnTo>
                  <a:pt x="130" y="69"/>
                </a:lnTo>
                <a:lnTo>
                  <a:pt x="130" y="70"/>
                </a:lnTo>
                <a:lnTo>
                  <a:pt x="128" y="71"/>
                </a:lnTo>
                <a:lnTo>
                  <a:pt x="127" y="70"/>
                </a:lnTo>
                <a:lnTo>
                  <a:pt x="125" y="66"/>
                </a:lnTo>
                <a:lnTo>
                  <a:pt x="124" y="65"/>
                </a:lnTo>
                <a:lnTo>
                  <a:pt x="122" y="64"/>
                </a:lnTo>
                <a:lnTo>
                  <a:pt x="119" y="65"/>
                </a:lnTo>
                <a:lnTo>
                  <a:pt x="115" y="68"/>
                </a:lnTo>
                <a:lnTo>
                  <a:pt x="113" y="68"/>
                </a:lnTo>
                <a:lnTo>
                  <a:pt x="111" y="67"/>
                </a:lnTo>
                <a:lnTo>
                  <a:pt x="110" y="65"/>
                </a:lnTo>
                <a:lnTo>
                  <a:pt x="109" y="62"/>
                </a:lnTo>
                <a:lnTo>
                  <a:pt x="108" y="59"/>
                </a:lnTo>
                <a:lnTo>
                  <a:pt x="107" y="59"/>
                </a:lnTo>
                <a:lnTo>
                  <a:pt x="104" y="59"/>
                </a:lnTo>
                <a:lnTo>
                  <a:pt x="103" y="60"/>
                </a:lnTo>
                <a:lnTo>
                  <a:pt x="103" y="63"/>
                </a:lnTo>
                <a:lnTo>
                  <a:pt x="103" y="68"/>
                </a:lnTo>
                <a:lnTo>
                  <a:pt x="101" y="71"/>
                </a:lnTo>
                <a:lnTo>
                  <a:pt x="97" y="76"/>
                </a:lnTo>
                <a:lnTo>
                  <a:pt x="95" y="79"/>
                </a:lnTo>
                <a:lnTo>
                  <a:pt x="95" y="80"/>
                </a:lnTo>
                <a:lnTo>
                  <a:pt x="95" y="82"/>
                </a:lnTo>
                <a:lnTo>
                  <a:pt x="95" y="84"/>
                </a:lnTo>
                <a:lnTo>
                  <a:pt x="96" y="86"/>
                </a:lnTo>
                <a:lnTo>
                  <a:pt x="96" y="88"/>
                </a:lnTo>
                <a:lnTo>
                  <a:pt x="93" y="88"/>
                </a:lnTo>
                <a:lnTo>
                  <a:pt x="92" y="87"/>
                </a:lnTo>
                <a:lnTo>
                  <a:pt x="91" y="85"/>
                </a:lnTo>
                <a:lnTo>
                  <a:pt x="88" y="81"/>
                </a:lnTo>
                <a:lnTo>
                  <a:pt x="89" y="78"/>
                </a:lnTo>
                <a:lnTo>
                  <a:pt x="89" y="77"/>
                </a:lnTo>
                <a:lnTo>
                  <a:pt x="84" y="76"/>
                </a:lnTo>
                <a:lnTo>
                  <a:pt x="81" y="74"/>
                </a:lnTo>
                <a:lnTo>
                  <a:pt x="78" y="70"/>
                </a:lnTo>
                <a:lnTo>
                  <a:pt x="77" y="68"/>
                </a:lnTo>
                <a:lnTo>
                  <a:pt x="77" y="63"/>
                </a:lnTo>
                <a:lnTo>
                  <a:pt x="77" y="61"/>
                </a:lnTo>
                <a:lnTo>
                  <a:pt x="77" y="61"/>
                </a:lnTo>
                <a:lnTo>
                  <a:pt x="75" y="61"/>
                </a:lnTo>
                <a:lnTo>
                  <a:pt x="73" y="63"/>
                </a:lnTo>
                <a:lnTo>
                  <a:pt x="71" y="66"/>
                </a:lnTo>
                <a:lnTo>
                  <a:pt x="67" y="69"/>
                </a:lnTo>
                <a:lnTo>
                  <a:pt x="66" y="69"/>
                </a:lnTo>
                <a:lnTo>
                  <a:pt x="68" y="72"/>
                </a:lnTo>
                <a:lnTo>
                  <a:pt x="68" y="74"/>
                </a:lnTo>
                <a:lnTo>
                  <a:pt x="64" y="79"/>
                </a:lnTo>
                <a:lnTo>
                  <a:pt x="63" y="80"/>
                </a:lnTo>
                <a:lnTo>
                  <a:pt x="59" y="83"/>
                </a:lnTo>
                <a:lnTo>
                  <a:pt x="57" y="84"/>
                </a:lnTo>
                <a:lnTo>
                  <a:pt x="51" y="82"/>
                </a:lnTo>
                <a:lnTo>
                  <a:pt x="49" y="82"/>
                </a:lnTo>
                <a:lnTo>
                  <a:pt x="46" y="83"/>
                </a:lnTo>
                <a:lnTo>
                  <a:pt x="43" y="85"/>
                </a:lnTo>
                <a:lnTo>
                  <a:pt x="36" y="86"/>
                </a:lnTo>
                <a:lnTo>
                  <a:pt x="34" y="85"/>
                </a:lnTo>
                <a:lnTo>
                  <a:pt x="33" y="84"/>
                </a:lnTo>
                <a:lnTo>
                  <a:pt x="33" y="83"/>
                </a:lnTo>
                <a:lnTo>
                  <a:pt x="31" y="80"/>
                </a:lnTo>
                <a:lnTo>
                  <a:pt x="29" y="79"/>
                </a:lnTo>
                <a:lnTo>
                  <a:pt x="28" y="77"/>
                </a:lnTo>
                <a:lnTo>
                  <a:pt x="26" y="75"/>
                </a:lnTo>
                <a:lnTo>
                  <a:pt x="25" y="74"/>
                </a:lnTo>
                <a:lnTo>
                  <a:pt x="27" y="69"/>
                </a:lnTo>
                <a:lnTo>
                  <a:pt x="26" y="67"/>
                </a:lnTo>
                <a:lnTo>
                  <a:pt x="25" y="64"/>
                </a:lnTo>
                <a:lnTo>
                  <a:pt x="25" y="63"/>
                </a:lnTo>
                <a:lnTo>
                  <a:pt x="25" y="62"/>
                </a:lnTo>
                <a:lnTo>
                  <a:pt x="19" y="61"/>
                </a:lnTo>
                <a:lnTo>
                  <a:pt x="15" y="62"/>
                </a:lnTo>
                <a:lnTo>
                  <a:pt x="11" y="63"/>
                </a:lnTo>
                <a:lnTo>
                  <a:pt x="9" y="66"/>
                </a:lnTo>
                <a:lnTo>
                  <a:pt x="8" y="67"/>
                </a:lnTo>
                <a:lnTo>
                  <a:pt x="8" y="67"/>
                </a:lnTo>
                <a:lnTo>
                  <a:pt x="10" y="70"/>
                </a:lnTo>
                <a:lnTo>
                  <a:pt x="7" y="72"/>
                </a:lnTo>
                <a:lnTo>
                  <a:pt x="4" y="74"/>
                </a:lnTo>
                <a:lnTo>
                  <a:pt x="1" y="74"/>
                </a:lnTo>
                <a:lnTo>
                  <a:pt x="0" y="74"/>
                </a:lnTo>
                <a:lnTo>
                  <a:pt x="0" y="71"/>
                </a:lnTo>
                <a:lnTo>
                  <a:pt x="2" y="70"/>
                </a:lnTo>
                <a:lnTo>
                  <a:pt x="4" y="68"/>
                </a:lnTo>
                <a:lnTo>
                  <a:pt x="5" y="66"/>
                </a:lnTo>
                <a:lnTo>
                  <a:pt x="5" y="64"/>
                </a:lnTo>
                <a:lnTo>
                  <a:pt x="3" y="62"/>
                </a:lnTo>
                <a:lnTo>
                  <a:pt x="3" y="60"/>
                </a:lnTo>
                <a:lnTo>
                  <a:pt x="5" y="58"/>
                </a:lnTo>
                <a:lnTo>
                  <a:pt x="5" y="55"/>
                </a:lnTo>
                <a:lnTo>
                  <a:pt x="6" y="53"/>
                </a:lnTo>
                <a:lnTo>
                  <a:pt x="10" y="50"/>
                </a:lnTo>
                <a:lnTo>
                  <a:pt x="14" y="47"/>
                </a:lnTo>
                <a:lnTo>
                  <a:pt x="15" y="43"/>
                </a:lnTo>
                <a:lnTo>
                  <a:pt x="15" y="39"/>
                </a:lnTo>
                <a:lnTo>
                  <a:pt x="15" y="38"/>
                </a:lnTo>
                <a:lnTo>
                  <a:pt x="21" y="36"/>
                </a:lnTo>
                <a:lnTo>
                  <a:pt x="22" y="34"/>
                </a:lnTo>
                <a:lnTo>
                  <a:pt x="23" y="33"/>
                </a:lnTo>
                <a:lnTo>
                  <a:pt x="27" y="28"/>
                </a:lnTo>
                <a:lnTo>
                  <a:pt x="31" y="24"/>
                </a:lnTo>
                <a:lnTo>
                  <a:pt x="32" y="22"/>
                </a:lnTo>
                <a:lnTo>
                  <a:pt x="32" y="21"/>
                </a:lnTo>
                <a:lnTo>
                  <a:pt x="32" y="20"/>
                </a:lnTo>
                <a:lnTo>
                  <a:pt x="32" y="20"/>
                </a:lnTo>
                <a:lnTo>
                  <a:pt x="30" y="19"/>
                </a:lnTo>
                <a:lnTo>
                  <a:pt x="29" y="18"/>
                </a:lnTo>
                <a:lnTo>
                  <a:pt x="31" y="15"/>
                </a:lnTo>
                <a:lnTo>
                  <a:pt x="34" y="13"/>
                </a:lnTo>
                <a:lnTo>
                  <a:pt x="37" y="13"/>
                </a:lnTo>
                <a:lnTo>
                  <a:pt x="38" y="14"/>
                </a:lnTo>
                <a:lnTo>
                  <a:pt x="38" y="15"/>
                </a:lnTo>
                <a:lnTo>
                  <a:pt x="39" y="16"/>
                </a:lnTo>
                <a:lnTo>
                  <a:pt x="41" y="16"/>
                </a:lnTo>
                <a:lnTo>
                  <a:pt x="43" y="16"/>
                </a:lnTo>
                <a:lnTo>
                  <a:pt x="45" y="15"/>
                </a:lnTo>
                <a:lnTo>
                  <a:pt x="47" y="12"/>
                </a:lnTo>
                <a:lnTo>
                  <a:pt x="48" y="11"/>
                </a:lnTo>
                <a:lnTo>
                  <a:pt x="52" y="9"/>
                </a:lnTo>
                <a:lnTo>
                  <a:pt x="54" y="10"/>
                </a:lnTo>
                <a:lnTo>
                  <a:pt x="61" y="10"/>
                </a:lnTo>
                <a:lnTo>
                  <a:pt x="67" y="9"/>
                </a:lnTo>
                <a:lnTo>
                  <a:pt x="70" y="8"/>
                </a:lnTo>
                <a:lnTo>
                  <a:pt x="74" y="8"/>
                </a:lnTo>
                <a:lnTo>
                  <a:pt x="77" y="9"/>
                </a:lnTo>
                <a:lnTo>
                  <a:pt x="77" y="9"/>
                </a:lnTo>
                <a:lnTo>
                  <a:pt x="78" y="8"/>
                </a:lnTo>
                <a:lnTo>
                  <a:pt x="78" y="8"/>
                </a:lnTo>
                <a:lnTo>
                  <a:pt x="81" y="7"/>
                </a:lnTo>
                <a:lnTo>
                  <a:pt x="81" y="6"/>
                </a:lnTo>
                <a:lnTo>
                  <a:pt x="81" y="6"/>
                </a:lnTo>
                <a:lnTo>
                  <a:pt x="81" y="5"/>
                </a:lnTo>
                <a:lnTo>
                  <a:pt x="78" y="6"/>
                </a:lnTo>
                <a:lnTo>
                  <a:pt x="76" y="5"/>
                </a:lnTo>
                <a:lnTo>
                  <a:pt x="76" y="4"/>
                </a:lnTo>
                <a:lnTo>
                  <a:pt x="77" y="2"/>
                </a:lnTo>
                <a:lnTo>
                  <a:pt x="79" y="0"/>
                </a:lnTo>
                <a:lnTo>
                  <a:pt x="81" y="0"/>
                </a:lnTo>
                <a:lnTo>
                  <a:pt x="83" y="1"/>
                </a:lnTo>
                <a:lnTo>
                  <a:pt x="86" y="4"/>
                </a:lnTo>
                <a:lnTo>
                  <a:pt x="87" y="4"/>
                </a:lnTo>
                <a:lnTo>
                  <a:pt x="88" y="3"/>
                </a:lnTo>
                <a:lnTo>
                  <a:pt x="88" y="3"/>
                </a:lnTo>
                <a:lnTo>
                  <a:pt x="89" y="3"/>
                </a:lnTo>
                <a:lnTo>
                  <a:pt x="91" y="5"/>
                </a:lnTo>
                <a:lnTo>
                  <a:pt x="91" y="6"/>
                </a:lnTo>
                <a:lnTo>
                  <a:pt x="99" y="5"/>
                </a:lnTo>
                <a:lnTo>
                  <a:pt x="100" y="5"/>
                </a:lnTo>
                <a:lnTo>
                  <a:pt x="106" y="8"/>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1217" name="Czechia">
            <a:extLst>
              <a:ext uri="{FF2B5EF4-FFF2-40B4-BE49-F238E27FC236}">
                <a16:creationId xmlns:a16="http://schemas.microsoft.com/office/drawing/2014/main" id="{13BC863B-05A4-4F80-ACC8-070599BC22FE}"/>
              </a:ext>
            </a:extLst>
          </p:cNvPr>
          <p:cNvSpPr>
            <a:spLocks/>
          </p:cNvSpPr>
          <p:nvPr/>
        </p:nvSpPr>
        <p:spPr bwMode="auto">
          <a:xfrm>
            <a:off x="6180640" y="3077169"/>
            <a:ext cx="203112" cy="100042"/>
          </a:xfrm>
          <a:custGeom>
            <a:avLst/>
            <a:gdLst>
              <a:gd name="T0" fmla="*/ 90 w 210"/>
              <a:gd name="T1" fmla="*/ 8 h 119"/>
              <a:gd name="T2" fmla="*/ 95 w 210"/>
              <a:gd name="T3" fmla="*/ 2 h 119"/>
              <a:gd name="T4" fmla="*/ 102 w 210"/>
              <a:gd name="T5" fmla="*/ 11 h 119"/>
              <a:gd name="T6" fmla="*/ 114 w 210"/>
              <a:gd name="T7" fmla="*/ 15 h 119"/>
              <a:gd name="T8" fmla="*/ 121 w 210"/>
              <a:gd name="T9" fmla="*/ 20 h 119"/>
              <a:gd name="T10" fmla="*/ 133 w 210"/>
              <a:gd name="T11" fmla="*/ 21 h 119"/>
              <a:gd name="T12" fmla="*/ 134 w 210"/>
              <a:gd name="T13" fmla="*/ 26 h 119"/>
              <a:gd name="T14" fmla="*/ 129 w 210"/>
              <a:gd name="T15" fmla="*/ 30 h 119"/>
              <a:gd name="T16" fmla="*/ 133 w 210"/>
              <a:gd name="T17" fmla="*/ 34 h 119"/>
              <a:gd name="T18" fmla="*/ 143 w 210"/>
              <a:gd name="T19" fmla="*/ 46 h 119"/>
              <a:gd name="T20" fmla="*/ 150 w 210"/>
              <a:gd name="T21" fmla="*/ 41 h 119"/>
              <a:gd name="T22" fmla="*/ 149 w 210"/>
              <a:gd name="T23" fmla="*/ 31 h 119"/>
              <a:gd name="T24" fmla="*/ 166 w 210"/>
              <a:gd name="T25" fmla="*/ 39 h 119"/>
              <a:gd name="T26" fmla="*/ 175 w 210"/>
              <a:gd name="T27" fmla="*/ 36 h 119"/>
              <a:gd name="T28" fmla="*/ 172 w 210"/>
              <a:gd name="T29" fmla="*/ 43 h 119"/>
              <a:gd name="T30" fmla="*/ 177 w 210"/>
              <a:gd name="T31" fmla="*/ 48 h 119"/>
              <a:gd name="T32" fmla="*/ 184 w 210"/>
              <a:gd name="T33" fmla="*/ 51 h 119"/>
              <a:gd name="T34" fmla="*/ 187 w 210"/>
              <a:gd name="T35" fmla="*/ 51 h 119"/>
              <a:gd name="T36" fmla="*/ 194 w 210"/>
              <a:gd name="T37" fmla="*/ 55 h 119"/>
              <a:gd name="T38" fmla="*/ 202 w 210"/>
              <a:gd name="T39" fmla="*/ 59 h 119"/>
              <a:gd name="T40" fmla="*/ 210 w 210"/>
              <a:gd name="T41" fmla="*/ 73 h 119"/>
              <a:gd name="T42" fmla="*/ 206 w 210"/>
              <a:gd name="T43" fmla="*/ 76 h 119"/>
              <a:gd name="T44" fmla="*/ 197 w 210"/>
              <a:gd name="T45" fmla="*/ 80 h 119"/>
              <a:gd name="T46" fmla="*/ 189 w 210"/>
              <a:gd name="T47" fmla="*/ 88 h 119"/>
              <a:gd name="T48" fmla="*/ 186 w 210"/>
              <a:gd name="T49" fmla="*/ 97 h 119"/>
              <a:gd name="T50" fmla="*/ 179 w 210"/>
              <a:gd name="T51" fmla="*/ 102 h 119"/>
              <a:gd name="T52" fmla="*/ 162 w 210"/>
              <a:gd name="T53" fmla="*/ 106 h 119"/>
              <a:gd name="T54" fmla="*/ 153 w 210"/>
              <a:gd name="T55" fmla="*/ 114 h 119"/>
              <a:gd name="T56" fmla="*/ 148 w 210"/>
              <a:gd name="T57" fmla="*/ 112 h 119"/>
              <a:gd name="T58" fmla="*/ 139 w 210"/>
              <a:gd name="T59" fmla="*/ 108 h 119"/>
              <a:gd name="T60" fmla="*/ 129 w 210"/>
              <a:gd name="T61" fmla="*/ 111 h 119"/>
              <a:gd name="T62" fmla="*/ 113 w 210"/>
              <a:gd name="T63" fmla="*/ 105 h 119"/>
              <a:gd name="T64" fmla="*/ 99 w 210"/>
              <a:gd name="T65" fmla="*/ 100 h 119"/>
              <a:gd name="T66" fmla="*/ 93 w 210"/>
              <a:gd name="T67" fmla="*/ 99 h 119"/>
              <a:gd name="T68" fmla="*/ 88 w 210"/>
              <a:gd name="T69" fmla="*/ 110 h 119"/>
              <a:gd name="T70" fmla="*/ 81 w 210"/>
              <a:gd name="T71" fmla="*/ 118 h 119"/>
              <a:gd name="T72" fmla="*/ 71 w 210"/>
              <a:gd name="T73" fmla="*/ 119 h 119"/>
              <a:gd name="T74" fmla="*/ 57 w 210"/>
              <a:gd name="T75" fmla="*/ 112 h 119"/>
              <a:gd name="T76" fmla="*/ 50 w 210"/>
              <a:gd name="T77" fmla="*/ 105 h 119"/>
              <a:gd name="T78" fmla="*/ 40 w 210"/>
              <a:gd name="T79" fmla="*/ 98 h 119"/>
              <a:gd name="T80" fmla="*/ 33 w 210"/>
              <a:gd name="T81" fmla="*/ 91 h 119"/>
              <a:gd name="T82" fmla="*/ 21 w 210"/>
              <a:gd name="T83" fmla="*/ 81 h 119"/>
              <a:gd name="T84" fmla="*/ 13 w 210"/>
              <a:gd name="T85" fmla="*/ 68 h 119"/>
              <a:gd name="T86" fmla="*/ 11 w 210"/>
              <a:gd name="T87" fmla="*/ 61 h 119"/>
              <a:gd name="T88" fmla="*/ 13 w 210"/>
              <a:gd name="T89" fmla="*/ 56 h 119"/>
              <a:gd name="T90" fmla="*/ 4 w 210"/>
              <a:gd name="T91" fmla="*/ 46 h 119"/>
              <a:gd name="T92" fmla="*/ 0 w 210"/>
              <a:gd name="T93" fmla="*/ 38 h 119"/>
              <a:gd name="T94" fmla="*/ 3 w 210"/>
              <a:gd name="T95" fmla="*/ 37 h 119"/>
              <a:gd name="T96" fmla="*/ 9 w 210"/>
              <a:gd name="T97" fmla="*/ 38 h 119"/>
              <a:gd name="T98" fmla="*/ 19 w 210"/>
              <a:gd name="T99" fmla="*/ 31 h 119"/>
              <a:gd name="T100" fmla="*/ 27 w 210"/>
              <a:gd name="T101" fmla="*/ 31 h 119"/>
              <a:gd name="T102" fmla="*/ 36 w 210"/>
              <a:gd name="T103" fmla="*/ 23 h 119"/>
              <a:gd name="T104" fmla="*/ 40 w 210"/>
              <a:gd name="T105" fmla="*/ 21 h 119"/>
              <a:gd name="T106" fmla="*/ 45 w 210"/>
              <a:gd name="T107" fmla="*/ 17 h 119"/>
              <a:gd name="T108" fmla="*/ 60 w 210"/>
              <a:gd name="T109" fmla="*/ 12 h 119"/>
              <a:gd name="T110" fmla="*/ 71 w 210"/>
              <a:gd name="T111" fmla="*/ 6 h 119"/>
              <a:gd name="T112" fmla="*/ 69 w 210"/>
              <a:gd name="T113" fmla="*/ 1 h 119"/>
              <a:gd name="T114" fmla="*/ 77 w 210"/>
              <a:gd name="T115" fmla="*/ 2 h 119"/>
              <a:gd name="T116" fmla="*/ 79 w 210"/>
              <a:gd name="T117" fmla="*/ 9 h 119"/>
              <a:gd name="T118" fmla="*/ 85 w 210"/>
              <a:gd name="T119" fmla="*/ 1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0" h="119">
                <a:moveTo>
                  <a:pt x="85" y="9"/>
                </a:moveTo>
                <a:lnTo>
                  <a:pt x="85" y="9"/>
                </a:lnTo>
                <a:lnTo>
                  <a:pt x="88" y="9"/>
                </a:lnTo>
                <a:lnTo>
                  <a:pt x="90" y="8"/>
                </a:lnTo>
                <a:lnTo>
                  <a:pt x="91" y="6"/>
                </a:lnTo>
                <a:lnTo>
                  <a:pt x="90" y="2"/>
                </a:lnTo>
                <a:lnTo>
                  <a:pt x="91" y="1"/>
                </a:lnTo>
                <a:lnTo>
                  <a:pt x="95" y="2"/>
                </a:lnTo>
                <a:lnTo>
                  <a:pt x="99" y="4"/>
                </a:lnTo>
                <a:lnTo>
                  <a:pt x="99" y="8"/>
                </a:lnTo>
                <a:lnTo>
                  <a:pt x="101" y="10"/>
                </a:lnTo>
                <a:lnTo>
                  <a:pt x="102" y="11"/>
                </a:lnTo>
                <a:lnTo>
                  <a:pt x="103" y="12"/>
                </a:lnTo>
                <a:lnTo>
                  <a:pt x="105" y="12"/>
                </a:lnTo>
                <a:lnTo>
                  <a:pt x="111" y="14"/>
                </a:lnTo>
                <a:lnTo>
                  <a:pt x="114" y="15"/>
                </a:lnTo>
                <a:lnTo>
                  <a:pt x="116" y="16"/>
                </a:lnTo>
                <a:lnTo>
                  <a:pt x="119" y="18"/>
                </a:lnTo>
                <a:lnTo>
                  <a:pt x="120" y="18"/>
                </a:lnTo>
                <a:lnTo>
                  <a:pt x="121" y="20"/>
                </a:lnTo>
                <a:lnTo>
                  <a:pt x="122" y="21"/>
                </a:lnTo>
                <a:lnTo>
                  <a:pt x="124" y="20"/>
                </a:lnTo>
                <a:lnTo>
                  <a:pt x="131" y="19"/>
                </a:lnTo>
                <a:lnTo>
                  <a:pt x="133" y="21"/>
                </a:lnTo>
                <a:lnTo>
                  <a:pt x="135" y="22"/>
                </a:lnTo>
                <a:lnTo>
                  <a:pt x="135" y="23"/>
                </a:lnTo>
                <a:lnTo>
                  <a:pt x="134" y="25"/>
                </a:lnTo>
                <a:lnTo>
                  <a:pt x="134" y="26"/>
                </a:lnTo>
                <a:lnTo>
                  <a:pt x="133" y="27"/>
                </a:lnTo>
                <a:lnTo>
                  <a:pt x="131" y="27"/>
                </a:lnTo>
                <a:lnTo>
                  <a:pt x="130" y="29"/>
                </a:lnTo>
                <a:lnTo>
                  <a:pt x="129" y="30"/>
                </a:lnTo>
                <a:lnTo>
                  <a:pt x="129" y="32"/>
                </a:lnTo>
                <a:lnTo>
                  <a:pt x="131" y="33"/>
                </a:lnTo>
                <a:lnTo>
                  <a:pt x="132" y="33"/>
                </a:lnTo>
                <a:lnTo>
                  <a:pt x="133" y="34"/>
                </a:lnTo>
                <a:lnTo>
                  <a:pt x="137" y="39"/>
                </a:lnTo>
                <a:lnTo>
                  <a:pt x="141" y="45"/>
                </a:lnTo>
                <a:lnTo>
                  <a:pt x="142" y="46"/>
                </a:lnTo>
                <a:lnTo>
                  <a:pt x="143" y="46"/>
                </a:lnTo>
                <a:lnTo>
                  <a:pt x="145" y="45"/>
                </a:lnTo>
                <a:lnTo>
                  <a:pt x="146" y="43"/>
                </a:lnTo>
                <a:lnTo>
                  <a:pt x="148" y="42"/>
                </a:lnTo>
                <a:lnTo>
                  <a:pt x="150" y="41"/>
                </a:lnTo>
                <a:lnTo>
                  <a:pt x="153" y="39"/>
                </a:lnTo>
                <a:lnTo>
                  <a:pt x="153" y="38"/>
                </a:lnTo>
                <a:lnTo>
                  <a:pt x="151" y="34"/>
                </a:lnTo>
                <a:lnTo>
                  <a:pt x="149" y="31"/>
                </a:lnTo>
                <a:lnTo>
                  <a:pt x="150" y="30"/>
                </a:lnTo>
                <a:lnTo>
                  <a:pt x="153" y="31"/>
                </a:lnTo>
                <a:lnTo>
                  <a:pt x="158" y="33"/>
                </a:lnTo>
                <a:lnTo>
                  <a:pt x="166" y="39"/>
                </a:lnTo>
                <a:lnTo>
                  <a:pt x="168" y="39"/>
                </a:lnTo>
                <a:lnTo>
                  <a:pt x="171" y="38"/>
                </a:lnTo>
                <a:lnTo>
                  <a:pt x="174" y="37"/>
                </a:lnTo>
                <a:lnTo>
                  <a:pt x="175" y="36"/>
                </a:lnTo>
                <a:lnTo>
                  <a:pt x="176" y="36"/>
                </a:lnTo>
                <a:lnTo>
                  <a:pt x="176" y="40"/>
                </a:lnTo>
                <a:lnTo>
                  <a:pt x="175" y="42"/>
                </a:lnTo>
                <a:lnTo>
                  <a:pt x="172" y="43"/>
                </a:lnTo>
                <a:lnTo>
                  <a:pt x="172" y="44"/>
                </a:lnTo>
                <a:lnTo>
                  <a:pt x="173" y="45"/>
                </a:lnTo>
                <a:lnTo>
                  <a:pt x="174" y="46"/>
                </a:lnTo>
                <a:lnTo>
                  <a:pt x="177" y="48"/>
                </a:lnTo>
                <a:lnTo>
                  <a:pt x="178" y="51"/>
                </a:lnTo>
                <a:lnTo>
                  <a:pt x="179" y="52"/>
                </a:lnTo>
                <a:lnTo>
                  <a:pt x="180" y="52"/>
                </a:lnTo>
                <a:lnTo>
                  <a:pt x="184" y="51"/>
                </a:lnTo>
                <a:lnTo>
                  <a:pt x="185" y="50"/>
                </a:lnTo>
                <a:lnTo>
                  <a:pt x="185" y="49"/>
                </a:lnTo>
                <a:lnTo>
                  <a:pt x="186" y="49"/>
                </a:lnTo>
                <a:lnTo>
                  <a:pt x="187" y="51"/>
                </a:lnTo>
                <a:lnTo>
                  <a:pt x="187" y="51"/>
                </a:lnTo>
                <a:lnTo>
                  <a:pt x="191" y="53"/>
                </a:lnTo>
                <a:lnTo>
                  <a:pt x="193" y="54"/>
                </a:lnTo>
                <a:lnTo>
                  <a:pt x="194" y="55"/>
                </a:lnTo>
                <a:lnTo>
                  <a:pt x="195" y="54"/>
                </a:lnTo>
                <a:lnTo>
                  <a:pt x="201" y="56"/>
                </a:lnTo>
                <a:lnTo>
                  <a:pt x="202" y="57"/>
                </a:lnTo>
                <a:lnTo>
                  <a:pt x="202" y="59"/>
                </a:lnTo>
                <a:lnTo>
                  <a:pt x="202" y="60"/>
                </a:lnTo>
                <a:lnTo>
                  <a:pt x="203" y="63"/>
                </a:lnTo>
                <a:lnTo>
                  <a:pt x="210" y="70"/>
                </a:lnTo>
                <a:lnTo>
                  <a:pt x="210" y="73"/>
                </a:lnTo>
                <a:lnTo>
                  <a:pt x="210" y="74"/>
                </a:lnTo>
                <a:lnTo>
                  <a:pt x="210" y="75"/>
                </a:lnTo>
                <a:lnTo>
                  <a:pt x="208" y="75"/>
                </a:lnTo>
                <a:lnTo>
                  <a:pt x="206" y="76"/>
                </a:lnTo>
                <a:lnTo>
                  <a:pt x="203" y="75"/>
                </a:lnTo>
                <a:lnTo>
                  <a:pt x="201" y="77"/>
                </a:lnTo>
                <a:lnTo>
                  <a:pt x="199" y="79"/>
                </a:lnTo>
                <a:lnTo>
                  <a:pt x="197" y="80"/>
                </a:lnTo>
                <a:lnTo>
                  <a:pt x="196" y="81"/>
                </a:lnTo>
                <a:lnTo>
                  <a:pt x="196" y="83"/>
                </a:lnTo>
                <a:lnTo>
                  <a:pt x="189" y="87"/>
                </a:lnTo>
                <a:lnTo>
                  <a:pt x="189" y="88"/>
                </a:lnTo>
                <a:lnTo>
                  <a:pt x="188" y="90"/>
                </a:lnTo>
                <a:lnTo>
                  <a:pt x="188" y="93"/>
                </a:lnTo>
                <a:lnTo>
                  <a:pt x="187" y="96"/>
                </a:lnTo>
                <a:lnTo>
                  <a:pt x="186" y="97"/>
                </a:lnTo>
                <a:lnTo>
                  <a:pt x="183" y="98"/>
                </a:lnTo>
                <a:lnTo>
                  <a:pt x="182" y="99"/>
                </a:lnTo>
                <a:lnTo>
                  <a:pt x="181" y="100"/>
                </a:lnTo>
                <a:lnTo>
                  <a:pt x="179" y="102"/>
                </a:lnTo>
                <a:lnTo>
                  <a:pt x="177" y="104"/>
                </a:lnTo>
                <a:lnTo>
                  <a:pt x="173" y="106"/>
                </a:lnTo>
                <a:lnTo>
                  <a:pt x="168" y="107"/>
                </a:lnTo>
                <a:lnTo>
                  <a:pt x="162" y="106"/>
                </a:lnTo>
                <a:lnTo>
                  <a:pt x="159" y="105"/>
                </a:lnTo>
                <a:lnTo>
                  <a:pt x="157" y="106"/>
                </a:lnTo>
                <a:lnTo>
                  <a:pt x="155" y="109"/>
                </a:lnTo>
                <a:lnTo>
                  <a:pt x="153" y="114"/>
                </a:lnTo>
                <a:lnTo>
                  <a:pt x="152" y="118"/>
                </a:lnTo>
                <a:lnTo>
                  <a:pt x="151" y="117"/>
                </a:lnTo>
                <a:lnTo>
                  <a:pt x="150" y="113"/>
                </a:lnTo>
                <a:lnTo>
                  <a:pt x="148" y="112"/>
                </a:lnTo>
                <a:lnTo>
                  <a:pt x="146" y="112"/>
                </a:lnTo>
                <a:lnTo>
                  <a:pt x="144" y="111"/>
                </a:lnTo>
                <a:lnTo>
                  <a:pt x="141" y="109"/>
                </a:lnTo>
                <a:lnTo>
                  <a:pt x="139" y="108"/>
                </a:lnTo>
                <a:lnTo>
                  <a:pt x="137" y="108"/>
                </a:lnTo>
                <a:lnTo>
                  <a:pt x="135" y="110"/>
                </a:lnTo>
                <a:lnTo>
                  <a:pt x="134" y="111"/>
                </a:lnTo>
                <a:lnTo>
                  <a:pt x="129" y="111"/>
                </a:lnTo>
                <a:lnTo>
                  <a:pt x="124" y="110"/>
                </a:lnTo>
                <a:lnTo>
                  <a:pt x="117" y="105"/>
                </a:lnTo>
                <a:lnTo>
                  <a:pt x="115" y="105"/>
                </a:lnTo>
                <a:lnTo>
                  <a:pt x="113" y="105"/>
                </a:lnTo>
                <a:lnTo>
                  <a:pt x="110" y="104"/>
                </a:lnTo>
                <a:lnTo>
                  <a:pt x="103" y="101"/>
                </a:lnTo>
                <a:lnTo>
                  <a:pt x="101" y="100"/>
                </a:lnTo>
                <a:lnTo>
                  <a:pt x="99" y="100"/>
                </a:lnTo>
                <a:lnTo>
                  <a:pt x="97" y="101"/>
                </a:lnTo>
                <a:lnTo>
                  <a:pt x="96" y="101"/>
                </a:lnTo>
                <a:lnTo>
                  <a:pt x="95" y="100"/>
                </a:lnTo>
                <a:lnTo>
                  <a:pt x="93" y="99"/>
                </a:lnTo>
                <a:lnTo>
                  <a:pt x="91" y="99"/>
                </a:lnTo>
                <a:lnTo>
                  <a:pt x="90" y="100"/>
                </a:lnTo>
                <a:lnTo>
                  <a:pt x="89" y="107"/>
                </a:lnTo>
                <a:lnTo>
                  <a:pt x="88" y="110"/>
                </a:lnTo>
                <a:lnTo>
                  <a:pt x="85" y="109"/>
                </a:lnTo>
                <a:lnTo>
                  <a:pt x="84" y="111"/>
                </a:lnTo>
                <a:lnTo>
                  <a:pt x="82" y="114"/>
                </a:lnTo>
                <a:lnTo>
                  <a:pt x="81" y="118"/>
                </a:lnTo>
                <a:lnTo>
                  <a:pt x="77" y="117"/>
                </a:lnTo>
                <a:lnTo>
                  <a:pt x="75" y="116"/>
                </a:lnTo>
                <a:lnTo>
                  <a:pt x="73" y="117"/>
                </a:lnTo>
                <a:lnTo>
                  <a:pt x="71" y="119"/>
                </a:lnTo>
                <a:lnTo>
                  <a:pt x="66" y="119"/>
                </a:lnTo>
                <a:lnTo>
                  <a:pt x="61" y="118"/>
                </a:lnTo>
                <a:lnTo>
                  <a:pt x="59" y="113"/>
                </a:lnTo>
                <a:lnTo>
                  <a:pt x="57" y="112"/>
                </a:lnTo>
                <a:lnTo>
                  <a:pt x="55" y="110"/>
                </a:lnTo>
                <a:lnTo>
                  <a:pt x="54" y="110"/>
                </a:lnTo>
                <a:lnTo>
                  <a:pt x="53" y="108"/>
                </a:lnTo>
                <a:lnTo>
                  <a:pt x="50" y="105"/>
                </a:lnTo>
                <a:lnTo>
                  <a:pt x="46" y="101"/>
                </a:lnTo>
                <a:lnTo>
                  <a:pt x="42" y="101"/>
                </a:lnTo>
                <a:lnTo>
                  <a:pt x="41" y="100"/>
                </a:lnTo>
                <a:lnTo>
                  <a:pt x="40" y="98"/>
                </a:lnTo>
                <a:lnTo>
                  <a:pt x="39" y="96"/>
                </a:lnTo>
                <a:lnTo>
                  <a:pt x="37" y="94"/>
                </a:lnTo>
                <a:lnTo>
                  <a:pt x="36" y="93"/>
                </a:lnTo>
                <a:lnTo>
                  <a:pt x="33" y="91"/>
                </a:lnTo>
                <a:lnTo>
                  <a:pt x="29" y="86"/>
                </a:lnTo>
                <a:lnTo>
                  <a:pt x="26" y="83"/>
                </a:lnTo>
                <a:lnTo>
                  <a:pt x="23" y="83"/>
                </a:lnTo>
                <a:lnTo>
                  <a:pt x="21" y="81"/>
                </a:lnTo>
                <a:lnTo>
                  <a:pt x="19" y="79"/>
                </a:lnTo>
                <a:lnTo>
                  <a:pt x="17" y="77"/>
                </a:lnTo>
                <a:lnTo>
                  <a:pt x="15" y="71"/>
                </a:lnTo>
                <a:lnTo>
                  <a:pt x="13" y="68"/>
                </a:lnTo>
                <a:lnTo>
                  <a:pt x="12" y="66"/>
                </a:lnTo>
                <a:lnTo>
                  <a:pt x="10" y="65"/>
                </a:lnTo>
                <a:lnTo>
                  <a:pt x="9" y="63"/>
                </a:lnTo>
                <a:lnTo>
                  <a:pt x="11" y="61"/>
                </a:lnTo>
                <a:lnTo>
                  <a:pt x="12" y="59"/>
                </a:lnTo>
                <a:lnTo>
                  <a:pt x="13" y="58"/>
                </a:lnTo>
                <a:lnTo>
                  <a:pt x="13" y="57"/>
                </a:lnTo>
                <a:lnTo>
                  <a:pt x="13" y="56"/>
                </a:lnTo>
                <a:lnTo>
                  <a:pt x="12" y="53"/>
                </a:lnTo>
                <a:lnTo>
                  <a:pt x="9" y="51"/>
                </a:lnTo>
                <a:lnTo>
                  <a:pt x="6" y="49"/>
                </a:lnTo>
                <a:lnTo>
                  <a:pt x="4" y="46"/>
                </a:lnTo>
                <a:lnTo>
                  <a:pt x="3" y="44"/>
                </a:lnTo>
                <a:lnTo>
                  <a:pt x="3" y="42"/>
                </a:lnTo>
                <a:lnTo>
                  <a:pt x="1" y="41"/>
                </a:lnTo>
                <a:lnTo>
                  <a:pt x="0" y="38"/>
                </a:lnTo>
                <a:lnTo>
                  <a:pt x="0" y="36"/>
                </a:lnTo>
                <a:lnTo>
                  <a:pt x="0" y="36"/>
                </a:lnTo>
                <a:lnTo>
                  <a:pt x="2" y="36"/>
                </a:lnTo>
                <a:lnTo>
                  <a:pt x="3" y="37"/>
                </a:lnTo>
                <a:lnTo>
                  <a:pt x="5" y="39"/>
                </a:lnTo>
                <a:lnTo>
                  <a:pt x="6" y="42"/>
                </a:lnTo>
                <a:lnTo>
                  <a:pt x="7" y="41"/>
                </a:lnTo>
                <a:lnTo>
                  <a:pt x="9" y="38"/>
                </a:lnTo>
                <a:lnTo>
                  <a:pt x="11" y="34"/>
                </a:lnTo>
                <a:lnTo>
                  <a:pt x="14" y="32"/>
                </a:lnTo>
                <a:lnTo>
                  <a:pt x="17" y="32"/>
                </a:lnTo>
                <a:lnTo>
                  <a:pt x="19" y="31"/>
                </a:lnTo>
                <a:lnTo>
                  <a:pt x="21" y="30"/>
                </a:lnTo>
                <a:lnTo>
                  <a:pt x="24" y="30"/>
                </a:lnTo>
                <a:lnTo>
                  <a:pt x="27" y="31"/>
                </a:lnTo>
                <a:lnTo>
                  <a:pt x="27" y="31"/>
                </a:lnTo>
                <a:lnTo>
                  <a:pt x="28" y="29"/>
                </a:lnTo>
                <a:lnTo>
                  <a:pt x="29" y="27"/>
                </a:lnTo>
                <a:lnTo>
                  <a:pt x="34" y="26"/>
                </a:lnTo>
                <a:lnTo>
                  <a:pt x="36" y="23"/>
                </a:lnTo>
                <a:lnTo>
                  <a:pt x="37" y="23"/>
                </a:lnTo>
                <a:lnTo>
                  <a:pt x="38" y="22"/>
                </a:lnTo>
                <a:lnTo>
                  <a:pt x="39" y="21"/>
                </a:lnTo>
                <a:lnTo>
                  <a:pt x="40" y="21"/>
                </a:lnTo>
                <a:lnTo>
                  <a:pt x="41" y="21"/>
                </a:lnTo>
                <a:lnTo>
                  <a:pt x="42" y="22"/>
                </a:lnTo>
                <a:lnTo>
                  <a:pt x="43" y="21"/>
                </a:lnTo>
                <a:lnTo>
                  <a:pt x="45" y="17"/>
                </a:lnTo>
                <a:lnTo>
                  <a:pt x="46" y="17"/>
                </a:lnTo>
                <a:lnTo>
                  <a:pt x="50" y="16"/>
                </a:lnTo>
                <a:lnTo>
                  <a:pt x="57" y="14"/>
                </a:lnTo>
                <a:lnTo>
                  <a:pt x="60" y="12"/>
                </a:lnTo>
                <a:lnTo>
                  <a:pt x="63" y="11"/>
                </a:lnTo>
                <a:lnTo>
                  <a:pt x="66" y="9"/>
                </a:lnTo>
                <a:lnTo>
                  <a:pt x="71" y="7"/>
                </a:lnTo>
                <a:lnTo>
                  <a:pt x="71" y="6"/>
                </a:lnTo>
                <a:lnTo>
                  <a:pt x="69" y="4"/>
                </a:lnTo>
                <a:lnTo>
                  <a:pt x="68" y="3"/>
                </a:lnTo>
                <a:lnTo>
                  <a:pt x="68" y="2"/>
                </a:lnTo>
                <a:lnTo>
                  <a:pt x="69" y="1"/>
                </a:lnTo>
                <a:lnTo>
                  <a:pt x="70" y="0"/>
                </a:lnTo>
                <a:lnTo>
                  <a:pt x="71" y="1"/>
                </a:lnTo>
                <a:lnTo>
                  <a:pt x="76" y="2"/>
                </a:lnTo>
                <a:lnTo>
                  <a:pt x="77" y="2"/>
                </a:lnTo>
                <a:lnTo>
                  <a:pt x="77" y="4"/>
                </a:lnTo>
                <a:lnTo>
                  <a:pt x="78" y="6"/>
                </a:lnTo>
                <a:lnTo>
                  <a:pt x="79" y="6"/>
                </a:lnTo>
                <a:lnTo>
                  <a:pt x="79" y="9"/>
                </a:lnTo>
                <a:lnTo>
                  <a:pt x="80" y="10"/>
                </a:lnTo>
                <a:lnTo>
                  <a:pt x="82" y="11"/>
                </a:lnTo>
                <a:lnTo>
                  <a:pt x="84" y="11"/>
                </a:lnTo>
                <a:lnTo>
                  <a:pt x="85" y="10"/>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1218" name="Germany">
            <a:extLst>
              <a:ext uri="{FF2B5EF4-FFF2-40B4-BE49-F238E27FC236}">
                <a16:creationId xmlns:a16="http://schemas.microsoft.com/office/drawing/2014/main" id="{6696457D-27E7-4B4B-8E29-57E0A74F8F50}"/>
              </a:ext>
            </a:extLst>
          </p:cNvPr>
          <p:cNvSpPr>
            <a:spLocks noEditPoints="1"/>
          </p:cNvSpPr>
          <p:nvPr/>
        </p:nvSpPr>
        <p:spPr bwMode="auto">
          <a:xfrm>
            <a:off x="5993152" y="2900624"/>
            <a:ext cx="274537" cy="327588"/>
          </a:xfrm>
          <a:custGeom>
            <a:avLst/>
            <a:gdLst>
              <a:gd name="T0" fmla="*/ 78 w 285"/>
              <a:gd name="T1" fmla="*/ 7 h 387"/>
              <a:gd name="T2" fmla="*/ 126 w 285"/>
              <a:gd name="T3" fmla="*/ 15 h 387"/>
              <a:gd name="T4" fmla="*/ 140 w 285"/>
              <a:gd name="T5" fmla="*/ 33 h 387"/>
              <a:gd name="T6" fmla="*/ 163 w 285"/>
              <a:gd name="T7" fmla="*/ 56 h 387"/>
              <a:gd name="T8" fmla="*/ 209 w 285"/>
              <a:gd name="T9" fmla="*/ 32 h 387"/>
              <a:gd name="T10" fmla="*/ 252 w 285"/>
              <a:gd name="T11" fmla="*/ 67 h 387"/>
              <a:gd name="T12" fmla="*/ 267 w 285"/>
              <a:gd name="T13" fmla="*/ 99 h 387"/>
              <a:gd name="T14" fmla="*/ 271 w 285"/>
              <a:gd name="T15" fmla="*/ 138 h 387"/>
              <a:gd name="T16" fmla="*/ 277 w 285"/>
              <a:gd name="T17" fmla="*/ 156 h 387"/>
              <a:gd name="T18" fmla="*/ 276 w 285"/>
              <a:gd name="T19" fmla="*/ 183 h 387"/>
              <a:gd name="T20" fmla="*/ 279 w 285"/>
              <a:gd name="T21" fmla="*/ 217 h 387"/>
              <a:gd name="T22" fmla="*/ 271 w 285"/>
              <a:gd name="T23" fmla="*/ 210 h 387"/>
              <a:gd name="T24" fmla="*/ 265 w 285"/>
              <a:gd name="T25" fmla="*/ 215 h 387"/>
              <a:gd name="T26" fmla="*/ 236 w 285"/>
              <a:gd name="T27" fmla="*/ 230 h 387"/>
              <a:gd name="T28" fmla="*/ 222 w 285"/>
              <a:gd name="T29" fmla="*/ 237 h 387"/>
              <a:gd name="T30" fmla="*/ 203 w 285"/>
              <a:gd name="T31" fmla="*/ 246 h 387"/>
              <a:gd name="T32" fmla="*/ 195 w 285"/>
              <a:gd name="T33" fmla="*/ 249 h 387"/>
              <a:gd name="T34" fmla="*/ 207 w 285"/>
              <a:gd name="T35" fmla="*/ 266 h 387"/>
              <a:gd name="T36" fmla="*/ 213 w 285"/>
              <a:gd name="T37" fmla="*/ 287 h 387"/>
              <a:gd name="T38" fmla="*/ 235 w 285"/>
              <a:gd name="T39" fmla="*/ 306 h 387"/>
              <a:gd name="T40" fmla="*/ 247 w 285"/>
              <a:gd name="T41" fmla="*/ 325 h 387"/>
              <a:gd name="T42" fmla="*/ 234 w 285"/>
              <a:gd name="T43" fmla="*/ 337 h 387"/>
              <a:gd name="T44" fmla="*/ 218 w 285"/>
              <a:gd name="T45" fmla="*/ 354 h 387"/>
              <a:gd name="T46" fmla="*/ 224 w 285"/>
              <a:gd name="T47" fmla="*/ 373 h 387"/>
              <a:gd name="T48" fmla="*/ 215 w 285"/>
              <a:gd name="T49" fmla="*/ 370 h 387"/>
              <a:gd name="T50" fmla="*/ 198 w 285"/>
              <a:gd name="T51" fmla="*/ 367 h 387"/>
              <a:gd name="T52" fmla="*/ 167 w 285"/>
              <a:gd name="T53" fmla="*/ 381 h 387"/>
              <a:gd name="T54" fmla="*/ 152 w 285"/>
              <a:gd name="T55" fmla="*/ 376 h 387"/>
              <a:gd name="T56" fmla="*/ 135 w 285"/>
              <a:gd name="T57" fmla="*/ 387 h 387"/>
              <a:gd name="T58" fmla="*/ 128 w 285"/>
              <a:gd name="T59" fmla="*/ 377 h 387"/>
              <a:gd name="T60" fmla="*/ 102 w 285"/>
              <a:gd name="T61" fmla="*/ 369 h 387"/>
              <a:gd name="T62" fmla="*/ 85 w 285"/>
              <a:gd name="T63" fmla="*/ 364 h 387"/>
              <a:gd name="T64" fmla="*/ 84 w 285"/>
              <a:gd name="T65" fmla="*/ 371 h 387"/>
              <a:gd name="T66" fmla="*/ 57 w 285"/>
              <a:gd name="T67" fmla="*/ 374 h 387"/>
              <a:gd name="T68" fmla="*/ 57 w 285"/>
              <a:gd name="T69" fmla="*/ 341 h 387"/>
              <a:gd name="T70" fmla="*/ 67 w 285"/>
              <a:gd name="T71" fmla="*/ 306 h 387"/>
              <a:gd name="T72" fmla="*/ 38 w 285"/>
              <a:gd name="T73" fmla="*/ 301 h 387"/>
              <a:gd name="T74" fmla="*/ 27 w 285"/>
              <a:gd name="T75" fmla="*/ 299 h 387"/>
              <a:gd name="T76" fmla="*/ 16 w 285"/>
              <a:gd name="T77" fmla="*/ 278 h 387"/>
              <a:gd name="T78" fmla="*/ 11 w 285"/>
              <a:gd name="T79" fmla="*/ 263 h 387"/>
              <a:gd name="T80" fmla="*/ 15 w 285"/>
              <a:gd name="T81" fmla="*/ 237 h 387"/>
              <a:gd name="T82" fmla="*/ 4 w 285"/>
              <a:gd name="T83" fmla="*/ 222 h 387"/>
              <a:gd name="T84" fmla="*/ 3 w 285"/>
              <a:gd name="T85" fmla="*/ 207 h 387"/>
              <a:gd name="T86" fmla="*/ 10 w 285"/>
              <a:gd name="T87" fmla="*/ 188 h 387"/>
              <a:gd name="T88" fmla="*/ 7 w 285"/>
              <a:gd name="T89" fmla="*/ 167 h 387"/>
              <a:gd name="T90" fmla="*/ 28 w 285"/>
              <a:gd name="T91" fmla="*/ 163 h 387"/>
              <a:gd name="T92" fmla="*/ 35 w 285"/>
              <a:gd name="T93" fmla="*/ 150 h 387"/>
              <a:gd name="T94" fmla="*/ 26 w 285"/>
              <a:gd name="T95" fmla="*/ 135 h 387"/>
              <a:gd name="T96" fmla="*/ 37 w 285"/>
              <a:gd name="T97" fmla="*/ 122 h 387"/>
              <a:gd name="T98" fmla="*/ 39 w 285"/>
              <a:gd name="T99" fmla="*/ 80 h 387"/>
              <a:gd name="T100" fmla="*/ 75 w 285"/>
              <a:gd name="T101" fmla="*/ 82 h 387"/>
              <a:gd name="T102" fmla="*/ 85 w 285"/>
              <a:gd name="T103" fmla="*/ 65 h 387"/>
              <a:gd name="T104" fmla="*/ 108 w 285"/>
              <a:gd name="T105" fmla="*/ 64 h 387"/>
              <a:gd name="T106" fmla="*/ 90 w 285"/>
              <a:gd name="T107" fmla="*/ 41 h 387"/>
              <a:gd name="T108" fmla="*/ 88 w 285"/>
              <a:gd name="T109" fmla="*/ 14 h 387"/>
              <a:gd name="T110" fmla="*/ 118 w 285"/>
              <a:gd name="T111" fmla="*/ 12 h 387"/>
              <a:gd name="T112" fmla="*/ 80 w 285"/>
              <a:gd name="T113" fmla="*/ 17 h 387"/>
              <a:gd name="T114" fmla="*/ 241 w 285"/>
              <a:gd name="T115" fmla="*/ 39 h 387"/>
              <a:gd name="T116" fmla="*/ 230 w 285"/>
              <a:gd name="T117" fmla="*/ 26 h 387"/>
              <a:gd name="T118" fmla="*/ 241 w 285"/>
              <a:gd name="T119" fmla="*/ 31 h 387"/>
              <a:gd name="T120" fmla="*/ 161 w 285"/>
              <a:gd name="T121" fmla="*/ 29 h 387"/>
              <a:gd name="T122" fmla="*/ 259 w 285"/>
              <a:gd name="T123" fmla="*/ 63 h 387"/>
              <a:gd name="T124" fmla="*/ 255 w 285"/>
              <a:gd name="T125" fmla="*/ 55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5" h="387">
                <a:moveTo>
                  <a:pt x="76" y="15"/>
                </a:moveTo>
                <a:lnTo>
                  <a:pt x="76" y="15"/>
                </a:lnTo>
                <a:lnTo>
                  <a:pt x="75" y="16"/>
                </a:lnTo>
                <a:lnTo>
                  <a:pt x="76" y="8"/>
                </a:lnTo>
                <a:lnTo>
                  <a:pt x="79" y="0"/>
                </a:lnTo>
                <a:lnTo>
                  <a:pt x="81" y="0"/>
                </a:lnTo>
                <a:lnTo>
                  <a:pt x="79" y="2"/>
                </a:lnTo>
                <a:lnTo>
                  <a:pt x="79" y="4"/>
                </a:lnTo>
                <a:lnTo>
                  <a:pt x="78" y="7"/>
                </a:lnTo>
                <a:lnTo>
                  <a:pt x="78" y="8"/>
                </a:lnTo>
                <a:lnTo>
                  <a:pt x="86" y="9"/>
                </a:lnTo>
                <a:lnTo>
                  <a:pt x="85" y="10"/>
                </a:lnTo>
                <a:lnTo>
                  <a:pt x="77" y="11"/>
                </a:lnTo>
                <a:lnTo>
                  <a:pt x="76" y="15"/>
                </a:lnTo>
                <a:close/>
                <a:moveTo>
                  <a:pt x="121" y="12"/>
                </a:moveTo>
                <a:lnTo>
                  <a:pt x="121" y="12"/>
                </a:lnTo>
                <a:lnTo>
                  <a:pt x="121" y="14"/>
                </a:lnTo>
                <a:lnTo>
                  <a:pt x="126" y="15"/>
                </a:lnTo>
                <a:lnTo>
                  <a:pt x="128" y="17"/>
                </a:lnTo>
                <a:lnTo>
                  <a:pt x="130" y="21"/>
                </a:lnTo>
                <a:lnTo>
                  <a:pt x="130" y="26"/>
                </a:lnTo>
                <a:lnTo>
                  <a:pt x="127" y="29"/>
                </a:lnTo>
                <a:lnTo>
                  <a:pt x="125" y="32"/>
                </a:lnTo>
                <a:lnTo>
                  <a:pt x="133" y="31"/>
                </a:lnTo>
                <a:lnTo>
                  <a:pt x="134" y="33"/>
                </a:lnTo>
                <a:lnTo>
                  <a:pt x="136" y="35"/>
                </a:lnTo>
                <a:lnTo>
                  <a:pt x="140" y="33"/>
                </a:lnTo>
                <a:lnTo>
                  <a:pt x="152" y="40"/>
                </a:lnTo>
                <a:lnTo>
                  <a:pt x="159" y="37"/>
                </a:lnTo>
                <a:lnTo>
                  <a:pt x="161" y="36"/>
                </a:lnTo>
                <a:lnTo>
                  <a:pt x="162" y="42"/>
                </a:lnTo>
                <a:lnTo>
                  <a:pt x="160" y="47"/>
                </a:lnTo>
                <a:lnTo>
                  <a:pt x="154" y="53"/>
                </a:lnTo>
                <a:lnTo>
                  <a:pt x="156" y="56"/>
                </a:lnTo>
                <a:lnTo>
                  <a:pt x="158" y="57"/>
                </a:lnTo>
                <a:lnTo>
                  <a:pt x="163" y="56"/>
                </a:lnTo>
                <a:lnTo>
                  <a:pt x="173" y="60"/>
                </a:lnTo>
                <a:lnTo>
                  <a:pt x="175" y="58"/>
                </a:lnTo>
                <a:lnTo>
                  <a:pt x="182" y="51"/>
                </a:lnTo>
                <a:lnTo>
                  <a:pt x="185" y="49"/>
                </a:lnTo>
                <a:lnTo>
                  <a:pt x="195" y="48"/>
                </a:lnTo>
                <a:lnTo>
                  <a:pt x="197" y="45"/>
                </a:lnTo>
                <a:lnTo>
                  <a:pt x="201" y="42"/>
                </a:lnTo>
                <a:lnTo>
                  <a:pt x="203" y="38"/>
                </a:lnTo>
                <a:lnTo>
                  <a:pt x="209" y="32"/>
                </a:lnTo>
                <a:lnTo>
                  <a:pt x="216" y="33"/>
                </a:lnTo>
                <a:lnTo>
                  <a:pt x="219" y="34"/>
                </a:lnTo>
                <a:lnTo>
                  <a:pt x="223" y="35"/>
                </a:lnTo>
                <a:lnTo>
                  <a:pt x="227" y="42"/>
                </a:lnTo>
                <a:lnTo>
                  <a:pt x="236" y="49"/>
                </a:lnTo>
                <a:lnTo>
                  <a:pt x="245" y="49"/>
                </a:lnTo>
                <a:lnTo>
                  <a:pt x="248" y="56"/>
                </a:lnTo>
                <a:lnTo>
                  <a:pt x="249" y="64"/>
                </a:lnTo>
                <a:lnTo>
                  <a:pt x="252" y="67"/>
                </a:lnTo>
                <a:lnTo>
                  <a:pt x="254" y="69"/>
                </a:lnTo>
                <a:lnTo>
                  <a:pt x="261" y="71"/>
                </a:lnTo>
                <a:lnTo>
                  <a:pt x="262" y="71"/>
                </a:lnTo>
                <a:lnTo>
                  <a:pt x="262" y="72"/>
                </a:lnTo>
                <a:lnTo>
                  <a:pt x="262" y="76"/>
                </a:lnTo>
                <a:lnTo>
                  <a:pt x="263" y="80"/>
                </a:lnTo>
                <a:lnTo>
                  <a:pt x="267" y="94"/>
                </a:lnTo>
                <a:lnTo>
                  <a:pt x="267" y="98"/>
                </a:lnTo>
                <a:lnTo>
                  <a:pt x="267" y="99"/>
                </a:lnTo>
                <a:lnTo>
                  <a:pt x="265" y="103"/>
                </a:lnTo>
                <a:lnTo>
                  <a:pt x="263" y="108"/>
                </a:lnTo>
                <a:lnTo>
                  <a:pt x="260" y="110"/>
                </a:lnTo>
                <a:lnTo>
                  <a:pt x="258" y="112"/>
                </a:lnTo>
                <a:lnTo>
                  <a:pt x="258" y="115"/>
                </a:lnTo>
                <a:lnTo>
                  <a:pt x="262" y="120"/>
                </a:lnTo>
                <a:lnTo>
                  <a:pt x="270" y="127"/>
                </a:lnTo>
                <a:lnTo>
                  <a:pt x="273" y="133"/>
                </a:lnTo>
                <a:lnTo>
                  <a:pt x="271" y="138"/>
                </a:lnTo>
                <a:lnTo>
                  <a:pt x="271" y="142"/>
                </a:lnTo>
                <a:lnTo>
                  <a:pt x="272" y="144"/>
                </a:lnTo>
                <a:lnTo>
                  <a:pt x="273" y="146"/>
                </a:lnTo>
                <a:lnTo>
                  <a:pt x="275" y="147"/>
                </a:lnTo>
                <a:lnTo>
                  <a:pt x="276" y="150"/>
                </a:lnTo>
                <a:lnTo>
                  <a:pt x="275" y="152"/>
                </a:lnTo>
                <a:lnTo>
                  <a:pt x="276" y="154"/>
                </a:lnTo>
                <a:lnTo>
                  <a:pt x="277" y="156"/>
                </a:lnTo>
                <a:lnTo>
                  <a:pt x="277" y="156"/>
                </a:lnTo>
                <a:lnTo>
                  <a:pt x="276" y="158"/>
                </a:lnTo>
                <a:lnTo>
                  <a:pt x="275" y="162"/>
                </a:lnTo>
                <a:lnTo>
                  <a:pt x="275" y="165"/>
                </a:lnTo>
                <a:lnTo>
                  <a:pt x="272" y="169"/>
                </a:lnTo>
                <a:lnTo>
                  <a:pt x="273" y="172"/>
                </a:lnTo>
                <a:lnTo>
                  <a:pt x="275" y="175"/>
                </a:lnTo>
                <a:lnTo>
                  <a:pt x="276" y="177"/>
                </a:lnTo>
                <a:lnTo>
                  <a:pt x="277" y="179"/>
                </a:lnTo>
                <a:lnTo>
                  <a:pt x="276" y="183"/>
                </a:lnTo>
                <a:lnTo>
                  <a:pt x="276" y="184"/>
                </a:lnTo>
                <a:lnTo>
                  <a:pt x="282" y="187"/>
                </a:lnTo>
                <a:lnTo>
                  <a:pt x="283" y="188"/>
                </a:lnTo>
                <a:lnTo>
                  <a:pt x="283" y="191"/>
                </a:lnTo>
                <a:lnTo>
                  <a:pt x="285" y="198"/>
                </a:lnTo>
                <a:lnTo>
                  <a:pt x="284" y="205"/>
                </a:lnTo>
                <a:lnTo>
                  <a:pt x="282" y="210"/>
                </a:lnTo>
                <a:lnTo>
                  <a:pt x="279" y="216"/>
                </a:lnTo>
                <a:lnTo>
                  <a:pt x="279" y="217"/>
                </a:lnTo>
                <a:lnTo>
                  <a:pt x="279" y="218"/>
                </a:lnTo>
                <a:lnTo>
                  <a:pt x="278" y="219"/>
                </a:lnTo>
                <a:lnTo>
                  <a:pt x="276" y="219"/>
                </a:lnTo>
                <a:lnTo>
                  <a:pt x="274" y="218"/>
                </a:lnTo>
                <a:lnTo>
                  <a:pt x="273" y="217"/>
                </a:lnTo>
                <a:lnTo>
                  <a:pt x="273" y="214"/>
                </a:lnTo>
                <a:lnTo>
                  <a:pt x="272" y="214"/>
                </a:lnTo>
                <a:lnTo>
                  <a:pt x="271" y="212"/>
                </a:lnTo>
                <a:lnTo>
                  <a:pt x="271" y="210"/>
                </a:lnTo>
                <a:lnTo>
                  <a:pt x="270" y="210"/>
                </a:lnTo>
                <a:lnTo>
                  <a:pt x="265" y="209"/>
                </a:lnTo>
                <a:lnTo>
                  <a:pt x="264" y="208"/>
                </a:lnTo>
                <a:lnTo>
                  <a:pt x="263" y="209"/>
                </a:lnTo>
                <a:lnTo>
                  <a:pt x="262" y="210"/>
                </a:lnTo>
                <a:lnTo>
                  <a:pt x="262" y="211"/>
                </a:lnTo>
                <a:lnTo>
                  <a:pt x="263" y="212"/>
                </a:lnTo>
                <a:lnTo>
                  <a:pt x="265" y="214"/>
                </a:lnTo>
                <a:lnTo>
                  <a:pt x="265" y="215"/>
                </a:lnTo>
                <a:lnTo>
                  <a:pt x="260" y="217"/>
                </a:lnTo>
                <a:lnTo>
                  <a:pt x="257" y="219"/>
                </a:lnTo>
                <a:lnTo>
                  <a:pt x="254" y="220"/>
                </a:lnTo>
                <a:lnTo>
                  <a:pt x="251" y="222"/>
                </a:lnTo>
                <a:lnTo>
                  <a:pt x="244" y="224"/>
                </a:lnTo>
                <a:lnTo>
                  <a:pt x="240" y="225"/>
                </a:lnTo>
                <a:lnTo>
                  <a:pt x="239" y="225"/>
                </a:lnTo>
                <a:lnTo>
                  <a:pt x="237" y="229"/>
                </a:lnTo>
                <a:lnTo>
                  <a:pt x="236" y="230"/>
                </a:lnTo>
                <a:lnTo>
                  <a:pt x="235" y="229"/>
                </a:lnTo>
                <a:lnTo>
                  <a:pt x="234" y="229"/>
                </a:lnTo>
                <a:lnTo>
                  <a:pt x="233" y="229"/>
                </a:lnTo>
                <a:lnTo>
                  <a:pt x="232" y="230"/>
                </a:lnTo>
                <a:lnTo>
                  <a:pt x="231" y="231"/>
                </a:lnTo>
                <a:lnTo>
                  <a:pt x="230" y="231"/>
                </a:lnTo>
                <a:lnTo>
                  <a:pt x="228" y="234"/>
                </a:lnTo>
                <a:lnTo>
                  <a:pt x="223" y="235"/>
                </a:lnTo>
                <a:lnTo>
                  <a:pt x="222" y="237"/>
                </a:lnTo>
                <a:lnTo>
                  <a:pt x="222" y="239"/>
                </a:lnTo>
                <a:lnTo>
                  <a:pt x="221" y="239"/>
                </a:lnTo>
                <a:lnTo>
                  <a:pt x="218" y="238"/>
                </a:lnTo>
                <a:lnTo>
                  <a:pt x="215" y="238"/>
                </a:lnTo>
                <a:lnTo>
                  <a:pt x="213" y="239"/>
                </a:lnTo>
                <a:lnTo>
                  <a:pt x="211" y="240"/>
                </a:lnTo>
                <a:lnTo>
                  <a:pt x="208" y="240"/>
                </a:lnTo>
                <a:lnTo>
                  <a:pt x="205" y="242"/>
                </a:lnTo>
                <a:lnTo>
                  <a:pt x="203" y="246"/>
                </a:lnTo>
                <a:lnTo>
                  <a:pt x="201" y="249"/>
                </a:lnTo>
                <a:lnTo>
                  <a:pt x="200" y="250"/>
                </a:lnTo>
                <a:lnTo>
                  <a:pt x="199" y="247"/>
                </a:lnTo>
                <a:lnTo>
                  <a:pt x="197" y="245"/>
                </a:lnTo>
                <a:lnTo>
                  <a:pt x="196" y="244"/>
                </a:lnTo>
                <a:lnTo>
                  <a:pt x="194" y="244"/>
                </a:lnTo>
                <a:lnTo>
                  <a:pt x="194" y="244"/>
                </a:lnTo>
                <a:lnTo>
                  <a:pt x="194" y="246"/>
                </a:lnTo>
                <a:lnTo>
                  <a:pt x="195" y="249"/>
                </a:lnTo>
                <a:lnTo>
                  <a:pt x="197" y="250"/>
                </a:lnTo>
                <a:lnTo>
                  <a:pt x="197" y="252"/>
                </a:lnTo>
                <a:lnTo>
                  <a:pt x="198" y="254"/>
                </a:lnTo>
                <a:lnTo>
                  <a:pt x="200" y="257"/>
                </a:lnTo>
                <a:lnTo>
                  <a:pt x="203" y="259"/>
                </a:lnTo>
                <a:lnTo>
                  <a:pt x="206" y="261"/>
                </a:lnTo>
                <a:lnTo>
                  <a:pt x="207" y="264"/>
                </a:lnTo>
                <a:lnTo>
                  <a:pt x="207" y="265"/>
                </a:lnTo>
                <a:lnTo>
                  <a:pt x="207" y="266"/>
                </a:lnTo>
                <a:lnTo>
                  <a:pt x="206" y="267"/>
                </a:lnTo>
                <a:lnTo>
                  <a:pt x="205" y="269"/>
                </a:lnTo>
                <a:lnTo>
                  <a:pt x="204" y="271"/>
                </a:lnTo>
                <a:lnTo>
                  <a:pt x="204" y="273"/>
                </a:lnTo>
                <a:lnTo>
                  <a:pt x="206" y="274"/>
                </a:lnTo>
                <a:lnTo>
                  <a:pt x="207" y="276"/>
                </a:lnTo>
                <a:lnTo>
                  <a:pt x="209" y="279"/>
                </a:lnTo>
                <a:lnTo>
                  <a:pt x="211" y="285"/>
                </a:lnTo>
                <a:lnTo>
                  <a:pt x="213" y="287"/>
                </a:lnTo>
                <a:lnTo>
                  <a:pt x="215" y="289"/>
                </a:lnTo>
                <a:lnTo>
                  <a:pt x="217" y="291"/>
                </a:lnTo>
                <a:lnTo>
                  <a:pt x="220" y="291"/>
                </a:lnTo>
                <a:lnTo>
                  <a:pt x="223" y="294"/>
                </a:lnTo>
                <a:lnTo>
                  <a:pt x="227" y="299"/>
                </a:lnTo>
                <a:lnTo>
                  <a:pt x="230" y="301"/>
                </a:lnTo>
                <a:lnTo>
                  <a:pt x="232" y="302"/>
                </a:lnTo>
                <a:lnTo>
                  <a:pt x="233" y="304"/>
                </a:lnTo>
                <a:lnTo>
                  <a:pt x="235" y="306"/>
                </a:lnTo>
                <a:lnTo>
                  <a:pt x="235" y="308"/>
                </a:lnTo>
                <a:lnTo>
                  <a:pt x="236" y="309"/>
                </a:lnTo>
                <a:lnTo>
                  <a:pt x="240" y="309"/>
                </a:lnTo>
                <a:lnTo>
                  <a:pt x="244" y="313"/>
                </a:lnTo>
                <a:lnTo>
                  <a:pt x="247" y="316"/>
                </a:lnTo>
                <a:lnTo>
                  <a:pt x="248" y="318"/>
                </a:lnTo>
                <a:lnTo>
                  <a:pt x="248" y="319"/>
                </a:lnTo>
                <a:lnTo>
                  <a:pt x="247" y="322"/>
                </a:lnTo>
                <a:lnTo>
                  <a:pt x="247" y="325"/>
                </a:lnTo>
                <a:lnTo>
                  <a:pt x="247" y="326"/>
                </a:lnTo>
                <a:lnTo>
                  <a:pt x="245" y="328"/>
                </a:lnTo>
                <a:lnTo>
                  <a:pt x="244" y="329"/>
                </a:lnTo>
                <a:lnTo>
                  <a:pt x="244" y="329"/>
                </a:lnTo>
                <a:lnTo>
                  <a:pt x="238" y="327"/>
                </a:lnTo>
                <a:lnTo>
                  <a:pt x="237" y="327"/>
                </a:lnTo>
                <a:lnTo>
                  <a:pt x="237" y="327"/>
                </a:lnTo>
                <a:lnTo>
                  <a:pt x="235" y="335"/>
                </a:lnTo>
                <a:lnTo>
                  <a:pt x="234" y="337"/>
                </a:lnTo>
                <a:lnTo>
                  <a:pt x="233" y="338"/>
                </a:lnTo>
                <a:lnTo>
                  <a:pt x="229" y="340"/>
                </a:lnTo>
                <a:lnTo>
                  <a:pt x="227" y="340"/>
                </a:lnTo>
                <a:lnTo>
                  <a:pt x="225" y="341"/>
                </a:lnTo>
                <a:lnTo>
                  <a:pt x="219" y="344"/>
                </a:lnTo>
                <a:lnTo>
                  <a:pt x="217" y="346"/>
                </a:lnTo>
                <a:lnTo>
                  <a:pt x="215" y="349"/>
                </a:lnTo>
                <a:lnTo>
                  <a:pt x="215" y="350"/>
                </a:lnTo>
                <a:lnTo>
                  <a:pt x="218" y="354"/>
                </a:lnTo>
                <a:lnTo>
                  <a:pt x="221" y="359"/>
                </a:lnTo>
                <a:lnTo>
                  <a:pt x="221" y="363"/>
                </a:lnTo>
                <a:lnTo>
                  <a:pt x="220" y="366"/>
                </a:lnTo>
                <a:lnTo>
                  <a:pt x="219" y="367"/>
                </a:lnTo>
                <a:lnTo>
                  <a:pt x="220" y="367"/>
                </a:lnTo>
                <a:lnTo>
                  <a:pt x="222" y="367"/>
                </a:lnTo>
                <a:lnTo>
                  <a:pt x="224" y="368"/>
                </a:lnTo>
                <a:lnTo>
                  <a:pt x="224" y="370"/>
                </a:lnTo>
                <a:lnTo>
                  <a:pt x="224" y="373"/>
                </a:lnTo>
                <a:lnTo>
                  <a:pt x="224" y="376"/>
                </a:lnTo>
                <a:lnTo>
                  <a:pt x="223" y="378"/>
                </a:lnTo>
                <a:lnTo>
                  <a:pt x="222" y="378"/>
                </a:lnTo>
                <a:lnTo>
                  <a:pt x="219" y="377"/>
                </a:lnTo>
                <a:lnTo>
                  <a:pt x="217" y="375"/>
                </a:lnTo>
                <a:lnTo>
                  <a:pt x="216" y="374"/>
                </a:lnTo>
                <a:lnTo>
                  <a:pt x="216" y="373"/>
                </a:lnTo>
                <a:lnTo>
                  <a:pt x="216" y="372"/>
                </a:lnTo>
                <a:lnTo>
                  <a:pt x="215" y="370"/>
                </a:lnTo>
                <a:lnTo>
                  <a:pt x="213" y="369"/>
                </a:lnTo>
                <a:lnTo>
                  <a:pt x="210" y="370"/>
                </a:lnTo>
                <a:lnTo>
                  <a:pt x="208" y="371"/>
                </a:lnTo>
                <a:lnTo>
                  <a:pt x="206" y="371"/>
                </a:lnTo>
                <a:lnTo>
                  <a:pt x="205" y="369"/>
                </a:lnTo>
                <a:lnTo>
                  <a:pt x="203" y="368"/>
                </a:lnTo>
                <a:lnTo>
                  <a:pt x="200" y="367"/>
                </a:lnTo>
                <a:lnTo>
                  <a:pt x="198" y="367"/>
                </a:lnTo>
                <a:lnTo>
                  <a:pt x="198" y="367"/>
                </a:lnTo>
                <a:lnTo>
                  <a:pt x="198" y="370"/>
                </a:lnTo>
                <a:lnTo>
                  <a:pt x="197" y="371"/>
                </a:lnTo>
                <a:lnTo>
                  <a:pt x="183" y="373"/>
                </a:lnTo>
                <a:lnTo>
                  <a:pt x="178" y="375"/>
                </a:lnTo>
                <a:lnTo>
                  <a:pt x="175" y="377"/>
                </a:lnTo>
                <a:lnTo>
                  <a:pt x="172" y="377"/>
                </a:lnTo>
                <a:lnTo>
                  <a:pt x="172" y="379"/>
                </a:lnTo>
                <a:lnTo>
                  <a:pt x="169" y="380"/>
                </a:lnTo>
                <a:lnTo>
                  <a:pt x="167" y="381"/>
                </a:lnTo>
                <a:lnTo>
                  <a:pt x="166" y="380"/>
                </a:lnTo>
                <a:lnTo>
                  <a:pt x="164" y="381"/>
                </a:lnTo>
                <a:lnTo>
                  <a:pt x="161" y="382"/>
                </a:lnTo>
                <a:lnTo>
                  <a:pt x="160" y="381"/>
                </a:lnTo>
                <a:lnTo>
                  <a:pt x="159" y="380"/>
                </a:lnTo>
                <a:lnTo>
                  <a:pt x="157" y="378"/>
                </a:lnTo>
                <a:lnTo>
                  <a:pt x="156" y="377"/>
                </a:lnTo>
                <a:lnTo>
                  <a:pt x="156" y="376"/>
                </a:lnTo>
                <a:lnTo>
                  <a:pt x="152" y="376"/>
                </a:lnTo>
                <a:lnTo>
                  <a:pt x="150" y="375"/>
                </a:lnTo>
                <a:lnTo>
                  <a:pt x="144" y="375"/>
                </a:lnTo>
                <a:lnTo>
                  <a:pt x="143" y="374"/>
                </a:lnTo>
                <a:lnTo>
                  <a:pt x="142" y="375"/>
                </a:lnTo>
                <a:lnTo>
                  <a:pt x="142" y="381"/>
                </a:lnTo>
                <a:lnTo>
                  <a:pt x="141" y="383"/>
                </a:lnTo>
                <a:lnTo>
                  <a:pt x="139" y="385"/>
                </a:lnTo>
                <a:lnTo>
                  <a:pt x="137" y="387"/>
                </a:lnTo>
                <a:lnTo>
                  <a:pt x="135" y="387"/>
                </a:lnTo>
                <a:lnTo>
                  <a:pt x="135" y="385"/>
                </a:lnTo>
                <a:lnTo>
                  <a:pt x="135" y="383"/>
                </a:lnTo>
                <a:lnTo>
                  <a:pt x="134" y="383"/>
                </a:lnTo>
                <a:lnTo>
                  <a:pt x="132" y="382"/>
                </a:lnTo>
                <a:lnTo>
                  <a:pt x="131" y="382"/>
                </a:lnTo>
                <a:lnTo>
                  <a:pt x="131" y="380"/>
                </a:lnTo>
                <a:lnTo>
                  <a:pt x="131" y="379"/>
                </a:lnTo>
                <a:lnTo>
                  <a:pt x="130" y="378"/>
                </a:lnTo>
                <a:lnTo>
                  <a:pt x="128" y="377"/>
                </a:lnTo>
                <a:lnTo>
                  <a:pt x="124" y="374"/>
                </a:lnTo>
                <a:lnTo>
                  <a:pt x="121" y="373"/>
                </a:lnTo>
                <a:lnTo>
                  <a:pt x="120" y="374"/>
                </a:lnTo>
                <a:lnTo>
                  <a:pt x="118" y="376"/>
                </a:lnTo>
                <a:lnTo>
                  <a:pt x="115" y="375"/>
                </a:lnTo>
                <a:lnTo>
                  <a:pt x="114" y="376"/>
                </a:lnTo>
                <a:lnTo>
                  <a:pt x="109" y="372"/>
                </a:lnTo>
                <a:lnTo>
                  <a:pt x="103" y="369"/>
                </a:lnTo>
                <a:lnTo>
                  <a:pt x="102" y="369"/>
                </a:lnTo>
                <a:lnTo>
                  <a:pt x="94" y="370"/>
                </a:lnTo>
                <a:lnTo>
                  <a:pt x="94" y="369"/>
                </a:lnTo>
                <a:lnTo>
                  <a:pt x="93" y="367"/>
                </a:lnTo>
                <a:lnTo>
                  <a:pt x="91" y="367"/>
                </a:lnTo>
                <a:lnTo>
                  <a:pt x="91" y="367"/>
                </a:lnTo>
                <a:lnTo>
                  <a:pt x="90" y="368"/>
                </a:lnTo>
                <a:lnTo>
                  <a:pt x="89" y="368"/>
                </a:lnTo>
                <a:lnTo>
                  <a:pt x="86" y="365"/>
                </a:lnTo>
                <a:lnTo>
                  <a:pt x="85" y="364"/>
                </a:lnTo>
                <a:lnTo>
                  <a:pt x="83" y="364"/>
                </a:lnTo>
                <a:lnTo>
                  <a:pt x="80" y="366"/>
                </a:lnTo>
                <a:lnTo>
                  <a:pt x="79" y="368"/>
                </a:lnTo>
                <a:lnTo>
                  <a:pt x="80" y="369"/>
                </a:lnTo>
                <a:lnTo>
                  <a:pt x="81" y="370"/>
                </a:lnTo>
                <a:lnTo>
                  <a:pt x="84" y="369"/>
                </a:lnTo>
                <a:lnTo>
                  <a:pt x="84" y="370"/>
                </a:lnTo>
                <a:lnTo>
                  <a:pt x="84" y="370"/>
                </a:lnTo>
                <a:lnTo>
                  <a:pt x="84" y="371"/>
                </a:lnTo>
                <a:lnTo>
                  <a:pt x="82" y="372"/>
                </a:lnTo>
                <a:lnTo>
                  <a:pt x="81" y="372"/>
                </a:lnTo>
                <a:lnTo>
                  <a:pt x="80" y="373"/>
                </a:lnTo>
                <a:lnTo>
                  <a:pt x="80" y="373"/>
                </a:lnTo>
                <a:lnTo>
                  <a:pt x="77" y="372"/>
                </a:lnTo>
                <a:lnTo>
                  <a:pt x="73" y="372"/>
                </a:lnTo>
                <a:lnTo>
                  <a:pt x="70" y="373"/>
                </a:lnTo>
                <a:lnTo>
                  <a:pt x="64" y="374"/>
                </a:lnTo>
                <a:lnTo>
                  <a:pt x="57" y="374"/>
                </a:lnTo>
                <a:lnTo>
                  <a:pt x="55" y="373"/>
                </a:lnTo>
                <a:lnTo>
                  <a:pt x="53" y="372"/>
                </a:lnTo>
                <a:lnTo>
                  <a:pt x="52" y="369"/>
                </a:lnTo>
                <a:lnTo>
                  <a:pt x="52" y="364"/>
                </a:lnTo>
                <a:lnTo>
                  <a:pt x="54" y="358"/>
                </a:lnTo>
                <a:lnTo>
                  <a:pt x="54" y="354"/>
                </a:lnTo>
                <a:lnTo>
                  <a:pt x="54" y="351"/>
                </a:lnTo>
                <a:lnTo>
                  <a:pt x="55" y="346"/>
                </a:lnTo>
                <a:lnTo>
                  <a:pt x="57" y="341"/>
                </a:lnTo>
                <a:lnTo>
                  <a:pt x="59" y="335"/>
                </a:lnTo>
                <a:lnTo>
                  <a:pt x="60" y="328"/>
                </a:lnTo>
                <a:lnTo>
                  <a:pt x="62" y="324"/>
                </a:lnTo>
                <a:lnTo>
                  <a:pt x="64" y="321"/>
                </a:lnTo>
                <a:lnTo>
                  <a:pt x="71" y="313"/>
                </a:lnTo>
                <a:lnTo>
                  <a:pt x="71" y="312"/>
                </a:lnTo>
                <a:lnTo>
                  <a:pt x="71" y="308"/>
                </a:lnTo>
                <a:lnTo>
                  <a:pt x="69" y="307"/>
                </a:lnTo>
                <a:lnTo>
                  <a:pt x="67" y="306"/>
                </a:lnTo>
                <a:lnTo>
                  <a:pt x="60" y="305"/>
                </a:lnTo>
                <a:lnTo>
                  <a:pt x="55" y="304"/>
                </a:lnTo>
                <a:lnTo>
                  <a:pt x="52" y="303"/>
                </a:lnTo>
                <a:lnTo>
                  <a:pt x="50" y="300"/>
                </a:lnTo>
                <a:lnTo>
                  <a:pt x="48" y="299"/>
                </a:lnTo>
                <a:lnTo>
                  <a:pt x="45" y="301"/>
                </a:lnTo>
                <a:lnTo>
                  <a:pt x="42" y="301"/>
                </a:lnTo>
                <a:lnTo>
                  <a:pt x="39" y="301"/>
                </a:lnTo>
                <a:lnTo>
                  <a:pt x="38" y="301"/>
                </a:lnTo>
                <a:lnTo>
                  <a:pt x="37" y="301"/>
                </a:lnTo>
                <a:lnTo>
                  <a:pt x="36" y="301"/>
                </a:lnTo>
                <a:lnTo>
                  <a:pt x="36" y="298"/>
                </a:lnTo>
                <a:lnTo>
                  <a:pt x="34" y="298"/>
                </a:lnTo>
                <a:lnTo>
                  <a:pt x="32" y="297"/>
                </a:lnTo>
                <a:lnTo>
                  <a:pt x="31" y="297"/>
                </a:lnTo>
                <a:lnTo>
                  <a:pt x="30" y="299"/>
                </a:lnTo>
                <a:lnTo>
                  <a:pt x="29" y="299"/>
                </a:lnTo>
                <a:lnTo>
                  <a:pt x="27" y="299"/>
                </a:lnTo>
                <a:lnTo>
                  <a:pt x="23" y="293"/>
                </a:lnTo>
                <a:lnTo>
                  <a:pt x="22" y="292"/>
                </a:lnTo>
                <a:lnTo>
                  <a:pt x="22" y="290"/>
                </a:lnTo>
                <a:lnTo>
                  <a:pt x="21" y="288"/>
                </a:lnTo>
                <a:lnTo>
                  <a:pt x="19" y="286"/>
                </a:lnTo>
                <a:lnTo>
                  <a:pt x="16" y="285"/>
                </a:lnTo>
                <a:lnTo>
                  <a:pt x="15" y="285"/>
                </a:lnTo>
                <a:lnTo>
                  <a:pt x="15" y="282"/>
                </a:lnTo>
                <a:lnTo>
                  <a:pt x="16" y="278"/>
                </a:lnTo>
                <a:lnTo>
                  <a:pt x="17" y="276"/>
                </a:lnTo>
                <a:lnTo>
                  <a:pt x="18" y="274"/>
                </a:lnTo>
                <a:lnTo>
                  <a:pt x="19" y="273"/>
                </a:lnTo>
                <a:lnTo>
                  <a:pt x="20" y="271"/>
                </a:lnTo>
                <a:lnTo>
                  <a:pt x="20" y="269"/>
                </a:lnTo>
                <a:lnTo>
                  <a:pt x="18" y="268"/>
                </a:lnTo>
                <a:lnTo>
                  <a:pt x="14" y="267"/>
                </a:lnTo>
                <a:lnTo>
                  <a:pt x="12" y="265"/>
                </a:lnTo>
                <a:lnTo>
                  <a:pt x="11" y="263"/>
                </a:lnTo>
                <a:lnTo>
                  <a:pt x="9" y="260"/>
                </a:lnTo>
                <a:lnTo>
                  <a:pt x="8" y="257"/>
                </a:lnTo>
                <a:lnTo>
                  <a:pt x="8" y="254"/>
                </a:lnTo>
                <a:lnTo>
                  <a:pt x="8" y="253"/>
                </a:lnTo>
                <a:lnTo>
                  <a:pt x="8" y="252"/>
                </a:lnTo>
                <a:lnTo>
                  <a:pt x="10" y="248"/>
                </a:lnTo>
                <a:lnTo>
                  <a:pt x="16" y="244"/>
                </a:lnTo>
                <a:lnTo>
                  <a:pt x="15" y="239"/>
                </a:lnTo>
                <a:lnTo>
                  <a:pt x="15" y="237"/>
                </a:lnTo>
                <a:lnTo>
                  <a:pt x="13" y="235"/>
                </a:lnTo>
                <a:lnTo>
                  <a:pt x="11" y="235"/>
                </a:lnTo>
                <a:lnTo>
                  <a:pt x="10" y="233"/>
                </a:lnTo>
                <a:lnTo>
                  <a:pt x="10" y="232"/>
                </a:lnTo>
                <a:lnTo>
                  <a:pt x="12" y="230"/>
                </a:lnTo>
                <a:lnTo>
                  <a:pt x="9" y="228"/>
                </a:lnTo>
                <a:lnTo>
                  <a:pt x="8" y="226"/>
                </a:lnTo>
                <a:lnTo>
                  <a:pt x="4" y="223"/>
                </a:lnTo>
                <a:lnTo>
                  <a:pt x="4" y="222"/>
                </a:lnTo>
                <a:lnTo>
                  <a:pt x="6" y="215"/>
                </a:lnTo>
                <a:lnTo>
                  <a:pt x="4" y="212"/>
                </a:lnTo>
                <a:lnTo>
                  <a:pt x="3" y="211"/>
                </a:lnTo>
                <a:lnTo>
                  <a:pt x="1" y="211"/>
                </a:lnTo>
                <a:lnTo>
                  <a:pt x="0" y="210"/>
                </a:lnTo>
                <a:lnTo>
                  <a:pt x="0" y="209"/>
                </a:lnTo>
                <a:lnTo>
                  <a:pt x="0" y="208"/>
                </a:lnTo>
                <a:lnTo>
                  <a:pt x="2" y="208"/>
                </a:lnTo>
                <a:lnTo>
                  <a:pt x="3" y="207"/>
                </a:lnTo>
                <a:lnTo>
                  <a:pt x="8" y="203"/>
                </a:lnTo>
                <a:lnTo>
                  <a:pt x="8" y="202"/>
                </a:lnTo>
                <a:lnTo>
                  <a:pt x="8" y="201"/>
                </a:lnTo>
                <a:lnTo>
                  <a:pt x="7" y="201"/>
                </a:lnTo>
                <a:lnTo>
                  <a:pt x="7" y="200"/>
                </a:lnTo>
                <a:lnTo>
                  <a:pt x="7" y="199"/>
                </a:lnTo>
                <a:lnTo>
                  <a:pt x="9" y="192"/>
                </a:lnTo>
                <a:lnTo>
                  <a:pt x="10" y="190"/>
                </a:lnTo>
                <a:lnTo>
                  <a:pt x="10" y="188"/>
                </a:lnTo>
                <a:lnTo>
                  <a:pt x="10" y="186"/>
                </a:lnTo>
                <a:lnTo>
                  <a:pt x="9" y="183"/>
                </a:lnTo>
                <a:lnTo>
                  <a:pt x="7" y="180"/>
                </a:lnTo>
                <a:lnTo>
                  <a:pt x="7" y="178"/>
                </a:lnTo>
                <a:lnTo>
                  <a:pt x="6" y="177"/>
                </a:lnTo>
                <a:lnTo>
                  <a:pt x="3" y="172"/>
                </a:lnTo>
                <a:lnTo>
                  <a:pt x="3" y="170"/>
                </a:lnTo>
                <a:lnTo>
                  <a:pt x="4" y="168"/>
                </a:lnTo>
                <a:lnTo>
                  <a:pt x="7" y="167"/>
                </a:lnTo>
                <a:lnTo>
                  <a:pt x="8" y="167"/>
                </a:lnTo>
                <a:lnTo>
                  <a:pt x="9" y="166"/>
                </a:lnTo>
                <a:lnTo>
                  <a:pt x="13" y="168"/>
                </a:lnTo>
                <a:lnTo>
                  <a:pt x="15" y="169"/>
                </a:lnTo>
                <a:lnTo>
                  <a:pt x="16" y="169"/>
                </a:lnTo>
                <a:lnTo>
                  <a:pt x="17" y="167"/>
                </a:lnTo>
                <a:lnTo>
                  <a:pt x="20" y="167"/>
                </a:lnTo>
                <a:lnTo>
                  <a:pt x="27" y="165"/>
                </a:lnTo>
                <a:lnTo>
                  <a:pt x="28" y="163"/>
                </a:lnTo>
                <a:lnTo>
                  <a:pt x="29" y="162"/>
                </a:lnTo>
                <a:lnTo>
                  <a:pt x="29" y="161"/>
                </a:lnTo>
                <a:lnTo>
                  <a:pt x="27" y="158"/>
                </a:lnTo>
                <a:lnTo>
                  <a:pt x="26" y="157"/>
                </a:lnTo>
                <a:lnTo>
                  <a:pt x="27" y="156"/>
                </a:lnTo>
                <a:lnTo>
                  <a:pt x="28" y="155"/>
                </a:lnTo>
                <a:lnTo>
                  <a:pt x="29" y="154"/>
                </a:lnTo>
                <a:lnTo>
                  <a:pt x="31" y="153"/>
                </a:lnTo>
                <a:lnTo>
                  <a:pt x="35" y="150"/>
                </a:lnTo>
                <a:lnTo>
                  <a:pt x="36" y="147"/>
                </a:lnTo>
                <a:lnTo>
                  <a:pt x="36" y="143"/>
                </a:lnTo>
                <a:lnTo>
                  <a:pt x="36" y="141"/>
                </a:lnTo>
                <a:lnTo>
                  <a:pt x="35" y="139"/>
                </a:lnTo>
                <a:lnTo>
                  <a:pt x="34" y="138"/>
                </a:lnTo>
                <a:lnTo>
                  <a:pt x="33" y="138"/>
                </a:lnTo>
                <a:lnTo>
                  <a:pt x="30" y="138"/>
                </a:lnTo>
                <a:lnTo>
                  <a:pt x="28" y="137"/>
                </a:lnTo>
                <a:lnTo>
                  <a:pt x="26" y="135"/>
                </a:lnTo>
                <a:lnTo>
                  <a:pt x="26" y="133"/>
                </a:lnTo>
                <a:lnTo>
                  <a:pt x="26" y="132"/>
                </a:lnTo>
                <a:lnTo>
                  <a:pt x="27" y="131"/>
                </a:lnTo>
                <a:lnTo>
                  <a:pt x="26" y="130"/>
                </a:lnTo>
                <a:lnTo>
                  <a:pt x="26" y="129"/>
                </a:lnTo>
                <a:lnTo>
                  <a:pt x="28" y="128"/>
                </a:lnTo>
                <a:lnTo>
                  <a:pt x="36" y="128"/>
                </a:lnTo>
                <a:lnTo>
                  <a:pt x="36" y="127"/>
                </a:lnTo>
                <a:lnTo>
                  <a:pt x="37" y="122"/>
                </a:lnTo>
                <a:lnTo>
                  <a:pt x="39" y="115"/>
                </a:lnTo>
                <a:lnTo>
                  <a:pt x="41" y="111"/>
                </a:lnTo>
                <a:lnTo>
                  <a:pt x="41" y="109"/>
                </a:lnTo>
                <a:lnTo>
                  <a:pt x="41" y="99"/>
                </a:lnTo>
                <a:lnTo>
                  <a:pt x="42" y="94"/>
                </a:lnTo>
                <a:lnTo>
                  <a:pt x="40" y="92"/>
                </a:lnTo>
                <a:lnTo>
                  <a:pt x="37" y="89"/>
                </a:lnTo>
                <a:lnTo>
                  <a:pt x="38" y="84"/>
                </a:lnTo>
                <a:lnTo>
                  <a:pt x="39" y="80"/>
                </a:lnTo>
                <a:lnTo>
                  <a:pt x="42" y="75"/>
                </a:lnTo>
                <a:lnTo>
                  <a:pt x="44" y="73"/>
                </a:lnTo>
                <a:lnTo>
                  <a:pt x="55" y="73"/>
                </a:lnTo>
                <a:lnTo>
                  <a:pt x="67" y="73"/>
                </a:lnTo>
                <a:lnTo>
                  <a:pt x="72" y="81"/>
                </a:lnTo>
                <a:lnTo>
                  <a:pt x="70" y="85"/>
                </a:lnTo>
                <a:lnTo>
                  <a:pt x="73" y="87"/>
                </a:lnTo>
                <a:lnTo>
                  <a:pt x="74" y="86"/>
                </a:lnTo>
                <a:lnTo>
                  <a:pt x="75" y="82"/>
                </a:lnTo>
                <a:lnTo>
                  <a:pt x="76" y="79"/>
                </a:lnTo>
                <a:lnTo>
                  <a:pt x="77" y="77"/>
                </a:lnTo>
                <a:lnTo>
                  <a:pt x="81" y="80"/>
                </a:lnTo>
                <a:lnTo>
                  <a:pt x="82" y="82"/>
                </a:lnTo>
                <a:lnTo>
                  <a:pt x="82" y="89"/>
                </a:lnTo>
                <a:lnTo>
                  <a:pt x="83" y="80"/>
                </a:lnTo>
                <a:lnTo>
                  <a:pt x="82" y="74"/>
                </a:lnTo>
                <a:lnTo>
                  <a:pt x="83" y="68"/>
                </a:lnTo>
                <a:lnTo>
                  <a:pt x="85" y="65"/>
                </a:lnTo>
                <a:lnTo>
                  <a:pt x="86" y="63"/>
                </a:lnTo>
                <a:lnTo>
                  <a:pt x="95" y="65"/>
                </a:lnTo>
                <a:lnTo>
                  <a:pt x="104" y="64"/>
                </a:lnTo>
                <a:lnTo>
                  <a:pt x="108" y="67"/>
                </a:lnTo>
                <a:lnTo>
                  <a:pt x="116" y="78"/>
                </a:lnTo>
                <a:lnTo>
                  <a:pt x="119" y="80"/>
                </a:lnTo>
                <a:lnTo>
                  <a:pt x="122" y="80"/>
                </a:lnTo>
                <a:lnTo>
                  <a:pt x="117" y="78"/>
                </a:lnTo>
                <a:lnTo>
                  <a:pt x="108" y="64"/>
                </a:lnTo>
                <a:lnTo>
                  <a:pt x="105" y="62"/>
                </a:lnTo>
                <a:lnTo>
                  <a:pt x="100" y="62"/>
                </a:lnTo>
                <a:lnTo>
                  <a:pt x="97" y="61"/>
                </a:lnTo>
                <a:lnTo>
                  <a:pt x="95" y="59"/>
                </a:lnTo>
                <a:lnTo>
                  <a:pt x="95" y="57"/>
                </a:lnTo>
                <a:lnTo>
                  <a:pt x="95" y="43"/>
                </a:lnTo>
                <a:lnTo>
                  <a:pt x="93" y="41"/>
                </a:lnTo>
                <a:lnTo>
                  <a:pt x="91" y="40"/>
                </a:lnTo>
                <a:lnTo>
                  <a:pt x="90" y="41"/>
                </a:lnTo>
                <a:lnTo>
                  <a:pt x="87" y="41"/>
                </a:lnTo>
                <a:lnTo>
                  <a:pt x="86" y="38"/>
                </a:lnTo>
                <a:lnTo>
                  <a:pt x="87" y="36"/>
                </a:lnTo>
                <a:lnTo>
                  <a:pt x="93" y="34"/>
                </a:lnTo>
                <a:lnTo>
                  <a:pt x="96" y="32"/>
                </a:lnTo>
                <a:lnTo>
                  <a:pt x="96" y="28"/>
                </a:lnTo>
                <a:lnTo>
                  <a:pt x="94" y="25"/>
                </a:lnTo>
                <a:lnTo>
                  <a:pt x="91" y="20"/>
                </a:lnTo>
                <a:lnTo>
                  <a:pt x="88" y="14"/>
                </a:lnTo>
                <a:lnTo>
                  <a:pt x="87" y="8"/>
                </a:lnTo>
                <a:lnTo>
                  <a:pt x="93" y="8"/>
                </a:lnTo>
                <a:lnTo>
                  <a:pt x="95" y="9"/>
                </a:lnTo>
                <a:lnTo>
                  <a:pt x="104" y="12"/>
                </a:lnTo>
                <a:lnTo>
                  <a:pt x="106" y="13"/>
                </a:lnTo>
                <a:lnTo>
                  <a:pt x="108" y="14"/>
                </a:lnTo>
                <a:lnTo>
                  <a:pt x="113" y="12"/>
                </a:lnTo>
                <a:lnTo>
                  <a:pt x="117" y="11"/>
                </a:lnTo>
                <a:lnTo>
                  <a:pt x="118" y="12"/>
                </a:lnTo>
                <a:lnTo>
                  <a:pt x="120" y="13"/>
                </a:lnTo>
                <a:lnTo>
                  <a:pt x="121" y="13"/>
                </a:lnTo>
                <a:lnTo>
                  <a:pt x="121" y="12"/>
                </a:lnTo>
                <a:close/>
                <a:moveTo>
                  <a:pt x="85" y="19"/>
                </a:moveTo>
                <a:lnTo>
                  <a:pt x="85" y="19"/>
                </a:lnTo>
                <a:lnTo>
                  <a:pt x="84" y="20"/>
                </a:lnTo>
                <a:lnTo>
                  <a:pt x="81" y="20"/>
                </a:lnTo>
                <a:lnTo>
                  <a:pt x="79" y="19"/>
                </a:lnTo>
                <a:lnTo>
                  <a:pt x="80" y="17"/>
                </a:lnTo>
                <a:lnTo>
                  <a:pt x="81" y="16"/>
                </a:lnTo>
                <a:lnTo>
                  <a:pt x="82" y="16"/>
                </a:lnTo>
                <a:lnTo>
                  <a:pt x="84" y="17"/>
                </a:lnTo>
                <a:lnTo>
                  <a:pt x="85" y="19"/>
                </a:lnTo>
                <a:close/>
                <a:moveTo>
                  <a:pt x="245" y="36"/>
                </a:moveTo>
                <a:lnTo>
                  <a:pt x="245" y="36"/>
                </a:lnTo>
                <a:lnTo>
                  <a:pt x="245" y="40"/>
                </a:lnTo>
                <a:lnTo>
                  <a:pt x="245" y="42"/>
                </a:lnTo>
                <a:lnTo>
                  <a:pt x="241" y="39"/>
                </a:lnTo>
                <a:lnTo>
                  <a:pt x="238" y="39"/>
                </a:lnTo>
                <a:lnTo>
                  <a:pt x="235" y="43"/>
                </a:lnTo>
                <a:lnTo>
                  <a:pt x="234" y="44"/>
                </a:lnTo>
                <a:lnTo>
                  <a:pt x="228" y="39"/>
                </a:lnTo>
                <a:lnTo>
                  <a:pt x="228" y="37"/>
                </a:lnTo>
                <a:lnTo>
                  <a:pt x="227" y="35"/>
                </a:lnTo>
                <a:lnTo>
                  <a:pt x="228" y="30"/>
                </a:lnTo>
                <a:lnTo>
                  <a:pt x="228" y="28"/>
                </a:lnTo>
                <a:lnTo>
                  <a:pt x="230" y="26"/>
                </a:lnTo>
                <a:lnTo>
                  <a:pt x="230" y="23"/>
                </a:lnTo>
                <a:lnTo>
                  <a:pt x="233" y="19"/>
                </a:lnTo>
                <a:lnTo>
                  <a:pt x="236" y="19"/>
                </a:lnTo>
                <a:lnTo>
                  <a:pt x="237" y="22"/>
                </a:lnTo>
                <a:lnTo>
                  <a:pt x="238" y="24"/>
                </a:lnTo>
                <a:lnTo>
                  <a:pt x="242" y="26"/>
                </a:lnTo>
                <a:lnTo>
                  <a:pt x="243" y="27"/>
                </a:lnTo>
                <a:lnTo>
                  <a:pt x="243" y="28"/>
                </a:lnTo>
                <a:lnTo>
                  <a:pt x="241" y="31"/>
                </a:lnTo>
                <a:lnTo>
                  <a:pt x="241" y="32"/>
                </a:lnTo>
                <a:lnTo>
                  <a:pt x="241" y="34"/>
                </a:lnTo>
                <a:lnTo>
                  <a:pt x="245" y="36"/>
                </a:lnTo>
                <a:close/>
                <a:moveTo>
                  <a:pt x="169" y="34"/>
                </a:moveTo>
                <a:lnTo>
                  <a:pt x="169" y="34"/>
                </a:lnTo>
                <a:lnTo>
                  <a:pt x="164" y="35"/>
                </a:lnTo>
                <a:lnTo>
                  <a:pt x="162" y="32"/>
                </a:lnTo>
                <a:lnTo>
                  <a:pt x="161" y="32"/>
                </a:lnTo>
                <a:lnTo>
                  <a:pt x="161" y="29"/>
                </a:lnTo>
                <a:lnTo>
                  <a:pt x="163" y="28"/>
                </a:lnTo>
                <a:lnTo>
                  <a:pt x="167" y="30"/>
                </a:lnTo>
                <a:lnTo>
                  <a:pt x="169" y="33"/>
                </a:lnTo>
                <a:lnTo>
                  <a:pt x="169" y="34"/>
                </a:lnTo>
                <a:close/>
                <a:moveTo>
                  <a:pt x="260" y="59"/>
                </a:moveTo>
                <a:lnTo>
                  <a:pt x="260" y="59"/>
                </a:lnTo>
                <a:lnTo>
                  <a:pt x="260" y="61"/>
                </a:lnTo>
                <a:lnTo>
                  <a:pt x="260" y="63"/>
                </a:lnTo>
                <a:lnTo>
                  <a:pt x="259" y="63"/>
                </a:lnTo>
                <a:lnTo>
                  <a:pt x="255" y="64"/>
                </a:lnTo>
                <a:lnTo>
                  <a:pt x="251" y="63"/>
                </a:lnTo>
                <a:lnTo>
                  <a:pt x="251" y="60"/>
                </a:lnTo>
                <a:lnTo>
                  <a:pt x="251" y="57"/>
                </a:lnTo>
                <a:lnTo>
                  <a:pt x="250" y="55"/>
                </a:lnTo>
                <a:lnTo>
                  <a:pt x="248" y="54"/>
                </a:lnTo>
                <a:lnTo>
                  <a:pt x="248" y="52"/>
                </a:lnTo>
                <a:lnTo>
                  <a:pt x="248" y="50"/>
                </a:lnTo>
                <a:lnTo>
                  <a:pt x="255" y="55"/>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1219" name="Denmark">
            <a:extLst>
              <a:ext uri="{FF2B5EF4-FFF2-40B4-BE49-F238E27FC236}">
                <a16:creationId xmlns:a16="http://schemas.microsoft.com/office/drawing/2014/main" id="{3E61FA52-DB1A-4AA8-9CC1-F68D8067038D}"/>
              </a:ext>
            </a:extLst>
          </p:cNvPr>
          <p:cNvSpPr>
            <a:spLocks noEditPoints="1"/>
          </p:cNvSpPr>
          <p:nvPr/>
        </p:nvSpPr>
        <p:spPr bwMode="auto">
          <a:xfrm>
            <a:off x="6062345" y="2773121"/>
            <a:ext cx="209808" cy="147121"/>
          </a:xfrm>
          <a:custGeom>
            <a:avLst/>
            <a:gdLst>
              <a:gd name="T0" fmla="*/ 47 w 219"/>
              <a:gd name="T1" fmla="*/ 162 h 174"/>
              <a:gd name="T2" fmla="*/ 25 w 219"/>
              <a:gd name="T3" fmla="*/ 160 h 174"/>
              <a:gd name="T4" fmla="*/ 14 w 219"/>
              <a:gd name="T5" fmla="*/ 147 h 174"/>
              <a:gd name="T6" fmla="*/ 1 w 219"/>
              <a:gd name="T7" fmla="*/ 121 h 174"/>
              <a:gd name="T8" fmla="*/ 2 w 219"/>
              <a:gd name="T9" fmla="*/ 65 h 174"/>
              <a:gd name="T10" fmla="*/ 16 w 219"/>
              <a:gd name="T11" fmla="*/ 70 h 174"/>
              <a:gd name="T12" fmla="*/ 28 w 219"/>
              <a:gd name="T13" fmla="*/ 56 h 174"/>
              <a:gd name="T14" fmla="*/ 36 w 219"/>
              <a:gd name="T15" fmla="*/ 42 h 174"/>
              <a:gd name="T16" fmla="*/ 15 w 219"/>
              <a:gd name="T17" fmla="*/ 59 h 174"/>
              <a:gd name="T18" fmla="*/ 5 w 219"/>
              <a:gd name="T19" fmla="*/ 51 h 174"/>
              <a:gd name="T20" fmla="*/ 29 w 219"/>
              <a:gd name="T21" fmla="*/ 34 h 174"/>
              <a:gd name="T22" fmla="*/ 58 w 219"/>
              <a:gd name="T23" fmla="*/ 9 h 174"/>
              <a:gd name="T24" fmla="*/ 73 w 219"/>
              <a:gd name="T25" fmla="*/ 7 h 174"/>
              <a:gd name="T26" fmla="*/ 73 w 219"/>
              <a:gd name="T27" fmla="*/ 33 h 174"/>
              <a:gd name="T28" fmla="*/ 68 w 219"/>
              <a:gd name="T29" fmla="*/ 64 h 174"/>
              <a:gd name="T30" fmla="*/ 88 w 219"/>
              <a:gd name="T31" fmla="*/ 74 h 174"/>
              <a:gd name="T32" fmla="*/ 76 w 219"/>
              <a:gd name="T33" fmla="*/ 88 h 174"/>
              <a:gd name="T34" fmla="*/ 65 w 219"/>
              <a:gd name="T35" fmla="*/ 107 h 174"/>
              <a:gd name="T36" fmla="*/ 58 w 219"/>
              <a:gd name="T37" fmla="*/ 110 h 174"/>
              <a:gd name="T38" fmla="*/ 52 w 219"/>
              <a:gd name="T39" fmla="*/ 121 h 174"/>
              <a:gd name="T40" fmla="*/ 49 w 219"/>
              <a:gd name="T41" fmla="*/ 140 h 174"/>
              <a:gd name="T42" fmla="*/ 48 w 219"/>
              <a:gd name="T43" fmla="*/ 153 h 174"/>
              <a:gd name="T44" fmla="*/ 92 w 219"/>
              <a:gd name="T45" fmla="*/ 28 h 174"/>
              <a:gd name="T46" fmla="*/ 93 w 219"/>
              <a:gd name="T47" fmla="*/ 24 h 174"/>
              <a:gd name="T48" fmla="*/ 139 w 219"/>
              <a:gd name="T49" fmla="*/ 111 h 174"/>
              <a:gd name="T50" fmla="*/ 131 w 219"/>
              <a:gd name="T51" fmla="*/ 122 h 174"/>
              <a:gd name="T52" fmla="*/ 134 w 219"/>
              <a:gd name="T53" fmla="*/ 138 h 174"/>
              <a:gd name="T54" fmla="*/ 124 w 219"/>
              <a:gd name="T55" fmla="*/ 159 h 174"/>
              <a:gd name="T56" fmla="*/ 112 w 219"/>
              <a:gd name="T57" fmla="*/ 152 h 174"/>
              <a:gd name="T58" fmla="*/ 100 w 219"/>
              <a:gd name="T59" fmla="*/ 143 h 174"/>
              <a:gd name="T60" fmla="*/ 94 w 219"/>
              <a:gd name="T61" fmla="*/ 123 h 174"/>
              <a:gd name="T62" fmla="*/ 92 w 219"/>
              <a:gd name="T63" fmla="*/ 114 h 174"/>
              <a:gd name="T64" fmla="*/ 104 w 219"/>
              <a:gd name="T65" fmla="*/ 104 h 174"/>
              <a:gd name="T66" fmla="*/ 112 w 219"/>
              <a:gd name="T67" fmla="*/ 114 h 174"/>
              <a:gd name="T68" fmla="*/ 119 w 219"/>
              <a:gd name="T69" fmla="*/ 109 h 174"/>
              <a:gd name="T70" fmla="*/ 128 w 219"/>
              <a:gd name="T71" fmla="*/ 92 h 174"/>
              <a:gd name="T72" fmla="*/ 140 w 219"/>
              <a:gd name="T73" fmla="*/ 97 h 174"/>
              <a:gd name="T74" fmla="*/ 78 w 219"/>
              <a:gd name="T75" fmla="*/ 111 h 174"/>
              <a:gd name="T76" fmla="*/ 75 w 219"/>
              <a:gd name="T77" fmla="*/ 101 h 174"/>
              <a:gd name="T78" fmla="*/ 78 w 219"/>
              <a:gd name="T79" fmla="*/ 111 h 174"/>
              <a:gd name="T80" fmla="*/ 138 w 219"/>
              <a:gd name="T81" fmla="*/ 120 h 174"/>
              <a:gd name="T82" fmla="*/ 142 w 219"/>
              <a:gd name="T83" fmla="*/ 121 h 174"/>
              <a:gd name="T84" fmla="*/ 84 w 219"/>
              <a:gd name="T85" fmla="*/ 137 h 174"/>
              <a:gd name="T86" fmla="*/ 73 w 219"/>
              <a:gd name="T87" fmla="*/ 151 h 174"/>
              <a:gd name="T88" fmla="*/ 55 w 219"/>
              <a:gd name="T89" fmla="*/ 135 h 174"/>
              <a:gd name="T90" fmla="*/ 72 w 219"/>
              <a:gd name="T91" fmla="*/ 123 h 174"/>
              <a:gd name="T92" fmla="*/ 218 w 219"/>
              <a:gd name="T93" fmla="*/ 153 h 174"/>
              <a:gd name="T94" fmla="*/ 208 w 219"/>
              <a:gd name="T95" fmla="*/ 138 h 174"/>
              <a:gd name="T96" fmla="*/ 82 w 219"/>
              <a:gd name="T97" fmla="*/ 168 h 174"/>
              <a:gd name="T98" fmla="*/ 82 w 219"/>
              <a:gd name="T99" fmla="*/ 156 h 174"/>
              <a:gd name="T100" fmla="*/ 83 w 219"/>
              <a:gd name="T101" fmla="*/ 165 h 174"/>
              <a:gd name="T102" fmla="*/ 56 w 219"/>
              <a:gd name="T103" fmla="*/ 160 h 174"/>
              <a:gd name="T104" fmla="*/ 59 w 219"/>
              <a:gd name="T105" fmla="*/ 155 h 174"/>
              <a:gd name="T106" fmla="*/ 137 w 219"/>
              <a:gd name="T107" fmla="*/ 157 h 174"/>
              <a:gd name="T108" fmla="*/ 126 w 219"/>
              <a:gd name="T109" fmla="*/ 155 h 174"/>
              <a:gd name="T110" fmla="*/ 134 w 219"/>
              <a:gd name="T111" fmla="*/ 152 h 174"/>
              <a:gd name="T112" fmla="*/ 74 w 219"/>
              <a:gd name="T113" fmla="*/ 162 h 174"/>
              <a:gd name="T114" fmla="*/ 67 w 219"/>
              <a:gd name="T115" fmla="*/ 157 h 174"/>
              <a:gd name="T116" fmla="*/ 101 w 219"/>
              <a:gd name="T117" fmla="*/ 160 h 174"/>
              <a:gd name="T118" fmla="*/ 114 w 219"/>
              <a:gd name="T119" fmla="*/ 167 h 174"/>
              <a:gd name="T120" fmla="*/ 91 w 219"/>
              <a:gd name="T121" fmla="*/ 16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9" h="174">
                <a:moveTo>
                  <a:pt x="51" y="163"/>
                </a:moveTo>
                <a:lnTo>
                  <a:pt x="51" y="163"/>
                </a:lnTo>
                <a:lnTo>
                  <a:pt x="50" y="163"/>
                </a:lnTo>
                <a:lnTo>
                  <a:pt x="48" y="163"/>
                </a:lnTo>
                <a:lnTo>
                  <a:pt x="47" y="162"/>
                </a:lnTo>
                <a:lnTo>
                  <a:pt x="43" y="163"/>
                </a:lnTo>
                <a:lnTo>
                  <a:pt x="38" y="165"/>
                </a:lnTo>
                <a:lnTo>
                  <a:pt x="36" y="164"/>
                </a:lnTo>
                <a:lnTo>
                  <a:pt x="34" y="162"/>
                </a:lnTo>
                <a:lnTo>
                  <a:pt x="25" y="160"/>
                </a:lnTo>
                <a:lnTo>
                  <a:pt x="23" y="159"/>
                </a:lnTo>
                <a:lnTo>
                  <a:pt x="17" y="159"/>
                </a:lnTo>
                <a:lnTo>
                  <a:pt x="17" y="155"/>
                </a:lnTo>
                <a:lnTo>
                  <a:pt x="16" y="152"/>
                </a:lnTo>
                <a:lnTo>
                  <a:pt x="14" y="147"/>
                </a:lnTo>
                <a:lnTo>
                  <a:pt x="17" y="146"/>
                </a:lnTo>
                <a:lnTo>
                  <a:pt x="17" y="136"/>
                </a:lnTo>
                <a:lnTo>
                  <a:pt x="16" y="131"/>
                </a:lnTo>
                <a:lnTo>
                  <a:pt x="7" y="126"/>
                </a:lnTo>
                <a:lnTo>
                  <a:pt x="1" y="121"/>
                </a:lnTo>
                <a:lnTo>
                  <a:pt x="2" y="105"/>
                </a:lnTo>
                <a:lnTo>
                  <a:pt x="3" y="100"/>
                </a:lnTo>
                <a:lnTo>
                  <a:pt x="0" y="91"/>
                </a:lnTo>
                <a:lnTo>
                  <a:pt x="1" y="81"/>
                </a:lnTo>
                <a:lnTo>
                  <a:pt x="2" y="65"/>
                </a:lnTo>
                <a:lnTo>
                  <a:pt x="4" y="64"/>
                </a:lnTo>
                <a:lnTo>
                  <a:pt x="5" y="65"/>
                </a:lnTo>
                <a:lnTo>
                  <a:pt x="11" y="67"/>
                </a:lnTo>
                <a:lnTo>
                  <a:pt x="14" y="68"/>
                </a:lnTo>
                <a:lnTo>
                  <a:pt x="16" y="70"/>
                </a:lnTo>
                <a:lnTo>
                  <a:pt x="18" y="71"/>
                </a:lnTo>
                <a:lnTo>
                  <a:pt x="19" y="69"/>
                </a:lnTo>
                <a:lnTo>
                  <a:pt x="20" y="64"/>
                </a:lnTo>
                <a:lnTo>
                  <a:pt x="24" y="58"/>
                </a:lnTo>
                <a:lnTo>
                  <a:pt x="28" y="56"/>
                </a:lnTo>
                <a:lnTo>
                  <a:pt x="30" y="55"/>
                </a:lnTo>
                <a:lnTo>
                  <a:pt x="32" y="57"/>
                </a:lnTo>
                <a:lnTo>
                  <a:pt x="34" y="60"/>
                </a:lnTo>
                <a:lnTo>
                  <a:pt x="34" y="54"/>
                </a:lnTo>
                <a:lnTo>
                  <a:pt x="36" y="42"/>
                </a:lnTo>
                <a:lnTo>
                  <a:pt x="31" y="40"/>
                </a:lnTo>
                <a:lnTo>
                  <a:pt x="28" y="42"/>
                </a:lnTo>
                <a:lnTo>
                  <a:pt x="24" y="49"/>
                </a:lnTo>
                <a:lnTo>
                  <a:pt x="21" y="58"/>
                </a:lnTo>
                <a:lnTo>
                  <a:pt x="15" y="59"/>
                </a:lnTo>
                <a:lnTo>
                  <a:pt x="11" y="62"/>
                </a:lnTo>
                <a:lnTo>
                  <a:pt x="7" y="59"/>
                </a:lnTo>
                <a:lnTo>
                  <a:pt x="5" y="57"/>
                </a:lnTo>
                <a:lnTo>
                  <a:pt x="5" y="53"/>
                </a:lnTo>
                <a:lnTo>
                  <a:pt x="5" y="51"/>
                </a:lnTo>
                <a:lnTo>
                  <a:pt x="10" y="44"/>
                </a:lnTo>
                <a:lnTo>
                  <a:pt x="16" y="36"/>
                </a:lnTo>
                <a:lnTo>
                  <a:pt x="22" y="36"/>
                </a:lnTo>
                <a:lnTo>
                  <a:pt x="26" y="34"/>
                </a:lnTo>
                <a:lnTo>
                  <a:pt x="29" y="34"/>
                </a:lnTo>
                <a:lnTo>
                  <a:pt x="37" y="34"/>
                </a:lnTo>
                <a:lnTo>
                  <a:pt x="41" y="33"/>
                </a:lnTo>
                <a:lnTo>
                  <a:pt x="45" y="29"/>
                </a:lnTo>
                <a:lnTo>
                  <a:pt x="53" y="15"/>
                </a:lnTo>
                <a:lnTo>
                  <a:pt x="58" y="9"/>
                </a:lnTo>
                <a:lnTo>
                  <a:pt x="67" y="7"/>
                </a:lnTo>
                <a:lnTo>
                  <a:pt x="76" y="0"/>
                </a:lnTo>
                <a:lnTo>
                  <a:pt x="78" y="0"/>
                </a:lnTo>
                <a:lnTo>
                  <a:pt x="74" y="5"/>
                </a:lnTo>
                <a:lnTo>
                  <a:pt x="73" y="7"/>
                </a:lnTo>
                <a:lnTo>
                  <a:pt x="73" y="10"/>
                </a:lnTo>
                <a:lnTo>
                  <a:pt x="76" y="17"/>
                </a:lnTo>
                <a:lnTo>
                  <a:pt x="75" y="21"/>
                </a:lnTo>
                <a:lnTo>
                  <a:pt x="75" y="29"/>
                </a:lnTo>
                <a:lnTo>
                  <a:pt x="73" y="33"/>
                </a:lnTo>
                <a:lnTo>
                  <a:pt x="70" y="42"/>
                </a:lnTo>
                <a:lnTo>
                  <a:pt x="68" y="43"/>
                </a:lnTo>
                <a:lnTo>
                  <a:pt x="68" y="53"/>
                </a:lnTo>
                <a:lnTo>
                  <a:pt x="68" y="55"/>
                </a:lnTo>
                <a:lnTo>
                  <a:pt x="68" y="64"/>
                </a:lnTo>
                <a:lnTo>
                  <a:pt x="71" y="68"/>
                </a:lnTo>
                <a:lnTo>
                  <a:pt x="74" y="70"/>
                </a:lnTo>
                <a:lnTo>
                  <a:pt x="85" y="70"/>
                </a:lnTo>
                <a:lnTo>
                  <a:pt x="87" y="72"/>
                </a:lnTo>
                <a:lnTo>
                  <a:pt x="88" y="74"/>
                </a:lnTo>
                <a:lnTo>
                  <a:pt x="87" y="79"/>
                </a:lnTo>
                <a:lnTo>
                  <a:pt x="86" y="83"/>
                </a:lnTo>
                <a:lnTo>
                  <a:pt x="82" y="86"/>
                </a:lnTo>
                <a:lnTo>
                  <a:pt x="78" y="88"/>
                </a:lnTo>
                <a:lnTo>
                  <a:pt x="76" y="88"/>
                </a:lnTo>
                <a:lnTo>
                  <a:pt x="72" y="84"/>
                </a:lnTo>
                <a:lnTo>
                  <a:pt x="71" y="85"/>
                </a:lnTo>
                <a:lnTo>
                  <a:pt x="69" y="87"/>
                </a:lnTo>
                <a:lnTo>
                  <a:pt x="66" y="99"/>
                </a:lnTo>
                <a:lnTo>
                  <a:pt x="65" y="107"/>
                </a:lnTo>
                <a:lnTo>
                  <a:pt x="64" y="107"/>
                </a:lnTo>
                <a:lnTo>
                  <a:pt x="62" y="106"/>
                </a:lnTo>
                <a:lnTo>
                  <a:pt x="60" y="106"/>
                </a:lnTo>
                <a:lnTo>
                  <a:pt x="56" y="108"/>
                </a:lnTo>
                <a:lnTo>
                  <a:pt x="58" y="110"/>
                </a:lnTo>
                <a:lnTo>
                  <a:pt x="60" y="112"/>
                </a:lnTo>
                <a:lnTo>
                  <a:pt x="59" y="114"/>
                </a:lnTo>
                <a:lnTo>
                  <a:pt x="56" y="115"/>
                </a:lnTo>
                <a:lnTo>
                  <a:pt x="53" y="118"/>
                </a:lnTo>
                <a:lnTo>
                  <a:pt x="52" y="121"/>
                </a:lnTo>
                <a:lnTo>
                  <a:pt x="48" y="124"/>
                </a:lnTo>
                <a:lnTo>
                  <a:pt x="46" y="127"/>
                </a:lnTo>
                <a:lnTo>
                  <a:pt x="47" y="132"/>
                </a:lnTo>
                <a:lnTo>
                  <a:pt x="48" y="135"/>
                </a:lnTo>
                <a:lnTo>
                  <a:pt x="49" y="140"/>
                </a:lnTo>
                <a:lnTo>
                  <a:pt x="48" y="143"/>
                </a:lnTo>
                <a:lnTo>
                  <a:pt x="44" y="148"/>
                </a:lnTo>
                <a:lnTo>
                  <a:pt x="42" y="152"/>
                </a:lnTo>
                <a:lnTo>
                  <a:pt x="46" y="152"/>
                </a:lnTo>
                <a:lnTo>
                  <a:pt x="48" y="153"/>
                </a:lnTo>
                <a:lnTo>
                  <a:pt x="49" y="154"/>
                </a:lnTo>
                <a:lnTo>
                  <a:pt x="51" y="156"/>
                </a:lnTo>
                <a:lnTo>
                  <a:pt x="50" y="158"/>
                </a:lnTo>
                <a:lnTo>
                  <a:pt x="51" y="163"/>
                </a:lnTo>
                <a:close/>
                <a:moveTo>
                  <a:pt x="92" y="28"/>
                </a:moveTo>
                <a:lnTo>
                  <a:pt x="92" y="28"/>
                </a:lnTo>
                <a:lnTo>
                  <a:pt x="91" y="30"/>
                </a:lnTo>
                <a:lnTo>
                  <a:pt x="86" y="28"/>
                </a:lnTo>
                <a:lnTo>
                  <a:pt x="88" y="25"/>
                </a:lnTo>
                <a:lnTo>
                  <a:pt x="93" y="24"/>
                </a:lnTo>
                <a:lnTo>
                  <a:pt x="96" y="24"/>
                </a:lnTo>
                <a:lnTo>
                  <a:pt x="93" y="27"/>
                </a:lnTo>
                <a:lnTo>
                  <a:pt x="92" y="28"/>
                </a:lnTo>
                <a:close/>
                <a:moveTo>
                  <a:pt x="139" y="111"/>
                </a:moveTo>
                <a:lnTo>
                  <a:pt x="139" y="111"/>
                </a:lnTo>
                <a:lnTo>
                  <a:pt x="139" y="117"/>
                </a:lnTo>
                <a:lnTo>
                  <a:pt x="138" y="118"/>
                </a:lnTo>
                <a:lnTo>
                  <a:pt x="137" y="119"/>
                </a:lnTo>
                <a:lnTo>
                  <a:pt x="134" y="120"/>
                </a:lnTo>
                <a:lnTo>
                  <a:pt x="131" y="122"/>
                </a:lnTo>
                <a:lnTo>
                  <a:pt x="129" y="125"/>
                </a:lnTo>
                <a:lnTo>
                  <a:pt x="128" y="129"/>
                </a:lnTo>
                <a:lnTo>
                  <a:pt x="130" y="131"/>
                </a:lnTo>
                <a:lnTo>
                  <a:pt x="133" y="133"/>
                </a:lnTo>
                <a:lnTo>
                  <a:pt x="134" y="138"/>
                </a:lnTo>
                <a:lnTo>
                  <a:pt x="131" y="141"/>
                </a:lnTo>
                <a:lnTo>
                  <a:pt x="124" y="144"/>
                </a:lnTo>
                <a:lnTo>
                  <a:pt x="123" y="150"/>
                </a:lnTo>
                <a:lnTo>
                  <a:pt x="124" y="155"/>
                </a:lnTo>
                <a:lnTo>
                  <a:pt x="124" y="159"/>
                </a:lnTo>
                <a:lnTo>
                  <a:pt x="123" y="164"/>
                </a:lnTo>
                <a:lnTo>
                  <a:pt x="117" y="166"/>
                </a:lnTo>
                <a:lnTo>
                  <a:pt x="113" y="159"/>
                </a:lnTo>
                <a:lnTo>
                  <a:pt x="113" y="156"/>
                </a:lnTo>
                <a:lnTo>
                  <a:pt x="112" y="152"/>
                </a:lnTo>
                <a:lnTo>
                  <a:pt x="112" y="149"/>
                </a:lnTo>
                <a:lnTo>
                  <a:pt x="111" y="144"/>
                </a:lnTo>
                <a:lnTo>
                  <a:pt x="105" y="143"/>
                </a:lnTo>
                <a:lnTo>
                  <a:pt x="103" y="142"/>
                </a:lnTo>
                <a:lnTo>
                  <a:pt x="100" y="143"/>
                </a:lnTo>
                <a:lnTo>
                  <a:pt x="99" y="143"/>
                </a:lnTo>
                <a:lnTo>
                  <a:pt x="95" y="136"/>
                </a:lnTo>
                <a:lnTo>
                  <a:pt x="96" y="129"/>
                </a:lnTo>
                <a:lnTo>
                  <a:pt x="94" y="125"/>
                </a:lnTo>
                <a:lnTo>
                  <a:pt x="94" y="123"/>
                </a:lnTo>
                <a:lnTo>
                  <a:pt x="94" y="121"/>
                </a:lnTo>
                <a:lnTo>
                  <a:pt x="92" y="120"/>
                </a:lnTo>
                <a:lnTo>
                  <a:pt x="90" y="119"/>
                </a:lnTo>
                <a:lnTo>
                  <a:pt x="89" y="115"/>
                </a:lnTo>
                <a:lnTo>
                  <a:pt x="92" y="114"/>
                </a:lnTo>
                <a:lnTo>
                  <a:pt x="97" y="114"/>
                </a:lnTo>
                <a:lnTo>
                  <a:pt x="99" y="114"/>
                </a:lnTo>
                <a:lnTo>
                  <a:pt x="100" y="113"/>
                </a:lnTo>
                <a:lnTo>
                  <a:pt x="105" y="106"/>
                </a:lnTo>
                <a:lnTo>
                  <a:pt x="104" y="104"/>
                </a:lnTo>
                <a:lnTo>
                  <a:pt x="105" y="102"/>
                </a:lnTo>
                <a:lnTo>
                  <a:pt x="110" y="102"/>
                </a:lnTo>
                <a:lnTo>
                  <a:pt x="112" y="104"/>
                </a:lnTo>
                <a:lnTo>
                  <a:pt x="111" y="109"/>
                </a:lnTo>
                <a:lnTo>
                  <a:pt x="112" y="114"/>
                </a:lnTo>
                <a:lnTo>
                  <a:pt x="115" y="116"/>
                </a:lnTo>
                <a:lnTo>
                  <a:pt x="116" y="116"/>
                </a:lnTo>
                <a:lnTo>
                  <a:pt x="117" y="112"/>
                </a:lnTo>
                <a:lnTo>
                  <a:pt x="118" y="110"/>
                </a:lnTo>
                <a:lnTo>
                  <a:pt x="119" y="109"/>
                </a:lnTo>
                <a:lnTo>
                  <a:pt x="119" y="105"/>
                </a:lnTo>
                <a:lnTo>
                  <a:pt x="119" y="103"/>
                </a:lnTo>
                <a:lnTo>
                  <a:pt x="117" y="101"/>
                </a:lnTo>
                <a:lnTo>
                  <a:pt x="123" y="96"/>
                </a:lnTo>
                <a:lnTo>
                  <a:pt x="128" y="92"/>
                </a:lnTo>
                <a:lnTo>
                  <a:pt x="131" y="92"/>
                </a:lnTo>
                <a:lnTo>
                  <a:pt x="135" y="93"/>
                </a:lnTo>
                <a:lnTo>
                  <a:pt x="138" y="94"/>
                </a:lnTo>
                <a:lnTo>
                  <a:pt x="139" y="96"/>
                </a:lnTo>
                <a:lnTo>
                  <a:pt x="140" y="97"/>
                </a:lnTo>
                <a:lnTo>
                  <a:pt x="138" y="101"/>
                </a:lnTo>
                <a:lnTo>
                  <a:pt x="138" y="104"/>
                </a:lnTo>
                <a:lnTo>
                  <a:pt x="139" y="111"/>
                </a:lnTo>
                <a:close/>
                <a:moveTo>
                  <a:pt x="78" y="111"/>
                </a:moveTo>
                <a:lnTo>
                  <a:pt x="78" y="111"/>
                </a:lnTo>
                <a:lnTo>
                  <a:pt x="77" y="112"/>
                </a:lnTo>
                <a:lnTo>
                  <a:pt x="75" y="111"/>
                </a:lnTo>
                <a:lnTo>
                  <a:pt x="75" y="108"/>
                </a:lnTo>
                <a:lnTo>
                  <a:pt x="76" y="104"/>
                </a:lnTo>
                <a:lnTo>
                  <a:pt x="75" y="101"/>
                </a:lnTo>
                <a:lnTo>
                  <a:pt x="76" y="100"/>
                </a:lnTo>
                <a:lnTo>
                  <a:pt x="79" y="104"/>
                </a:lnTo>
                <a:lnTo>
                  <a:pt x="80" y="106"/>
                </a:lnTo>
                <a:lnTo>
                  <a:pt x="78" y="108"/>
                </a:lnTo>
                <a:lnTo>
                  <a:pt x="78" y="111"/>
                </a:lnTo>
                <a:close/>
                <a:moveTo>
                  <a:pt x="142" y="121"/>
                </a:moveTo>
                <a:lnTo>
                  <a:pt x="142" y="121"/>
                </a:lnTo>
                <a:lnTo>
                  <a:pt x="139" y="124"/>
                </a:lnTo>
                <a:lnTo>
                  <a:pt x="139" y="124"/>
                </a:lnTo>
                <a:lnTo>
                  <a:pt x="138" y="120"/>
                </a:lnTo>
                <a:lnTo>
                  <a:pt x="139" y="119"/>
                </a:lnTo>
                <a:lnTo>
                  <a:pt x="140" y="117"/>
                </a:lnTo>
                <a:lnTo>
                  <a:pt x="141" y="117"/>
                </a:lnTo>
                <a:lnTo>
                  <a:pt x="142" y="119"/>
                </a:lnTo>
                <a:lnTo>
                  <a:pt x="142" y="121"/>
                </a:lnTo>
                <a:close/>
                <a:moveTo>
                  <a:pt x="79" y="121"/>
                </a:moveTo>
                <a:lnTo>
                  <a:pt x="79" y="121"/>
                </a:lnTo>
                <a:lnTo>
                  <a:pt x="80" y="124"/>
                </a:lnTo>
                <a:lnTo>
                  <a:pt x="82" y="130"/>
                </a:lnTo>
                <a:lnTo>
                  <a:pt x="84" y="137"/>
                </a:lnTo>
                <a:lnTo>
                  <a:pt x="83" y="139"/>
                </a:lnTo>
                <a:lnTo>
                  <a:pt x="84" y="143"/>
                </a:lnTo>
                <a:lnTo>
                  <a:pt x="83" y="147"/>
                </a:lnTo>
                <a:lnTo>
                  <a:pt x="78" y="151"/>
                </a:lnTo>
                <a:lnTo>
                  <a:pt x="73" y="151"/>
                </a:lnTo>
                <a:lnTo>
                  <a:pt x="67" y="149"/>
                </a:lnTo>
                <a:lnTo>
                  <a:pt x="59" y="145"/>
                </a:lnTo>
                <a:lnTo>
                  <a:pt x="58" y="143"/>
                </a:lnTo>
                <a:lnTo>
                  <a:pt x="57" y="142"/>
                </a:lnTo>
                <a:lnTo>
                  <a:pt x="55" y="135"/>
                </a:lnTo>
                <a:lnTo>
                  <a:pt x="55" y="126"/>
                </a:lnTo>
                <a:lnTo>
                  <a:pt x="59" y="125"/>
                </a:lnTo>
                <a:lnTo>
                  <a:pt x="68" y="121"/>
                </a:lnTo>
                <a:lnTo>
                  <a:pt x="70" y="121"/>
                </a:lnTo>
                <a:lnTo>
                  <a:pt x="72" y="123"/>
                </a:lnTo>
                <a:lnTo>
                  <a:pt x="75" y="124"/>
                </a:lnTo>
                <a:lnTo>
                  <a:pt x="78" y="121"/>
                </a:lnTo>
                <a:lnTo>
                  <a:pt x="79" y="121"/>
                </a:lnTo>
                <a:close/>
                <a:moveTo>
                  <a:pt x="218" y="153"/>
                </a:moveTo>
                <a:lnTo>
                  <a:pt x="218" y="153"/>
                </a:lnTo>
                <a:lnTo>
                  <a:pt x="216" y="154"/>
                </a:lnTo>
                <a:lnTo>
                  <a:pt x="211" y="152"/>
                </a:lnTo>
                <a:lnTo>
                  <a:pt x="205" y="149"/>
                </a:lnTo>
                <a:lnTo>
                  <a:pt x="206" y="141"/>
                </a:lnTo>
                <a:lnTo>
                  <a:pt x="208" y="138"/>
                </a:lnTo>
                <a:lnTo>
                  <a:pt x="219" y="146"/>
                </a:lnTo>
                <a:lnTo>
                  <a:pt x="219" y="149"/>
                </a:lnTo>
                <a:lnTo>
                  <a:pt x="218" y="153"/>
                </a:lnTo>
                <a:close/>
                <a:moveTo>
                  <a:pt x="82" y="168"/>
                </a:moveTo>
                <a:lnTo>
                  <a:pt x="82" y="168"/>
                </a:lnTo>
                <a:lnTo>
                  <a:pt x="80" y="168"/>
                </a:lnTo>
                <a:lnTo>
                  <a:pt x="79" y="163"/>
                </a:lnTo>
                <a:lnTo>
                  <a:pt x="78" y="162"/>
                </a:lnTo>
                <a:lnTo>
                  <a:pt x="81" y="159"/>
                </a:lnTo>
                <a:lnTo>
                  <a:pt x="82" y="156"/>
                </a:lnTo>
                <a:lnTo>
                  <a:pt x="86" y="151"/>
                </a:lnTo>
                <a:lnTo>
                  <a:pt x="88" y="145"/>
                </a:lnTo>
                <a:lnTo>
                  <a:pt x="89" y="146"/>
                </a:lnTo>
                <a:lnTo>
                  <a:pt x="88" y="151"/>
                </a:lnTo>
                <a:lnTo>
                  <a:pt x="83" y="165"/>
                </a:lnTo>
                <a:lnTo>
                  <a:pt x="82" y="168"/>
                </a:lnTo>
                <a:close/>
                <a:moveTo>
                  <a:pt x="61" y="160"/>
                </a:moveTo>
                <a:lnTo>
                  <a:pt x="61" y="160"/>
                </a:lnTo>
                <a:lnTo>
                  <a:pt x="58" y="161"/>
                </a:lnTo>
                <a:lnTo>
                  <a:pt x="56" y="160"/>
                </a:lnTo>
                <a:lnTo>
                  <a:pt x="53" y="159"/>
                </a:lnTo>
                <a:lnTo>
                  <a:pt x="52" y="151"/>
                </a:lnTo>
                <a:lnTo>
                  <a:pt x="52" y="150"/>
                </a:lnTo>
                <a:lnTo>
                  <a:pt x="54" y="151"/>
                </a:lnTo>
                <a:lnTo>
                  <a:pt x="59" y="155"/>
                </a:lnTo>
                <a:lnTo>
                  <a:pt x="61" y="159"/>
                </a:lnTo>
                <a:lnTo>
                  <a:pt x="61" y="160"/>
                </a:lnTo>
                <a:close/>
                <a:moveTo>
                  <a:pt x="138" y="156"/>
                </a:moveTo>
                <a:lnTo>
                  <a:pt x="138" y="156"/>
                </a:lnTo>
                <a:lnTo>
                  <a:pt x="137" y="157"/>
                </a:lnTo>
                <a:lnTo>
                  <a:pt x="132" y="156"/>
                </a:lnTo>
                <a:lnTo>
                  <a:pt x="127" y="160"/>
                </a:lnTo>
                <a:lnTo>
                  <a:pt x="125" y="159"/>
                </a:lnTo>
                <a:lnTo>
                  <a:pt x="126" y="156"/>
                </a:lnTo>
                <a:lnTo>
                  <a:pt x="126" y="155"/>
                </a:lnTo>
                <a:lnTo>
                  <a:pt x="128" y="154"/>
                </a:lnTo>
                <a:lnTo>
                  <a:pt x="129" y="153"/>
                </a:lnTo>
                <a:lnTo>
                  <a:pt x="130" y="151"/>
                </a:lnTo>
                <a:lnTo>
                  <a:pt x="131" y="152"/>
                </a:lnTo>
                <a:lnTo>
                  <a:pt x="134" y="152"/>
                </a:lnTo>
                <a:lnTo>
                  <a:pt x="136" y="153"/>
                </a:lnTo>
                <a:lnTo>
                  <a:pt x="137" y="154"/>
                </a:lnTo>
                <a:lnTo>
                  <a:pt x="138" y="156"/>
                </a:lnTo>
                <a:close/>
                <a:moveTo>
                  <a:pt x="74" y="162"/>
                </a:moveTo>
                <a:lnTo>
                  <a:pt x="74" y="162"/>
                </a:lnTo>
                <a:lnTo>
                  <a:pt x="72" y="163"/>
                </a:lnTo>
                <a:lnTo>
                  <a:pt x="70" y="162"/>
                </a:lnTo>
                <a:lnTo>
                  <a:pt x="66" y="157"/>
                </a:lnTo>
                <a:lnTo>
                  <a:pt x="65" y="156"/>
                </a:lnTo>
                <a:lnTo>
                  <a:pt x="67" y="157"/>
                </a:lnTo>
                <a:lnTo>
                  <a:pt x="70" y="159"/>
                </a:lnTo>
                <a:lnTo>
                  <a:pt x="72" y="160"/>
                </a:lnTo>
                <a:lnTo>
                  <a:pt x="75" y="162"/>
                </a:lnTo>
                <a:lnTo>
                  <a:pt x="74" y="162"/>
                </a:lnTo>
                <a:close/>
                <a:moveTo>
                  <a:pt x="101" y="160"/>
                </a:moveTo>
                <a:lnTo>
                  <a:pt x="101" y="160"/>
                </a:lnTo>
                <a:lnTo>
                  <a:pt x="107" y="163"/>
                </a:lnTo>
                <a:lnTo>
                  <a:pt x="111" y="163"/>
                </a:lnTo>
                <a:lnTo>
                  <a:pt x="113" y="164"/>
                </a:lnTo>
                <a:lnTo>
                  <a:pt x="114" y="167"/>
                </a:lnTo>
                <a:lnTo>
                  <a:pt x="114" y="171"/>
                </a:lnTo>
                <a:lnTo>
                  <a:pt x="111" y="173"/>
                </a:lnTo>
                <a:lnTo>
                  <a:pt x="108" y="172"/>
                </a:lnTo>
                <a:lnTo>
                  <a:pt x="104" y="174"/>
                </a:lnTo>
                <a:lnTo>
                  <a:pt x="91" y="166"/>
                </a:lnTo>
                <a:lnTo>
                  <a:pt x="91" y="160"/>
                </a:lnTo>
                <a:lnTo>
                  <a:pt x="92" y="157"/>
                </a:lnTo>
                <a:lnTo>
                  <a:pt x="98" y="157"/>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1220" name="Estonia">
            <a:extLst>
              <a:ext uri="{FF2B5EF4-FFF2-40B4-BE49-F238E27FC236}">
                <a16:creationId xmlns:a16="http://schemas.microsoft.com/office/drawing/2014/main" id="{C1313B33-36BB-493D-8219-0BB0EEF6F140}"/>
              </a:ext>
            </a:extLst>
          </p:cNvPr>
          <p:cNvSpPr>
            <a:spLocks noEditPoints="1"/>
          </p:cNvSpPr>
          <p:nvPr/>
        </p:nvSpPr>
        <p:spPr bwMode="auto">
          <a:xfrm>
            <a:off x="6475264" y="2677002"/>
            <a:ext cx="189720" cy="105926"/>
          </a:xfrm>
          <a:custGeom>
            <a:avLst/>
            <a:gdLst>
              <a:gd name="T0" fmla="*/ 195 w 196"/>
              <a:gd name="T1" fmla="*/ 15 h 126"/>
              <a:gd name="T2" fmla="*/ 193 w 196"/>
              <a:gd name="T3" fmla="*/ 19 h 126"/>
              <a:gd name="T4" fmla="*/ 187 w 196"/>
              <a:gd name="T5" fmla="*/ 28 h 126"/>
              <a:gd name="T6" fmla="*/ 175 w 196"/>
              <a:gd name="T7" fmla="*/ 49 h 126"/>
              <a:gd name="T8" fmla="*/ 177 w 196"/>
              <a:gd name="T9" fmla="*/ 76 h 126"/>
              <a:gd name="T10" fmla="*/ 178 w 196"/>
              <a:gd name="T11" fmla="*/ 91 h 126"/>
              <a:gd name="T12" fmla="*/ 184 w 196"/>
              <a:gd name="T13" fmla="*/ 106 h 126"/>
              <a:gd name="T14" fmla="*/ 177 w 196"/>
              <a:gd name="T15" fmla="*/ 111 h 126"/>
              <a:gd name="T16" fmla="*/ 172 w 196"/>
              <a:gd name="T17" fmla="*/ 121 h 126"/>
              <a:gd name="T18" fmla="*/ 166 w 196"/>
              <a:gd name="T19" fmla="*/ 126 h 126"/>
              <a:gd name="T20" fmla="*/ 154 w 196"/>
              <a:gd name="T21" fmla="*/ 123 h 126"/>
              <a:gd name="T22" fmla="*/ 136 w 196"/>
              <a:gd name="T23" fmla="*/ 119 h 126"/>
              <a:gd name="T24" fmla="*/ 122 w 196"/>
              <a:gd name="T25" fmla="*/ 106 h 126"/>
              <a:gd name="T26" fmla="*/ 108 w 196"/>
              <a:gd name="T27" fmla="*/ 96 h 126"/>
              <a:gd name="T28" fmla="*/ 106 w 196"/>
              <a:gd name="T29" fmla="*/ 99 h 126"/>
              <a:gd name="T30" fmla="*/ 95 w 196"/>
              <a:gd name="T31" fmla="*/ 99 h 126"/>
              <a:gd name="T32" fmla="*/ 78 w 196"/>
              <a:gd name="T33" fmla="*/ 107 h 126"/>
              <a:gd name="T34" fmla="*/ 82 w 196"/>
              <a:gd name="T35" fmla="*/ 83 h 126"/>
              <a:gd name="T36" fmla="*/ 79 w 196"/>
              <a:gd name="T37" fmla="*/ 76 h 126"/>
              <a:gd name="T38" fmla="*/ 70 w 196"/>
              <a:gd name="T39" fmla="*/ 83 h 126"/>
              <a:gd name="T40" fmla="*/ 57 w 196"/>
              <a:gd name="T41" fmla="*/ 69 h 126"/>
              <a:gd name="T42" fmla="*/ 56 w 196"/>
              <a:gd name="T43" fmla="*/ 54 h 126"/>
              <a:gd name="T44" fmla="*/ 51 w 196"/>
              <a:gd name="T45" fmla="*/ 50 h 126"/>
              <a:gd name="T46" fmla="*/ 50 w 196"/>
              <a:gd name="T47" fmla="*/ 37 h 126"/>
              <a:gd name="T48" fmla="*/ 55 w 196"/>
              <a:gd name="T49" fmla="*/ 25 h 126"/>
              <a:gd name="T50" fmla="*/ 72 w 196"/>
              <a:gd name="T51" fmla="*/ 16 h 126"/>
              <a:gd name="T52" fmla="*/ 111 w 196"/>
              <a:gd name="T53" fmla="*/ 7 h 126"/>
              <a:gd name="T54" fmla="*/ 117 w 196"/>
              <a:gd name="T55" fmla="*/ 1 h 126"/>
              <a:gd name="T56" fmla="*/ 155 w 196"/>
              <a:gd name="T57" fmla="*/ 11 h 126"/>
              <a:gd name="T58" fmla="*/ 191 w 196"/>
              <a:gd name="T59" fmla="*/ 11 h 126"/>
              <a:gd name="T60" fmla="*/ 30 w 196"/>
              <a:gd name="T61" fmla="*/ 53 h 126"/>
              <a:gd name="T62" fmla="*/ 21 w 196"/>
              <a:gd name="T63" fmla="*/ 58 h 126"/>
              <a:gd name="T64" fmla="*/ 14 w 196"/>
              <a:gd name="T65" fmla="*/ 46 h 126"/>
              <a:gd name="T66" fmla="*/ 20 w 196"/>
              <a:gd name="T67" fmla="*/ 38 h 126"/>
              <a:gd name="T68" fmla="*/ 26 w 196"/>
              <a:gd name="T69" fmla="*/ 37 h 126"/>
              <a:gd name="T70" fmla="*/ 36 w 196"/>
              <a:gd name="T71" fmla="*/ 49 h 126"/>
              <a:gd name="T72" fmla="*/ 43 w 196"/>
              <a:gd name="T73" fmla="*/ 67 h 126"/>
              <a:gd name="T74" fmla="*/ 46 w 196"/>
              <a:gd name="T75" fmla="*/ 60 h 126"/>
              <a:gd name="T76" fmla="*/ 23 w 196"/>
              <a:gd name="T77" fmla="*/ 62 h 126"/>
              <a:gd name="T78" fmla="*/ 34 w 196"/>
              <a:gd name="T79" fmla="*/ 63 h 126"/>
              <a:gd name="T80" fmla="*/ 38 w 196"/>
              <a:gd name="T81" fmla="*/ 75 h 126"/>
              <a:gd name="T82" fmla="*/ 28 w 196"/>
              <a:gd name="T83" fmla="*/ 83 h 126"/>
              <a:gd name="T84" fmla="*/ 13 w 196"/>
              <a:gd name="T85" fmla="*/ 89 h 126"/>
              <a:gd name="T86" fmla="*/ 4 w 196"/>
              <a:gd name="T87" fmla="*/ 103 h 126"/>
              <a:gd name="T88" fmla="*/ 10 w 196"/>
              <a:gd name="T89" fmla="*/ 90 h 126"/>
              <a:gd name="T90" fmla="*/ 0 w 196"/>
              <a:gd name="T91" fmla="*/ 81 h 126"/>
              <a:gd name="T92" fmla="*/ 4 w 196"/>
              <a:gd name="T93" fmla="*/ 76 h 126"/>
              <a:gd name="T94" fmla="*/ 7 w 196"/>
              <a:gd name="T95" fmla="*/ 71 h 126"/>
              <a:gd name="T96" fmla="*/ 14 w 196"/>
              <a:gd name="T97" fmla="*/ 64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6" h="126">
                <a:moveTo>
                  <a:pt x="192" y="10"/>
                </a:moveTo>
                <a:lnTo>
                  <a:pt x="192" y="10"/>
                </a:lnTo>
                <a:lnTo>
                  <a:pt x="193" y="12"/>
                </a:lnTo>
                <a:lnTo>
                  <a:pt x="195" y="15"/>
                </a:lnTo>
                <a:lnTo>
                  <a:pt x="196" y="16"/>
                </a:lnTo>
                <a:lnTo>
                  <a:pt x="195" y="18"/>
                </a:lnTo>
                <a:lnTo>
                  <a:pt x="193" y="18"/>
                </a:lnTo>
                <a:lnTo>
                  <a:pt x="193" y="19"/>
                </a:lnTo>
                <a:lnTo>
                  <a:pt x="192" y="21"/>
                </a:lnTo>
                <a:lnTo>
                  <a:pt x="189" y="21"/>
                </a:lnTo>
                <a:lnTo>
                  <a:pt x="188" y="22"/>
                </a:lnTo>
                <a:lnTo>
                  <a:pt x="187" y="28"/>
                </a:lnTo>
                <a:lnTo>
                  <a:pt x="184" y="36"/>
                </a:lnTo>
                <a:lnTo>
                  <a:pt x="179" y="43"/>
                </a:lnTo>
                <a:lnTo>
                  <a:pt x="176" y="46"/>
                </a:lnTo>
                <a:lnTo>
                  <a:pt x="175" y="49"/>
                </a:lnTo>
                <a:lnTo>
                  <a:pt x="174" y="52"/>
                </a:lnTo>
                <a:lnTo>
                  <a:pt x="173" y="55"/>
                </a:lnTo>
                <a:lnTo>
                  <a:pt x="177" y="73"/>
                </a:lnTo>
                <a:lnTo>
                  <a:pt x="177" y="76"/>
                </a:lnTo>
                <a:lnTo>
                  <a:pt x="176" y="80"/>
                </a:lnTo>
                <a:lnTo>
                  <a:pt x="175" y="83"/>
                </a:lnTo>
                <a:lnTo>
                  <a:pt x="176" y="86"/>
                </a:lnTo>
                <a:lnTo>
                  <a:pt x="178" y="91"/>
                </a:lnTo>
                <a:lnTo>
                  <a:pt x="180" y="98"/>
                </a:lnTo>
                <a:lnTo>
                  <a:pt x="181" y="103"/>
                </a:lnTo>
                <a:lnTo>
                  <a:pt x="183" y="104"/>
                </a:lnTo>
                <a:lnTo>
                  <a:pt x="184" y="106"/>
                </a:lnTo>
                <a:lnTo>
                  <a:pt x="184" y="106"/>
                </a:lnTo>
                <a:lnTo>
                  <a:pt x="184" y="107"/>
                </a:lnTo>
                <a:lnTo>
                  <a:pt x="184" y="108"/>
                </a:lnTo>
                <a:lnTo>
                  <a:pt x="177" y="111"/>
                </a:lnTo>
                <a:lnTo>
                  <a:pt x="176" y="113"/>
                </a:lnTo>
                <a:lnTo>
                  <a:pt x="175" y="115"/>
                </a:lnTo>
                <a:lnTo>
                  <a:pt x="173" y="118"/>
                </a:lnTo>
                <a:lnTo>
                  <a:pt x="172" y="121"/>
                </a:lnTo>
                <a:lnTo>
                  <a:pt x="171" y="125"/>
                </a:lnTo>
                <a:lnTo>
                  <a:pt x="171" y="126"/>
                </a:lnTo>
                <a:lnTo>
                  <a:pt x="170" y="126"/>
                </a:lnTo>
                <a:lnTo>
                  <a:pt x="166" y="126"/>
                </a:lnTo>
                <a:lnTo>
                  <a:pt x="161" y="123"/>
                </a:lnTo>
                <a:lnTo>
                  <a:pt x="159" y="122"/>
                </a:lnTo>
                <a:lnTo>
                  <a:pt x="157" y="122"/>
                </a:lnTo>
                <a:lnTo>
                  <a:pt x="154" y="123"/>
                </a:lnTo>
                <a:lnTo>
                  <a:pt x="145" y="126"/>
                </a:lnTo>
                <a:lnTo>
                  <a:pt x="143" y="125"/>
                </a:lnTo>
                <a:lnTo>
                  <a:pt x="138" y="122"/>
                </a:lnTo>
                <a:lnTo>
                  <a:pt x="136" y="119"/>
                </a:lnTo>
                <a:lnTo>
                  <a:pt x="130" y="111"/>
                </a:lnTo>
                <a:lnTo>
                  <a:pt x="129" y="110"/>
                </a:lnTo>
                <a:lnTo>
                  <a:pt x="129" y="108"/>
                </a:lnTo>
                <a:lnTo>
                  <a:pt x="122" y="106"/>
                </a:lnTo>
                <a:lnTo>
                  <a:pt x="120" y="104"/>
                </a:lnTo>
                <a:lnTo>
                  <a:pt x="118" y="104"/>
                </a:lnTo>
                <a:lnTo>
                  <a:pt x="116" y="102"/>
                </a:lnTo>
                <a:lnTo>
                  <a:pt x="108" y="96"/>
                </a:lnTo>
                <a:lnTo>
                  <a:pt x="107" y="96"/>
                </a:lnTo>
                <a:lnTo>
                  <a:pt x="106" y="97"/>
                </a:lnTo>
                <a:lnTo>
                  <a:pt x="106" y="98"/>
                </a:lnTo>
                <a:lnTo>
                  <a:pt x="106" y="99"/>
                </a:lnTo>
                <a:lnTo>
                  <a:pt x="105" y="99"/>
                </a:lnTo>
                <a:lnTo>
                  <a:pt x="103" y="97"/>
                </a:lnTo>
                <a:lnTo>
                  <a:pt x="101" y="95"/>
                </a:lnTo>
                <a:lnTo>
                  <a:pt x="95" y="99"/>
                </a:lnTo>
                <a:lnTo>
                  <a:pt x="93" y="99"/>
                </a:lnTo>
                <a:lnTo>
                  <a:pt x="91" y="100"/>
                </a:lnTo>
                <a:lnTo>
                  <a:pt x="81" y="104"/>
                </a:lnTo>
                <a:lnTo>
                  <a:pt x="78" y="107"/>
                </a:lnTo>
                <a:lnTo>
                  <a:pt x="77" y="106"/>
                </a:lnTo>
                <a:lnTo>
                  <a:pt x="77" y="104"/>
                </a:lnTo>
                <a:lnTo>
                  <a:pt x="81" y="93"/>
                </a:lnTo>
                <a:lnTo>
                  <a:pt x="82" y="83"/>
                </a:lnTo>
                <a:lnTo>
                  <a:pt x="83" y="82"/>
                </a:lnTo>
                <a:lnTo>
                  <a:pt x="84" y="81"/>
                </a:lnTo>
                <a:lnTo>
                  <a:pt x="83" y="78"/>
                </a:lnTo>
                <a:lnTo>
                  <a:pt x="79" y="76"/>
                </a:lnTo>
                <a:lnTo>
                  <a:pt x="77" y="76"/>
                </a:lnTo>
                <a:lnTo>
                  <a:pt x="75" y="79"/>
                </a:lnTo>
                <a:lnTo>
                  <a:pt x="74" y="82"/>
                </a:lnTo>
                <a:lnTo>
                  <a:pt x="70" y="83"/>
                </a:lnTo>
                <a:lnTo>
                  <a:pt x="67" y="81"/>
                </a:lnTo>
                <a:lnTo>
                  <a:pt x="59" y="78"/>
                </a:lnTo>
                <a:lnTo>
                  <a:pt x="57" y="73"/>
                </a:lnTo>
                <a:lnTo>
                  <a:pt x="57" y="69"/>
                </a:lnTo>
                <a:lnTo>
                  <a:pt x="53" y="65"/>
                </a:lnTo>
                <a:lnTo>
                  <a:pt x="51" y="60"/>
                </a:lnTo>
                <a:lnTo>
                  <a:pt x="52" y="56"/>
                </a:lnTo>
                <a:lnTo>
                  <a:pt x="56" y="54"/>
                </a:lnTo>
                <a:lnTo>
                  <a:pt x="57" y="52"/>
                </a:lnTo>
                <a:lnTo>
                  <a:pt x="52" y="52"/>
                </a:lnTo>
                <a:lnTo>
                  <a:pt x="51" y="52"/>
                </a:lnTo>
                <a:lnTo>
                  <a:pt x="51" y="50"/>
                </a:lnTo>
                <a:lnTo>
                  <a:pt x="49" y="44"/>
                </a:lnTo>
                <a:lnTo>
                  <a:pt x="51" y="42"/>
                </a:lnTo>
                <a:lnTo>
                  <a:pt x="51" y="39"/>
                </a:lnTo>
                <a:lnTo>
                  <a:pt x="50" y="37"/>
                </a:lnTo>
                <a:lnTo>
                  <a:pt x="50" y="35"/>
                </a:lnTo>
                <a:lnTo>
                  <a:pt x="51" y="33"/>
                </a:lnTo>
                <a:lnTo>
                  <a:pt x="51" y="27"/>
                </a:lnTo>
                <a:lnTo>
                  <a:pt x="55" y="25"/>
                </a:lnTo>
                <a:lnTo>
                  <a:pt x="60" y="23"/>
                </a:lnTo>
                <a:lnTo>
                  <a:pt x="69" y="22"/>
                </a:lnTo>
                <a:lnTo>
                  <a:pt x="68" y="17"/>
                </a:lnTo>
                <a:lnTo>
                  <a:pt x="72" y="16"/>
                </a:lnTo>
                <a:lnTo>
                  <a:pt x="78" y="10"/>
                </a:lnTo>
                <a:lnTo>
                  <a:pt x="85" y="11"/>
                </a:lnTo>
                <a:lnTo>
                  <a:pt x="94" y="7"/>
                </a:lnTo>
                <a:lnTo>
                  <a:pt x="111" y="7"/>
                </a:lnTo>
                <a:lnTo>
                  <a:pt x="114" y="5"/>
                </a:lnTo>
                <a:lnTo>
                  <a:pt x="114" y="3"/>
                </a:lnTo>
                <a:lnTo>
                  <a:pt x="114" y="0"/>
                </a:lnTo>
                <a:lnTo>
                  <a:pt x="117" y="1"/>
                </a:lnTo>
                <a:lnTo>
                  <a:pt x="122" y="0"/>
                </a:lnTo>
                <a:lnTo>
                  <a:pt x="143" y="5"/>
                </a:lnTo>
                <a:lnTo>
                  <a:pt x="148" y="5"/>
                </a:lnTo>
                <a:lnTo>
                  <a:pt x="155" y="11"/>
                </a:lnTo>
                <a:lnTo>
                  <a:pt x="159" y="12"/>
                </a:lnTo>
                <a:lnTo>
                  <a:pt x="170" y="12"/>
                </a:lnTo>
                <a:lnTo>
                  <a:pt x="188" y="14"/>
                </a:lnTo>
                <a:lnTo>
                  <a:pt x="191" y="11"/>
                </a:lnTo>
                <a:lnTo>
                  <a:pt x="192" y="10"/>
                </a:lnTo>
                <a:close/>
                <a:moveTo>
                  <a:pt x="33" y="50"/>
                </a:moveTo>
                <a:lnTo>
                  <a:pt x="33" y="50"/>
                </a:lnTo>
                <a:lnTo>
                  <a:pt x="30" y="53"/>
                </a:lnTo>
                <a:lnTo>
                  <a:pt x="29" y="51"/>
                </a:lnTo>
                <a:lnTo>
                  <a:pt x="28" y="50"/>
                </a:lnTo>
                <a:lnTo>
                  <a:pt x="25" y="57"/>
                </a:lnTo>
                <a:lnTo>
                  <a:pt x="21" y="58"/>
                </a:lnTo>
                <a:lnTo>
                  <a:pt x="19" y="57"/>
                </a:lnTo>
                <a:lnTo>
                  <a:pt x="19" y="54"/>
                </a:lnTo>
                <a:lnTo>
                  <a:pt x="17" y="47"/>
                </a:lnTo>
                <a:lnTo>
                  <a:pt x="14" y="46"/>
                </a:lnTo>
                <a:lnTo>
                  <a:pt x="9" y="45"/>
                </a:lnTo>
                <a:lnTo>
                  <a:pt x="6" y="43"/>
                </a:lnTo>
                <a:lnTo>
                  <a:pt x="19" y="41"/>
                </a:lnTo>
                <a:lnTo>
                  <a:pt x="20" y="38"/>
                </a:lnTo>
                <a:lnTo>
                  <a:pt x="23" y="34"/>
                </a:lnTo>
                <a:lnTo>
                  <a:pt x="24" y="34"/>
                </a:lnTo>
                <a:lnTo>
                  <a:pt x="26" y="35"/>
                </a:lnTo>
                <a:lnTo>
                  <a:pt x="26" y="37"/>
                </a:lnTo>
                <a:lnTo>
                  <a:pt x="27" y="38"/>
                </a:lnTo>
                <a:lnTo>
                  <a:pt x="33" y="40"/>
                </a:lnTo>
                <a:lnTo>
                  <a:pt x="35" y="44"/>
                </a:lnTo>
                <a:lnTo>
                  <a:pt x="36" y="49"/>
                </a:lnTo>
                <a:lnTo>
                  <a:pt x="33" y="50"/>
                </a:lnTo>
                <a:close/>
                <a:moveTo>
                  <a:pt x="46" y="66"/>
                </a:moveTo>
                <a:lnTo>
                  <a:pt x="46" y="66"/>
                </a:lnTo>
                <a:lnTo>
                  <a:pt x="43" y="67"/>
                </a:lnTo>
                <a:lnTo>
                  <a:pt x="37" y="63"/>
                </a:lnTo>
                <a:lnTo>
                  <a:pt x="39" y="60"/>
                </a:lnTo>
                <a:lnTo>
                  <a:pt x="40" y="59"/>
                </a:lnTo>
                <a:lnTo>
                  <a:pt x="46" y="60"/>
                </a:lnTo>
                <a:lnTo>
                  <a:pt x="46" y="65"/>
                </a:lnTo>
                <a:lnTo>
                  <a:pt x="46" y="66"/>
                </a:lnTo>
                <a:close/>
                <a:moveTo>
                  <a:pt x="23" y="62"/>
                </a:moveTo>
                <a:lnTo>
                  <a:pt x="23" y="62"/>
                </a:lnTo>
                <a:lnTo>
                  <a:pt x="26" y="63"/>
                </a:lnTo>
                <a:lnTo>
                  <a:pt x="28" y="63"/>
                </a:lnTo>
                <a:lnTo>
                  <a:pt x="30" y="62"/>
                </a:lnTo>
                <a:lnTo>
                  <a:pt x="34" y="63"/>
                </a:lnTo>
                <a:lnTo>
                  <a:pt x="44" y="70"/>
                </a:lnTo>
                <a:lnTo>
                  <a:pt x="45" y="72"/>
                </a:lnTo>
                <a:lnTo>
                  <a:pt x="39" y="73"/>
                </a:lnTo>
                <a:lnTo>
                  <a:pt x="38" y="75"/>
                </a:lnTo>
                <a:lnTo>
                  <a:pt x="36" y="77"/>
                </a:lnTo>
                <a:lnTo>
                  <a:pt x="35" y="77"/>
                </a:lnTo>
                <a:lnTo>
                  <a:pt x="32" y="80"/>
                </a:lnTo>
                <a:lnTo>
                  <a:pt x="28" y="83"/>
                </a:lnTo>
                <a:lnTo>
                  <a:pt x="27" y="85"/>
                </a:lnTo>
                <a:lnTo>
                  <a:pt x="20" y="85"/>
                </a:lnTo>
                <a:lnTo>
                  <a:pt x="16" y="86"/>
                </a:lnTo>
                <a:lnTo>
                  <a:pt x="13" y="89"/>
                </a:lnTo>
                <a:lnTo>
                  <a:pt x="11" y="96"/>
                </a:lnTo>
                <a:lnTo>
                  <a:pt x="9" y="101"/>
                </a:lnTo>
                <a:lnTo>
                  <a:pt x="7" y="103"/>
                </a:lnTo>
                <a:lnTo>
                  <a:pt x="4" y="103"/>
                </a:lnTo>
                <a:lnTo>
                  <a:pt x="3" y="101"/>
                </a:lnTo>
                <a:lnTo>
                  <a:pt x="4" y="99"/>
                </a:lnTo>
                <a:lnTo>
                  <a:pt x="9" y="92"/>
                </a:lnTo>
                <a:lnTo>
                  <a:pt x="10" y="90"/>
                </a:lnTo>
                <a:lnTo>
                  <a:pt x="7" y="89"/>
                </a:lnTo>
                <a:lnTo>
                  <a:pt x="5" y="86"/>
                </a:lnTo>
                <a:lnTo>
                  <a:pt x="0" y="83"/>
                </a:lnTo>
                <a:lnTo>
                  <a:pt x="0" y="81"/>
                </a:lnTo>
                <a:lnTo>
                  <a:pt x="1" y="81"/>
                </a:lnTo>
                <a:lnTo>
                  <a:pt x="2" y="80"/>
                </a:lnTo>
                <a:lnTo>
                  <a:pt x="3" y="78"/>
                </a:lnTo>
                <a:lnTo>
                  <a:pt x="4" y="76"/>
                </a:lnTo>
                <a:lnTo>
                  <a:pt x="0" y="69"/>
                </a:lnTo>
                <a:lnTo>
                  <a:pt x="2" y="68"/>
                </a:lnTo>
                <a:lnTo>
                  <a:pt x="4" y="69"/>
                </a:lnTo>
                <a:lnTo>
                  <a:pt x="7" y="71"/>
                </a:lnTo>
                <a:lnTo>
                  <a:pt x="9" y="68"/>
                </a:lnTo>
                <a:lnTo>
                  <a:pt x="11" y="68"/>
                </a:lnTo>
                <a:lnTo>
                  <a:pt x="12" y="69"/>
                </a:lnTo>
                <a:lnTo>
                  <a:pt x="14" y="64"/>
                </a:lnTo>
                <a:lnTo>
                  <a:pt x="19" y="63"/>
                </a:lnTo>
                <a:lnTo>
                  <a:pt x="21" y="62"/>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1222" name="Faroe Islands">
            <a:extLst>
              <a:ext uri="{FF2B5EF4-FFF2-40B4-BE49-F238E27FC236}">
                <a16:creationId xmlns:a16="http://schemas.microsoft.com/office/drawing/2014/main" id="{96D81EEA-F523-49B1-BBB6-FBD363465790}"/>
              </a:ext>
            </a:extLst>
          </p:cNvPr>
          <p:cNvSpPr>
            <a:spLocks noEditPoints="1"/>
          </p:cNvSpPr>
          <p:nvPr/>
        </p:nvSpPr>
        <p:spPr bwMode="auto">
          <a:xfrm>
            <a:off x="5595857" y="2527920"/>
            <a:ext cx="29017" cy="52964"/>
          </a:xfrm>
          <a:custGeom>
            <a:avLst/>
            <a:gdLst>
              <a:gd name="T0" fmla="*/ 31 w 31"/>
              <a:gd name="T1" fmla="*/ 6 h 62"/>
              <a:gd name="T2" fmla="*/ 28 w 31"/>
              <a:gd name="T3" fmla="*/ 10 h 62"/>
              <a:gd name="T4" fmla="*/ 27 w 31"/>
              <a:gd name="T5" fmla="*/ 8 h 62"/>
              <a:gd name="T6" fmla="*/ 27 w 31"/>
              <a:gd name="T7" fmla="*/ 0 h 62"/>
              <a:gd name="T8" fmla="*/ 31 w 31"/>
              <a:gd name="T9" fmla="*/ 6 h 62"/>
              <a:gd name="T10" fmla="*/ 24 w 31"/>
              <a:gd name="T11" fmla="*/ 8 h 62"/>
              <a:gd name="T12" fmla="*/ 22 w 31"/>
              <a:gd name="T13" fmla="*/ 17 h 62"/>
              <a:gd name="T14" fmla="*/ 18 w 31"/>
              <a:gd name="T15" fmla="*/ 14 h 62"/>
              <a:gd name="T16" fmla="*/ 18 w 31"/>
              <a:gd name="T17" fmla="*/ 17 h 62"/>
              <a:gd name="T18" fmla="*/ 21 w 31"/>
              <a:gd name="T19" fmla="*/ 24 h 62"/>
              <a:gd name="T20" fmla="*/ 21 w 31"/>
              <a:gd name="T21" fmla="*/ 27 h 62"/>
              <a:gd name="T22" fmla="*/ 12 w 31"/>
              <a:gd name="T23" fmla="*/ 17 h 62"/>
              <a:gd name="T24" fmla="*/ 14 w 31"/>
              <a:gd name="T25" fmla="*/ 2 h 62"/>
              <a:gd name="T26" fmla="*/ 24 w 31"/>
              <a:gd name="T27" fmla="*/ 8 h 62"/>
              <a:gd name="T28" fmla="*/ 7 w 31"/>
              <a:gd name="T29" fmla="*/ 14 h 62"/>
              <a:gd name="T30" fmla="*/ 11 w 31"/>
              <a:gd name="T31" fmla="*/ 19 h 62"/>
              <a:gd name="T32" fmla="*/ 7 w 31"/>
              <a:gd name="T33" fmla="*/ 21 h 62"/>
              <a:gd name="T34" fmla="*/ 1 w 31"/>
              <a:gd name="T35" fmla="*/ 18 h 62"/>
              <a:gd name="T36" fmla="*/ 2 w 31"/>
              <a:gd name="T37" fmla="*/ 14 h 62"/>
              <a:gd name="T38" fmla="*/ 7 w 31"/>
              <a:gd name="T39" fmla="*/ 14 h 62"/>
              <a:gd name="T40" fmla="*/ 25 w 31"/>
              <a:gd name="T41" fmla="*/ 36 h 62"/>
              <a:gd name="T42" fmla="*/ 23 w 31"/>
              <a:gd name="T43" fmla="*/ 39 h 62"/>
              <a:gd name="T44" fmla="*/ 18 w 31"/>
              <a:gd name="T45" fmla="*/ 34 h 62"/>
              <a:gd name="T46" fmla="*/ 16 w 31"/>
              <a:gd name="T47" fmla="*/ 30 h 62"/>
              <a:gd name="T48" fmla="*/ 19 w 31"/>
              <a:gd name="T49" fmla="*/ 30 h 62"/>
              <a:gd name="T50" fmla="*/ 24 w 31"/>
              <a:gd name="T51" fmla="*/ 35 h 62"/>
              <a:gd name="T52" fmla="*/ 22 w 31"/>
              <a:gd name="T53" fmla="*/ 60 h 62"/>
              <a:gd name="T54" fmla="*/ 23 w 31"/>
              <a:gd name="T55" fmla="*/ 62 h 62"/>
              <a:gd name="T56" fmla="*/ 20 w 31"/>
              <a:gd name="T57" fmla="*/ 59 h 62"/>
              <a:gd name="T58" fmla="*/ 15 w 31"/>
              <a:gd name="T59" fmla="*/ 50 h 62"/>
              <a:gd name="T60" fmla="*/ 16 w 31"/>
              <a:gd name="T61" fmla="*/ 48 h 62"/>
              <a:gd name="T62" fmla="*/ 20 w 31"/>
              <a:gd name="T63" fmla="*/ 51 h 62"/>
              <a:gd name="T64" fmla="*/ 21 w 31"/>
              <a:gd name="T65" fmla="*/ 5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 h="62">
                <a:moveTo>
                  <a:pt x="31" y="6"/>
                </a:moveTo>
                <a:lnTo>
                  <a:pt x="31" y="6"/>
                </a:lnTo>
                <a:lnTo>
                  <a:pt x="30" y="11"/>
                </a:lnTo>
                <a:lnTo>
                  <a:pt x="28" y="10"/>
                </a:lnTo>
                <a:lnTo>
                  <a:pt x="27" y="10"/>
                </a:lnTo>
                <a:lnTo>
                  <a:pt x="27" y="8"/>
                </a:lnTo>
                <a:lnTo>
                  <a:pt x="27" y="5"/>
                </a:lnTo>
                <a:lnTo>
                  <a:pt x="27" y="0"/>
                </a:lnTo>
                <a:lnTo>
                  <a:pt x="29" y="4"/>
                </a:lnTo>
                <a:lnTo>
                  <a:pt x="31" y="6"/>
                </a:lnTo>
                <a:close/>
                <a:moveTo>
                  <a:pt x="24" y="8"/>
                </a:moveTo>
                <a:lnTo>
                  <a:pt x="24" y="8"/>
                </a:lnTo>
                <a:lnTo>
                  <a:pt x="24" y="17"/>
                </a:lnTo>
                <a:lnTo>
                  <a:pt x="22" y="17"/>
                </a:lnTo>
                <a:lnTo>
                  <a:pt x="20" y="15"/>
                </a:lnTo>
                <a:lnTo>
                  <a:pt x="18" y="14"/>
                </a:lnTo>
                <a:lnTo>
                  <a:pt x="18" y="15"/>
                </a:lnTo>
                <a:lnTo>
                  <a:pt x="18" y="17"/>
                </a:lnTo>
                <a:lnTo>
                  <a:pt x="19" y="18"/>
                </a:lnTo>
                <a:lnTo>
                  <a:pt x="21" y="24"/>
                </a:lnTo>
                <a:lnTo>
                  <a:pt x="22" y="26"/>
                </a:lnTo>
                <a:lnTo>
                  <a:pt x="21" y="27"/>
                </a:lnTo>
                <a:lnTo>
                  <a:pt x="19" y="25"/>
                </a:lnTo>
                <a:lnTo>
                  <a:pt x="12" y="17"/>
                </a:lnTo>
                <a:lnTo>
                  <a:pt x="7" y="4"/>
                </a:lnTo>
                <a:lnTo>
                  <a:pt x="14" y="2"/>
                </a:lnTo>
                <a:lnTo>
                  <a:pt x="19" y="6"/>
                </a:lnTo>
                <a:lnTo>
                  <a:pt x="24" y="8"/>
                </a:lnTo>
                <a:close/>
                <a:moveTo>
                  <a:pt x="7" y="14"/>
                </a:moveTo>
                <a:lnTo>
                  <a:pt x="7" y="14"/>
                </a:lnTo>
                <a:lnTo>
                  <a:pt x="10" y="17"/>
                </a:lnTo>
                <a:lnTo>
                  <a:pt x="11" y="19"/>
                </a:lnTo>
                <a:lnTo>
                  <a:pt x="9" y="20"/>
                </a:lnTo>
                <a:lnTo>
                  <a:pt x="7" y="21"/>
                </a:lnTo>
                <a:lnTo>
                  <a:pt x="5" y="20"/>
                </a:lnTo>
                <a:lnTo>
                  <a:pt x="1" y="18"/>
                </a:lnTo>
                <a:lnTo>
                  <a:pt x="0" y="14"/>
                </a:lnTo>
                <a:lnTo>
                  <a:pt x="2" y="14"/>
                </a:lnTo>
                <a:lnTo>
                  <a:pt x="6" y="13"/>
                </a:lnTo>
                <a:lnTo>
                  <a:pt x="7" y="14"/>
                </a:lnTo>
                <a:close/>
                <a:moveTo>
                  <a:pt x="25" y="36"/>
                </a:moveTo>
                <a:lnTo>
                  <a:pt x="25" y="36"/>
                </a:lnTo>
                <a:lnTo>
                  <a:pt x="24" y="39"/>
                </a:lnTo>
                <a:lnTo>
                  <a:pt x="23" y="39"/>
                </a:lnTo>
                <a:lnTo>
                  <a:pt x="20" y="36"/>
                </a:lnTo>
                <a:lnTo>
                  <a:pt x="18" y="34"/>
                </a:lnTo>
                <a:lnTo>
                  <a:pt x="17" y="33"/>
                </a:lnTo>
                <a:lnTo>
                  <a:pt x="16" y="30"/>
                </a:lnTo>
                <a:lnTo>
                  <a:pt x="18" y="30"/>
                </a:lnTo>
                <a:lnTo>
                  <a:pt x="19" y="30"/>
                </a:lnTo>
                <a:lnTo>
                  <a:pt x="23" y="33"/>
                </a:lnTo>
                <a:lnTo>
                  <a:pt x="24" y="35"/>
                </a:lnTo>
                <a:lnTo>
                  <a:pt x="25" y="36"/>
                </a:lnTo>
                <a:close/>
                <a:moveTo>
                  <a:pt x="22" y="60"/>
                </a:moveTo>
                <a:lnTo>
                  <a:pt x="22" y="60"/>
                </a:lnTo>
                <a:lnTo>
                  <a:pt x="23" y="62"/>
                </a:lnTo>
                <a:lnTo>
                  <a:pt x="22" y="62"/>
                </a:lnTo>
                <a:lnTo>
                  <a:pt x="20" y="59"/>
                </a:lnTo>
                <a:lnTo>
                  <a:pt x="16" y="54"/>
                </a:lnTo>
                <a:lnTo>
                  <a:pt x="15" y="50"/>
                </a:lnTo>
                <a:lnTo>
                  <a:pt x="15" y="48"/>
                </a:lnTo>
                <a:lnTo>
                  <a:pt x="16" y="48"/>
                </a:lnTo>
                <a:lnTo>
                  <a:pt x="17" y="50"/>
                </a:lnTo>
                <a:lnTo>
                  <a:pt x="20" y="51"/>
                </a:lnTo>
                <a:lnTo>
                  <a:pt x="21" y="52"/>
                </a:lnTo>
                <a:lnTo>
                  <a:pt x="21" y="54"/>
                </a:lnTo>
                <a:lnTo>
                  <a:pt x="22" y="57"/>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1223" name="France">
            <a:extLst>
              <a:ext uri="{FF2B5EF4-FFF2-40B4-BE49-F238E27FC236}">
                <a16:creationId xmlns:a16="http://schemas.microsoft.com/office/drawing/2014/main" id="{553AF87F-9BE4-405D-BEE2-5A19F356ACBD}"/>
              </a:ext>
            </a:extLst>
          </p:cNvPr>
          <p:cNvSpPr>
            <a:spLocks noEditPoints="1"/>
          </p:cNvSpPr>
          <p:nvPr/>
        </p:nvSpPr>
        <p:spPr bwMode="auto">
          <a:xfrm>
            <a:off x="5673977" y="3075208"/>
            <a:ext cx="430776" cy="370743"/>
          </a:xfrm>
          <a:custGeom>
            <a:avLst/>
            <a:gdLst>
              <a:gd name="T0" fmla="*/ 250 w 446"/>
              <a:gd name="T1" fmla="*/ 28 h 438"/>
              <a:gd name="T2" fmla="*/ 268 w 446"/>
              <a:gd name="T3" fmla="*/ 37 h 438"/>
              <a:gd name="T4" fmla="*/ 278 w 446"/>
              <a:gd name="T5" fmla="*/ 53 h 438"/>
              <a:gd name="T6" fmla="*/ 297 w 446"/>
              <a:gd name="T7" fmla="*/ 47 h 438"/>
              <a:gd name="T8" fmla="*/ 308 w 446"/>
              <a:gd name="T9" fmla="*/ 67 h 438"/>
              <a:gd name="T10" fmla="*/ 329 w 446"/>
              <a:gd name="T11" fmla="*/ 76 h 438"/>
              <a:gd name="T12" fmla="*/ 344 w 446"/>
              <a:gd name="T13" fmla="*/ 79 h 438"/>
              <a:gd name="T14" fmla="*/ 361 w 446"/>
              <a:gd name="T15" fmla="*/ 94 h 438"/>
              <a:gd name="T16" fmla="*/ 376 w 446"/>
              <a:gd name="T17" fmla="*/ 96 h 438"/>
              <a:gd name="T18" fmla="*/ 401 w 446"/>
              <a:gd name="T19" fmla="*/ 108 h 438"/>
              <a:gd name="T20" fmla="*/ 383 w 446"/>
              <a:gd name="T21" fmla="*/ 159 h 438"/>
              <a:gd name="T22" fmla="*/ 372 w 446"/>
              <a:gd name="T23" fmla="*/ 174 h 438"/>
              <a:gd name="T24" fmla="*/ 366 w 446"/>
              <a:gd name="T25" fmla="*/ 181 h 438"/>
              <a:gd name="T26" fmla="*/ 340 w 446"/>
              <a:gd name="T27" fmla="*/ 212 h 438"/>
              <a:gd name="T28" fmla="*/ 334 w 446"/>
              <a:gd name="T29" fmla="*/ 233 h 438"/>
              <a:gd name="T30" fmla="*/ 353 w 446"/>
              <a:gd name="T31" fmla="*/ 220 h 438"/>
              <a:gd name="T32" fmla="*/ 365 w 446"/>
              <a:gd name="T33" fmla="*/ 239 h 438"/>
              <a:gd name="T34" fmla="*/ 367 w 446"/>
              <a:gd name="T35" fmla="*/ 262 h 438"/>
              <a:gd name="T36" fmla="*/ 357 w 446"/>
              <a:gd name="T37" fmla="*/ 278 h 438"/>
              <a:gd name="T38" fmla="*/ 366 w 446"/>
              <a:gd name="T39" fmla="*/ 292 h 438"/>
              <a:gd name="T40" fmla="*/ 363 w 446"/>
              <a:gd name="T41" fmla="*/ 313 h 438"/>
              <a:gd name="T42" fmla="*/ 385 w 446"/>
              <a:gd name="T43" fmla="*/ 329 h 438"/>
              <a:gd name="T44" fmla="*/ 378 w 446"/>
              <a:gd name="T45" fmla="*/ 339 h 438"/>
              <a:gd name="T46" fmla="*/ 339 w 446"/>
              <a:gd name="T47" fmla="*/ 368 h 438"/>
              <a:gd name="T48" fmla="*/ 306 w 446"/>
              <a:gd name="T49" fmla="*/ 352 h 438"/>
              <a:gd name="T50" fmla="*/ 286 w 446"/>
              <a:gd name="T51" fmla="*/ 352 h 438"/>
              <a:gd name="T52" fmla="*/ 250 w 446"/>
              <a:gd name="T53" fmla="*/ 362 h 438"/>
              <a:gd name="T54" fmla="*/ 238 w 446"/>
              <a:gd name="T55" fmla="*/ 394 h 438"/>
              <a:gd name="T56" fmla="*/ 214 w 446"/>
              <a:gd name="T57" fmla="*/ 397 h 438"/>
              <a:gd name="T58" fmla="*/ 201 w 446"/>
              <a:gd name="T59" fmla="*/ 387 h 438"/>
              <a:gd name="T60" fmla="*/ 172 w 446"/>
              <a:gd name="T61" fmla="*/ 378 h 438"/>
              <a:gd name="T62" fmla="*/ 154 w 446"/>
              <a:gd name="T63" fmla="*/ 383 h 438"/>
              <a:gd name="T64" fmla="*/ 131 w 446"/>
              <a:gd name="T65" fmla="*/ 379 h 438"/>
              <a:gd name="T66" fmla="*/ 107 w 446"/>
              <a:gd name="T67" fmla="*/ 367 h 438"/>
              <a:gd name="T68" fmla="*/ 104 w 446"/>
              <a:gd name="T69" fmla="*/ 360 h 438"/>
              <a:gd name="T70" fmla="*/ 106 w 446"/>
              <a:gd name="T71" fmla="*/ 327 h 438"/>
              <a:gd name="T72" fmla="*/ 114 w 446"/>
              <a:gd name="T73" fmla="*/ 261 h 438"/>
              <a:gd name="T74" fmla="*/ 123 w 446"/>
              <a:gd name="T75" fmla="*/ 264 h 438"/>
              <a:gd name="T76" fmla="*/ 113 w 446"/>
              <a:gd name="T77" fmla="*/ 231 h 438"/>
              <a:gd name="T78" fmla="*/ 83 w 446"/>
              <a:gd name="T79" fmla="*/ 198 h 438"/>
              <a:gd name="T80" fmla="*/ 94 w 446"/>
              <a:gd name="T81" fmla="*/ 185 h 438"/>
              <a:gd name="T82" fmla="*/ 65 w 446"/>
              <a:gd name="T83" fmla="*/ 171 h 438"/>
              <a:gd name="T84" fmla="*/ 46 w 446"/>
              <a:gd name="T85" fmla="*/ 163 h 438"/>
              <a:gd name="T86" fmla="*/ 10 w 446"/>
              <a:gd name="T87" fmla="*/ 150 h 438"/>
              <a:gd name="T88" fmla="*/ 7 w 446"/>
              <a:gd name="T89" fmla="*/ 134 h 438"/>
              <a:gd name="T90" fmla="*/ 0 w 446"/>
              <a:gd name="T91" fmla="*/ 130 h 438"/>
              <a:gd name="T92" fmla="*/ 54 w 446"/>
              <a:gd name="T93" fmla="*/ 112 h 438"/>
              <a:gd name="T94" fmla="*/ 103 w 446"/>
              <a:gd name="T95" fmla="*/ 119 h 438"/>
              <a:gd name="T96" fmla="*/ 95 w 446"/>
              <a:gd name="T97" fmla="*/ 69 h 438"/>
              <a:gd name="T98" fmla="*/ 132 w 446"/>
              <a:gd name="T99" fmla="*/ 85 h 438"/>
              <a:gd name="T100" fmla="*/ 154 w 446"/>
              <a:gd name="T101" fmla="*/ 68 h 438"/>
              <a:gd name="T102" fmla="*/ 198 w 446"/>
              <a:gd name="T103" fmla="*/ 14 h 438"/>
              <a:gd name="T104" fmla="*/ 229 w 446"/>
              <a:gd name="T105" fmla="*/ 11 h 438"/>
              <a:gd name="T106" fmla="*/ 105 w 446"/>
              <a:gd name="T107" fmla="*/ 238 h 438"/>
              <a:gd name="T108" fmla="*/ 446 w 446"/>
              <a:gd name="T109" fmla="*/ 406 h 438"/>
              <a:gd name="T110" fmla="*/ 425 w 446"/>
              <a:gd name="T111" fmla="*/ 433 h 438"/>
              <a:gd name="T112" fmla="*/ 419 w 446"/>
              <a:gd name="T113" fmla="*/ 416 h 438"/>
              <a:gd name="T114" fmla="*/ 419 w 446"/>
              <a:gd name="T115" fmla="*/ 401 h 438"/>
              <a:gd name="T116" fmla="*/ 432 w 446"/>
              <a:gd name="T117" fmla="*/ 383 h 438"/>
              <a:gd name="T118" fmla="*/ 442 w 446"/>
              <a:gd name="T119" fmla="*/ 370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46" h="438">
                <a:moveTo>
                  <a:pt x="237" y="19"/>
                </a:moveTo>
                <a:lnTo>
                  <a:pt x="237" y="19"/>
                </a:lnTo>
                <a:lnTo>
                  <a:pt x="239" y="18"/>
                </a:lnTo>
                <a:lnTo>
                  <a:pt x="242" y="16"/>
                </a:lnTo>
                <a:lnTo>
                  <a:pt x="245" y="16"/>
                </a:lnTo>
                <a:lnTo>
                  <a:pt x="247" y="17"/>
                </a:lnTo>
                <a:lnTo>
                  <a:pt x="247" y="18"/>
                </a:lnTo>
                <a:lnTo>
                  <a:pt x="249" y="22"/>
                </a:lnTo>
                <a:lnTo>
                  <a:pt x="249" y="25"/>
                </a:lnTo>
                <a:lnTo>
                  <a:pt x="250" y="28"/>
                </a:lnTo>
                <a:lnTo>
                  <a:pt x="252" y="29"/>
                </a:lnTo>
                <a:lnTo>
                  <a:pt x="257" y="30"/>
                </a:lnTo>
                <a:lnTo>
                  <a:pt x="260" y="31"/>
                </a:lnTo>
                <a:lnTo>
                  <a:pt x="261" y="32"/>
                </a:lnTo>
                <a:lnTo>
                  <a:pt x="262" y="38"/>
                </a:lnTo>
                <a:lnTo>
                  <a:pt x="263" y="39"/>
                </a:lnTo>
                <a:lnTo>
                  <a:pt x="264" y="38"/>
                </a:lnTo>
                <a:lnTo>
                  <a:pt x="265" y="37"/>
                </a:lnTo>
                <a:lnTo>
                  <a:pt x="266" y="37"/>
                </a:lnTo>
                <a:lnTo>
                  <a:pt x="268" y="37"/>
                </a:lnTo>
                <a:lnTo>
                  <a:pt x="271" y="38"/>
                </a:lnTo>
                <a:lnTo>
                  <a:pt x="274" y="38"/>
                </a:lnTo>
                <a:lnTo>
                  <a:pt x="278" y="42"/>
                </a:lnTo>
                <a:lnTo>
                  <a:pt x="278" y="43"/>
                </a:lnTo>
                <a:lnTo>
                  <a:pt x="277" y="45"/>
                </a:lnTo>
                <a:lnTo>
                  <a:pt x="277" y="47"/>
                </a:lnTo>
                <a:lnTo>
                  <a:pt x="278" y="48"/>
                </a:lnTo>
                <a:lnTo>
                  <a:pt x="279" y="49"/>
                </a:lnTo>
                <a:lnTo>
                  <a:pt x="279" y="51"/>
                </a:lnTo>
                <a:lnTo>
                  <a:pt x="278" y="53"/>
                </a:lnTo>
                <a:lnTo>
                  <a:pt x="277" y="54"/>
                </a:lnTo>
                <a:lnTo>
                  <a:pt x="277" y="55"/>
                </a:lnTo>
                <a:lnTo>
                  <a:pt x="278" y="55"/>
                </a:lnTo>
                <a:lnTo>
                  <a:pt x="278" y="56"/>
                </a:lnTo>
                <a:lnTo>
                  <a:pt x="284" y="57"/>
                </a:lnTo>
                <a:lnTo>
                  <a:pt x="290" y="56"/>
                </a:lnTo>
                <a:lnTo>
                  <a:pt x="293" y="54"/>
                </a:lnTo>
                <a:lnTo>
                  <a:pt x="294" y="52"/>
                </a:lnTo>
                <a:lnTo>
                  <a:pt x="295" y="49"/>
                </a:lnTo>
                <a:lnTo>
                  <a:pt x="297" y="47"/>
                </a:lnTo>
                <a:lnTo>
                  <a:pt x="298" y="46"/>
                </a:lnTo>
                <a:lnTo>
                  <a:pt x="300" y="47"/>
                </a:lnTo>
                <a:lnTo>
                  <a:pt x="298" y="56"/>
                </a:lnTo>
                <a:lnTo>
                  <a:pt x="299" y="58"/>
                </a:lnTo>
                <a:lnTo>
                  <a:pt x="299" y="61"/>
                </a:lnTo>
                <a:lnTo>
                  <a:pt x="300" y="64"/>
                </a:lnTo>
                <a:lnTo>
                  <a:pt x="302" y="64"/>
                </a:lnTo>
                <a:lnTo>
                  <a:pt x="304" y="65"/>
                </a:lnTo>
                <a:lnTo>
                  <a:pt x="306" y="66"/>
                </a:lnTo>
                <a:lnTo>
                  <a:pt x="308" y="67"/>
                </a:lnTo>
                <a:lnTo>
                  <a:pt x="311" y="69"/>
                </a:lnTo>
                <a:lnTo>
                  <a:pt x="313" y="69"/>
                </a:lnTo>
                <a:lnTo>
                  <a:pt x="313" y="71"/>
                </a:lnTo>
                <a:lnTo>
                  <a:pt x="315" y="72"/>
                </a:lnTo>
                <a:lnTo>
                  <a:pt x="318" y="75"/>
                </a:lnTo>
                <a:lnTo>
                  <a:pt x="320" y="77"/>
                </a:lnTo>
                <a:lnTo>
                  <a:pt x="321" y="77"/>
                </a:lnTo>
                <a:lnTo>
                  <a:pt x="323" y="77"/>
                </a:lnTo>
                <a:lnTo>
                  <a:pt x="326" y="76"/>
                </a:lnTo>
                <a:lnTo>
                  <a:pt x="329" y="76"/>
                </a:lnTo>
                <a:lnTo>
                  <a:pt x="330" y="78"/>
                </a:lnTo>
                <a:lnTo>
                  <a:pt x="332" y="78"/>
                </a:lnTo>
                <a:lnTo>
                  <a:pt x="333" y="79"/>
                </a:lnTo>
                <a:lnTo>
                  <a:pt x="334" y="80"/>
                </a:lnTo>
                <a:lnTo>
                  <a:pt x="336" y="81"/>
                </a:lnTo>
                <a:lnTo>
                  <a:pt x="338" y="80"/>
                </a:lnTo>
                <a:lnTo>
                  <a:pt x="339" y="79"/>
                </a:lnTo>
                <a:lnTo>
                  <a:pt x="341" y="78"/>
                </a:lnTo>
                <a:lnTo>
                  <a:pt x="343" y="78"/>
                </a:lnTo>
                <a:lnTo>
                  <a:pt x="344" y="79"/>
                </a:lnTo>
                <a:lnTo>
                  <a:pt x="346" y="80"/>
                </a:lnTo>
                <a:lnTo>
                  <a:pt x="347" y="80"/>
                </a:lnTo>
                <a:lnTo>
                  <a:pt x="350" y="81"/>
                </a:lnTo>
                <a:lnTo>
                  <a:pt x="352" y="83"/>
                </a:lnTo>
                <a:lnTo>
                  <a:pt x="353" y="85"/>
                </a:lnTo>
                <a:lnTo>
                  <a:pt x="353" y="87"/>
                </a:lnTo>
                <a:lnTo>
                  <a:pt x="354" y="88"/>
                </a:lnTo>
                <a:lnTo>
                  <a:pt x="358" y="94"/>
                </a:lnTo>
                <a:lnTo>
                  <a:pt x="359" y="94"/>
                </a:lnTo>
                <a:lnTo>
                  <a:pt x="361" y="94"/>
                </a:lnTo>
                <a:lnTo>
                  <a:pt x="362" y="92"/>
                </a:lnTo>
                <a:lnTo>
                  <a:pt x="363" y="92"/>
                </a:lnTo>
                <a:lnTo>
                  <a:pt x="365" y="93"/>
                </a:lnTo>
                <a:lnTo>
                  <a:pt x="366" y="93"/>
                </a:lnTo>
                <a:lnTo>
                  <a:pt x="367" y="96"/>
                </a:lnTo>
                <a:lnTo>
                  <a:pt x="368" y="96"/>
                </a:lnTo>
                <a:lnTo>
                  <a:pt x="368" y="96"/>
                </a:lnTo>
                <a:lnTo>
                  <a:pt x="370" y="96"/>
                </a:lnTo>
                <a:lnTo>
                  <a:pt x="373" y="96"/>
                </a:lnTo>
                <a:lnTo>
                  <a:pt x="376" y="96"/>
                </a:lnTo>
                <a:lnTo>
                  <a:pt x="379" y="94"/>
                </a:lnTo>
                <a:lnTo>
                  <a:pt x="380" y="95"/>
                </a:lnTo>
                <a:lnTo>
                  <a:pt x="383" y="98"/>
                </a:lnTo>
                <a:lnTo>
                  <a:pt x="385" y="99"/>
                </a:lnTo>
                <a:lnTo>
                  <a:pt x="391" y="100"/>
                </a:lnTo>
                <a:lnTo>
                  <a:pt x="398" y="101"/>
                </a:lnTo>
                <a:lnTo>
                  <a:pt x="400" y="102"/>
                </a:lnTo>
                <a:lnTo>
                  <a:pt x="402" y="103"/>
                </a:lnTo>
                <a:lnTo>
                  <a:pt x="402" y="107"/>
                </a:lnTo>
                <a:lnTo>
                  <a:pt x="401" y="108"/>
                </a:lnTo>
                <a:lnTo>
                  <a:pt x="395" y="116"/>
                </a:lnTo>
                <a:lnTo>
                  <a:pt x="393" y="119"/>
                </a:lnTo>
                <a:lnTo>
                  <a:pt x="391" y="123"/>
                </a:lnTo>
                <a:lnTo>
                  <a:pt x="390" y="130"/>
                </a:lnTo>
                <a:lnTo>
                  <a:pt x="388" y="136"/>
                </a:lnTo>
                <a:lnTo>
                  <a:pt x="386" y="141"/>
                </a:lnTo>
                <a:lnTo>
                  <a:pt x="385" y="146"/>
                </a:lnTo>
                <a:lnTo>
                  <a:pt x="385" y="149"/>
                </a:lnTo>
                <a:lnTo>
                  <a:pt x="385" y="153"/>
                </a:lnTo>
                <a:lnTo>
                  <a:pt x="383" y="159"/>
                </a:lnTo>
                <a:lnTo>
                  <a:pt x="383" y="164"/>
                </a:lnTo>
                <a:lnTo>
                  <a:pt x="384" y="167"/>
                </a:lnTo>
                <a:lnTo>
                  <a:pt x="386" y="168"/>
                </a:lnTo>
                <a:lnTo>
                  <a:pt x="382" y="170"/>
                </a:lnTo>
                <a:lnTo>
                  <a:pt x="381" y="171"/>
                </a:lnTo>
                <a:lnTo>
                  <a:pt x="380" y="174"/>
                </a:lnTo>
                <a:lnTo>
                  <a:pt x="377" y="175"/>
                </a:lnTo>
                <a:lnTo>
                  <a:pt x="375" y="175"/>
                </a:lnTo>
                <a:lnTo>
                  <a:pt x="373" y="175"/>
                </a:lnTo>
                <a:lnTo>
                  <a:pt x="372" y="174"/>
                </a:lnTo>
                <a:lnTo>
                  <a:pt x="372" y="173"/>
                </a:lnTo>
                <a:lnTo>
                  <a:pt x="371" y="172"/>
                </a:lnTo>
                <a:lnTo>
                  <a:pt x="368" y="172"/>
                </a:lnTo>
                <a:lnTo>
                  <a:pt x="365" y="174"/>
                </a:lnTo>
                <a:lnTo>
                  <a:pt x="363" y="177"/>
                </a:lnTo>
                <a:lnTo>
                  <a:pt x="364" y="178"/>
                </a:lnTo>
                <a:lnTo>
                  <a:pt x="366" y="179"/>
                </a:lnTo>
                <a:lnTo>
                  <a:pt x="366" y="179"/>
                </a:lnTo>
                <a:lnTo>
                  <a:pt x="366" y="180"/>
                </a:lnTo>
                <a:lnTo>
                  <a:pt x="366" y="181"/>
                </a:lnTo>
                <a:lnTo>
                  <a:pt x="365" y="182"/>
                </a:lnTo>
                <a:lnTo>
                  <a:pt x="357" y="192"/>
                </a:lnTo>
                <a:lnTo>
                  <a:pt x="356" y="193"/>
                </a:lnTo>
                <a:lnTo>
                  <a:pt x="355" y="195"/>
                </a:lnTo>
                <a:lnTo>
                  <a:pt x="349" y="197"/>
                </a:lnTo>
                <a:lnTo>
                  <a:pt x="349" y="198"/>
                </a:lnTo>
                <a:lnTo>
                  <a:pt x="349" y="202"/>
                </a:lnTo>
                <a:lnTo>
                  <a:pt x="348" y="206"/>
                </a:lnTo>
                <a:lnTo>
                  <a:pt x="344" y="209"/>
                </a:lnTo>
                <a:lnTo>
                  <a:pt x="340" y="212"/>
                </a:lnTo>
                <a:lnTo>
                  <a:pt x="339" y="214"/>
                </a:lnTo>
                <a:lnTo>
                  <a:pt x="339" y="217"/>
                </a:lnTo>
                <a:lnTo>
                  <a:pt x="337" y="219"/>
                </a:lnTo>
                <a:lnTo>
                  <a:pt x="337" y="221"/>
                </a:lnTo>
                <a:lnTo>
                  <a:pt x="339" y="223"/>
                </a:lnTo>
                <a:lnTo>
                  <a:pt x="339" y="225"/>
                </a:lnTo>
                <a:lnTo>
                  <a:pt x="338" y="227"/>
                </a:lnTo>
                <a:lnTo>
                  <a:pt x="336" y="229"/>
                </a:lnTo>
                <a:lnTo>
                  <a:pt x="334" y="230"/>
                </a:lnTo>
                <a:lnTo>
                  <a:pt x="334" y="233"/>
                </a:lnTo>
                <a:lnTo>
                  <a:pt x="335" y="233"/>
                </a:lnTo>
                <a:lnTo>
                  <a:pt x="338" y="233"/>
                </a:lnTo>
                <a:lnTo>
                  <a:pt x="342" y="231"/>
                </a:lnTo>
                <a:lnTo>
                  <a:pt x="344" y="229"/>
                </a:lnTo>
                <a:lnTo>
                  <a:pt x="342" y="226"/>
                </a:lnTo>
                <a:lnTo>
                  <a:pt x="342" y="226"/>
                </a:lnTo>
                <a:lnTo>
                  <a:pt x="343" y="225"/>
                </a:lnTo>
                <a:lnTo>
                  <a:pt x="345" y="222"/>
                </a:lnTo>
                <a:lnTo>
                  <a:pt x="349" y="221"/>
                </a:lnTo>
                <a:lnTo>
                  <a:pt x="353" y="220"/>
                </a:lnTo>
                <a:lnTo>
                  <a:pt x="359" y="221"/>
                </a:lnTo>
                <a:lnTo>
                  <a:pt x="359" y="222"/>
                </a:lnTo>
                <a:lnTo>
                  <a:pt x="359" y="223"/>
                </a:lnTo>
                <a:lnTo>
                  <a:pt x="360" y="226"/>
                </a:lnTo>
                <a:lnTo>
                  <a:pt x="361" y="228"/>
                </a:lnTo>
                <a:lnTo>
                  <a:pt x="359" y="232"/>
                </a:lnTo>
                <a:lnTo>
                  <a:pt x="360" y="234"/>
                </a:lnTo>
                <a:lnTo>
                  <a:pt x="362" y="236"/>
                </a:lnTo>
                <a:lnTo>
                  <a:pt x="363" y="238"/>
                </a:lnTo>
                <a:lnTo>
                  <a:pt x="365" y="239"/>
                </a:lnTo>
                <a:lnTo>
                  <a:pt x="367" y="242"/>
                </a:lnTo>
                <a:lnTo>
                  <a:pt x="367" y="243"/>
                </a:lnTo>
                <a:lnTo>
                  <a:pt x="365" y="246"/>
                </a:lnTo>
                <a:lnTo>
                  <a:pt x="360" y="248"/>
                </a:lnTo>
                <a:lnTo>
                  <a:pt x="360" y="250"/>
                </a:lnTo>
                <a:lnTo>
                  <a:pt x="360" y="251"/>
                </a:lnTo>
                <a:lnTo>
                  <a:pt x="360" y="253"/>
                </a:lnTo>
                <a:lnTo>
                  <a:pt x="363" y="255"/>
                </a:lnTo>
                <a:lnTo>
                  <a:pt x="365" y="259"/>
                </a:lnTo>
                <a:lnTo>
                  <a:pt x="367" y="262"/>
                </a:lnTo>
                <a:lnTo>
                  <a:pt x="370" y="265"/>
                </a:lnTo>
                <a:lnTo>
                  <a:pt x="371" y="267"/>
                </a:lnTo>
                <a:lnTo>
                  <a:pt x="371" y="267"/>
                </a:lnTo>
                <a:lnTo>
                  <a:pt x="370" y="269"/>
                </a:lnTo>
                <a:lnTo>
                  <a:pt x="369" y="274"/>
                </a:lnTo>
                <a:lnTo>
                  <a:pt x="367" y="274"/>
                </a:lnTo>
                <a:lnTo>
                  <a:pt x="366" y="275"/>
                </a:lnTo>
                <a:lnTo>
                  <a:pt x="362" y="278"/>
                </a:lnTo>
                <a:lnTo>
                  <a:pt x="360" y="278"/>
                </a:lnTo>
                <a:lnTo>
                  <a:pt x="357" y="278"/>
                </a:lnTo>
                <a:lnTo>
                  <a:pt x="355" y="279"/>
                </a:lnTo>
                <a:lnTo>
                  <a:pt x="355" y="281"/>
                </a:lnTo>
                <a:lnTo>
                  <a:pt x="357" y="283"/>
                </a:lnTo>
                <a:lnTo>
                  <a:pt x="358" y="285"/>
                </a:lnTo>
                <a:lnTo>
                  <a:pt x="358" y="288"/>
                </a:lnTo>
                <a:lnTo>
                  <a:pt x="360" y="289"/>
                </a:lnTo>
                <a:lnTo>
                  <a:pt x="363" y="290"/>
                </a:lnTo>
                <a:lnTo>
                  <a:pt x="365" y="290"/>
                </a:lnTo>
                <a:lnTo>
                  <a:pt x="366" y="291"/>
                </a:lnTo>
                <a:lnTo>
                  <a:pt x="366" y="292"/>
                </a:lnTo>
                <a:lnTo>
                  <a:pt x="367" y="297"/>
                </a:lnTo>
                <a:lnTo>
                  <a:pt x="367" y="298"/>
                </a:lnTo>
                <a:lnTo>
                  <a:pt x="365" y="298"/>
                </a:lnTo>
                <a:lnTo>
                  <a:pt x="364" y="300"/>
                </a:lnTo>
                <a:lnTo>
                  <a:pt x="363" y="303"/>
                </a:lnTo>
                <a:lnTo>
                  <a:pt x="362" y="306"/>
                </a:lnTo>
                <a:lnTo>
                  <a:pt x="363" y="308"/>
                </a:lnTo>
                <a:lnTo>
                  <a:pt x="363" y="309"/>
                </a:lnTo>
                <a:lnTo>
                  <a:pt x="363" y="311"/>
                </a:lnTo>
                <a:lnTo>
                  <a:pt x="363" y="313"/>
                </a:lnTo>
                <a:lnTo>
                  <a:pt x="365" y="316"/>
                </a:lnTo>
                <a:lnTo>
                  <a:pt x="371" y="319"/>
                </a:lnTo>
                <a:lnTo>
                  <a:pt x="376" y="322"/>
                </a:lnTo>
                <a:lnTo>
                  <a:pt x="378" y="322"/>
                </a:lnTo>
                <a:lnTo>
                  <a:pt x="385" y="320"/>
                </a:lnTo>
                <a:lnTo>
                  <a:pt x="386" y="321"/>
                </a:lnTo>
                <a:lnTo>
                  <a:pt x="387" y="323"/>
                </a:lnTo>
                <a:lnTo>
                  <a:pt x="388" y="324"/>
                </a:lnTo>
                <a:lnTo>
                  <a:pt x="387" y="326"/>
                </a:lnTo>
                <a:lnTo>
                  <a:pt x="385" y="329"/>
                </a:lnTo>
                <a:lnTo>
                  <a:pt x="383" y="332"/>
                </a:lnTo>
                <a:lnTo>
                  <a:pt x="381" y="334"/>
                </a:lnTo>
                <a:lnTo>
                  <a:pt x="382" y="335"/>
                </a:lnTo>
                <a:lnTo>
                  <a:pt x="382" y="338"/>
                </a:lnTo>
                <a:lnTo>
                  <a:pt x="380" y="339"/>
                </a:lnTo>
                <a:lnTo>
                  <a:pt x="380" y="338"/>
                </a:lnTo>
                <a:lnTo>
                  <a:pt x="379" y="338"/>
                </a:lnTo>
                <a:lnTo>
                  <a:pt x="379" y="338"/>
                </a:lnTo>
                <a:lnTo>
                  <a:pt x="378" y="338"/>
                </a:lnTo>
                <a:lnTo>
                  <a:pt x="378" y="339"/>
                </a:lnTo>
                <a:lnTo>
                  <a:pt x="375" y="341"/>
                </a:lnTo>
                <a:lnTo>
                  <a:pt x="372" y="342"/>
                </a:lnTo>
                <a:lnTo>
                  <a:pt x="362" y="352"/>
                </a:lnTo>
                <a:lnTo>
                  <a:pt x="358" y="355"/>
                </a:lnTo>
                <a:lnTo>
                  <a:pt x="357" y="356"/>
                </a:lnTo>
                <a:lnTo>
                  <a:pt x="356" y="359"/>
                </a:lnTo>
                <a:lnTo>
                  <a:pt x="353" y="362"/>
                </a:lnTo>
                <a:lnTo>
                  <a:pt x="351" y="363"/>
                </a:lnTo>
                <a:lnTo>
                  <a:pt x="345" y="365"/>
                </a:lnTo>
                <a:lnTo>
                  <a:pt x="339" y="368"/>
                </a:lnTo>
                <a:lnTo>
                  <a:pt x="336" y="366"/>
                </a:lnTo>
                <a:lnTo>
                  <a:pt x="329" y="366"/>
                </a:lnTo>
                <a:lnTo>
                  <a:pt x="325" y="363"/>
                </a:lnTo>
                <a:lnTo>
                  <a:pt x="317" y="361"/>
                </a:lnTo>
                <a:lnTo>
                  <a:pt x="314" y="356"/>
                </a:lnTo>
                <a:lnTo>
                  <a:pt x="310" y="356"/>
                </a:lnTo>
                <a:lnTo>
                  <a:pt x="308" y="356"/>
                </a:lnTo>
                <a:lnTo>
                  <a:pt x="306" y="355"/>
                </a:lnTo>
                <a:lnTo>
                  <a:pt x="306" y="353"/>
                </a:lnTo>
                <a:lnTo>
                  <a:pt x="306" y="352"/>
                </a:lnTo>
                <a:lnTo>
                  <a:pt x="303" y="352"/>
                </a:lnTo>
                <a:lnTo>
                  <a:pt x="301" y="352"/>
                </a:lnTo>
                <a:lnTo>
                  <a:pt x="300" y="353"/>
                </a:lnTo>
                <a:lnTo>
                  <a:pt x="299" y="354"/>
                </a:lnTo>
                <a:lnTo>
                  <a:pt x="298" y="353"/>
                </a:lnTo>
                <a:lnTo>
                  <a:pt x="297" y="354"/>
                </a:lnTo>
                <a:lnTo>
                  <a:pt x="297" y="354"/>
                </a:lnTo>
                <a:lnTo>
                  <a:pt x="295" y="355"/>
                </a:lnTo>
                <a:lnTo>
                  <a:pt x="292" y="354"/>
                </a:lnTo>
                <a:lnTo>
                  <a:pt x="286" y="352"/>
                </a:lnTo>
                <a:lnTo>
                  <a:pt x="285" y="351"/>
                </a:lnTo>
                <a:lnTo>
                  <a:pt x="280" y="350"/>
                </a:lnTo>
                <a:lnTo>
                  <a:pt x="278" y="349"/>
                </a:lnTo>
                <a:lnTo>
                  <a:pt x="276" y="347"/>
                </a:lnTo>
                <a:lnTo>
                  <a:pt x="275" y="346"/>
                </a:lnTo>
                <a:lnTo>
                  <a:pt x="275" y="345"/>
                </a:lnTo>
                <a:lnTo>
                  <a:pt x="270" y="347"/>
                </a:lnTo>
                <a:lnTo>
                  <a:pt x="269" y="349"/>
                </a:lnTo>
                <a:lnTo>
                  <a:pt x="266" y="351"/>
                </a:lnTo>
                <a:lnTo>
                  <a:pt x="250" y="362"/>
                </a:lnTo>
                <a:lnTo>
                  <a:pt x="247" y="367"/>
                </a:lnTo>
                <a:lnTo>
                  <a:pt x="243" y="374"/>
                </a:lnTo>
                <a:lnTo>
                  <a:pt x="243" y="378"/>
                </a:lnTo>
                <a:lnTo>
                  <a:pt x="244" y="388"/>
                </a:lnTo>
                <a:lnTo>
                  <a:pt x="248" y="393"/>
                </a:lnTo>
                <a:lnTo>
                  <a:pt x="248" y="395"/>
                </a:lnTo>
                <a:lnTo>
                  <a:pt x="246" y="395"/>
                </a:lnTo>
                <a:lnTo>
                  <a:pt x="243" y="394"/>
                </a:lnTo>
                <a:lnTo>
                  <a:pt x="241" y="393"/>
                </a:lnTo>
                <a:lnTo>
                  <a:pt x="238" y="394"/>
                </a:lnTo>
                <a:lnTo>
                  <a:pt x="236" y="395"/>
                </a:lnTo>
                <a:lnTo>
                  <a:pt x="234" y="395"/>
                </a:lnTo>
                <a:lnTo>
                  <a:pt x="232" y="396"/>
                </a:lnTo>
                <a:lnTo>
                  <a:pt x="231" y="396"/>
                </a:lnTo>
                <a:lnTo>
                  <a:pt x="231" y="398"/>
                </a:lnTo>
                <a:lnTo>
                  <a:pt x="231" y="399"/>
                </a:lnTo>
                <a:lnTo>
                  <a:pt x="228" y="398"/>
                </a:lnTo>
                <a:lnTo>
                  <a:pt x="222" y="396"/>
                </a:lnTo>
                <a:lnTo>
                  <a:pt x="217" y="395"/>
                </a:lnTo>
                <a:lnTo>
                  <a:pt x="214" y="397"/>
                </a:lnTo>
                <a:lnTo>
                  <a:pt x="212" y="398"/>
                </a:lnTo>
                <a:lnTo>
                  <a:pt x="210" y="398"/>
                </a:lnTo>
                <a:lnTo>
                  <a:pt x="209" y="396"/>
                </a:lnTo>
                <a:lnTo>
                  <a:pt x="208" y="395"/>
                </a:lnTo>
                <a:lnTo>
                  <a:pt x="206" y="394"/>
                </a:lnTo>
                <a:lnTo>
                  <a:pt x="201" y="392"/>
                </a:lnTo>
                <a:lnTo>
                  <a:pt x="202" y="391"/>
                </a:lnTo>
                <a:lnTo>
                  <a:pt x="202" y="389"/>
                </a:lnTo>
                <a:lnTo>
                  <a:pt x="202" y="389"/>
                </a:lnTo>
                <a:lnTo>
                  <a:pt x="201" y="387"/>
                </a:lnTo>
                <a:lnTo>
                  <a:pt x="197" y="386"/>
                </a:lnTo>
                <a:lnTo>
                  <a:pt x="195" y="386"/>
                </a:lnTo>
                <a:lnTo>
                  <a:pt x="194" y="387"/>
                </a:lnTo>
                <a:lnTo>
                  <a:pt x="193" y="388"/>
                </a:lnTo>
                <a:lnTo>
                  <a:pt x="190" y="384"/>
                </a:lnTo>
                <a:lnTo>
                  <a:pt x="188" y="383"/>
                </a:lnTo>
                <a:lnTo>
                  <a:pt x="186" y="383"/>
                </a:lnTo>
                <a:lnTo>
                  <a:pt x="183" y="382"/>
                </a:lnTo>
                <a:lnTo>
                  <a:pt x="180" y="380"/>
                </a:lnTo>
                <a:lnTo>
                  <a:pt x="172" y="378"/>
                </a:lnTo>
                <a:lnTo>
                  <a:pt x="170" y="377"/>
                </a:lnTo>
                <a:lnTo>
                  <a:pt x="169" y="378"/>
                </a:lnTo>
                <a:lnTo>
                  <a:pt x="168" y="379"/>
                </a:lnTo>
                <a:lnTo>
                  <a:pt x="168" y="383"/>
                </a:lnTo>
                <a:lnTo>
                  <a:pt x="168" y="384"/>
                </a:lnTo>
                <a:lnTo>
                  <a:pt x="164" y="384"/>
                </a:lnTo>
                <a:lnTo>
                  <a:pt x="160" y="383"/>
                </a:lnTo>
                <a:lnTo>
                  <a:pt x="158" y="384"/>
                </a:lnTo>
                <a:lnTo>
                  <a:pt x="156" y="384"/>
                </a:lnTo>
                <a:lnTo>
                  <a:pt x="154" y="383"/>
                </a:lnTo>
                <a:lnTo>
                  <a:pt x="147" y="384"/>
                </a:lnTo>
                <a:lnTo>
                  <a:pt x="146" y="383"/>
                </a:lnTo>
                <a:lnTo>
                  <a:pt x="144" y="381"/>
                </a:lnTo>
                <a:lnTo>
                  <a:pt x="142" y="380"/>
                </a:lnTo>
                <a:lnTo>
                  <a:pt x="140" y="379"/>
                </a:lnTo>
                <a:lnTo>
                  <a:pt x="139" y="378"/>
                </a:lnTo>
                <a:lnTo>
                  <a:pt x="138" y="378"/>
                </a:lnTo>
                <a:lnTo>
                  <a:pt x="136" y="379"/>
                </a:lnTo>
                <a:lnTo>
                  <a:pt x="133" y="379"/>
                </a:lnTo>
                <a:lnTo>
                  <a:pt x="131" y="379"/>
                </a:lnTo>
                <a:lnTo>
                  <a:pt x="130" y="379"/>
                </a:lnTo>
                <a:lnTo>
                  <a:pt x="125" y="374"/>
                </a:lnTo>
                <a:lnTo>
                  <a:pt x="124" y="373"/>
                </a:lnTo>
                <a:lnTo>
                  <a:pt x="122" y="373"/>
                </a:lnTo>
                <a:lnTo>
                  <a:pt x="119" y="373"/>
                </a:lnTo>
                <a:lnTo>
                  <a:pt x="111" y="370"/>
                </a:lnTo>
                <a:lnTo>
                  <a:pt x="108" y="368"/>
                </a:lnTo>
                <a:lnTo>
                  <a:pt x="108" y="367"/>
                </a:lnTo>
                <a:lnTo>
                  <a:pt x="108" y="366"/>
                </a:lnTo>
                <a:lnTo>
                  <a:pt x="107" y="367"/>
                </a:lnTo>
                <a:lnTo>
                  <a:pt x="106" y="368"/>
                </a:lnTo>
                <a:lnTo>
                  <a:pt x="105" y="369"/>
                </a:lnTo>
                <a:lnTo>
                  <a:pt x="105" y="369"/>
                </a:lnTo>
                <a:lnTo>
                  <a:pt x="104" y="369"/>
                </a:lnTo>
                <a:lnTo>
                  <a:pt x="103" y="368"/>
                </a:lnTo>
                <a:lnTo>
                  <a:pt x="102" y="368"/>
                </a:lnTo>
                <a:lnTo>
                  <a:pt x="103" y="366"/>
                </a:lnTo>
                <a:lnTo>
                  <a:pt x="104" y="364"/>
                </a:lnTo>
                <a:lnTo>
                  <a:pt x="104" y="362"/>
                </a:lnTo>
                <a:lnTo>
                  <a:pt x="104" y="360"/>
                </a:lnTo>
                <a:lnTo>
                  <a:pt x="102" y="359"/>
                </a:lnTo>
                <a:lnTo>
                  <a:pt x="99" y="359"/>
                </a:lnTo>
                <a:lnTo>
                  <a:pt x="97" y="359"/>
                </a:lnTo>
                <a:lnTo>
                  <a:pt x="95" y="358"/>
                </a:lnTo>
                <a:lnTo>
                  <a:pt x="93" y="357"/>
                </a:lnTo>
                <a:lnTo>
                  <a:pt x="92" y="355"/>
                </a:lnTo>
                <a:lnTo>
                  <a:pt x="92" y="353"/>
                </a:lnTo>
                <a:lnTo>
                  <a:pt x="97" y="352"/>
                </a:lnTo>
                <a:lnTo>
                  <a:pt x="102" y="347"/>
                </a:lnTo>
                <a:lnTo>
                  <a:pt x="106" y="327"/>
                </a:lnTo>
                <a:lnTo>
                  <a:pt x="109" y="304"/>
                </a:lnTo>
                <a:lnTo>
                  <a:pt x="112" y="299"/>
                </a:lnTo>
                <a:lnTo>
                  <a:pt x="115" y="298"/>
                </a:lnTo>
                <a:lnTo>
                  <a:pt x="112" y="295"/>
                </a:lnTo>
                <a:lnTo>
                  <a:pt x="111" y="296"/>
                </a:lnTo>
                <a:lnTo>
                  <a:pt x="110" y="298"/>
                </a:lnTo>
                <a:lnTo>
                  <a:pt x="109" y="299"/>
                </a:lnTo>
                <a:lnTo>
                  <a:pt x="111" y="277"/>
                </a:lnTo>
                <a:lnTo>
                  <a:pt x="112" y="269"/>
                </a:lnTo>
                <a:lnTo>
                  <a:pt x="114" y="261"/>
                </a:lnTo>
                <a:lnTo>
                  <a:pt x="119" y="264"/>
                </a:lnTo>
                <a:lnTo>
                  <a:pt x="122" y="268"/>
                </a:lnTo>
                <a:lnTo>
                  <a:pt x="124" y="270"/>
                </a:lnTo>
                <a:lnTo>
                  <a:pt x="127" y="280"/>
                </a:lnTo>
                <a:lnTo>
                  <a:pt x="128" y="282"/>
                </a:lnTo>
                <a:lnTo>
                  <a:pt x="131" y="284"/>
                </a:lnTo>
                <a:lnTo>
                  <a:pt x="130" y="282"/>
                </a:lnTo>
                <a:lnTo>
                  <a:pt x="128" y="280"/>
                </a:lnTo>
                <a:lnTo>
                  <a:pt x="125" y="267"/>
                </a:lnTo>
                <a:lnTo>
                  <a:pt x="123" y="264"/>
                </a:lnTo>
                <a:lnTo>
                  <a:pt x="121" y="261"/>
                </a:lnTo>
                <a:lnTo>
                  <a:pt x="112" y="254"/>
                </a:lnTo>
                <a:lnTo>
                  <a:pt x="111" y="253"/>
                </a:lnTo>
                <a:lnTo>
                  <a:pt x="110" y="250"/>
                </a:lnTo>
                <a:lnTo>
                  <a:pt x="113" y="250"/>
                </a:lnTo>
                <a:lnTo>
                  <a:pt x="116" y="252"/>
                </a:lnTo>
                <a:lnTo>
                  <a:pt x="116" y="250"/>
                </a:lnTo>
                <a:lnTo>
                  <a:pt x="115" y="249"/>
                </a:lnTo>
                <a:lnTo>
                  <a:pt x="114" y="243"/>
                </a:lnTo>
                <a:lnTo>
                  <a:pt x="113" y="231"/>
                </a:lnTo>
                <a:lnTo>
                  <a:pt x="113" y="229"/>
                </a:lnTo>
                <a:lnTo>
                  <a:pt x="112" y="226"/>
                </a:lnTo>
                <a:lnTo>
                  <a:pt x="109" y="225"/>
                </a:lnTo>
                <a:lnTo>
                  <a:pt x="107" y="225"/>
                </a:lnTo>
                <a:lnTo>
                  <a:pt x="105" y="224"/>
                </a:lnTo>
                <a:lnTo>
                  <a:pt x="92" y="217"/>
                </a:lnTo>
                <a:lnTo>
                  <a:pt x="88" y="209"/>
                </a:lnTo>
                <a:lnTo>
                  <a:pt x="84" y="203"/>
                </a:lnTo>
                <a:lnTo>
                  <a:pt x="83" y="201"/>
                </a:lnTo>
                <a:lnTo>
                  <a:pt x="83" y="198"/>
                </a:lnTo>
                <a:lnTo>
                  <a:pt x="85" y="193"/>
                </a:lnTo>
                <a:lnTo>
                  <a:pt x="83" y="190"/>
                </a:lnTo>
                <a:lnTo>
                  <a:pt x="81" y="189"/>
                </a:lnTo>
                <a:lnTo>
                  <a:pt x="80" y="187"/>
                </a:lnTo>
                <a:lnTo>
                  <a:pt x="81" y="185"/>
                </a:lnTo>
                <a:lnTo>
                  <a:pt x="82" y="183"/>
                </a:lnTo>
                <a:lnTo>
                  <a:pt x="85" y="182"/>
                </a:lnTo>
                <a:lnTo>
                  <a:pt x="88" y="183"/>
                </a:lnTo>
                <a:lnTo>
                  <a:pt x="91" y="184"/>
                </a:lnTo>
                <a:lnTo>
                  <a:pt x="94" y="185"/>
                </a:lnTo>
                <a:lnTo>
                  <a:pt x="87" y="181"/>
                </a:lnTo>
                <a:lnTo>
                  <a:pt x="75" y="182"/>
                </a:lnTo>
                <a:lnTo>
                  <a:pt x="72" y="182"/>
                </a:lnTo>
                <a:lnTo>
                  <a:pt x="70" y="181"/>
                </a:lnTo>
                <a:lnTo>
                  <a:pt x="69" y="177"/>
                </a:lnTo>
                <a:lnTo>
                  <a:pt x="71" y="176"/>
                </a:lnTo>
                <a:lnTo>
                  <a:pt x="72" y="173"/>
                </a:lnTo>
                <a:lnTo>
                  <a:pt x="71" y="171"/>
                </a:lnTo>
                <a:lnTo>
                  <a:pt x="69" y="171"/>
                </a:lnTo>
                <a:lnTo>
                  <a:pt x="65" y="171"/>
                </a:lnTo>
                <a:lnTo>
                  <a:pt x="62" y="171"/>
                </a:lnTo>
                <a:lnTo>
                  <a:pt x="61" y="170"/>
                </a:lnTo>
                <a:lnTo>
                  <a:pt x="63" y="167"/>
                </a:lnTo>
                <a:lnTo>
                  <a:pt x="61" y="166"/>
                </a:lnTo>
                <a:lnTo>
                  <a:pt x="59" y="167"/>
                </a:lnTo>
                <a:lnTo>
                  <a:pt x="56" y="167"/>
                </a:lnTo>
                <a:lnTo>
                  <a:pt x="53" y="166"/>
                </a:lnTo>
                <a:lnTo>
                  <a:pt x="50" y="163"/>
                </a:lnTo>
                <a:lnTo>
                  <a:pt x="48" y="163"/>
                </a:lnTo>
                <a:lnTo>
                  <a:pt x="46" y="163"/>
                </a:lnTo>
                <a:lnTo>
                  <a:pt x="44" y="162"/>
                </a:lnTo>
                <a:lnTo>
                  <a:pt x="42" y="162"/>
                </a:lnTo>
                <a:lnTo>
                  <a:pt x="41" y="162"/>
                </a:lnTo>
                <a:lnTo>
                  <a:pt x="39" y="160"/>
                </a:lnTo>
                <a:lnTo>
                  <a:pt x="26" y="156"/>
                </a:lnTo>
                <a:lnTo>
                  <a:pt x="21" y="156"/>
                </a:lnTo>
                <a:lnTo>
                  <a:pt x="16" y="158"/>
                </a:lnTo>
                <a:lnTo>
                  <a:pt x="14" y="157"/>
                </a:lnTo>
                <a:lnTo>
                  <a:pt x="12" y="154"/>
                </a:lnTo>
                <a:lnTo>
                  <a:pt x="10" y="150"/>
                </a:lnTo>
                <a:lnTo>
                  <a:pt x="2" y="147"/>
                </a:lnTo>
                <a:lnTo>
                  <a:pt x="4" y="145"/>
                </a:lnTo>
                <a:lnTo>
                  <a:pt x="7" y="144"/>
                </a:lnTo>
                <a:lnTo>
                  <a:pt x="12" y="143"/>
                </a:lnTo>
                <a:lnTo>
                  <a:pt x="13" y="141"/>
                </a:lnTo>
                <a:lnTo>
                  <a:pt x="10" y="139"/>
                </a:lnTo>
                <a:lnTo>
                  <a:pt x="7" y="138"/>
                </a:lnTo>
                <a:lnTo>
                  <a:pt x="6" y="137"/>
                </a:lnTo>
                <a:lnTo>
                  <a:pt x="5" y="135"/>
                </a:lnTo>
                <a:lnTo>
                  <a:pt x="7" y="134"/>
                </a:lnTo>
                <a:lnTo>
                  <a:pt x="8" y="135"/>
                </a:lnTo>
                <a:lnTo>
                  <a:pt x="11" y="135"/>
                </a:lnTo>
                <a:lnTo>
                  <a:pt x="16" y="135"/>
                </a:lnTo>
                <a:lnTo>
                  <a:pt x="14" y="133"/>
                </a:lnTo>
                <a:lnTo>
                  <a:pt x="12" y="132"/>
                </a:lnTo>
                <a:lnTo>
                  <a:pt x="11" y="132"/>
                </a:lnTo>
                <a:lnTo>
                  <a:pt x="7" y="131"/>
                </a:lnTo>
                <a:lnTo>
                  <a:pt x="5" y="132"/>
                </a:lnTo>
                <a:lnTo>
                  <a:pt x="1" y="132"/>
                </a:lnTo>
                <a:lnTo>
                  <a:pt x="0" y="130"/>
                </a:lnTo>
                <a:lnTo>
                  <a:pt x="0" y="128"/>
                </a:lnTo>
                <a:lnTo>
                  <a:pt x="1" y="124"/>
                </a:lnTo>
                <a:lnTo>
                  <a:pt x="7" y="120"/>
                </a:lnTo>
                <a:lnTo>
                  <a:pt x="22" y="116"/>
                </a:lnTo>
                <a:lnTo>
                  <a:pt x="28" y="116"/>
                </a:lnTo>
                <a:lnTo>
                  <a:pt x="32" y="116"/>
                </a:lnTo>
                <a:lnTo>
                  <a:pt x="38" y="113"/>
                </a:lnTo>
                <a:lnTo>
                  <a:pt x="40" y="111"/>
                </a:lnTo>
                <a:lnTo>
                  <a:pt x="47" y="109"/>
                </a:lnTo>
                <a:lnTo>
                  <a:pt x="54" y="112"/>
                </a:lnTo>
                <a:lnTo>
                  <a:pt x="61" y="121"/>
                </a:lnTo>
                <a:lnTo>
                  <a:pt x="64" y="124"/>
                </a:lnTo>
                <a:lnTo>
                  <a:pt x="72" y="118"/>
                </a:lnTo>
                <a:lnTo>
                  <a:pt x="83" y="119"/>
                </a:lnTo>
                <a:lnTo>
                  <a:pt x="86" y="122"/>
                </a:lnTo>
                <a:lnTo>
                  <a:pt x="87" y="119"/>
                </a:lnTo>
                <a:lnTo>
                  <a:pt x="89" y="116"/>
                </a:lnTo>
                <a:lnTo>
                  <a:pt x="90" y="118"/>
                </a:lnTo>
                <a:lnTo>
                  <a:pt x="91" y="119"/>
                </a:lnTo>
                <a:lnTo>
                  <a:pt x="103" y="119"/>
                </a:lnTo>
                <a:lnTo>
                  <a:pt x="105" y="118"/>
                </a:lnTo>
                <a:lnTo>
                  <a:pt x="102" y="116"/>
                </a:lnTo>
                <a:lnTo>
                  <a:pt x="99" y="111"/>
                </a:lnTo>
                <a:lnTo>
                  <a:pt x="99" y="92"/>
                </a:lnTo>
                <a:lnTo>
                  <a:pt x="95" y="87"/>
                </a:lnTo>
                <a:lnTo>
                  <a:pt x="92" y="78"/>
                </a:lnTo>
                <a:lnTo>
                  <a:pt x="90" y="74"/>
                </a:lnTo>
                <a:lnTo>
                  <a:pt x="90" y="72"/>
                </a:lnTo>
                <a:lnTo>
                  <a:pt x="90" y="69"/>
                </a:lnTo>
                <a:lnTo>
                  <a:pt x="95" y="69"/>
                </a:lnTo>
                <a:lnTo>
                  <a:pt x="99" y="70"/>
                </a:lnTo>
                <a:lnTo>
                  <a:pt x="106" y="68"/>
                </a:lnTo>
                <a:lnTo>
                  <a:pt x="109" y="69"/>
                </a:lnTo>
                <a:lnTo>
                  <a:pt x="109" y="73"/>
                </a:lnTo>
                <a:lnTo>
                  <a:pt x="110" y="78"/>
                </a:lnTo>
                <a:lnTo>
                  <a:pt x="111" y="81"/>
                </a:lnTo>
                <a:lnTo>
                  <a:pt x="113" y="83"/>
                </a:lnTo>
                <a:lnTo>
                  <a:pt x="118" y="83"/>
                </a:lnTo>
                <a:lnTo>
                  <a:pt x="124" y="85"/>
                </a:lnTo>
                <a:lnTo>
                  <a:pt x="132" y="85"/>
                </a:lnTo>
                <a:lnTo>
                  <a:pt x="143" y="88"/>
                </a:lnTo>
                <a:lnTo>
                  <a:pt x="148" y="86"/>
                </a:lnTo>
                <a:lnTo>
                  <a:pt x="152" y="83"/>
                </a:lnTo>
                <a:lnTo>
                  <a:pt x="161" y="80"/>
                </a:lnTo>
                <a:lnTo>
                  <a:pt x="162" y="79"/>
                </a:lnTo>
                <a:lnTo>
                  <a:pt x="157" y="80"/>
                </a:lnTo>
                <a:lnTo>
                  <a:pt x="152" y="78"/>
                </a:lnTo>
                <a:lnTo>
                  <a:pt x="151" y="75"/>
                </a:lnTo>
                <a:lnTo>
                  <a:pt x="152" y="73"/>
                </a:lnTo>
                <a:lnTo>
                  <a:pt x="154" y="68"/>
                </a:lnTo>
                <a:lnTo>
                  <a:pt x="167" y="61"/>
                </a:lnTo>
                <a:lnTo>
                  <a:pt x="177" y="58"/>
                </a:lnTo>
                <a:lnTo>
                  <a:pt x="187" y="54"/>
                </a:lnTo>
                <a:lnTo>
                  <a:pt x="192" y="50"/>
                </a:lnTo>
                <a:lnTo>
                  <a:pt x="195" y="44"/>
                </a:lnTo>
                <a:lnTo>
                  <a:pt x="196" y="43"/>
                </a:lnTo>
                <a:lnTo>
                  <a:pt x="198" y="42"/>
                </a:lnTo>
                <a:lnTo>
                  <a:pt x="196" y="40"/>
                </a:lnTo>
                <a:lnTo>
                  <a:pt x="197" y="18"/>
                </a:lnTo>
                <a:lnTo>
                  <a:pt x="198" y="14"/>
                </a:lnTo>
                <a:lnTo>
                  <a:pt x="200" y="11"/>
                </a:lnTo>
                <a:lnTo>
                  <a:pt x="203" y="8"/>
                </a:lnTo>
                <a:lnTo>
                  <a:pt x="208" y="6"/>
                </a:lnTo>
                <a:lnTo>
                  <a:pt x="224" y="2"/>
                </a:lnTo>
                <a:lnTo>
                  <a:pt x="227" y="0"/>
                </a:lnTo>
                <a:lnTo>
                  <a:pt x="227" y="3"/>
                </a:lnTo>
                <a:lnTo>
                  <a:pt x="228" y="6"/>
                </a:lnTo>
                <a:lnTo>
                  <a:pt x="229" y="7"/>
                </a:lnTo>
                <a:lnTo>
                  <a:pt x="228" y="9"/>
                </a:lnTo>
                <a:lnTo>
                  <a:pt x="229" y="11"/>
                </a:lnTo>
                <a:lnTo>
                  <a:pt x="231" y="14"/>
                </a:lnTo>
                <a:lnTo>
                  <a:pt x="234" y="17"/>
                </a:lnTo>
                <a:lnTo>
                  <a:pt x="237" y="19"/>
                </a:lnTo>
                <a:lnTo>
                  <a:pt x="237" y="19"/>
                </a:lnTo>
                <a:close/>
                <a:moveTo>
                  <a:pt x="111" y="244"/>
                </a:moveTo>
                <a:lnTo>
                  <a:pt x="111" y="244"/>
                </a:lnTo>
                <a:lnTo>
                  <a:pt x="110" y="248"/>
                </a:lnTo>
                <a:lnTo>
                  <a:pt x="108" y="245"/>
                </a:lnTo>
                <a:lnTo>
                  <a:pt x="105" y="241"/>
                </a:lnTo>
                <a:lnTo>
                  <a:pt x="105" y="238"/>
                </a:lnTo>
                <a:lnTo>
                  <a:pt x="105" y="238"/>
                </a:lnTo>
                <a:lnTo>
                  <a:pt x="108" y="240"/>
                </a:lnTo>
                <a:lnTo>
                  <a:pt x="111" y="244"/>
                </a:lnTo>
                <a:close/>
                <a:moveTo>
                  <a:pt x="444" y="379"/>
                </a:moveTo>
                <a:lnTo>
                  <a:pt x="444" y="379"/>
                </a:lnTo>
                <a:lnTo>
                  <a:pt x="443" y="385"/>
                </a:lnTo>
                <a:lnTo>
                  <a:pt x="444" y="387"/>
                </a:lnTo>
                <a:lnTo>
                  <a:pt x="445" y="388"/>
                </a:lnTo>
                <a:lnTo>
                  <a:pt x="445" y="390"/>
                </a:lnTo>
                <a:lnTo>
                  <a:pt x="446" y="406"/>
                </a:lnTo>
                <a:lnTo>
                  <a:pt x="446" y="407"/>
                </a:lnTo>
                <a:lnTo>
                  <a:pt x="442" y="414"/>
                </a:lnTo>
                <a:lnTo>
                  <a:pt x="441" y="416"/>
                </a:lnTo>
                <a:lnTo>
                  <a:pt x="441" y="424"/>
                </a:lnTo>
                <a:lnTo>
                  <a:pt x="440" y="426"/>
                </a:lnTo>
                <a:lnTo>
                  <a:pt x="439" y="428"/>
                </a:lnTo>
                <a:lnTo>
                  <a:pt x="437" y="435"/>
                </a:lnTo>
                <a:lnTo>
                  <a:pt x="435" y="438"/>
                </a:lnTo>
                <a:lnTo>
                  <a:pt x="429" y="435"/>
                </a:lnTo>
                <a:lnTo>
                  <a:pt x="425" y="433"/>
                </a:lnTo>
                <a:lnTo>
                  <a:pt x="423" y="430"/>
                </a:lnTo>
                <a:lnTo>
                  <a:pt x="423" y="428"/>
                </a:lnTo>
                <a:lnTo>
                  <a:pt x="425" y="427"/>
                </a:lnTo>
                <a:lnTo>
                  <a:pt x="425" y="425"/>
                </a:lnTo>
                <a:lnTo>
                  <a:pt x="422" y="424"/>
                </a:lnTo>
                <a:lnTo>
                  <a:pt x="420" y="423"/>
                </a:lnTo>
                <a:lnTo>
                  <a:pt x="420" y="421"/>
                </a:lnTo>
                <a:lnTo>
                  <a:pt x="421" y="418"/>
                </a:lnTo>
                <a:lnTo>
                  <a:pt x="421" y="416"/>
                </a:lnTo>
                <a:lnTo>
                  <a:pt x="419" y="416"/>
                </a:lnTo>
                <a:lnTo>
                  <a:pt x="417" y="416"/>
                </a:lnTo>
                <a:lnTo>
                  <a:pt x="417" y="414"/>
                </a:lnTo>
                <a:lnTo>
                  <a:pt x="418" y="413"/>
                </a:lnTo>
                <a:lnTo>
                  <a:pt x="420" y="411"/>
                </a:lnTo>
                <a:lnTo>
                  <a:pt x="419" y="409"/>
                </a:lnTo>
                <a:lnTo>
                  <a:pt x="418" y="408"/>
                </a:lnTo>
                <a:lnTo>
                  <a:pt x="416" y="406"/>
                </a:lnTo>
                <a:lnTo>
                  <a:pt x="415" y="404"/>
                </a:lnTo>
                <a:lnTo>
                  <a:pt x="417" y="402"/>
                </a:lnTo>
                <a:lnTo>
                  <a:pt x="419" y="401"/>
                </a:lnTo>
                <a:lnTo>
                  <a:pt x="417" y="398"/>
                </a:lnTo>
                <a:lnTo>
                  <a:pt x="416" y="398"/>
                </a:lnTo>
                <a:lnTo>
                  <a:pt x="415" y="398"/>
                </a:lnTo>
                <a:lnTo>
                  <a:pt x="416" y="397"/>
                </a:lnTo>
                <a:lnTo>
                  <a:pt x="418" y="395"/>
                </a:lnTo>
                <a:lnTo>
                  <a:pt x="420" y="390"/>
                </a:lnTo>
                <a:lnTo>
                  <a:pt x="423" y="387"/>
                </a:lnTo>
                <a:lnTo>
                  <a:pt x="429" y="386"/>
                </a:lnTo>
                <a:lnTo>
                  <a:pt x="430" y="385"/>
                </a:lnTo>
                <a:lnTo>
                  <a:pt x="432" y="383"/>
                </a:lnTo>
                <a:lnTo>
                  <a:pt x="433" y="382"/>
                </a:lnTo>
                <a:lnTo>
                  <a:pt x="435" y="382"/>
                </a:lnTo>
                <a:lnTo>
                  <a:pt x="437" y="383"/>
                </a:lnTo>
                <a:lnTo>
                  <a:pt x="438" y="384"/>
                </a:lnTo>
                <a:lnTo>
                  <a:pt x="439" y="383"/>
                </a:lnTo>
                <a:lnTo>
                  <a:pt x="439" y="380"/>
                </a:lnTo>
                <a:lnTo>
                  <a:pt x="439" y="379"/>
                </a:lnTo>
                <a:lnTo>
                  <a:pt x="439" y="373"/>
                </a:lnTo>
                <a:lnTo>
                  <a:pt x="440" y="370"/>
                </a:lnTo>
                <a:lnTo>
                  <a:pt x="442" y="370"/>
                </a:lnTo>
                <a:lnTo>
                  <a:pt x="443" y="371"/>
                </a:lnTo>
                <a:lnTo>
                  <a:pt x="443" y="373"/>
                </a:lnTo>
                <a:lnTo>
                  <a:pt x="444" y="377"/>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1224" name="Greece">
            <a:extLst>
              <a:ext uri="{FF2B5EF4-FFF2-40B4-BE49-F238E27FC236}">
                <a16:creationId xmlns:a16="http://schemas.microsoft.com/office/drawing/2014/main" id="{6E1D9D03-3867-4473-8C7C-AC6D7BEB67BF}"/>
              </a:ext>
            </a:extLst>
          </p:cNvPr>
          <p:cNvSpPr>
            <a:spLocks noEditPoints="1"/>
          </p:cNvSpPr>
          <p:nvPr/>
        </p:nvSpPr>
        <p:spPr bwMode="auto">
          <a:xfrm>
            <a:off x="6408304" y="3432219"/>
            <a:ext cx="256680" cy="229509"/>
          </a:xfrm>
          <a:custGeom>
            <a:avLst/>
            <a:gdLst>
              <a:gd name="T0" fmla="*/ 209 w 267"/>
              <a:gd name="T1" fmla="*/ 30 h 270"/>
              <a:gd name="T2" fmla="*/ 157 w 267"/>
              <a:gd name="T3" fmla="*/ 37 h 270"/>
              <a:gd name="T4" fmla="*/ 145 w 267"/>
              <a:gd name="T5" fmla="*/ 62 h 270"/>
              <a:gd name="T6" fmla="*/ 125 w 267"/>
              <a:gd name="T7" fmla="*/ 63 h 270"/>
              <a:gd name="T8" fmla="*/ 99 w 267"/>
              <a:gd name="T9" fmla="*/ 48 h 270"/>
              <a:gd name="T10" fmla="*/ 109 w 267"/>
              <a:gd name="T11" fmla="*/ 108 h 270"/>
              <a:gd name="T12" fmla="*/ 93 w 267"/>
              <a:gd name="T13" fmla="*/ 118 h 270"/>
              <a:gd name="T14" fmla="*/ 137 w 267"/>
              <a:gd name="T15" fmla="*/ 163 h 270"/>
              <a:gd name="T16" fmla="*/ 111 w 267"/>
              <a:gd name="T17" fmla="*/ 167 h 270"/>
              <a:gd name="T18" fmla="*/ 97 w 267"/>
              <a:gd name="T19" fmla="*/ 168 h 270"/>
              <a:gd name="T20" fmla="*/ 92 w 267"/>
              <a:gd name="T21" fmla="*/ 200 h 270"/>
              <a:gd name="T22" fmla="*/ 65 w 267"/>
              <a:gd name="T23" fmla="*/ 196 h 270"/>
              <a:gd name="T24" fmla="*/ 59 w 267"/>
              <a:gd name="T25" fmla="*/ 145 h 270"/>
              <a:gd name="T26" fmla="*/ 110 w 267"/>
              <a:gd name="T27" fmla="*/ 147 h 270"/>
              <a:gd name="T28" fmla="*/ 64 w 267"/>
              <a:gd name="T29" fmla="*/ 138 h 270"/>
              <a:gd name="T30" fmla="*/ 35 w 267"/>
              <a:gd name="T31" fmla="*/ 115 h 270"/>
              <a:gd name="T32" fmla="*/ 17 w 267"/>
              <a:gd name="T33" fmla="*/ 90 h 270"/>
              <a:gd name="T34" fmla="*/ 21 w 267"/>
              <a:gd name="T35" fmla="*/ 74 h 270"/>
              <a:gd name="T36" fmla="*/ 41 w 267"/>
              <a:gd name="T37" fmla="*/ 52 h 270"/>
              <a:gd name="T38" fmla="*/ 73 w 267"/>
              <a:gd name="T39" fmla="*/ 26 h 270"/>
              <a:gd name="T40" fmla="*/ 118 w 267"/>
              <a:gd name="T41" fmla="*/ 15 h 270"/>
              <a:gd name="T42" fmla="*/ 156 w 267"/>
              <a:gd name="T43" fmla="*/ 14 h 270"/>
              <a:gd name="T44" fmla="*/ 202 w 267"/>
              <a:gd name="T45" fmla="*/ 10 h 270"/>
              <a:gd name="T46" fmla="*/ 160 w 267"/>
              <a:gd name="T47" fmla="*/ 42 h 270"/>
              <a:gd name="T48" fmla="*/ 178 w 267"/>
              <a:gd name="T49" fmla="*/ 80 h 270"/>
              <a:gd name="T50" fmla="*/ 178 w 267"/>
              <a:gd name="T51" fmla="*/ 71 h 270"/>
              <a:gd name="T52" fmla="*/ 7 w 267"/>
              <a:gd name="T53" fmla="*/ 85 h 270"/>
              <a:gd name="T54" fmla="*/ 213 w 267"/>
              <a:gd name="T55" fmla="*/ 109 h 270"/>
              <a:gd name="T56" fmla="*/ 201 w 267"/>
              <a:gd name="T57" fmla="*/ 100 h 270"/>
              <a:gd name="T58" fmla="*/ 123 w 267"/>
              <a:gd name="T59" fmla="*/ 104 h 270"/>
              <a:gd name="T60" fmla="*/ 144 w 267"/>
              <a:gd name="T61" fmla="*/ 143 h 270"/>
              <a:gd name="T62" fmla="*/ 140 w 267"/>
              <a:gd name="T63" fmla="*/ 142 h 270"/>
              <a:gd name="T64" fmla="*/ 102 w 267"/>
              <a:gd name="T65" fmla="*/ 119 h 270"/>
              <a:gd name="T66" fmla="*/ 151 w 267"/>
              <a:gd name="T67" fmla="*/ 113 h 270"/>
              <a:gd name="T68" fmla="*/ 32 w 267"/>
              <a:gd name="T69" fmla="*/ 128 h 270"/>
              <a:gd name="T70" fmla="*/ 203 w 267"/>
              <a:gd name="T71" fmla="*/ 140 h 270"/>
              <a:gd name="T72" fmla="*/ 30 w 267"/>
              <a:gd name="T73" fmla="*/ 137 h 270"/>
              <a:gd name="T74" fmla="*/ 22 w 267"/>
              <a:gd name="T75" fmla="*/ 143 h 270"/>
              <a:gd name="T76" fmla="*/ 119 w 267"/>
              <a:gd name="T77" fmla="*/ 153 h 270"/>
              <a:gd name="T78" fmla="*/ 165 w 267"/>
              <a:gd name="T79" fmla="*/ 156 h 270"/>
              <a:gd name="T80" fmla="*/ 224 w 267"/>
              <a:gd name="T81" fmla="*/ 159 h 270"/>
              <a:gd name="T82" fmla="*/ 147 w 267"/>
              <a:gd name="T83" fmla="*/ 169 h 270"/>
              <a:gd name="T84" fmla="*/ 174 w 267"/>
              <a:gd name="T85" fmla="*/ 167 h 270"/>
              <a:gd name="T86" fmla="*/ 176 w 267"/>
              <a:gd name="T87" fmla="*/ 172 h 270"/>
              <a:gd name="T88" fmla="*/ 148 w 267"/>
              <a:gd name="T89" fmla="*/ 176 h 270"/>
              <a:gd name="T90" fmla="*/ 184 w 267"/>
              <a:gd name="T91" fmla="*/ 192 h 270"/>
              <a:gd name="T92" fmla="*/ 174 w 267"/>
              <a:gd name="T93" fmla="*/ 185 h 270"/>
              <a:gd name="T94" fmla="*/ 157 w 267"/>
              <a:gd name="T95" fmla="*/ 194 h 270"/>
              <a:gd name="T96" fmla="*/ 200 w 267"/>
              <a:gd name="T97" fmla="*/ 195 h 270"/>
              <a:gd name="T98" fmla="*/ 179 w 267"/>
              <a:gd name="T99" fmla="*/ 204 h 270"/>
              <a:gd name="T100" fmla="*/ 150 w 267"/>
              <a:gd name="T101" fmla="*/ 201 h 270"/>
              <a:gd name="T102" fmla="*/ 206 w 267"/>
              <a:gd name="T103" fmla="*/ 209 h 270"/>
              <a:gd name="T104" fmla="*/ 181 w 267"/>
              <a:gd name="T105" fmla="*/ 213 h 270"/>
              <a:gd name="T106" fmla="*/ 265 w 267"/>
              <a:gd name="T107" fmla="*/ 222 h 270"/>
              <a:gd name="T108" fmla="*/ 235 w 267"/>
              <a:gd name="T109" fmla="*/ 250 h 270"/>
              <a:gd name="T110" fmla="*/ 133 w 267"/>
              <a:gd name="T111" fmla="*/ 248 h 270"/>
              <a:gd name="T112" fmla="*/ 152 w 267"/>
              <a:gd name="T113" fmla="*/ 254 h 270"/>
              <a:gd name="T114" fmla="*/ 203 w 267"/>
              <a:gd name="T115" fmla="*/ 260 h 270"/>
              <a:gd name="T116" fmla="*/ 158 w 267"/>
              <a:gd name="T117" fmla="*/ 265 h 270"/>
              <a:gd name="T118" fmla="*/ 127 w 267"/>
              <a:gd name="T119" fmla="*/ 243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7" h="270">
                <a:moveTo>
                  <a:pt x="208" y="2"/>
                </a:moveTo>
                <a:lnTo>
                  <a:pt x="208" y="2"/>
                </a:lnTo>
                <a:lnTo>
                  <a:pt x="211" y="2"/>
                </a:lnTo>
                <a:lnTo>
                  <a:pt x="212" y="4"/>
                </a:lnTo>
                <a:lnTo>
                  <a:pt x="213" y="5"/>
                </a:lnTo>
                <a:lnTo>
                  <a:pt x="215" y="6"/>
                </a:lnTo>
                <a:lnTo>
                  <a:pt x="216" y="6"/>
                </a:lnTo>
                <a:lnTo>
                  <a:pt x="217" y="10"/>
                </a:lnTo>
                <a:lnTo>
                  <a:pt x="217" y="15"/>
                </a:lnTo>
                <a:lnTo>
                  <a:pt x="217" y="17"/>
                </a:lnTo>
                <a:lnTo>
                  <a:pt x="215" y="17"/>
                </a:lnTo>
                <a:lnTo>
                  <a:pt x="208" y="21"/>
                </a:lnTo>
                <a:lnTo>
                  <a:pt x="208" y="25"/>
                </a:lnTo>
                <a:lnTo>
                  <a:pt x="208" y="27"/>
                </a:lnTo>
                <a:lnTo>
                  <a:pt x="208" y="29"/>
                </a:lnTo>
                <a:lnTo>
                  <a:pt x="209" y="30"/>
                </a:lnTo>
                <a:lnTo>
                  <a:pt x="209" y="31"/>
                </a:lnTo>
                <a:lnTo>
                  <a:pt x="208" y="33"/>
                </a:lnTo>
                <a:lnTo>
                  <a:pt x="205" y="36"/>
                </a:lnTo>
                <a:lnTo>
                  <a:pt x="203" y="38"/>
                </a:lnTo>
                <a:lnTo>
                  <a:pt x="201" y="42"/>
                </a:lnTo>
                <a:lnTo>
                  <a:pt x="200" y="42"/>
                </a:lnTo>
                <a:lnTo>
                  <a:pt x="199" y="42"/>
                </a:lnTo>
                <a:lnTo>
                  <a:pt x="198" y="41"/>
                </a:lnTo>
                <a:lnTo>
                  <a:pt x="193" y="38"/>
                </a:lnTo>
                <a:lnTo>
                  <a:pt x="182" y="36"/>
                </a:lnTo>
                <a:lnTo>
                  <a:pt x="177" y="34"/>
                </a:lnTo>
                <a:lnTo>
                  <a:pt x="175" y="34"/>
                </a:lnTo>
                <a:lnTo>
                  <a:pt x="170" y="31"/>
                </a:lnTo>
                <a:lnTo>
                  <a:pt x="167" y="33"/>
                </a:lnTo>
                <a:lnTo>
                  <a:pt x="160" y="37"/>
                </a:lnTo>
                <a:lnTo>
                  <a:pt x="157" y="37"/>
                </a:lnTo>
                <a:lnTo>
                  <a:pt x="153" y="34"/>
                </a:lnTo>
                <a:lnTo>
                  <a:pt x="150" y="33"/>
                </a:lnTo>
                <a:lnTo>
                  <a:pt x="148" y="35"/>
                </a:lnTo>
                <a:lnTo>
                  <a:pt x="143" y="40"/>
                </a:lnTo>
                <a:lnTo>
                  <a:pt x="138" y="43"/>
                </a:lnTo>
                <a:lnTo>
                  <a:pt x="134" y="42"/>
                </a:lnTo>
                <a:lnTo>
                  <a:pt x="128" y="42"/>
                </a:lnTo>
                <a:lnTo>
                  <a:pt x="128" y="45"/>
                </a:lnTo>
                <a:lnTo>
                  <a:pt x="129" y="47"/>
                </a:lnTo>
                <a:lnTo>
                  <a:pt x="132" y="50"/>
                </a:lnTo>
                <a:lnTo>
                  <a:pt x="130" y="53"/>
                </a:lnTo>
                <a:lnTo>
                  <a:pt x="131" y="55"/>
                </a:lnTo>
                <a:lnTo>
                  <a:pt x="133" y="56"/>
                </a:lnTo>
                <a:lnTo>
                  <a:pt x="136" y="55"/>
                </a:lnTo>
                <a:lnTo>
                  <a:pt x="142" y="59"/>
                </a:lnTo>
                <a:lnTo>
                  <a:pt x="145" y="62"/>
                </a:lnTo>
                <a:lnTo>
                  <a:pt x="146" y="66"/>
                </a:lnTo>
                <a:lnTo>
                  <a:pt x="143" y="63"/>
                </a:lnTo>
                <a:lnTo>
                  <a:pt x="140" y="61"/>
                </a:lnTo>
                <a:lnTo>
                  <a:pt x="137" y="60"/>
                </a:lnTo>
                <a:lnTo>
                  <a:pt x="133" y="58"/>
                </a:lnTo>
                <a:lnTo>
                  <a:pt x="130" y="57"/>
                </a:lnTo>
                <a:lnTo>
                  <a:pt x="127" y="59"/>
                </a:lnTo>
                <a:lnTo>
                  <a:pt x="127" y="60"/>
                </a:lnTo>
                <a:lnTo>
                  <a:pt x="130" y="64"/>
                </a:lnTo>
                <a:lnTo>
                  <a:pt x="133" y="66"/>
                </a:lnTo>
                <a:lnTo>
                  <a:pt x="134" y="67"/>
                </a:lnTo>
                <a:lnTo>
                  <a:pt x="136" y="71"/>
                </a:lnTo>
                <a:lnTo>
                  <a:pt x="135" y="72"/>
                </a:lnTo>
                <a:lnTo>
                  <a:pt x="134" y="74"/>
                </a:lnTo>
                <a:lnTo>
                  <a:pt x="130" y="71"/>
                </a:lnTo>
                <a:lnTo>
                  <a:pt x="125" y="63"/>
                </a:lnTo>
                <a:lnTo>
                  <a:pt x="118" y="61"/>
                </a:lnTo>
                <a:lnTo>
                  <a:pt x="116" y="63"/>
                </a:lnTo>
                <a:lnTo>
                  <a:pt x="118" y="67"/>
                </a:lnTo>
                <a:lnTo>
                  <a:pt x="119" y="69"/>
                </a:lnTo>
                <a:lnTo>
                  <a:pt x="125" y="74"/>
                </a:lnTo>
                <a:lnTo>
                  <a:pt x="125" y="75"/>
                </a:lnTo>
                <a:lnTo>
                  <a:pt x="124" y="75"/>
                </a:lnTo>
                <a:lnTo>
                  <a:pt x="117" y="72"/>
                </a:lnTo>
                <a:lnTo>
                  <a:pt x="115" y="68"/>
                </a:lnTo>
                <a:lnTo>
                  <a:pt x="114" y="63"/>
                </a:lnTo>
                <a:lnTo>
                  <a:pt x="107" y="60"/>
                </a:lnTo>
                <a:lnTo>
                  <a:pt x="101" y="56"/>
                </a:lnTo>
                <a:lnTo>
                  <a:pt x="100" y="52"/>
                </a:lnTo>
                <a:lnTo>
                  <a:pt x="101" y="51"/>
                </a:lnTo>
                <a:lnTo>
                  <a:pt x="102" y="48"/>
                </a:lnTo>
                <a:lnTo>
                  <a:pt x="99" y="48"/>
                </a:lnTo>
                <a:lnTo>
                  <a:pt x="96" y="50"/>
                </a:lnTo>
                <a:lnTo>
                  <a:pt x="93" y="52"/>
                </a:lnTo>
                <a:lnTo>
                  <a:pt x="93" y="55"/>
                </a:lnTo>
                <a:lnTo>
                  <a:pt x="93" y="57"/>
                </a:lnTo>
                <a:lnTo>
                  <a:pt x="92" y="61"/>
                </a:lnTo>
                <a:lnTo>
                  <a:pt x="91" y="67"/>
                </a:lnTo>
                <a:lnTo>
                  <a:pt x="92" y="71"/>
                </a:lnTo>
                <a:lnTo>
                  <a:pt x="99" y="80"/>
                </a:lnTo>
                <a:lnTo>
                  <a:pt x="102" y="87"/>
                </a:lnTo>
                <a:lnTo>
                  <a:pt x="104" y="90"/>
                </a:lnTo>
                <a:lnTo>
                  <a:pt x="108" y="93"/>
                </a:lnTo>
                <a:lnTo>
                  <a:pt x="112" y="98"/>
                </a:lnTo>
                <a:lnTo>
                  <a:pt x="113" y="101"/>
                </a:lnTo>
                <a:lnTo>
                  <a:pt x="115" y="105"/>
                </a:lnTo>
                <a:lnTo>
                  <a:pt x="111" y="108"/>
                </a:lnTo>
                <a:lnTo>
                  <a:pt x="109" y="108"/>
                </a:lnTo>
                <a:lnTo>
                  <a:pt x="108" y="107"/>
                </a:lnTo>
                <a:lnTo>
                  <a:pt x="110" y="104"/>
                </a:lnTo>
                <a:lnTo>
                  <a:pt x="109" y="102"/>
                </a:lnTo>
                <a:lnTo>
                  <a:pt x="104" y="99"/>
                </a:lnTo>
                <a:lnTo>
                  <a:pt x="102" y="100"/>
                </a:lnTo>
                <a:lnTo>
                  <a:pt x="99" y="102"/>
                </a:lnTo>
                <a:lnTo>
                  <a:pt x="101" y="106"/>
                </a:lnTo>
                <a:lnTo>
                  <a:pt x="102" y="108"/>
                </a:lnTo>
                <a:lnTo>
                  <a:pt x="103" y="111"/>
                </a:lnTo>
                <a:lnTo>
                  <a:pt x="106" y="111"/>
                </a:lnTo>
                <a:lnTo>
                  <a:pt x="102" y="114"/>
                </a:lnTo>
                <a:lnTo>
                  <a:pt x="98" y="116"/>
                </a:lnTo>
                <a:lnTo>
                  <a:pt x="94" y="116"/>
                </a:lnTo>
                <a:lnTo>
                  <a:pt x="92" y="117"/>
                </a:lnTo>
                <a:lnTo>
                  <a:pt x="91" y="118"/>
                </a:lnTo>
                <a:lnTo>
                  <a:pt x="93" y="118"/>
                </a:lnTo>
                <a:lnTo>
                  <a:pt x="95" y="118"/>
                </a:lnTo>
                <a:lnTo>
                  <a:pt x="97" y="120"/>
                </a:lnTo>
                <a:lnTo>
                  <a:pt x="105" y="123"/>
                </a:lnTo>
                <a:lnTo>
                  <a:pt x="109" y="126"/>
                </a:lnTo>
                <a:lnTo>
                  <a:pt x="112" y="126"/>
                </a:lnTo>
                <a:lnTo>
                  <a:pt x="116" y="131"/>
                </a:lnTo>
                <a:lnTo>
                  <a:pt x="122" y="133"/>
                </a:lnTo>
                <a:lnTo>
                  <a:pt x="126" y="138"/>
                </a:lnTo>
                <a:lnTo>
                  <a:pt x="130" y="139"/>
                </a:lnTo>
                <a:lnTo>
                  <a:pt x="135" y="141"/>
                </a:lnTo>
                <a:lnTo>
                  <a:pt x="136" y="143"/>
                </a:lnTo>
                <a:lnTo>
                  <a:pt x="136" y="146"/>
                </a:lnTo>
                <a:lnTo>
                  <a:pt x="137" y="154"/>
                </a:lnTo>
                <a:lnTo>
                  <a:pt x="137" y="159"/>
                </a:lnTo>
                <a:lnTo>
                  <a:pt x="138" y="161"/>
                </a:lnTo>
                <a:lnTo>
                  <a:pt x="137" y="163"/>
                </a:lnTo>
                <a:lnTo>
                  <a:pt x="136" y="165"/>
                </a:lnTo>
                <a:lnTo>
                  <a:pt x="135" y="165"/>
                </a:lnTo>
                <a:lnTo>
                  <a:pt x="132" y="161"/>
                </a:lnTo>
                <a:lnTo>
                  <a:pt x="127" y="157"/>
                </a:lnTo>
                <a:lnTo>
                  <a:pt x="122" y="152"/>
                </a:lnTo>
                <a:lnTo>
                  <a:pt x="121" y="151"/>
                </a:lnTo>
                <a:lnTo>
                  <a:pt x="120" y="151"/>
                </a:lnTo>
                <a:lnTo>
                  <a:pt x="117" y="152"/>
                </a:lnTo>
                <a:lnTo>
                  <a:pt x="110" y="154"/>
                </a:lnTo>
                <a:lnTo>
                  <a:pt x="107" y="155"/>
                </a:lnTo>
                <a:lnTo>
                  <a:pt x="106" y="156"/>
                </a:lnTo>
                <a:lnTo>
                  <a:pt x="106" y="157"/>
                </a:lnTo>
                <a:lnTo>
                  <a:pt x="107" y="158"/>
                </a:lnTo>
                <a:lnTo>
                  <a:pt x="109" y="160"/>
                </a:lnTo>
                <a:lnTo>
                  <a:pt x="109" y="163"/>
                </a:lnTo>
                <a:lnTo>
                  <a:pt x="111" y="167"/>
                </a:lnTo>
                <a:lnTo>
                  <a:pt x="113" y="168"/>
                </a:lnTo>
                <a:lnTo>
                  <a:pt x="115" y="168"/>
                </a:lnTo>
                <a:lnTo>
                  <a:pt x="117" y="169"/>
                </a:lnTo>
                <a:lnTo>
                  <a:pt x="117" y="170"/>
                </a:lnTo>
                <a:lnTo>
                  <a:pt x="119" y="172"/>
                </a:lnTo>
                <a:lnTo>
                  <a:pt x="120" y="173"/>
                </a:lnTo>
                <a:lnTo>
                  <a:pt x="120" y="174"/>
                </a:lnTo>
                <a:lnTo>
                  <a:pt x="112" y="176"/>
                </a:lnTo>
                <a:lnTo>
                  <a:pt x="111" y="178"/>
                </a:lnTo>
                <a:lnTo>
                  <a:pt x="109" y="178"/>
                </a:lnTo>
                <a:lnTo>
                  <a:pt x="107" y="177"/>
                </a:lnTo>
                <a:lnTo>
                  <a:pt x="107" y="174"/>
                </a:lnTo>
                <a:lnTo>
                  <a:pt x="105" y="172"/>
                </a:lnTo>
                <a:lnTo>
                  <a:pt x="103" y="171"/>
                </a:lnTo>
                <a:lnTo>
                  <a:pt x="100" y="170"/>
                </a:lnTo>
                <a:lnTo>
                  <a:pt x="97" y="168"/>
                </a:lnTo>
                <a:lnTo>
                  <a:pt x="96" y="170"/>
                </a:lnTo>
                <a:lnTo>
                  <a:pt x="97" y="176"/>
                </a:lnTo>
                <a:lnTo>
                  <a:pt x="100" y="180"/>
                </a:lnTo>
                <a:lnTo>
                  <a:pt x="104" y="191"/>
                </a:lnTo>
                <a:lnTo>
                  <a:pt x="106" y="197"/>
                </a:lnTo>
                <a:lnTo>
                  <a:pt x="107" y="200"/>
                </a:lnTo>
                <a:lnTo>
                  <a:pt x="106" y="205"/>
                </a:lnTo>
                <a:lnTo>
                  <a:pt x="108" y="209"/>
                </a:lnTo>
                <a:lnTo>
                  <a:pt x="109" y="213"/>
                </a:lnTo>
                <a:lnTo>
                  <a:pt x="108" y="212"/>
                </a:lnTo>
                <a:lnTo>
                  <a:pt x="106" y="211"/>
                </a:lnTo>
                <a:lnTo>
                  <a:pt x="104" y="209"/>
                </a:lnTo>
                <a:lnTo>
                  <a:pt x="99" y="203"/>
                </a:lnTo>
                <a:lnTo>
                  <a:pt x="98" y="199"/>
                </a:lnTo>
                <a:lnTo>
                  <a:pt x="96" y="199"/>
                </a:lnTo>
                <a:lnTo>
                  <a:pt x="92" y="200"/>
                </a:lnTo>
                <a:lnTo>
                  <a:pt x="88" y="208"/>
                </a:lnTo>
                <a:lnTo>
                  <a:pt x="88" y="213"/>
                </a:lnTo>
                <a:lnTo>
                  <a:pt x="87" y="211"/>
                </a:lnTo>
                <a:lnTo>
                  <a:pt x="85" y="210"/>
                </a:lnTo>
                <a:lnTo>
                  <a:pt x="85" y="205"/>
                </a:lnTo>
                <a:lnTo>
                  <a:pt x="85" y="203"/>
                </a:lnTo>
                <a:lnTo>
                  <a:pt x="80" y="196"/>
                </a:lnTo>
                <a:lnTo>
                  <a:pt x="78" y="195"/>
                </a:lnTo>
                <a:lnTo>
                  <a:pt x="77" y="193"/>
                </a:lnTo>
                <a:lnTo>
                  <a:pt x="76" y="190"/>
                </a:lnTo>
                <a:lnTo>
                  <a:pt x="74" y="190"/>
                </a:lnTo>
                <a:lnTo>
                  <a:pt x="72" y="192"/>
                </a:lnTo>
                <a:lnTo>
                  <a:pt x="71" y="195"/>
                </a:lnTo>
                <a:lnTo>
                  <a:pt x="71" y="199"/>
                </a:lnTo>
                <a:lnTo>
                  <a:pt x="70" y="201"/>
                </a:lnTo>
                <a:lnTo>
                  <a:pt x="65" y="196"/>
                </a:lnTo>
                <a:lnTo>
                  <a:pt x="60" y="188"/>
                </a:lnTo>
                <a:lnTo>
                  <a:pt x="60" y="183"/>
                </a:lnTo>
                <a:lnTo>
                  <a:pt x="64" y="179"/>
                </a:lnTo>
                <a:lnTo>
                  <a:pt x="63" y="176"/>
                </a:lnTo>
                <a:lnTo>
                  <a:pt x="60" y="170"/>
                </a:lnTo>
                <a:lnTo>
                  <a:pt x="55" y="166"/>
                </a:lnTo>
                <a:lnTo>
                  <a:pt x="52" y="165"/>
                </a:lnTo>
                <a:lnTo>
                  <a:pt x="51" y="161"/>
                </a:lnTo>
                <a:lnTo>
                  <a:pt x="48" y="159"/>
                </a:lnTo>
                <a:lnTo>
                  <a:pt x="46" y="158"/>
                </a:lnTo>
                <a:lnTo>
                  <a:pt x="46" y="156"/>
                </a:lnTo>
                <a:lnTo>
                  <a:pt x="47" y="155"/>
                </a:lnTo>
                <a:lnTo>
                  <a:pt x="52" y="151"/>
                </a:lnTo>
                <a:lnTo>
                  <a:pt x="55" y="144"/>
                </a:lnTo>
                <a:lnTo>
                  <a:pt x="56" y="144"/>
                </a:lnTo>
                <a:lnTo>
                  <a:pt x="59" y="145"/>
                </a:lnTo>
                <a:lnTo>
                  <a:pt x="63" y="145"/>
                </a:lnTo>
                <a:lnTo>
                  <a:pt x="65" y="141"/>
                </a:lnTo>
                <a:lnTo>
                  <a:pt x="68" y="139"/>
                </a:lnTo>
                <a:lnTo>
                  <a:pt x="72" y="139"/>
                </a:lnTo>
                <a:lnTo>
                  <a:pt x="81" y="145"/>
                </a:lnTo>
                <a:lnTo>
                  <a:pt x="91" y="148"/>
                </a:lnTo>
                <a:lnTo>
                  <a:pt x="95" y="150"/>
                </a:lnTo>
                <a:lnTo>
                  <a:pt x="98" y="153"/>
                </a:lnTo>
                <a:lnTo>
                  <a:pt x="100" y="153"/>
                </a:lnTo>
                <a:lnTo>
                  <a:pt x="102" y="154"/>
                </a:lnTo>
                <a:lnTo>
                  <a:pt x="102" y="152"/>
                </a:lnTo>
                <a:lnTo>
                  <a:pt x="101" y="150"/>
                </a:lnTo>
                <a:lnTo>
                  <a:pt x="103" y="149"/>
                </a:lnTo>
                <a:lnTo>
                  <a:pt x="108" y="149"/>
                </a:lnTo>
                <a:lnTo>
                  <a:pt x="109" y="148"/>
                </a:lnTo>
                <a:lnTo>
                  <a:pt x="110" y="147"/>
                </a:lnTo>
                <a:lnTo>
                  <a:pt x="109" y="145"/>
                </a:lnTo>
                <a:lnTo>
                  <a:pt x="107" y="144"/>
                </a:lnTo>
                <a:lnTo>
                  <a:pt x="106" y="144"/>
                </a:lnTo>
                <a:lnTo>
                  <a:pt x="104" y="144"/>
                </a:lnTo>
                <a:lnTo>
                  <a:pt x="102" y="144"/>
                </a:lnTo>
                <a:lnTo>
                  <a:pt x="99" y="143"/>
                </a:lnTo>
                <a:lnTo>
                  <a:pt x="98" y="142"/>
                </a:lnTo>
                <a:lnTo>
                  <a:pt x="97" y="141"/>
                </a:lnTo>
                <a:lnTo>
                  <a:pt x="91" y="138"/>
                </a:lnTo>
                <a:lnTo>
                  <a:pt x="86" y="135"/>
                </a:lnTo>
                <a:lnTo>
                  <a:pt x="85" y="137"/>
                </a:lnTo>
                <a:lnTo>
                  <a:pt x="83" y="138"/>
                </a:lnTo>
                <a:lnTo>
                  <a:pt x="80" y="138"/>
                </a:lnTo>
                <a:lnTo>
                  <a:pt x="72" y="136"/>
                </a:lnTo>
                <a:lnTo>
                  <a:pt x="67" y="137"/>
                </a:lnTo>
                <a:lnTo>
                  <a:pt x="64" y="138"/>
                </a:lnTo>
                <a:lnTo>
                  <a:pt x="62" y="138"/>
                </a:lnTo>
                <a:lnTo>
                  <a:pt x="60" y="139"/>
                </a:lnTo>
                <a:lnTo>
                  <a:pt x="57" y="139"/>
                </a:lnTo>
                <a:lnTo>
                  <a:pt x="54" y="136"/>
                </a:lnTo>
                <a:lnTo>
                  <a:pt x="53" y="133"/>
                </a:lnTo>
                <a:lnTo>
                  <a:pt x="52" y="133"/>
                </a:lnTo>
                <a:lnTo>
                  <a:pt x="52" y="135"/>
                </a:lnTo>
                <a:lnTo>
                  <a:pt x="52" y="137"/>
                </a:lnTo>
                <a:lnTo>
                  <a:pt x="48" y="138"/>
                </a:lnTo>
                <a:lnTo>
                  <a:pt x="46" y="137"/>
                </a:lnTo>
                <a:lnTo>
                  <a:pt x="44" y="132"/>
                </a:lnTo>
                <a:lnTo>
                  <a:pt x="42" y="126"/>
                </a:lnTo>
                <a:lnTo>
                  <a:pt x="38" y="121"/>
                </a:lnTo>
                <a:lnTo>
                  <a:pt x="35" y="120"/>
                </a:lnTo>
                <a:lnTo>
                  <a:pt x="35" y="117"/>
                </a:lnTo>
                <a:lnTo>
                  <a:pt x="35" y="115"/>
                </a:lnTo>
                <a:lnTo>
                  <a:pt x="39" y="115"/>
                </a:lnTo>
                <a:lnTo>
                  <a:pt x="44" y="117"/>
                </a:lnTo>
                <a:lnTo>
                  <a:pt x="46" y="116"/>
                </a:lnTo>
                <a:lnTo>
                  <a:pt x="47" y="115"/>
                </a:lnTo>
                <a:lnTo>
                  <a:pt x="47" y="113"/>
                </a:lnTo>
                <a:lnTo>
                  <a:pt x="46" y="111"/>
                </a:lnTo>
                <a:lnTo>
                  <a:pt x="44" y="111"/>
                </a:lnTo>
                <a:lnTo>
                  <a:pt x="43" y="111"/>
                </a:lnTo>
                <a:lnTo>
                  <a:pt x="40" y="111"/>
                </a:lnTo>
                <a:lnTo>
                  <a:pt x="35" y="112"/>
                </a:lnTo>
                <a:lnTo>
                  <a:pt x="33" y="111"/>
                </a:lnTo>
                <a:lnTo>
                  <a:pt x="32" y="110"/>
                </a:lnTo>
                <a:lnTo>
                  <a:pt x="29" y="106"/>
                </a:lnTo>
                <a:lnTo>
                  <a:pt x="25" y="102"/>
                </a:lnTo>
                <a:lnTo>
                  <a:pt x="20" y="99"/>
                </a:lnTo>
                <a:lnTo>
                  <a:pt x="17" y="90"/>
                </a:lnTo>
                <a:lnTo>
                  <a:pt x="14" y="87"/>
                </a:lnTo>
                <a:lnTo>
                  <a:pt x="11" y="84"/>
                </a:lnTo>
                <a:lnTo>
                  <a:pt x="12" y="84"/>
                </a:lnTo>
                <a:lnTo>
                  <a:pt x="13" y="84"/>
                </a:lnTo>
                <a:lnTo>
                  <a:pt x="15" y="86"/>
                </a:lnTo>
                <a:lnTo>
                  <a:pt x="17" y="86"/>
                </a:lnTo>
                <a:lnTo>
                  <a:pt x="19" y="85"/>
                </a:lnTo>
                <a:lnTo>
                  <a:pt x="19" y="84"/>
                </a:lnTo>
                <a:lnTo>
                  <a:pt x="20" y="83"/>
                </a:lnTo>
                <a:lnTo>
                  <a:pt x="20" y="81"/>
                </a:lnTo>
                <a:lnTo>
                  <a:pt x="20" y="80"/>
                </a:lnTo>
                <a:lnTo>
                  <a:pt x="22" y="80"/>
                </a:lnTo>
                <a:lnTo>
                  <a:pt x="23" y="80"/>
                </a:lnTo>
                <a:lnTo>
                  <a:pt x="23" y="78"/>
                </a:lnTo>
                <a:lnTo>
                  <a:pt x="22" y="76"/>
                </a:lnTo>
                <a:lnTo>
                  <a:pt x="21" y="74"/>
                </a:lnTo>
                <a:lnTo>
                  <a:pt x="21" y="73"/>
                </a:lnTo>
                <a:lnTo>
                  <a:pt x="21" y="72"/>
                </a:lnTo>
                <a:lnTo>
                  <a:pt x="23" y="71"/>
                </a:lnTo>
                <a:lnTo>
                  <a:pt x="24" y="70"/>
                </a:lnTo>
                <a:lnTo>
                  <a:pt x="25" y="69"/>
                </a:lnTo>
                <a:lnTo>
                  <a:pt x="27" y="69"/>
                </a:lnTo>
                <a:lnTo>
                  <a:pt x="30" y="69"/>
                </a:lnTo>
                <a:lnTo>
                  <a:pt x="31" y="67"/>
                </a:lnTo>
                <a:lnTo>
                  <a:pt x="32" y="66"/>
                </a:lnTo>
                <a:lnTo>
                  <a:pt x="33" y="62"/>
                </a:lnTo>
                <a:lnTo>
                  <a:pt x="33" y="60"/>
                </a:lnTo>
                <a:lnTo>
                  <a:pt x="34" y="58"/>
                </a:lnTo>
                <a:lnTo>
                  <a:pt x="35" y="56"/>
                </a:lnTo>
                <a:lnTo>
                  <a:pt x="36" y="54"/>
                </a:lnTo>
                <a:lnTo>
                  <a:pt x="38" y="53"/>
                </a:lnTo>
                <a:lnTo>
                  <a:pt x="41" y="52"/>
                </a:lnTo>
                <a:lnTo>
                  <a:pt x="42" y="49"/>
                </a:lnTo>
                <a:lnTo>
                  <a:pt x="43" y="47"/>
                </a:lnTo>
                <a:lnTo>
                  <a:pt x="43" y="45"/>
                </a:lnTo>
                <a:lnTo>
                  <a:pt x="42" y="43"/>
                </a:lnTo>
                <a:lnTo>
                  <a:pt x="41" y="40"/>
                </a:lnTo>
                <a:lnTo>
                  <a:pt x="41" y="37"/>
                </a:lnTo>
                <a:lnTo>
                  <a:pt x="45" y="37"/>
                </a:lnTo>
                <a:lnTo>
                  <a:pt x="47" y="37"/>
                </a:lnTo>
                <a:lnTo>
                  <a:pt x="52" y="37"/>
                </a:lnTo>
                <a:lnTo>
                  <a:pt x="55" y="35"/>
                </a:lnTo>
                <a:lnTo>
                  <a:pt x="56" y="35"/>
                </a:lnTo>
                <a:lnTo>
                  <a:pt x="60" y="37"/>
                </a:lnTo>
                <a:lnTo>
                  <a:pt x="62" y="35"/>
                </a:lnTo>
                <a:lnTo>
                  <a:pt x="66" y="33"/>
                </a:lnTo>
                <a:lnTo>
                  <a:pt x="71" y="27"/>
                </a:lnTo>
                <a:lnTo>
                  <a:pt x="73" y="26"/>
                </a:lnTo>
                <a:lnTo>
                  <a:pt x="78" y="25"/>
                </a:lnTo>
                <a:lnTo>
                  <a:pt x="79" y="25"/>
                </a:lnTo>
                <a:lnTo>
                  <a:pt x="81" y="25"/>
                </a:lnTo>
                <a:lnTo>
                  <a:pt x="86" y="26"/>
                </a:lnTo>
                <a:lnTo>
                  <a:pt x="89" y="26"/>
                </a:lnTo>
                <a:lnTo>
                  <a:pt x="92" y="25"/>
                </a:lnTo>
                <a:lnTo>
                  <a:pt x="96" y="24"/>
                </a:lnTo>
                <a:lnTo>
                  <a:pt x="97" y="18"/>
                </a:lnTo>
                <a:lnTo>
                  <a:pt x="98" y="17"/>
                </a:lnTo>
                <a:lnTo>
                  <a:pt x="100" y="17"/>
                </a:lnTo>
                <a:lnTo>
                  <a:pt x="102" y="17"/>
                </a:lnTo>
                <a:lnTo>
                  <a:pt x="105" y="18"/>
                </a:lnTo>
                <a:lnTo>
                  <a:pt x="109" y="18"/>
                </a:lnTo>
                <a:lnTo>
                  <a:pt x="112" y="15"/>
                </a:lnTo>
                <a:lnTo>
                  <a:pt x="116" y="15"/>
                </a:lnTo>
                <a:lnTo>
                  <a:pt x="118" y="15"/>
                </a:lnTo>
                <a:lnTo>
                  <a:pt x="121" y="15"/>
                </a:lnTo>
                <a:lnTo>
                  <a:pt x="124" y="15"/>
                </a:lnTo>
                <a:lnTo>
                  <a:pt x="128" y="14"/>
                </a:lnTo>
                <a:lnTo>
                  <a:pt x="132" y="12"/>
                </a:lnTo>
                <a:lnTo>
                  <a:pt x="135" y="12"/>
                </a:lnTo>
                <a:lnTo>
                  <a:pt x="136" y="12"/>
                </a:lnTo>
                <a:lnTo>
                  <a:pt x="137" y="12"/>
                </a:lnTo>
                <a:lnTo>
                  <a:pt x="137" y="9"/>
                </a:lnTo>
                <a:lnTo>
                  <a:pt x="143" y="9"/>
                </a:lnTo>
                <a:lnTo>
                  <a:pt x="145" y="9"/>
                </a:lnTo>
                <a:lnTo>
                  <a:pt x="148" y="10"/>
                </a:lnTo>
                <a:lnTo>
                  <a:pt x="151" y="8"/>
                </a:lnTo>
                <a:lnTo>
                  <a:pt x="152" y="8"/>
                </a:lnTo>
                <a:lnTo>
                  <a:pt x="153" y="12"/>
                </a:lnTo>
                <a:lnTo>
                  <a:pt x="154" y="13"/>
                </a:lnTo>
                <a:lnTo>
                  <a:pt x="156" y="14"/>
                </a:lnTo>
                <a:lnTo>
                  <a:pt x="160" y="16"/>
                </a:lnTo>
                <a:lnTo>
                  <a:pt x="160" y="16"/>
                </a:lnTo>
                <a:lnTo>
                  <a:pt x="162" y="15"/>
                </a:lnTo>
                <a:lnTo>
                  <a:pt x="167" y="16"/>
                </a:lnTo>
                <a:lnTo>
                  <a:pt x="171" y="18"/>
                </a:lnTo>
                <a:lnTo>
                  <a:pt x="175" y="21"/>
                </a:lnTo>
                <a:lnTo>
                  <a:pt x="179" y="20"/>
                </a:lnTo>
                <a:lnTo>
                  <a:pt x="183" y="19"/>
                </a:lnTo>
                <a:lnTo>
                  <a:pt x="186" y="18"/>
                </a:lnTo>
                <a:lnTo>
                  <a:pt x="189" y="18"/>
                </a:lnTo>
                <a:lnTo>
                  <a:pt x="191" y="18"/>
                </a:lnTo>
                <a:lnTo>
                  <a:pt x="196" y="18"/>
                </a:lnTo>
                <a:lnTo>
                  <a:pt x="200" y="17"/>
                </a:lnTo>
                <a:lnTo>
                  <a:pt x="202" y="15"/>
                </a:lnTo>
                <a:lnTo>
                  <a:pt x="203" y="13"/>
                </a:lnTo>
                <a:lnTo>
                  <a:pt x="202" y="10"/>
                </a:lnTo>
                <a:lnTo>
                  <a:pt x="201" y="6"/>
                </a:lnTo>
                <a:lnTo>
                  <a:pt x="200" y="5"/>
                </a:lnTo>
                <a:lnTo>
                  <a:pt x="200" y="3"/>
                </a:lnTo>
                <a:lnTo>
                  <a:pt x="201" y="2"/>
                </a:lnTo>
                <a:lnTo>
                  <a:pt x="201" y="1"/>
                </a:lnTo>
                <a:lnTo>
                  <a:pt x="204" y="0"/>
                </a:lnTo>
                <a:lnTo>
                  <a:pt x="208" y="2"/>
                </a:lnTo>
                <a:close/>
                <a:moveTo>
                  <a:pt x="160" y="47"/>
                </a:moveTo>
                <a:lnTo>
                  <a:pt x="160" y="47"/>
                </a:lnTo>
                <a:lnTo>
                  <a:pt x="156" y="48"/>
                </a:lnTo>
                <a:lnTo>
                  <a:pt x="152" y="46"/>
                </a:lnTo>
                <a:lnTo>
                  <a:pt x="152" y="44"/>
                </a:lnTo>
                <a:lnTo>
                  <a:pt x="154" y="41"/>
                </a:lnTo>
                <a:lnTo>
                  <a:pt x="155" y="40"/>
                </a:lnTo>
                <a:lnTo>
                  <a:pt x="158" y="40"/>
                </a:lnTo>
                <a:lnTo>
                  <a:pt x="160" y="42"/>
                </a:lnTo>
                <a:lnTo>
                  <a:pt x="160" y="43"/>
                </a:lnTo>
                <a:lnTo>
                  <a:pt x="159" y="45"/>
                </a:lnTo>
                <a:lnTo>
                  <a:pt x="160" y="47"/>
                </a:lnTo>
                <a:close/>
                <a:moveTo>
                  <a:pt x="188" y="55"/>
                </a:moveTo>
                <a:lnTo>
                  <a:pt x="188" y="55"/>
                </a:lnTo>
                <a:lnTo>
                  <a:pt x="185" y="56"/>
                </a:lnTo>
                <a:lnTo>
                  <a:pt x="181" y="52"/>
                </a:lnTo>
                <a:lnTo>
                  <a:pt x="184" y="51"/>
                </a:lnTo>
                <a:lnTo>
                  <a:pt x="186" y="52"/>
                </a:lnTo>
                <a:lnTo>
                  <a:pt x="187" y="53"/>
                </a:lnTo>
                <a:lnTo>
                  <a:pt x="188" y="55"/>
                </a:lnTo>
                <a:close/>
                <a:moveTo>
                  <a:pt x="180" y="73"/>
                </a:moveTo>
                <a:lnTo>
                  <a:pt x="180" y="73"/>
                </a:lnTo>
                <a:lnTo>
                  <a:pt x="179" y="74"/>
                </a:lnTo>
                <a:lnTo>
                  <a:pt x="178" y="76"/>
                </a:lnTo>
                <a:lnTo>
                  <a:pt x="178" y="80"/>
                </a:lnTo>
                <a:lnTo>
                  <a:pt x="176" y="80"/>
                </a:lnTo>
                <a:lnTo>
                  <a:pt x="175" y="79"/>
                </a:lnTo>
                <a:lnTo>
                  <a:pt x="175" y="78"/>
                </a:lnTo>
                <a:lnTo>
                  <a:pt x="174" y="76"/>
                </a:lnTo>
                <a:lnTo>
                  <a:pt x="174" y="76"/>
                </a:lnTo>
                <a:lnTo>
                  <a:pt x="173" y="78"/>
                </a:lnTo>
                <a:lnTo>
                  <a:pt x="172" y="79"/>
                </a:lnTo>
                <a:lnTo>
                  <a:pt x="171" y="79"/>
                </a:lnTo>
                <a:lnTo>
                  <a:pt x="169" y="78"/>
                </a:lnTo>
                <a:lnTo>
                  <a:pt x="169" y="76"/>
                </a:lnTo>
                <a:lnTo>
                  <a:pt x="168" y="73"/>
                </a:lnTo>
                <a:lnTo>
                  <a:pt x="169" y="72"/>
                </a:lnTo>
                <a:lnTo>
                  <a:pt x="174" y="72"/>
                </a:lnTo>
                <a:lnTo>
                  <a:pt x="176" y="74"/>
                </a:lnTo>
                <a:lnTo>
                  <a:pt x="178" y="73"/>
                </a:lnTo>
                <a:lnTo>
                  <a:pt x="178" y="71"/>
                </a:lnTo>
                <a:lnTo>
                  <a:pt x="181" y="71"/>
                </a:lnTo>
                <a:lnTo>
                  <a:pt x="180" y="73"/>
                </a:lnTo>
                <a:close/>
                <a:moveTo>
                  <a:pt x="13" y="95"/>
                </a:moveTo>
                <a:lnTo>
                  <a:pt x="13" y="95"/>
                </a:lnTo>
                <a:lnTo>
                  <a:pt x="14" y="97"/>
                </a:lnTo>
                <a:lnTo>
                  <a:pt x="10" y="96"/>
                </a:lnTo>
                <a:lnTo>
                  <a:pt x="7" y="94"/>
                </a:lnTo>
                <a:lnTo>
                  <a:pt x="5" y="89"/>
                </a:lnTo>
                <a:lnTo>
                  <a:pt x="0" y="83"/>
                </a:lnTo>
                <a:lnTo>
                  <a:pt x="0" y="82"/>
                </a:lnTo>
                <a:lnTo>
                  <a:pt x="2" y="80"/>
                </a:lnTo>
                <a:lnTo>
                  <a:pt x="6" y="79"/>
                </a:lnTo>
                <a:lnTo>
                  <a:pt x="7" y="80"/>
                </a:lnTo>
                <a:lnTo>
                  <a:pt x="8" y="81"/>
                </a:lnTo>
                <a:lnTo>
                  <a:pt x="9" y="82"/>
                </a:lnTo>
                <a:lnTo>
                  <a:pt x="7" y="85"/>
                </a:lnTo>
                <a:lnTo>
                  <a:pt x="6" y="86"/>
                </a:lnTo>
                <a:lnTo>
                  <a:pt x="8" y="88"/>
                </a:lnTo>
                <a:lnTo>
                  <a:pt x="8" y="88"/>
                </a:lnTo>
                <a:lnTo>
                  <a:pt x="9" y="92"/>
                </a:lnTo>
                <a:lnTo>
                  <a:pt x="9" y="93"/>
                </a:lnTo>
                <a:lnTo>
                  <a:pt x="12" y="95"/>
                </a:lnTo>
                <a:lnTo>
                  <a:pt x="13" y="95"/>
                </a:lnTo>
                <a:close/>
                <a:moveTo>
                  <a:pt x="211" y="99"/>
                </a:moveTo>
                <a:lnTo>
                  <a:pt x="211" y="99"/>
                </a:lnTo>
                <a:lnTo>
                  <a:pt x="210" y="102"/>
                </a:lnTo>
                <a:lnTo>
                  <a:pt x="214" y="105"/>
                </a:lnTo>
                <a:lnTo>
                  <a:pt x="216" y="108"/>
                </a:lnTo>
                <a:lnTo>
                  <a:pt x="216" y="110"/>
                </a:lnTo>
                <a:lnTo>
                  <a:pt x="216" y="111"/>
                </a:lnTo>
                <a:lnTo>
                  <a:pt x="214" y="110"/>
                </a:lnTo>
                <a:lnTo>
                  <a:pt x="213" y="109"/>
                </a:lnTo>
                <a:lnTo>
                  <a:pt x="214" y="111"/>
                </a:lnTo>
                <a:lnTo>
                  <a:pt x="215" y="113"/>
                </a:lnTo>
                <a:lnTo>
                  <a:pt x="213" y="113"/>
                </a:lnTo>
                <a:lnTo>
                  <a:pt x="210" y="113"/>
                </a:lnTo>
                <a:lnTo>
                  <a:pt x="203" y="111"/>
                </a:lnTo>
                <a:lnTo>
                  <a:pt x="201" y="109"/>
                </a:lnTo>
                <a:lnTo>
                  <a:pt x="206" y="106"/>
                </a:lnTo>
                <a:lnTo>
                  <a:pt x="206" y="104"/>
                </a:lnTo>
                <a:lnTo>
                  <a:pt x="203" y="105"/>
                </a:lnTo>
                <a:lnTo>
                  <a:pt x="200" y="109"/>
                </a:lnTo>
                <a:lnTo>
                  <a:pt x="195" y="107"/>
                </a:lnTo>
                <a:lnTo>
                  <a:pt x="193" y="105"/>
                </a:lnTo>
                <a:lnTo>
                  <a:pt x="193" y="104"/>
                </a:lnTo>
                <a:lnTo>
                  <a:pt x="195" y="101"/>
                </a:lnTo>
                <a:lnTo>
                  <a:pt x="199" y="101"/>
                </a:lnTo>
                <a:lnTo>
                  <a:pt x="201" y="100"/>
                </a:lnTo>
                <a:lnTo>
                  <a:pt x="203" y="99"/>
                </a:lnTo>
                <a:lnTo>
                  <a:pt x="203" y="97"/>
                </a:lnTo>
                <a:lnTo>
                  <a:pt x="209" y="97"/>
                </a:lnTo>
                <a:lnTo>
                  <a:pt x="211" y="99"/>
                </a:lnTo>
                <a:close/>
                <a:moveTo>
                  <a:pt x="132" y="106"/>
                </a:moveTo>
                <a:lnTo>
                  <a:pt x="132" y="106"/>
                </a:lnTo>
                <a:lnTo>
                  <a:pt x="131" y="107"/>
                </a:lnTo>
                <a:lnTo>
                  <a:pt x="132" y="103"/>
                </a:lnTo>
                <a:lnTo>
                  <a:pt x="135" y="102"/>
                </a:lnTo>
                <a:lnTo>
                  <a:pt x="134" y="104"/>
                </a:lnTo>
                <a:lnTo>
                  <a:pt x="132" y="106"/>
                </a:lnTo>
                <a:close/>
                <a:moveTo>
                  <a:pt x="129" y="108"/>
                </a:moveTo>
                <a:lnTo>
                  <a:pt x="129" y="108"/>
                </a:lnTo>
                <a:lnTo>
                  <a:pt x="127" y="109"/>
                </a:lnTo>
                <a:lnTo>
                  <a:pt x="125" y="109"/>
                </a:lnTo>
                <a:lnTo>
                  <a:pt x="123" y="104"/>
                </a:lnTo>
                <a:lnTo>
                  <a:pt x="129" y="108"/>
                </a:lnTo>
                <a:close/>
                <a:moveTo>
                  <a:pt x="117" y="114"/>
                </a:moveTo>
                <a:lnTo>
                  <a:pt x="117" y="114"/>
                </a:lnTo>
                <a:lnTo>
                  <a:pt x="119" y="118"/>
                </a:lnTo>
                <a:lnTo>
                  <a:pt x="121" y="120"/>
                </a:lnTo>
                <a:lnTo>
                  <a:pt x="124" y="122"/>
                </a:lnTo>
                <a:lnTo>
                  <a:pt x="126" y="122"/>
                </a:lnTo>
                <a:lnTo>
                  <a:pt x="132" y="125"/>
                </a:lnTo>
                <a:lnTo>
                  <a:pt x="139" y="125"/>
                </a:lnTo>
                <a:lnTo>
                  <a:pt x="139" y="126"/>
                </a:lnTo>
                <a:lnTo>
                  <a:pt x="140" y="129"/>
                </a:lnTo>
                <a:lnTo>
                  <a:pt x="142" y="131"/>
                </a:lnTo>
                <a:lnTo>
                  <a:pt x="142" y="132"/>
                </a:lnTo>
                <a:lnTo>
                  <a:pt x="141" y="134"/>
                </a:lnTo>
                <a:lnTo>
                  <a:pt x="142" y="139"/>
                </a:lnTo>
                <a:lnTo>
                  <a:pt x="144" y="143"/>
                </a:lnTo>
                <a:lnTo>
                  <a:pt x="147" y="146"/>
                </a:lnTo>
                <a:lnTo>
                  <a:pt x="150" y="146"/>
                </a:lnTo>
                <a:lnTo>
                  <a:pt x="153" y="146"/>
                </a:lnTo>
                <a:lnTo>
                  <a:pt x="154" y="147"/>
                </a:lnTo>
                <a:lnTo>
                  <a:pt x="154" y="151"/>
                </a:lnTo>
                <a:lnTo>
                  <a:pt x="152" y="153"/>
                </a:lnTo>
                <a:lnTo>
                  <a:pt x="151" y="153"/>
                </a:lnTo>
                <a:lnTo>
                  <a:pt x="150" y="153"/>
                </a:lnTo>
                <a:lnTo>
                  <a:pt x="149" y="152"/>
                </a:lnTo>
                <a:lnTo>
                  <a:pt x="148" y="151"/>
                </a:lnTo>
                <a:lnTo>
                  <a:pt x="147" y="151"/>
                </a:lnTo>
                <a:lnTo>
                  <a:pt x="145" y="150"/>
                </a:lnTo>
                <a:lnTo>
                  <a:pt x="142" y="147"/>
                </a:lnTo>
                <a:lnTo>
                  <a:pt x="141" y="146"/>
                </a:lnTo>
                <a:lnTo>
                  <a:pt x="141" y="144"/>
                </a:lnTo>
                <a:lnTo>
                  <a:pt x="140" y="142"/>
                </a:lnTo>
                <a:lnTo>
                  <a:pt x="139" y="140"/>
                </a:lnTo>
                <a:lnTo>
                  <a:pt x="137" y="139"/>
                </a:lnTo>
                <a:lnTo>
                  <a:pt x="137" y="137"/>
                </a:lnTo>
                <a:lnTo>
                  <a:pt x="137" y="137"/>
                </a:lnTo>
                <a:lnTo>
                  <a:pt x="132" y="136"/>
                </a:lnTo>
                <a:lnTo>
                  <a:pt x="128" y="136"/>
                </a:lnTo>
                <a:lnTo>
                  <a:pt x="125" y="135"/>
                </a:lnTo>
                <a:lnTo>
                  <a:pt x="124" y="130"/>
                </a:lnTo>
                <a:lnTo>
                  <a:pt x="122" y="129"/>
                </a:lnTo>
                <a:lnTo>
                  <a:pt x="120" y="128"/>
                </a:lnTo>
                <a:lnTo>
                  <a:pt x="119" y="126"/>
                </a:lnTo>
                <a:lnTo>
                  <a:pt x="116" y="123"/>
                </a:lnTo>
                <a:lnTo>
                  <a:pt x="112" y="120"/>
                </a:lnTo>
                <a:lnTo>
                  <a:pt x="109" y="119"/>
                </a:lnTo>
                <a:lnTo>
                  <a:pt x="105" y="117"/>
                </a:lnTo>
                <a:lnTo>
                  <a:pt x="102" y="119"/>
                </a:lnTo>
                <a:lnTo>
                  <a:pt x="101" y="118"/>
                </a:lnTo>
                <a:lnTo>
                  <a:pt x="100" y="118"/>
                </a:lnTo>
                <a:lnTo>
                  <a:pt x="104" y="116"/>
                </a:lnTo>
                <a:lnTo>
                  <a:pt x="109" y="112"/>
                </a:lnTo>
                <a:lnTo>
                  <a:pt x="112" y="111"/>
                </a:lnTo>
                <a:lnTo>
                  <a:pt x="114" y="111"/>
                </a:lnTo>
                <a:lnTo>
                  <a:pt x="117" y="114"/>
                </a:lnTo>
                <a:close/>
                <a:moveTo>
                  <a:pt x="157" y="120"/>
                </a:moveTo>
                <a:lnTo>
                  <a:pt x="157" y="120"/>
                </a:lnTo>
                <a:lnTo>
                  <a:pt x="153" y="121"/>
                </a:lnTo>
                <a:lnTo>
                  <a:pt x="152" y="121"/>
                </a:lnTo>
                <a:lnTo>
                  <a:pt x="153" y="120"/>
                </a:lnTo>
                <a:lnTo>
                  <a:pt x="153" y="119"/>
                </a:lnTo>
                <a:lnTo>
                  <a:pt x="150" y="117"/>
                </a:lnTo>
                <a:lnTo>
                  <a:pt x="150" y="114"/>
                </a:lnTo>
                <a:lnTo>
                  <a:pt x="151" y="113"/>
                </a:lnTo>
                <a:lnTo>
                  <a:pt x="153" y="115"/>
                </a:lnTo>
                <a:lnTo>
                  <a:pt x="154" y="117"/>
                </a:lnTo>
                <a:lnTo>
                  <a:pt x="157" y="120"/>
                </a:lnTo>
                <a:close/>
                <a:moveTo>
                  <a:pt x="32" y="128"/>
                </a:moveTo>
                <a:lnTo>
                  <a:pt x="32" y="128"/>
                </a:lnTo>
                <a:lnTo>
                  <a:pt x="31" y="128"/>
                </a:lnTo>
                <a:lnTo>
                  <a:pt x="30" y="128"/>
                </a:lnTo>
                <a:lnTo>
                  <a:pt x="29" y="128"/>
                </a:lnTo>
                <a:lnTo>
                  <a:pt x="28" y="129"/>
                </a:lnTo>
                <a:lnTo>
                  <a:pt x="28" y="126"/>
                </a:lnTo>
                <a:lnTo>
                  <a:pt x="29" y="122"/>
                </a:lnTo>
                <a:lnTo>
                  <a:pt x="31" y="120"/>
                </a:lnTo>
                <a:lnTo>
                  <a:pt x="32" y="119"/>
                </a:lnTo>
                <a:lnTo>
                  <a:pt x="33" y="120"/>
                </a:lnTo>
                <a:lnTo>
                  <a:pt x="33" y="127"/>
                </a:lnTo>
                <a:lnTo>
                  <a:pt x="32" y="128"/>
                </a:lnTo>
                <a:close/>
                <a:moveTo>
                  <a:pt x="201" y="143"/>
                </a:moveTo>
                <a:lnTo>
                  <a:pt x="201" y="143"/>
                </a:lnTo>
                <a:lnTo>
                  <a:pt x="198" y="146"/>
                </a:lnTo>
                <a:lnTo>
                  <a:pt x="194" y="142"/>
                </a:lnTo>
                <a:lnTo>
                  <a:pt x="194" y="141"/>
                </a:lnTo>
                <a:lnTo>
                  <a:pt x="196" y="140"/>
                </a:lnTo>
                <a:lnTo>
                  <a:pt x="198" y="138"/>
                </a:lnTo>
                <a:lnTo>
                  <a:pt x="197" y="136"/>
                </a:lnTo>
                <a:lnTo>
                  <a:pt x="193" y="132"/>
                </a:lnTo>
                <a:lnTo>
                  <a:pt x="193" y="129"/>
                </a:lnTo>
                <a:lnTo>
                  <a:pt x="198" y="128"/>
                </a:lnTo>
                <a:lnTo>
                  <a:pt x="201" y="130"/>
                </a:lnTo>
                <a:lnTo>
                  <a:pt x="203" y="131"/>
                </a:lnTo>
                <a:lnTo>
                  <a:pt x="202" y="133"/>
                </a:lnTo>
                <a:lnTo>
                  <a:pt x="203" y="134"/>
                </a:lnTo>
                <a:lnTo>
                  <a:pt x="203" y="140"/>
                </a:lnTo>
                <a:lnTo>
                  <a:pt x="201" y="141"/>
                </a:lnTo>
                <a:lnTo>
                  <a:pt x="201" y="143"/>
                </a:lnTo>
                <a:lnTo>
                  <a:pt x="201" y="143"/>
                </a:lnTo>
                <a:close/>
                <a:moveTo>
                  <a:pt x="34" y="139"/>
                </a:moveTo>
                <a:lnTo>
                  <a:pt x="34" y="139"/>
                </a:lnTo>
                <a:lnTo>
                  <a:pt x="33" y="139"/>
                </a:lnTo>
                <a:lnTo>
                  <a:pt x="31" y="136"/>
                </a:lnTo>
                <a:lnTo>
                  <a:pt x="30" y="133"/>
                </a:lnTo>
                <a:lnTo>
                  <a:pt x="31" y="133"/>
                </a:lnTo>
                <a:lnTo>
                  <a:pt x="32" y="133"/>
                </a:lnTo>
                <a:lnTo>
                  <a:pt x="33" y="134"/>
                </a:lnTo>
                <a:lnTo>
                  <a:pt x="33" y="135"/>
                </a:lnTo>
                <a:lnTo>
                  <a:pt x="33" y="136"/>
                </a:lnTo>
                <a:lnTo>
                  <a:pt x="34" y="138"/>
                </a:lnTo>
                <a:lnTo>
                  <a:pt x="34" y="139"/>
                </a:lnTo>
                <a:close/>
                <a:moveTo>
                  <a:pt x="30" y="137"/>
                </a:moveTo>
                <a:lnTo>
                  <a:pt x="30" y="137"/>
                </a:lnTo>
                <a:lnTo>
                  <a:pt x="30" y="141"/>
                </a:lnTo>
                <a:lnTo>
                  <a:pt x="32" y="142"/>
                </a:lnTo>
                <a:lnTo>
                  <a:pt x="35" y="146"/>
                </a:lnTo>
                <a:lnTo>
                  <a:pt x="35" y="149"/>
                </a:lnTo>
                <a:lnTo>
                  <a:pt x="35" y="149"/>
                </a:lnTo>
                <a:lnTo>
                  <a:pt x="30" y="147"/>
                </a:lnTo>
                <a:lnTo>
                  <a:pt x="29" y="148"/>
                </a:lnTo>
                <a:lnTo>
                  <a:pt x="27" y="148"/>
                </a:lnTo>
                <a:lnTo>
                  <a:pt x="26" y="146"/>
                </a:lnTo>
                <a:lnTo>
                  <a:pt x="26" y="145"/>
                </a:lnTo>
                <a:lnTo>
                  <a:pt x="26" y="143"/>
                </a:lnTo>
                <a:lnTo>
                  <a:pt x="25" y="143"/>
                </a:lnTo>
                <a:lnTo>
                  <a:pt x="23" y="145"/>
                </a:lnTo>
                <a:lnTo>
                  <a:pt x="22" y="145"/>
                </a:lnTo>
                <a:lnTo>
                  <a:pt x="22" y="143"/>
                </a:lnTo>
                <a:lnTo>
                  <a:pt x="24" y="139"/>
                </a:lnTo>
                <a:lnTo>
                  <a:pt x="24" y="138"/>
                </a:lnTo>
                <a:lnTo>
                  <a:pt x="26" y="139"/>
                </a:lnTo>
                <a:lnTo>
                  <a:pt x="27" y="139"/>
                </a:lnTo>
                <a:lnTo>
                  <a:pt x="28" y="136"/>
                </a:lnTo>
                <a:lnTo>
                  <a:pt x="28" y="134"/>
                </a:lnTo>
                <a:lnTo>
                  <a:pt x="28" y="133"/>
                </a:lnTo>
                <a:lnTo>
                  <a:pt x="30" y="137"/>
                </a:lnTo>
                <a:close/>
                <a:moveTo>
                  <a:pt x="122" y="155"/>
                </a:moveTo>
                <a:lnTo>
                  <a:pt x="122" y="155"/>
                </a:lnTo>
                <a:lnTo>
                  <a:pt x="120" y="156"/>
                </a:lnTo>
                <a:lnTo>
                  <a:pt x="119" y="156"/>
                </a:lnTo>
                <a:lnTo>
                  <a:pt x="118" y="156"/>
                </a:lnTo>
                <a:lnTo>
                  <a:pt x="117" y="155"/>
                </a:lnTo>
                <a:lnTo>
                  <a:pt x="118" y="154"/>
                </a:lnTo>
                <a:lnTo>
                  <a:pt x="119" y="153"/>
                </a:lnTo>
                <a:lnTo>
                  <a:pt x="119" y="152"/>
                </a:lnTo>
                <a:lnTo>
                  <a:pt x="120" y="153"/>
                </a:lnTo>
                <a:lnTo>
                  <a:pt x="121" y="153"/>
                </a:lnTo>
                <a:lnTo>
                  <a:pt x="122" y="155"/>
                </a:lnTo>
                <a:close/>
                <a:moveTo>
                  <a:pt x="166" y="162"/>
                </a:moveTo>
                <a:lnTo>
                  <a:pt x="166" y="162"/>
                </a:lnTo>
                <a:lnTo>
                  <a:pt x="166" y="164"/>
                </a:lnTo>
                <a:lnTo>
                  <a:pt x="163" y="161"/>
                </a:lnTo>
                <a:lnTo>
                  <a:pt x="160" y="159"/>
                </a:lnTo>
                <a:lnTo>
                  <a:pt x="159" y="157"/>
                </a:lnTo>
                <a:lnTo>
                  <a:pt x="158" y="156"/>
                </a:lnTo>
                <a:lnTo>
                  <a:pt x="157" y="154"/>
                </a:lnTo>
                <a:lnTo>
                  <a:pt x="159" y="153"/>
                </a:lnTo>
                <a:lnTo>
                  <a:pt x="160" y="152"/>
                </a:lnTo>
                <a:lnTo>
                  <a:pt x="162" y="155"/>
                </a:lnTo>
                <a:lnTo>
                  <a:pt x="165" y="156"/>
                </a:lnTo>
                <a:lnTo>
                  <a:pt x="165" y="158"/>
                </a:lnTo>
                <a:lnTo>
                  <a:pt x="166" y="160"/>
                </a:lnTo>
                <a:lnTo>
                  <a:pt x="166" y="162"/>
                </a:lnTo>
                <a:close/>
                <a:moveTo>
                  <a:pt x="39" y="160"/>
                </a:moveTo>
                <a:lnTo>
                  <a:pt x="39" y="160"/>
                </a:lnTo>
                <a:lnTo>
                  <a:pt x="42" y="164"/>
                </a:lnTo>
                <a:lnTo>
                  <a:pt x="39" y="163"/>
                </a:lnTo>
                <a:lnTo>
                  <a:pt x="36" y="165"/>
                </a:lnTo>
                <a:lnTo>
                  <a:pt x="33" y="162"/>
                </a:lnTo>
                <a:lnTo>
                  <a:pt x="31" y="159"/>
                </a:lnTo>
                <a:lnTo>
                  <a:pt x="30" y="158"/>
                </a:lnTo>
                <a:lnTo>
                  <a:pt x="32" y="155"/>
                </a:lnTo>
                <a:lnTo>
                  <a:pt x="34" y="158"/>
                </a:lnTo>
                <a:lnTo>
                  <a:pt x="37" y="158"/>
                </a:lnTo>
                <a:lnTo>
                  <a:pt x="39" y="160"/>
                </a:lnTo>
                <a:close/>
                <a:moveTo>
                  <a:pt x="224" y="159"/>
                </a:moveTo>
                <a:lnTo>
                  <a:pt x="224" y="159"/>
                </a:lnTo>
                <a:lnTo>
                  <a:pt x="227" y="161"/>
                </a:lnTo>
                <a:lnTo>
                  <a:pt x="229" y="161"/>
                </a:lnTo>
                <a:lnTo>
                  <a:pt x="230" y="161"/>
                </a:lnTo>
                <a:lnTo>
                  <a:pt x="231" y="163"/>
                </a:lnTo>
                <a:lnTo>
                  <a:pt x="228" y="164"/>
                </a:lnTo>
                <a:lnTo>
                  <a:pt x="224" y="166"/>
                </a:lnTo>
                <a:lnTo>
                  <a:pt x="222" y="166"/>
                </a:lnTo>
                <a:lnTo>
                  <a:pt x="220" y="164"/>
                </a:lnTo>
                <a:lnTo>
                  <a:pt x="217" y="163"/>
                </a:lnTo>
                <a:lnTo>
                  <a:pt x="216" y="163"/>
                </a:lnTo>
                <a:lnTo>
                  <a:pt x="218" y="161"/>
                </a:lnTo>
                <a:lnTo>
                  <a:pt x="221" y="160"/>
                </a:lnTo>
                <a:lnTo>
                  <a:pt x="224" y="159"/>
                </a:lnTo>
                <a:close/>
                <a:moveTo>
                  <a:pt x="147" y="169"/>
                </a:moveTo>
                <a:lnTo>
                  <a:pt x="147" y="169"/>
                </a:lnTo>
                <a:lnTo>
                  <a:pt x="145" y="171"/>
                </a:lnTo>
                <a:lnTo>
                  <a:pt x="144" y="168"/>
                </a:lnTo>
                <a:lnTo>
                  <a:pt x="146" y="165"/>
                </a:lnTo>
                <a:lnTo>
                  <a:pt x="147" y="164"/>
                </a:lnTo>
                <a:lnTo>
                  <a:pt x="148" y="166"/>
                </a:lnTo>
                <a:lnTo>
                  <a:pt x="147" y="169"/>
                </a:lnTo>
                <a:close/>
                <a:moveTo>
                  <a:pt x="175" y="168"/>
                </a:moveTo>
                <a:lnTo>
                  <a:pt x="175" y="168"/>
                </a:lnTo>
                <a:lnTo>
                  <a:pt x="174" y="170"/>
                </a:lnTo>
                <a:lnTo>
                  <a:pt x="172" y="170"/>
                </a:lnTo>
                <a:lnTo>
                  <a:pt x="168" y="167"/>
                </a:lnTo>
                <a:lnTo>
                  <a:pt x="167" y="166"/>
                </a:lnTo>
                <a:lnTo>
                  <a:pt x="167" y="165"/>
                </a:lnTo>
                <a:lnTo>
                  <a:pt x="168" y="165"/>
                </a:lnTo>
                <a:lnTo>
                  <a:pt x="170" y="166"/>
                </a:lnTo>
                <a:lnTo>
                  <a:pt x="174" y="167"/>
                </a:lnTo>
                <a:lnTo>
                  <a:pt x="175" y="168"/>
                </a:lnTo>
                <a:close/>
                <a:moveTo>
                  <a:pt x="199" y="171"/>
                </a:moveTo>
                <a:lnTo>
                  <a:pt x="199" y="171"/>
                </a:lnTo>
                <a:lnTo>
                  <a:pt x="197" y="171"/>
                </a:lnTo>
                <a:lnTo>
                  <a:pt x="198" y="169"/>
                </a:lnTo>
                <a:lnTo>
                  <a:pt x="201" y="166"/>
                </a:lnTo>
                <a:lnTo>
                  <a:pt x="204" y="166"/>
                </a:lnTo>
                <a:lnTo>
                  <a:pt x="208" y="165"/>
                </a:lnTo>
                <a:lnTo>
                  <a:pt x="209" y="165"/>
                </a:lnTo>
                <a:lnTo>
                  <a:pt x="207" y="167"/>
                </a:lnTo>
                <a:lnTo>
                  <a:pt x="204" y="169"/>
                </a:lnTo>
                <a:lnTo>
                  <a:pt x="199" y="171"/>
                </a:lnTo>
                <a:close/>
                <a:moveTo>
                  <a:pt x="179" y="175"/>
                </a:moveTo>
                <a:lnTo>
                  <a:pt x="179" y="175"/>
                </a:lnTo>
                <a:lnTo>
                  <a:pt x="176" y="175"/>
                </a:lnTo>
                <a:lnTo>
                  <a:pt x="176" y="172"/>
                </a:lnTo>
                <a:lnTo>
                  <a:pt x="178" y="171"/>
                </a:lnTo>
                <a:lnTo>
                  <a:pt x="181" y="173"/>
                </a:lnTo>
                <a:lnTo>
                  <a:pt x="181" y="174"/>
                </a:lnTo>
                <a:lnTo>
                  <a:pt x="179" y="175"/>
                </a:lnTo>
                <a:close/>
                <a:moveTo>
                  <a:pt x="165" y="172"/>
                </a:moveTo>
                <a:lnTo>
                  <a:pt x="165" y="172"/>
                </a:lnTo>
                <a:lnTo>
                  <a:pt x="165" y="176"/>
                </a:lnTo>
                <a:lnTo>
                  <a:pt x="164" y="176"/>
                </a:lnTo>
                <a:lnTo>
                  <a:pt x="163" y="175"/>
                </a:lnTo>
                <a:lnTo>
                  <a:pt x="163" y="174"/>
                </a:lnTo>
                <a:lnTo>
                  <a:pt x="164" y="171"/>
                </a:lnTo>
                <a:lnTo>
                  <a:pt x="165" y="172"/>
                </a:lnTo>
                <a:close/>
                <a:moveTo>
                  <a:pt x="149" y="178"/>
                </a:moveTo>
                <a:lnTo>
                  <a:pt x="149" y="178"/>
                </a:lnTo>
                <a:lnTo>
                  <a:pt x="147" y="179"/>
                </a:lnTo>
                <a:lnTo>
                  <a:pt x="148" y="176"/>
                </a:lnTo>
                <a:lnTo>
                  <a:pt x="147" y="175"/>
                </a:lnTo>
                <a:lnTo>
                  <a:pt x="148" y="174"/>
                </a:lnTo>
                <a:lnTo>
                  <a:pt x="149" y="173"/>
                </a:lnTo>
                <a:lnTo>
                  <a:pt x="150" y="174"/>
                </a:lnTo>
                <a:lnTo>
                  <a:pt x="150" y="175"/>
                </a:lnTo>
                <a:lnTo>
                  <a:pt x="149" y="178"/>
                </a:lnTo>
                <a:close/>
                <a:moveTo>
                  <a:pt x="152" y="186"/>
                </a:moveTo>
                <a:lnTo>
                  <a:pt x="152" y="186"/>
                </a:lnTo>
                <a:lnTo>
                  <a:pt x="151" y="187"/>
                </a:lnTo>
                <a:lnTo>
                  <a:pt x="149" y="186"/>
                </a:lnTo>
                <a:lnTo>
                  <a:pt x="149" y="184"/>
                </a:lnTo>
                <a:lnTo>
                  <a:pt x="151" y="183"/>
                </a:lnTo>
                <a:lnTo>
                  <a:pt x="152" y="184"/>
                </a:lnTo>
                <a:lnTo>
                  <a:pt x="152" y="185"/>
                </a:lnTo>
                <a:lnTo>
                  <a:pt x="152" y="186"/>
                </a:lnTo>
                <a:close/>
                <a:moveTo>
                  <a:pt x="184" y="192"/>
                </a:moveTo>
                <a:lnTo>
                  <a:pt x="184" y="192"/>
                </a:lnTo>
                <a:lnTo>
                  <a:pt x="181" y="194"/>
                </a:lnTo>
                <a:lnTo>
                  <a:pt x="179" y="192"/>
                </a:lnTo>
                <a:lnTo>
                  <a:pt x="178" y="188"/>
                </a:lnTo>
                <a:lnTo>
                  <a:pt x="183" y="184"/>
                </a:lnTo>
                <a:lnTo>
                  <a:pt x="184" y="184"/>
                </a:lnTo>
                <a:lnTo>
                  <a:pt x="185" y="185"/>
                </a:lnTo>
                <a:lnTo>
                  <a:pt x="185" y="190"/>
                </a:lnTo>
                <a:lnTo>
                  <a:pt x="184" y="192"/>
                </a:lnTo>
                <a:close/>
                <a:moveTo>
                  <a:pt x="175" y="189"/>
                </a:moveTo>
                <a:lnTo>
                  <a:pt x="175" y="189"/>
                </a:lnTo>
                <a:lnTo>
                  <a:pt x="173" y="192"/>
                </a:lnTo>
                <a:lnTo>
                  <a:pt x="171" y="191"/>
                </a:lnTo>
                <a:lnTo>
                  <a:pt x="170" y="190"/>
                </a:lnTo>
                <a:lnTo>
                  <a:pt x="171" y="187"/>
                </a:lnTo>
                <a:lnTo>
                  <a:pt x="174" y="185"/>
                </a:lnTo>
                <a:lnTo>
                  <a:pt x="175" y="186"/>
                </a:lnTo>
                <a:lnTo>
                  <a:pt x="175" y="188"/>
                </a:lnTo>
                <a:lnTo>
                  <a:pt x="175" y="189"/>
                </a:lnTo>
                <a:close/>
                <a:moveTo>
                  <a:pt x="230" y="193"/>
                </a:moveTo>
                <a:lnTo>
                  <a:pt x="230" y="193"/>
                </a:lnTo>
                <a:lnTo>
                  <a:pt x="227" y="193"/>
                </a:lnTo>
                <a:lnTo>
                  <a:pt x="227" y="190"/>
                </a:lnTo>
                <a:lnTo>
                  <a:pt x="226" y="188"/>
                </a:lnTo>
                <a:lnTo>
                  <a:pt x="228" y="189"/>
                </a:lnTo>
                <a:lnTo>
                  <a:pt x="230" y="191"/>
                </a:lnTo>
                <a:lnTo>
                  <a:pt x="230" y="191"/>
                </a:lnTo>
                <a:lnTo>
                  <a:pt x="230" y="192"/>
                </a:lnTo>
                <a:lnTo>
                  <a:pt x="230" y="193"/>
                </a:lnTo>
                <a:close/>
                <a:moveTo>
                  <a:pt x="158" y="194"/>
                </a:moveTo>
                <a:lnTo>
                  <a:pt x="158" y="194"/>
                </a:lnTo>
                <a:lnTo>
                  <a:pt x="157" y="194"/>
                </a:lnTo>
                <a:lnTo>
                  <a:pt x="157" y="193"/>
                </a:lnTo>
                <a:lnTo>
                  <a:pt x="156" y="191"/>
                </a:lnTo>
                <a:lnTo>
                  <a:pt x="157" y="190"/>
                </a:lnTo>
                <a:lnTo>
                  <a:pt x="158" y="190"/>
                </a:lnTo>
                <a:lnTo>
                  <a:pt x="159" y="193"/>
                </a:lnTo>
                <a:lnTo>
                  <a:pt x="158" y="194"/>
                </a:lnTo>
                <a:close/>
                <a:moveTo>
                  <a:pt x="194" y="199"/>
                </a:moveTo>
                <a:lnTo>
                  <a:pt x="194" y="199"/>
                </a:lnTo>
                <a:lnTo>
                  <a:pt x="191" y="200"/>
                </a:lnTo>
                <a:lnTo>
                  <a:pt x="190" y="199"/>
                </a:lnTo>
                <a:lnTo>
                  <a:pt x="192" y="199"/>
                </a:lnTo>
                <a:lnTo>
                  <a:pt x="193" y="198"/>
                </a:lnTo>
                <a:lnTo>
                  <a:pt x="193" y="197"/>
                </a:lnTo>
                <a:lnTo>
                  <a:pt x="196" y="196"/>
                </a:lnTo>
                <a:lnTo>
                  <a:pt x="198" y="194"/>
                </a:lnTo>
                <a:lnTo>
                  <a:pt x="200" y="195"/>
                </a:lnTo>
                <a:lnTo>
                  <a:pt x="197" y="196"/>
                </a:lnTo>
                <a:lnTo>
                  <a:pt x="194" y="199"/>
                </a:lnTo>
                <a:close/>
                <a:moveTo>
                  <a:pt x="227" y="202"/>
                </a:moveTo>
                <a:lnTo>
                  <a:pt x="227" y="202"/>
                </a:lnTo>
                <a:lnTo>
                  <a:pt x="227" y="202"/>
                </a:lnTo>
                <a:lnTo>
                  <a:pt x="228" y="200"/>
                </a:lnTo>
                <a:lnTo>
                  <a:pt x="231" y="197"/>
                </a:lnTo>
                <a:lnTo>
                  <a:pt x="236" y="195"/>
                </a:lnTo>
                <a:lnTo>
                  <a:pt x="237" y="195"/>
                </a:lnTo>
                <a:lnTo>
                  <a:pt x="240" y="196"/>
                </a:lnTo>
                <a:lnTo>
                  <a:pt x="235" y="199"/>
                </a:lnTo>
                <a:lnTo>
                  <a:pt x="234" y="200"/>
                </a:lnTo>
                <a:lnTo>
                  <a:pt x="230" y="200"/>
                </a:lnTo>
                <a:lnTo>
                  <a:pt x="227" y="202"/>
                </a:lnTo>
                <a:close/>
                <a:moveTo>
                  <a:pt x="179" y="204"/>
                </a:moveTo>
                <a:lnTo>
                  <a:pt x="179" y="204"/>
                </a:lnTo>
                <a:lnTo>
                  <a:pt x="178" y="204"/>
                </a:lnTo>
                <a:lnTo>
                  <a:pt x="176" y="202"/>
                </a:lnTo>
                <a:lnTo>
                  <a:pt x="175" y="201"/>
                </a:lnTo>
                <a:lnTo>
                  <a:pt x="176" y="199"/>
                </a:lnTo>
                <a:lnTo>
                  <a:pt x="179" y="202"/>
                </a:lnTo>
                <a:lnTo>
                  <a:pt x="179" y="204"/>
                </a:lnTo>
                <a:close/>
                <a:moveTo>
                  <a:pt x="152" y="200"/>
                </a:moveTo>
                <a:lnTo>
                  <a:pt x="152" y="200"/>
                </a:lnTo>
                <a:lnTo>
                  <a:pt x="152" y="203"/>
                </a:lnTo>
                <a:lnTo>
                  <a:pt x="152" y="203"/>
                </a:lnTo>
                <a:lnTo>
                  <a:pt x="146" y="205"/>
                </a:lnTo>
                <a:lnTo>
                  <a:pt x="146" y="202"/>
                </a:lnTo>
                <a:lnTo>
                  <a:pt x="147" y="201"/>
                </a:lnTo>
                <a:lnTo>
                  <a:pt x="149" y="202"/>
                </a:lnTo>
                <a:lnTo>
                  <a:pt x="150" y="202"/>
                </a:lnTo>
                <a:lnTo>
                  <a:pt x="150" y="201"/>
                </a:lnTo>
                <a:lnTo>
                  <a:pt x="152" y="200"/>
                </a:lnTo>
                <a:close/>
                <a:moveTo>
                  <a:pt x="256" y="208"/>
                </a:moveTo>
                <a:lnTo>
                  <a:pt x="256" y="208"/>
                </a:lnTo>
                <a:lnTo>
                  <a:pt x="255" y="209"/>
                </a:lnTo>
                <a:lnTo>
                  <a:pt x="254" y="207"/>
                </a:lnTo>
                <a:lnTo>
                  <a:pt x="254" y="206"/>
                </a:lnTo>
                <a:lnTo>
                  <a:pt x="255" y="205"/>
                </a:lnTo>
                <a:lnTo>
                  <a:pt x="256" y="205"/>
                </a:lnTo>
                <a:lnTo>
                  <a:pt x="256" y="206"/>
                </a:lnTo>
                <a:lnTo>
                  <a:pt x="256" y="207"/>
                </a:lnTo>
                <a:lnTo>
                  <a:pt x="256" y="208"/>
                </a:lnTo>
                <a:close/>
                <a:moveTo>
                  <a:pt x="212" y="207"/>
                </a:moveTo>
                <a:lnTo>
                  <a:pt x="212" y="207"/>
                </a:lnTo>
                <a:lnTo>
                  <a:pt x="210" y="208"/>
                </a:lnTo>
                <a:lnTo>
                  <a:pt x="208" y="210"/>
                </a:lnTo>
                <a:lnTo>
                  <a:pt x="206" y="209"/>
                </a:lnTo>
                <a:lnTo>
                  <a:pt x="206" y="207"/>
                </a:lnTo>
                <a:lnTo>
                  <a:pt x="208" y="207"/>
                </a:lnTo>
                <a:lnTo>
                  <a:pt x="210" y="206"/>
                </a:lnTo>
                <a:lnTo>
                  <a:pt x="209" y="205"/>
                </a:lnTo>
                <a:lnTo>
                  <a:pt x="211" y="206"/>
                </a:lnTo>
                <a:lnTo>
                  <a:pt x="212" y="207"/>
                </a:lnTo>
                <a:close/>
                <a:moveTo>
                  <a:pt x="182" y="215"/>
                </a:moveTo>
                <a:lnTo>
                  <a:pt x="182" y="215"/>
                </a:lnTo>
                <a:lnTo>
                  <a:pt x="180" y="217"/>
                </a:lnTo>
                <a:lnTo>
                  <a:pt x="178" y="216"/>
                </a:lnTo>
                <a:lnTo>
                  <a:pt x="179" y="215"/>
                </a:lnTo>
                <a:lnTo>
                  <a:pt x="180" y="214"/>
                </a:lnTo>
                <a:lnTo>
                  <a:pt x="180" y="213"/>
                </a:lnTo>
                <a:lnTo>
                  <a:pt x="179" y="212"/>
                </a:lnTo>
                <a:lnTo>
                  <a:pt x="179" y="212"/>
                </a:lnTo>
                <a:lnTo>
                  <a:pt x="181" y="213"/>
                </a:lnTo>
                <a:lnTo>
                  <a:pt x="182" y="215"/>
                </a:lnTo>
                <a:close/>
                <a:moveTo>
                  <a:pt x="255" y="233"/>
                </a:moveTo>
                <a:lnTo>
                  <a:pt x="255" y="233"/>
                </a:lnTo>
                <a:lnTo>
                  <a:pt x="253" y="233"/>
                </a:lnTo>
                <a:lnTo>
                  <a:pt x="252" y="233"/>
                </a:lnTo>
                <a:lnTo>
                  <a:pt x="251" y="231"/>
                </a:lnTo>
                <a:lnTo>
                  <a:pt x="253" y="227"/>
                </a:lnTo>
                <a:lnTo>
                  <a:pt x="252" y="224"/>
                </a:lnTo>
                <a:lnTo>
                  <a:pt x="251" y="223"/>
                </a:lnTo>
                <a:lnTo>
                  <a:pt x="253" y="222"/>
                </a:lnTo>
                <a:lnTo>
                  <a:pt x="254" y="219"/>
                </a:lnTo>
                <a:lnTo>
                  <a:pt x="258" y="217"/>
                </a:lnTo>
                <a:lnTo>
                  <a:pt x="266" y="213"/>
                </a:lnTo>
                <a:lnTo>
                  <a:pt x="267" y="213"/>
                </a:lnTo>
                <a:lnTo>
                  <a:pt x="267" y="216"/>
                </a:lnTo>
                <a:lnTo>
                  <a:pt x="265" y="222"/>
                </a:lnTo>
                <a:lnTo>
                  <a:pt x="262" y="225"/>
                </a:lnTo>
                <a:lnTo>
                  <a:pt x="263" y="227"/>
                </a:lnTo>
                <a:lnTo>
                  <a:pt x="259" y="228"/>
                </a:lnTo>
                <a:lnTo>
                  <a:pt x="255" y="233"/>
                </a:lnTo>
                <a:close/>
                <a:moveTo>
                  <a:pt x="106" y="223"/>
                </a:moveTo>
                <a:lnTo>
                  <a:pt x="106" y="223"/>
                </a:lnTo>
                <a:lnTo>
                  <a:pt x="106" y="224"/>
                </a:lnTo>
                <a:lnTo>
                  <a:pt x="102" y="223"/>
                </a:lnTo>
                <a:lnTo>
                  <a:pt x="102" y="221"/>
                </a:lnTo>
                <a:lnTo>
                  <a:pt x="101" y="217"/>
                </a:lnTo>
                <a:lnTo>
                  <a:pt x="102" y="216"/>
                </a:lnTo>
                <a:lnTo>
                  <a:pt x="103" y="215"/>
                </a:lnTo>
                <a:lnTo>
                  <a:pt x="104" y="217"/>
                </a:lnTo>
                <a:lnTo>
                  <a:pt x="107" y="220"/>
                </a:lnTo>
                <a:lnTo>
                  <a:pt x="106" y="223"/>
                </a:lnTo>
                <a:close/>
                <a:moveTo>
                  <a:pt x="235" y="250"/>
                </a:moveTo>
                <a:lnTo>
                  <a:pt x="235" y="250"/>
                </a:lnTo>
                <a:lnTo>
                  <a:pt x="233" y="252"/>
                </a:lnTo>
                <a:lnTo>
                  <a:pt x="232" y="251"/>
                </a:lnTo>
                <a:lnTo>
                  <a:pt x="233" y="249"/>
                </a:lnTo>
                <a:lnTo>
                  <a:pt x="231" y="245"/>
                </a:lnTo>
                <a:lnTo>
                  <a:pt x="234" y="240"/>
                </a:lnTo>
                <a:lnTo>
                  <a:pt x="234" y="238"/>
                </a:lnTo>
                <a:lnTo>
                  <a:pt x="236" y="237"/>
                </a:lnTo>
                <a:lnTo>
                  <a:pt x="236" y="241"/>
                </a:lnTo>
                <a:lnTo>
                  <a:pt x="234" y="244"/>
                </a:lnTo>
                <a:lnTo>
                  <a:pt x="236" y="247"/>
                </a:lnTo>
                <a:lnTo>
                  <a:pt x="236" y="250"/>
                </a:lnTo>
                <a:lnTo>
                  <a:pt x="235" y="250"/>
                </a:lnTo>
                <a:close/>
                <a:moveTo>
                  <a:pt x="131" y="248"/>
                </a:moveTo>
                <a:lnTo>
                  <a:pt x="131" y="248"/>
                </a:lnTo>
                <a:lnTo>
                  <a:pt x="133" y="248"/>
                </a:lnTo>
                <a:lnTo>
                  <a:pt x="136" y="248"/>
                </a:lnTo>
                <a:lnTo>
                  <a:pt x="137" y="248"/>
                </a:lnTo>
                <a:lnTo>
                  <a:pt x="138" y="245"/>
                </a:lnTo>
                <a:lnTo>
                  <a:pt x="141" y="245"/>
                </a:lnTo>
                <a:lnTo>
                  <a:pt x="142" y="248"/>
                </a:lnTo>
                <a:lnTo>
                  <a:pt x="139" y="249"/>
                </a:lnTo>
                <a:lnTo>
                  <a:pt x="139" y="249"/>
                </a:lnTo>
                <a:lnTo>
                  <a:pt x="139" y="250"/>
                </a:lnTo>
                <a:lnTo>
                  <a:pt x="141" y="250"/>
                </a:lnTo>
                <a:lnTo>
                  <a:pt x="143" y="250"/>
                </a:lnTo>
                <a:lnTo>
                  <a:pt x="144" y="252"/>
                </a:lnTo>
                <a:lnTo>
                  <a:pt x="144" y="253"/>
                </a:lnTo>
                <a:lnTo>
                  <a:pt x="145" y="254"/>
                </a:lnTo>
                <a:lnTo>
                  <a:pt x="147" y="254"/>
                </a:lnTo>
                <a:lnTo>
                  <a:pt x="149" y="254"/>
                </a:lnTo>
                <a:lnTo>
                  <a:pt x="152" y="254"/>
                </a:lnTo>
                <a:lnTo>
                  <a:pt x="155" y="252"/>
                </a:lnTo>
                <a:lnTo>
                  <a:pt x="158" y="252"/>
                </a:lnTo>
                <a:lnTo>
                  <a:pt x="167" y="252"/>
                </a:lnTo>
                <a:lnTo>
                  <a:pt x="170" y="255"/>
                </a:lnTo>
                <a:lnTo>
                  <a:pt x="176" y="255"/>
                </a:lnTo>
                <a:lnTo>
                  <a:pt x="182" y="256"/>
                </a:lnTo>
                <a:lnTo>
                  <a:pt x="184" y="256"/>
                </a:lnTo>
                <a:lnTo>
                  <a:pt x="190" y="255"/>
                </a:lnTo>
                <a:lnTo>
                  <a:pt x="190" y="256"/>
                </a:lnTo>
                <a:lnTo>
                  <a:pt x="190" y="261"/>
                </a:lnTo>
                <a:lnTo>
                  <a:pt x="190" y="263"/>
                </a:lnTo>
                <a:lnTo>
                  <a:pt x="191" y="263"/>
                </a:lnTo>
                <a:lnTo>
                  <a:pt x="193" y="263"/>
                </a:lnTo>
                <a:lnTo>
                  <a:pt x="195" y="261"/>
                </a:lnTo>
                <a:lnTo>
                  <a:pt x="199" y="260"/>
                </a:lnTo>
                <a:lnTo>
                  <a:pt x="203" y="260"/>
                </a:lnTo>
                <a:lnTo>
                  <a:pt x="207" y="256"/>
                </a:lnTo>
                <a:lnTo>
                  <a:pt x="208" y="256"/>
                </a:lnTo>
                <a:lnTo>
                  <a:pt x="207" y="258"/>
                </a:lnTo>
                <a:lnTo>
                  <a:pt x="207" y="262"/>
                </a:lnTo>
                <a:lnTo>
                  <a:pt x="206" y="264"/>
                </a:lnTo>
                <a:lnTo>
                  <a:pt x="206" y="266"/>
                </a:lnTo>
                <a:lnTo>
                  <a:pt x="203" y="267"/>
                </a:lnTo>
                <a:lnTo>
                  <a:pt x="199" y="267"/>
                </a:lnTo>
                <a:lnTo>
                  <a:pt x="193" y="267"/>
                </a:lnTo>
                <a:lnTo>
                  <a:pt x="186" y="268"/>
                </a:lnTo>
                <a:lnTo>
                  <a:pt x="173" y="269"/>
                </a:lnTo>
                <a:lnTo>
                  <a:pt x="160" y="270"/>
                </a:lnTo>
                <a:lnTo>
                  <a:pt x="159" y="270"/>
                </a:lnTo>
                <a:lnTo>
                  <a:pt x="159" y="267"/>
                </a:lnTo>
                <a:lnTo>
                  <a:pt x="158" y="266"/>
                </a:lnTo>
                <a:lnTo>
                  <a:pt x="158" y="265"/>
                </a:lnTo>
                <a:lnTo>
                  <a:pt x="154" y="264"/>
                </a:lnTo>
                <a:lnTo>
                  <a:pt x="150" y="262"/>
                </a:lnTo>
                <a:lnTo>
                  <a:pt x="135" y="260"/>
                </a:lnTo>
                <a:lnTo>
                  <a:pt x="132" y="259"/>
                </a:lnTo>
                <a:lnTo>
                  <a:pt x="126" y="259"/>
                </a:lnTo>
                <a:lnTo>
                  <a:pt x="124" y="259"/>
                </a:lnTo>
                <a:lnTo>
                  <a:pt x="123" y="258"/>
                </a:lnTo>
                <a:lnTo>
                  <a:pt x="122" y="257"/>
                </a:lnTo>
                <a:lnTo>
                  <a:pt x="121" y="252"/>
                </a:lnTo>
                <a:lnTo>
                  <a:pt x="122" y="248"/>
                </a:lnTo>
                <a:lnTo>
                  <a:pt x="123" y="246"/>
                </a:lnTo>
                <a:lnTo>
                  <a:pt x="124" y="248"/>
                </a:lnTo>
                <a:lnTo>
                  <a:pt x="125" y="248"/>
                </a:lnTo>
                <a:lnTo>
                  <a:pt x="127" y="247"/>
                </a:lnTo>
                <a:lnTo>
                  <a:pt x="127" y="245"/>
                </a:lnTo>
                <a:lnTo>
                  <a:pt x="127" y="243"/>
                </a:lnTo>
                <a:lnTo>
                  <a:pt x="128" y="244"/>
                </a:lnTo>
                <a:lnTo>
                  <a:pt x="129" y="247"/>
                </a:lnTo>
                <a:lnTo>
                  <a:pt x="131" y="248"/>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1225" name="Croatia">
            <a:extLst>
              <a:ext uri="{FF2B5EF4-FFF2-40B4-BE49-F238E27FC236}">
                <a16:creationId xmlns:a16="http://schemas.microsoft.com/office/drawing/2014/main" id="{259FE9CC-B74B-46C3-A8BB-B48503DB2E00}"/>
              </a:ext>
            </a:extLst>
          </p:cNvPr>
          <p:cNvSpPr>
            <a:spLocks noEditPoints="1"/>
          </p:cNvSpPr>
          <p:nvPr/>
        </p:nvSpPr>
        <p:spPr bwMode="auto">
          <a:xfrm>
            <a:off x="6225281" y="3257635"/>
            <a:ext cx="176329" cy="151044"/>
          </a:xfrm>
          <a:custGeom>
            <a:avLst/>
            <a:gdLst>
              <a:gd name="T0" fmla="*/ 109 w 183"/>
              <a:gd name="T1" fmla="*/ 15 h 179"/>
              <a:gd name="T2" fmla="*/ 128 w 183"/>
              <a:gd name="T3" fmla="*/ 30 h 179"/>
              <a:gd name="T4" fmla="*/ 153 w 183"/>
              <a:gd name="T5" fmla="*/ 34 h 179"/>
              <a:gd name="T6" fmla="*/ 168 w 183"/>
              <a:gd name="T7" fmla="*/ 27 h 179"/>
              <a:gd name="T8" fmla="*/ 169 w 183"/>
              <a:gd name="T9" fmla="*/ 44 h 179"/>
              <a:gd name="T10" fmla="*/ 179 w 183"/>
              <a:gd name="T11" fmla="*/ 56 h 179"/>
              <a:gd name="T12" fmla="*/ 180 w 183"/>
              <a:gd name="T13" fmla="*/ 61 h 179"/>
              <a:gd name="T14" fmla="*/ 173 w 183"/>
              <a:gd name="T15" fmla="*/ 71 h 179"/>
              <a:gd name="T16" fmla="*/ 165 w 183"/>
              <a:gd name="T17" fmla="*/ 73 h 179"/>
              <a:gd name="T18" fmla="*/ 153 w 183"/>
              <a:gd name="T19" fmla="*/ 64 h 179"/>
              <a:gd name="T20" fmla="*/ 135 w 183"/>
              <a:gd name="T21" fmla="*/ 65 h 179"/>
              <a:gd name="T22" fmla="*/ 118 w 183"/>
              <a:gd name="T23" fmla="*/ 61 h 179"/>
              <a:gd name="T24" fmla="*/ 91 w 183"/>
              <a:gd name="T25" fmla="*/ 61 h 179"/>
              <a:gd name="T26" fmla="*/ 74 w 183"/>
              <a:gd name="T27" fmla="*/ 59 h 179"/>
              <a:gd name="T28" fmla="*/ 79 w 183"/>
              <a:gd name="T29" fmla="*/ 89 h 179"/>
              <a:gd name="T30" fmla="*/ 92 w 183"/>
              <a:gd name="T31" fmla="*/ 112 h 179"/>
              <a:gd name="T32" fmla="*/ 117 w 183"/>
              <a:gd name="T33" fmla="*/ 136 h 179"/>
              <a:gd name="T34" fmla="*/ 128 w 183"/>
              <a:gd name="T35" fmla="*/ 156 h 179"/>
              <a:gd name="T36" fmla="*/ 89 w 183"/>
              <a:gd name="T37" fmla="*/ 132 h 179"/>
              <a:gd name="T38" fmla="*/ 75 w 183"/>
              <a:gd name="T39" fmla="*/ 127 h 179"/>
              <a:gd name="T40" fmla="*/ 53 w 183"/>
              <a:gd name="T41" fmla="*/ 100 h 179"/>
              <a:gd name="T42" fmla="*/ 43 w 183"/>
              <a:gd name="T43" fmla="*/ 81 h 179"/>
              <a:gd name="T44" fmla="*/ 24 w 183"/>
              <a:gd name="T45" fmla="*/ 53 h 179"/>
              <a:gd name="T46" fmla="*/ 10 w 183"/>
              <a:gd name="T47" fmla="*/ 75 h 179"/>
              <a:gd name="T48" fmla="*/ 3 w 183"/>
              <a:gd name="T49" fmla="*/ 47 h 179"/>
              <a:gd name="T50" fmla="*/ 20 w 183"/>
              <a:gd name="T51" fmla="*/ 47 h 179"/>
              <a:gd name="T52" fmla="*/ 33 w 183"/>
              <a:gd name="T53" fmla="*/ 40 h 179"/>
              <a:gd name="T54" fmla="*/ 44 w 183"/>
              <a:gd name="T55" fmla="*/ 46 h 179"/>
              <a:gd name="T56" fmla="*/ 55 w 183"/>
              <a:gd name="T57" fmla="*/ 41 h 179"/>
              <a:gd name="T58" fmla="*/ 66 w 183"/>
              <a:gd name="T59" fmla="*/ 30 h 179"/>
              <a:gd name="T60" fmla="*/ 66 w 183"/>
              <a:gd name="T61" fmla="*/ 15 h 179"/>
              <a:gd name="T62" fmla="*/ 80 w 183"/>
              <a:gd name="T63" fmla="*/ 7 h 179"/>
              <a:gd name="T64" fmla="*/ 90 w 183"/>
              <a:gd name="T65" fmla="*/ 0 h 179"/>
              <a:gd name="T66" fmla="*/ 31 w 183"/>
              <a:gd name="T67" fmla="*/ 67 h 179"/>
              <a:gd name="T68" fmla="*/ 38 w 183"/>
              <a:gd name="T69" fmla="*/ 65 h 179"/>
              <a:gd name="T70" fmla="*/ 24 w 183"/>
              <a:gd name="T71" fmla="*/ 73 h 179"/>
              <a:gd name="T72" fmla="*/ 26 w 183"/>
              <a:gd name="T73" fmla="*/ 65 h 179"/>
              <a:gd name="T74" fmla="*/ 41 w 183"/>
              <a:gd name="T75" fmla="*/ 79 h 179"/>
              <a:gd name="T76" fmla="*/ 36 w 183"/>
              <a:gd name="T77" fmla="*/ 75 h 179"/>
              <a:gd name="T78" fmla="*/ 49 w 183"/>
              <a:gd name="T79" fmla="*/ 96 h 179"/>
              <a:gd name="T80" fmla="*/ 40 w 183"/>
              <a:gd name="T81" fmla="*/ 84 h 179"/>
              <a:gd name="T82" fmla="*/ 52 w 183"/>
              <a:gd name="T83" fmla="*/ 97 h 179"/>
              <a:gd name="T84" fmla="*/ 42 w 183"/>
              <a:gd name="T85" fmla="*/ 106 h 179"/>
              <a:gd name="T86" fmla="*/ 50 w 183"/>
              <a:gd name="T87" fmla="*/ 108 h 179"/>
              <a:gd name="T88" fmla="*/ 58 w 183"/>
              <a:gd name="T89" fmla="*/ 115 h 179"/>
              <a:gd name="T90" fmla="*/ 92 w 183"/>
              <a:gd name="T91" fmla="*/ 142 h 179"/>
              <a:gd name="T92" fmla="*/ 104 w 183"/>
              <a:gd name="T93" fmla="*/ 142 h 179"/>
              <a:gd name="T94" fmla="*/ 90 w 183"/>
              <a:gd name="T95" fmla="*/ 146 h 179"/>
              <a:gd name="T96" fmla="*/ 129 w 183"/>
              <a:gd name="T97" fmla="*/ 159 h 179"/>
              <a:gd name="T98" fmla="*/ 143 w 183"/>
              <a:gd name="T99" fmla="*/ 168 h 179"/>
              <a:gd name="T100" fmla="*/ 150 w 183"/>
              <a:gd name="T101" fmla="*/ 175 h 179"/>
              <a:gd name="T102" fmla="*/ 115 w 183"/>
              <a:gd name="T103" fmla="*/ 154 h 179"/>
              <a:gd name="T104" fmla="*/ 111 w 183"/>
              <a:gd name="T105" fmla="*/ 156 h 179"/>
              <a:gd name="T106" fmla="*/ 99 w 183"/>
              <a:gd name="T107" fmla="*/ 157 h 179"/>
              <a:gd name="T108" fmla="*/ 120 w 183"/>
              <a:gd name="T109" fmla="*/ 163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3" h="179">
                <a:moveTo>
                  <a:pt x="93" y="1"/>
                </a:moveTo>
                <a:lnTo>
                  <a:pt x="93" y="1"/>
                </a:lnTo>
                <a:lnTo>
                  <a:pt x="95" y="2"/>
                </a:lnTo>
                <a:lnTo>
                  <a:pt x="100" y="5"/>
                </a:lnTo>
                <a:lnTo>
                  <a:pt x="104" y="9"/>
                </a:lnTo>
                <a:lnTo>
                  <a:pt x="106" y="12"/>
                </a:lnTo>
                <a:lnTo>
                  <a:pt x="109" y="15"/>
                </a:lnTo>
                <a:lnTo>
                  <a:pt x="113" y="18"/>
                </a:lnTo>
                <a:lnTo>
                  <a:pt x="116" y="20"/>
                </a:lnTo>
                <a:lnTo>
                  <a:pt x="118" y="24"/>
                </a:lnTo>
                <a:lnTo>
                  <a:pt x="121" y="26"/>
                </a:lnTo>
                <a:lnTo>
                  <a:pt x="125" y="27"/>
                </a:lnTo>
                <a:lnTo>
                  <a:pt x="127" y="28"/>
                </a:lnTo>
                <a:lnTo>
                  <a:pt x="128" y="30"/>
                </a:lnTo>
                <a:lnTo>
                  <a:pt x="130" y="32"/>
                </a:lnTo>
                <a:lnTo>
                  <a:pt x="133" y="33"/>
                </a:lnTo>
                <a:lnTo>
                  <a:pt x="138" y="34"/>
                </a:lnTo>
                <a:lnTo>
                  <a:pt x="148" y="34"/>
                </a:lnTo>
                <a:lnTo>
                  <a:pt x="148" y="34"/>
                </a:lnTo>
                <a:lnTo>
                  <a:pt x="151" y="35"/>
                </a:lnTo>
                <a:lnTo>
                  <a:pt x="153" y="34"/>
                </a:lnTo>
                <a:lnTo>
                  <a:pt x="156" y="33"/>
                </a:lnTo>
                <a:lnTo>
                  <a:pt x="157" y="32"/>
                </a:lnTo>
                <a:lnTo>
                  <a:pt x="160" y="28"/>
                </a:lnTo>
                <a:lnTo>
                  <a:pt x="162" y="28"/>
                </a:lnTo>
                <a:lnTo>
                  <a:pt x="165" y="28"/>
                </a:lnTo>
                <a:lnTo>
                  <a:pt x="168" y="27"/>
                </a:lnTo>
                <a:lnTo>
                  <a:pt x="168" y="27"/>
                </a:lnTo>
                <a:lnTo>
                  <a:pt x="168" y="28"/>
                </a:lnTo>
                <a:lnTo>
                  <a:pt x="167" y="30"/>
                </a:lnTo>
                <a:lnTo>
                  <a:pt x="166" y="31"/>
                </a:lnTo>
                <a:lnTo>
                  <a:pt x="167" y="34"/>
                </a:lnTo>
                <a:lnTo>
                  <a:pt x="169" y="39"/>
                </a:lnTo>
                <a:lnTo>
                  <a:pt x="168" y="42"/>
                </a:lnTo>
                <a:lnTo>
                  <a:pt x="169" y="44"/>
                </a:lnTo>
                <a:lnTo>
                  <a:pt x="172" y="45"/>
                </a:lnTo>
                <a:lnTo>
                  <a:pt x="173" y="45"/>
                </a:lnTo>
                <a:lnTo>
                  <a:pt x="172" y="46"/>
                </a:lnTo>
                <a:lnTo>
                  <a:pt x="171" y="48"/>
                </a:lnTo>
                <a:lnTo>
                  <a:pt x="171" y="51"/>
                </a:lnTo>
                <a:lnTo>
                  <a:pt x="174" y="53"/>
                </a:lnTo>
                <a:lnTo>
                  <a:pt x="179" y="56"/>
                </a:lnTo>
                <a:lnTo>
                  <a:pt x="181" y="56"/>
                </a:lnTo>
                <a:lnTo>
                  <a:pt x="182" y="57"/>
                </a:lnTo>
                <a:lnTo>
                  <a:pt x="183" y="58"/>
                </a:lnTo>
                <a:lnTo>
                  <a:pt x="183" y="59"/>
                </a:lnTo>
                <a:lnTo>
                  <a:pt x="183" y="60"/>
                </a:lnTo>
                <a:lnTo>
                  <a:pt x="183" y="61"/>
                </a:lnTo>
                <a:lnTo>
                  <a:pt x="180" y="61"/>
                </a:lnTo>
                <a:lnTo>
                  <a:pt x="177" y="61"/>
                </a:lnTo>
                <a:lnTo>
                  <a:pt x="175" y="60"/>
                </a:lnTo>
                <a:lnTo>
                  <a:pt x="175" y="61"/>
                </a:lnTo>
                <a:lnTo>
                  <a:pt x="175" y="62"/>
                </a:lnTo>
                <a:lnTo>
                  <a:pt x="173" y="62"/>
                </a:lnTo>
                <a:lnTo>
                  <a:pt x="174" y="69"/>
                </a:lnTo>
                <a:lnTo>
                  <a:pt x="173" y="71"/>
                </a:lnTo>
                <a:lnTo>
                  <a:pt x="172" y="72"/>
                </a:lnTo>
                <a:lnTo>
                  <a:pt x="172" y="72"/>
                </a:lnTo>
                <a:lnTo>
                  <a:pt x="171" y="72"/>
                </a:lnTo>
                <a:lnTo>
                  <a:pt x="170" y="72"/>
                </a:lnTo>
                <a:lnTo>
                  <a:pt x="171" y="74"/>
                </a:lnTo>
                <a:lnTo>
                  <a:pt x="169" y="74"/>
                </a:lnTo>
                <a:lnTo>
                  <a:pt x="165" y="73"/>
                </a:lnTo>
                <a:lnTo>
                  <a:pt x="164" y="72"/>
                </a:lnTo>
                <a:lnTo>
                  <a:pt x="164" y="71"/>
                </a:lnTo>
                <a:lnTo>
                  <a:pt x="164" y="69"/>
                </a:lnTo>
                <a:lnTo>
                  <a:pt x="163" y="67"/>
                </a:lnTo>
                <a:lnTo>
                  <a:pt x="160" y="65"/>
                </a:lnTo>
                <a:lnTo>
                  <a:pt x="155" y="64"/>
                </a:lnTo>
                <a:lnTo>
                  <a:pt x="153" y="64"/>
                </a:lnTo>
                <a:lnTo>
                  <a:pt x="151" y="63"/>
                </a:lnTo>
                <a:lnTo>
                  <a:pt x="148" y="62"/>
                </a:lnTo>
                <a:lnTo>
                  <a:pt x="146" y="62"/>
                </a:lnTo>
                <a:lnTo>
                  <a:pt x="144" y="63"/>
                </a:lnTo>
                <a:lnTo>
                  <a:pt x="139" y="62"/>
                </a:lnTo>
                <a:lnTo>
                  <a:pt x="138" y="63"/>
                </a:lnTo>
                <a:lnTo>
                  <a:pt x="135" y="65"/>
                </a:lnTo>
                <a:lnTo>
                  <a:pt x="134" y="65"/>
                </a:lnTo>
                <a:lnTo>
                  <a:pt x="130" y="61"/>
                </a:lnTo>
                <a:lnTo>
                  <a:pt x="129" y="61"/>
                </a:lnTo>
                <a:lnTo>
                  <a:pt x="125" y="63"/>
                </a:lnTo>
                <a:lnTo>
                  <a:pt x="124" y="63"/>
                </a:lnTo>
                <a:lnTo>
                  <a:pt x="123" y="62"/>
                </a:lnTo>
                <a:lnTo>
                  <a:pt x="118" y="61"/>
                </a:lnTo>
                <a:lnTo>
                  <a:pt x="116" y="61"/>
                </a:lnTo>
                <a:lnTo>
                  <a:pt x="115" y="61"/>
                </a:lnTo>
                <a:lnTo>
                  <a:pt x="112" y="61"/>
                </a:lnTo>
                <a:lnTo>
                  <a:pt x="106" y="56"/>
                </a:lnTo>
                <a:lnTo>
                  <a:pt x="102" y="60"/>
                </a:lnTo>
                <a:lnTo>
                  <a:pt x="94" y="59"/>
                </a:lnTo>
                <a:lnTo>
                  <a:pt x="91" y="61"/>
                </a:lnTo>
                <a:lnTo>
                  <a:pt x="88" y="66"/>
                </a:lnTo>
                <a:lnTo>
                  <a:pt x="86" y="68"/>
                </a:lnTo>
                <a:lnTo>
                  <a:pt x="84" y="67"/>
                </a:lnTo>
                <a:lnTo>
                  <a:pt x="82" y="65"/>
                </a:lnTo>
                <a:lnTo>
                  <a:pt x="78" y="60"/>
                </a:lnTo>
                <a:lnTo>
                  <a:pt x="76" y="59"/>
                </a:lnTo>
                <a:lnTo>
                  <a:pt x="74" y="59"/>
                </a:lnTo>
                <a:lnTo>
                  <a:pt x="71" y="59"/>
                </a:lnTo>
                <a:lnTo>
                  <a:pt x="70" y="60"/>
                </a:lnTo>
                <a:lnTo>
                  <a:pt x="70" y="68"/>
                </a:lnTo>
                <a:lnTo>
                  <a:pt x="69" y="75"/>
                </a:lnTo>
                <a:lnTo>
                  <a:pt x="69" y="79"/>
                </a:lnTo>
                <a:lnTo>
                  <a:pt x="73" y="82"/>
                </a:lnTo>
                <a:lnTo>
                  <a:pt x="79" y="89"/>
                </a:lnTo>
                <a:lnTo>
                  <a:pt x="80" y="89"/>
                </a:lnTo>
                <a:lnTo>
                  <a:pt x="81" y="91"/>
                </a:lnTo>
                <a:lnTo>
                  <a:pt x="82" y="97"/>
                </a:lnTo>
                <a:lnTo>
                  <a:pt x="84" y="103"/>
                </a:lnTo>
                <a:lnTo>
                  <a:pt x="86" y="106"/>
                </a:lnTo>
                <a:lnTo>
                  <a:pt x="89" y="109"/>
                </a:lnTo>
                <a:lnTo>
                  <a:pt x="92" y="112"/>
                </a:lnTo>
                <a:lnTo>
                  <a:pt x="95" y="116"/>
                </a:lnTo>
                <a:lnTo>
                  <a:pt x="98" y="120"/>
                </a:lnTo>
                <a:lnTo>
                  <a:pt x="99" y="121"/>
                </a:lnTo>
                <a:lnTo>
                  <a:pt x="105" y="127"/>
                </a:lnTo>
                <a:lnTo>
                  <a:pt x="111" y="133"/>
                </a:lnTo>
                <a:lnTo>
                  <a:pt x="116" y="135"/>
                </a:lnTo>
                <a:lnTo>
                  <a:pt x="117" y="136"/>
                </a:lnTo>
                <a:lnTo>
                  <a:pt x="117" y="140"/>
                </a:lnTo>
                <a:lnTo>
                  <a:pt x="117" y="142"/>
                </a:lnTo>
                <a:lnTo>
                  <a:pt x="121" y="146"/>
                </a:lnTo>
                <a:lnTo>
                  <a:pt x="128" y="153"/>
                </a:lnTo>
                <a:lnTo>
                  <a:pt x="128" y="154"/>
                </a:lnTo>
                <a:lnTo>
                  <a:pt x="129" y="156"/>
                </a:lnTo>
                <a:lnTo>
                  <a:pt x="128" y="156"/>
                </a:lnTo>
                <a:lnTo>
                  <a:pt x="126" y="157"/>
                </a:lnTo>
                <a:lnTo>
                  <a:pt x="125" y="156"/>
                </a:lnTo>
                <a:lnTo>
                  <a:pt x="118" y="150"/>
                </a:lnTo>
                <a:lnTo>
                  <a:pt x="112" y="146"/>
                </a:lnTo>
                <a:lnTo>
                  <a:pt x="105" y="138"/>
                </a:lnTo>
                <a:lnTo>
                  <a:pt x="96" y="135"/>
                </a:lnTo>
                <a:lnTo>
                  <a:pt x="89" y="132"/>
                </a:lnTo>
                <a:lnTo>
                  <a:pt x="85" y="132"/>
                </a:lnTo>
                <a:lnTo>
                  <a:pt x="81" y="133"/>
                </a:lnTo>
                <a:lnTo>
                  <a:pt x="78" y="133"/>
                </a:lnTo>
                <a:lnTo>
                  <a:pt x="77" y="133"/>
                </a:lnTo>
                <a:lnTo>
                  <a:pt x="75" y="130"/>
                </a:lnTo>
                <a:lnTo>
                  <a:pt x="75" y="129"/>
                </a:lnTo>
                <a:lnTo>
                  <a:pt x="75" y="127"/>
                </a:lnTo>
                <a:lnTo>
                  <a:pt x="71" y="123"/>
                </a:lnTo>
                <a:lnTo>
                  <a:pt x="66" y="120"/>
                </a:lnTo>
                <a:lnTo>
                  <a:pt x="61" y="116"/>
                </a:lnTo>
                <a:lnTo>
                  <a:pt x="52" y="104"/>
                </a:lnTo>
                <a:lnTo>
                  <a:pt x="50" y="101"/>
                </a:lnTo>
                <a:lnTo>
                  <a:pt x="52" y="100"/>
                </a:lnTo>
                <a:lnTo>
                  <a:pt x="53" y="100"/>
                </a:lnTo>
                <a:lnTo>
                  <a:pt x="55" y="99"/>
                </a:lnTo>
                <a:lnTo>
                  <a:pt x="57" y="99"/>
                </a:lnTo>
                <a:lnTo>
                  <a:pt x="60" y="100"/>
                </a:lnTo>
                <a:lnTo>
                  <a:pt x="58" y="98"/>
                </a:lnTo>
                <a:lnTo>
                  <a:pt x="54" y="95"/>
                </a:lnTo>
                <a:lnTo>
                  <a:pt x="45" y="86"/>
                </a:lnTo>
                <a:lnTo>
                  <a:pt x="43" y="81"/>
                </a:lnTo>
                <a:lnTo>
                  <a:pt x="42" y="76"/>
                </a:lnTo>
                <a:lnTo>
                  <a:pt x="43" y="70"/>
                </a:lnTo>
                <a:lnTo>
                  <a:pt x="41" y="65"/>
                </a:lnTo>
                <a:lnTo>
                  <a:pt x="34" y="58"/>
                </a:lnTo>
                <a:lnTo>
                  <a:pt x="32" y="55"/>
                </a:lnTo>
                <a:lnTo>
                  <a:pt x="27" y="53"/>
                </a:lnTo>
                <a:lnTo>
                  <a:pt x="24" y="53"/>
                </a:lnTo>
                <a:lnTo>
                  <a:pt x="23" y="56"/>
                </a:lnTo>
                <a:lnTo>
                  <a:pt x="22" y="61"/>
                </a:lnTo>
                <a:lnTo>
                  <a:pt x="17" y="68"/>
                </a:lnTo>
                <a:lnTo>
                  <a:pt x="16" y="71"/>
                </a:lnTo>
                <a:lnTo>
                  <a:pt x="14" y="75"/>
                </a:lnTo>
                <a:lnTo>
                  <a:pt x="11" y="76"/>
                </a:lnTo>
                <a:lnTo>
                  <a:pt x="10" y="75"/>
                </a:lnTo>
                <a:lnTo>
                  <a:pt x="7" y="69"/>
                </a:lnTo>
                <a:lnTo>
                  <a:pt x="3" y="64"/>
                </a:lnTo>
                <a:lnTo>
                  <a:pt x="3" y="61"/>
                </a:lnTo>
                <a:lnTo>
                  <a:pt x="2" y="58"/>
                </a:lnTo>
                <a:lnTo>
                  <a:pt x="0" y="47"/>
                </a:lnTo>
                <a:lnTo>
                  <a:pt x="1" y="45"/>
                </a:lnTo>
                <a:lnTo>
                  <a:pt x="3" y="47"/>
                </a:lnTo>
                <a:lnTo>
                  <a:pt x="11" y="49"/>
                </a:lnTo>
                <a:lnTo>
                  <a:pt x="13" y="48"/>
                </a:lnTo>
                <a:lnTo>
                  <a:pt x="14" y="47"/>
                </a:lnTo>
                <a:lnTo>
                  <a:pt x="14" y="46"/>
                </a:lnTo>
                <a:lnTo>
                  <a:pt x="14" y="46"/>
                </a:lnTo>
                <a:lnTo>
                  <a:pt x="17" y="47"/>
                </a:lnTo>
                <a:lnTo>
                  <a:pt x="20" y="47"/>
                </a:lnTo>
                <a:lnTo>
                  <a:pt x="23" y="47"/>
                </a:lnTo>
                <a:lnTo>
                  <a:pt x="26" y="47"/>
                </a:lnTo>
                <a:lnTo>
                  <a:pt x="28" y="46"/>
                </a:lnTo>
                <a:lnTo>
                  <a:pt x="30" y="42"/>
                </a:lnTo>
                <a:lnTo>
                  <a:pt x="31" y="40"/>
                </a:lnTo>
                <a:lnTo>
                  <a:pt x="32" y="39"/>
                </a:lnTo>
                <a:lnTo>
                  <a:pt x="33" y="40"/>
                </a:lnTo>
                <a:lnTo>
                  <a:pt x="34" y="41"/>
                </a:lnTo>
                <a:lnTo>
                  <a:pt x="35" y="43"/>
                </a:lnTo>
                <a:lnTo>
                  <a:pt x="37" y="46"/>
                </a:lnTo>
                <a:lnTo>
                  <a:pt x="39" y="47"/>
                </a:lnTo>
                <a:lnTo>
                  <a:pt x="41" y="48"/>
                </a:lnTo>
                <a:lnTo>
                  <a:pt x="43" y="47"/>
                </a:lnTo>
                <a:lnTo>
                  <a:pt x="44" y="46"/>
                </a:lnTo>
                <a:lnTo>
                  <a:pt x="49" y="48"/>
                </a:lnTo>
                <a:lnTo>
                  <a:pt x="53" y="49"/>
                </a:lnTo>
                <a:lnTo>
                  <a:pt x="56" y="48"/>
                </a:lnTo>
                <a:lnTo>
                  <a:pt x="56" y="46"/>
                </a:lnTo>
                <a:lnTo>
                  <a:pt x="55" y="44"/>
                </a:lnTo>
                <a:lnTo>
                  <a:pt x="55" y="43"/>
                </a:lnTo>
                <a:lnTo>
                  <a:pt x="55" y="41"/>
                </a:lnTo>
                <a:lnTo>
                  <a:pt x="57" y="40"/>
                </a:lnTo>
                <a:lnTo>
                  <a:pt x="57" y="39"/>
                </a:lnTo>
                <a:lnTo>
                  <a:pt x="54" y="37"/>
                </a:lnTo>
                <a:lnTo>
                  <a:pt x="54" y="36"/>
                </a:lnTo>
                <a:lnTo>
                  <a:pt x="60" y="33"/>
                </a:lnTo>
                <a:lnTo>
                  <a:pt x="65" y="31"/>
                </a:lnTo>
                <a:lnTo>
                  <a:pt x="66" y="30"/>
                </a:lnTo>
                <a:lnTo>
                  <a:pt x="67" y="28"/>
                </a:lnTo>
                <a:lnTo>
                  <a:pt x="67" y="25"/>
                </a:lnTo>
                <a:lnTo>
                  <a:pt x="67" y="22"/>
                </a:lnTo>
                <a:lnTo>
                  <a:pt x="64" y="19"/>
                </a:lnTo>
                <a:lnTo>
                  <a:pt x="64" y="18"/>
                </a:lnTo>
                <a:lnTo>
                  <a:pt x="65" y="16"/>
                </a:lnTo>
                <a:lnTo>
                  <a:pt x="66" y="15"/>
                </a:lnTo>
                <a:lnTo>
                  <a:pt x="68" y="14"/>
                </a:lnTo>
                <a:lnTo>
                  <a:pt x="70" y="13"/>
                </a:lnTo>
                <a:lnTo>
                  <a:pt x="72" y="12"/>
                </a:lnTo>
                <a:lnTo>
                  <a:pt x="75" y="11"/>
                </a:lnTo>
                <a:lnTo>
                  <a:pt x="77" y="10"/>
                </a:lnTo>
                <a:lnTo>
                  <a:pt x="79" y="7"/>
                </a:lnTo>
                <a:lnTo>
                  <a:pt x="80" y="7"/>
                </a:lnTo>
                <a:lnTo>
                  <a:pt x="84" y="7"/>
                </a:lnTo>
                <a:lnTo>
                  <a:pt x="85" y="6"/>
                </a:lnTo>
                <a:lnTo>
                  <a:pt x="84" y="2"/>
                </a:lnTo>
                <a:lnTo>
                  <a:pt x="85" y="1"/>
                </a:lnTo>
                <a:lnTo>
                  <a:pt x="86" y="1"/>
                </a:lnTo>
                <a:lnTo>
                  <a:pt x="87" y="0"/>
                </a:lnTo>
                <a:lnTo>
                  <a:pt x="90" y="0"/>
                </a:lnTo>
                <a:lnTo>
                  <a:pt x="93" y="1"/>
                </a:lnTo>
                <a:close/>
                <a:moveTo>
                  <a:pt x="40" y="69"/>
                </a:moveTo>
                <a:lnTo>
                  <a:pt x="40" y="69"/>
                </a:lnTo>
                <a:lnTo>
                  <a:pt x="36" y="70"/>
                </a:lnTo>
                <a:lnTo>
                  <a:pt x="34" y="68"/>
                </a:lnTo>
                <a:lnTo>
                  <a:pt x="34" y="67"/>
                </a:lnTo>
                <a:lnTo>
                  <a:pt x="31" y="67"/>
                </a:lnTo>
                <a:lnTo>
                  <a:pt x="29" y="65"/>
                </a:lnTo>
                <a:lnTo>
                  <a:pt x="28" y="64"/>
                </a:lnTo>
                <a:lnTo>
                  <a:pt x="31" y="62"/>
                </a:lnTo>
                <a:lnTo>
                  <a:pt x="33" y="58"/>
                </a:lnTo>
                <a:lnTo>
                  <a:pt x="34" y="60"/>
                </a:lnTo>
                <a:lnTo>
                  <a:pt x="37" y="64"/>
                </a:lnTo>
                <a:lnTo>
                  <a:pt x="38" y="65"/>
                </a:lnTo>
                <a:lnTo>
                  <a:pt x="40" y="69"/>
                </a:lnTo>
                <a:close/>
                <a:moveTo>
                  <a:pt x="30" y="83"/>
                </a:moveTo>
                <a:lnTo>
                  <a:pt x="30" y="83"/>
                </a:lnTo>
                <a:lnTo>
                  <a:pt x="30" y="85"/>
                </a:lnTo>
                <a:lnTo>
                  <a:pt x="28" y="83"/>
                </a:lnTo>
                <a:lnTo>
                  <a:pt x="27" y="79"/>
                </a:lnTo>
                <a:lnTo>
                  <a:pt x="24" y="73"/>
                </a:lnTo>
                <a:lnTo>
                  <a:pt x="24" y="71"/>
                </a:lnTo>
                <a:lnTo>
                  <a:pt x="25" y="69"/>
                </a:lnTo>
                <a:lnTo>
                  <a:pt x="25" y="67"/>
                </a:lnTo>
                <a:lnTo>
                  <a:pt x="24" y="62"/>
                </a:lnTo>
                <a:lnTo>
                  <a:pt x="25" y="61"/>
                </a:lnTo>
                <a:lnTo>
                  <a:pt x="26" y="61"/>
                </a:lnTo>
                <a:lnTo>
                  <a:pt x="26" y="65"/>
                </a:lnTo>
                <a:lnTo>
                  <a:pt x="27" y="67"/>
                </a:lnTo>
                <a:lnTo>
                  <a:pt x="29" y="70"/>
                </a:lnTo>
                <a:lnTo>
                  <a:pt x="29" y="74"/>
                </a:lnTo>
                <a:lnTo>
                  <a:pt x="29" y="80"/>
                </a:lnTo>
                <a:lnTo>
                  <a:pt x="30" y="82"/>
                </a:lnTo>
                <a:lnTo>
                  <a:pt x="30" y="83"/>
                </a:lnTo>
                <a:close/>
                <a:moveTo>
                  <a:pt x="41" y="79"/>
                </a:moveTo>
                <a:lnTo>
                  <a:pt x="41" y="79"/>
                </a:lnTo>
                <a:lnTo>
                  <a:pt x="41" y="81"/>
                </a:lnTo>
                <a:lnTo>
                  <a:pt x="38" y="79"/>
                </a:lnTo>
                <a:lnTo>
                  <a:pt x="36" y="78"/>
                </a:lnTo>
                <a:lnTo>
                  <a:pt x="35" y="77"/>
                </a:lnTo>
                <a:lnTo>
                  <a:pt x="36" y="76"/>
                </a:lnTo>
                <a:lnTo>
                  <a:pt x="36" y="75"/>
                </a:lnTo>
                <a:lnTo>
                  <a:pt x="38" y="75"/>
                </a:lnTo>
                <a:lnTo>
                  <a:pt x="39" y="76"/>
                </a:lnTo>
                <a:lnTo>
                  <a:pt x="41" y="79"/>
                </a:lnTo>
                <a:close/>
                <a:moveTo>
                  <a:pt x="52" y="97"/>
                </a:moveTo>
                <a:lnTo>
                  <a:pt x="52" y="97"/>
                </a:lnTo>
                <a:lnTo>
                  <a:pt x="51" y="98"/>
                </a:lnTo>
                <a:lnTo>
                  <a:pt x="49" y="96"/>
                </a:lnTo>
                <a:lnTo>
                  <a:pt x="47" y="95"/>
                </a:lnTo>
                <a:lnTo>
                  <a:pt x="46" y="93"/>
                </a:lnTo>
                <a:lnTo>
                  <a:pt x="43" y="91"/>
                </a:lnTo>
                <a:lnTo>
                  <a:pt x="42" y="88"/>
                </a:lnTo>
                <a:lnTo>
                  <a:pt x="38" y="83"/>
                </a:lnTo>
                <a:lnTo>
                  <a:pt x="38" y="82"/>
                </a:lnTo>
                <a:lnTo>
                  <a:pt x="40" y="84"/>
                </a:lnTo>
                <a:lnTo>
                  <a:pt x="41" y="85"/>
                </a:lnTo>
                <a:lnTo>
                  <a:pt x="43" y="85"/>
                </a:lnTo>
                <a:lnTo>
                  <a:pt x="46" y="89"/>
                </a:lnTo>
                <a:lnTo>
                  <a:pt x="49" y="93"/>
                </a:lnTo>
                <a:lnTo>
                  <a:pt x="53" y="97"/>
                </a:lnTo>
                <a:lnTo>
                  <a:pt x="53" y="97"/>
                </a:lnTo>
                <a:lnTo>
                  <a:pt x="52" y="97"/>
                </a:lnTo>
                <a:close/>
                <a:moveTo>
                  <a:pt x="52" y="115"/>
                </a:moveTo>
                <a:lnTo>
                  <a:pt x="52" y="115"/>
                </a:lnTo>
                <a:lnTo>
                  <a:pt x="52" y="116"/>
                </a:lnTo>
                <a:lnTo>
                  <a:pt x="52" y="116"/>
                </a:lnTo>
                <a:lnTo>
                  <a:pt x="51" y="116"/>
                </a:lnTo>
                <a:lnTo>
                  <a:pt x="50" y="116"/>
                </a:lnTo>
                <a:lnTo>
                  <a:pt x="42" y="106"/>
                </a:lnTo>
                <a:lnTo>
                  <a:pt x="42" y="105"/>
                </a:lnTo>
                <a:lnTo>
                  <a:pt x="44" y="107"/>
                </a:lnTo>
                <a:lnTo>
                  <a:pt x="52" y="115"/>
                </a:lnTo>
                <a:close/>
                <a:moveTo>
                  <a:pt x="53" y="109"/>
                </a:moveTo>
                <a:lnTo>
                  <a:pt x="53" y="109"/>
                </a:lnTo>
                <a:lnTo>
                  <a:pt x="54" y="111"/>
                </a:lnTo>
                <a:lnTo>
                  <a:pt x="50" y="108"/>
                </a:lnTo>
                <a:lnTo>
                  <a:pt x="48" y="106"/>
                </a:lnTo>
                <a:lnTo>
                  <a:pt x="48" y="105"/>
                </a:lnTo>
                <a:lnTo>
                  <a:pt x="53" y="109"/>
                </a:lnTo>
                <a:close/>
                <a:moveTo>
                  <a:pt x="57" y="113"/>
                </a:moveTo>
                <a:lnTo>
                  <a:pt x="57" y="113"/>
                </a:lnTo>
                <a:lnTo>
                  <a:pt x="59" y="116"/>
                </a:lnTo>
                <a:lnTo>
                  <a:pt x="58" y="115"/>
                </a:lnTo>
                <a:lnTo>
                  <a:pt x="55" y="114"/>
                </a:lnTo>
                <a:lnTo>
                  <a:pt x="54" y="111"/>
                </a:lnTo>
                <a:lnTo>
                  <a:pt x="57" y="113"/>
                </a:lnTo>
                <a:close/>
                <a:moveTo>
                  <a:pt x="102" y="143"/>
                </a:moveTo>
                <a:lnTo>
                  <a:pt x="102" y="143"/>
                </a:lnTo>
                <a:lnTo>
                  <a:pt x="97" y="143"/>
                </a:lnTo>
                <a:lnTo>
                  <a:pt x="92" y="142"/>
                </a:lnTo>
                <a:lnTo>
                  <a:pt x="90" y="141"/>
                </a:lnTo>
                <a:lnTo>
                  <a:pt x="90" y="140"/>
                </a:lnTo>
                <a:lnTo>
                  <a:pt x="91" y="138"/>
                </a:lnTo>
                <a:lnTo>
                  <a:pt x="96" y="138"/>
                </a:lnTo>
                <a:lnTo>
                  <a:pt x="103" y="140"/>
                </a:lnTo>
                <a:lnTo>
                  <a:pt x="105" y="141"/>
                </a:lnTo>
                <a:lnTo>
                  <a:pt x="104" y="142"/>
                </a:lnTo>
                <a:lnTo>
                  <a:pt x="102" y="143"/>
                </a:lnTo>
                <a:close/>
                <a:moveTo>
                  <a:pt x="114" y="149"/>
                </a:moveTo>
                <a:lnTo>
                  <a:pt x="114" y="149"/>
                </a:lnTo>
                <a:lnTo>
                  <a:pt x="112" y="150"/>
                </a:lnTo>
                <a:lnTo>
                  <a:pt x="98" y="149"/>
                </a:lnTo>
                <a:lnTo>
                  <a:pt x="94" y="149"/>
                </a:lnTo>
                <a:lnTo>
                  <a:pt x="90" y="146"/>
                </a:lnTo>
                <a:lnTo>
                  <a:pt x="89" y="146"/>
                </a:lnTo>
                <a:lnTo>
                  <a:pt x="93" y="145"/>
                </a:lnTo>
                <a:lnTo>
                  <a:pt x="98" y="146"/>
                </a:lnTo>
                <a:lnTo>
                  <a:pt x="99" y="147"/>
                </a:lnTo>
                <a:lnTo>
                  <a:pt x="110" y="149"/>
                </a:lnTo>
                <a:lnTo>
                  <a:pt x="114" y="149"/>
                </a:lnTo>
                <a:close/>
                <a:moveTo>
                  <a:pt x="129" y="159"/>
                </a:moveTo>
                <a:lnTo>
                  <a:pt x="129" y="159"/>
                </a:lnTo>
                <a:lnTo>
                  <a:pt x="131" y="158"/>
                </a:lnTo>
                <a:lnTo>
                  <a:pt x="133" y="159"/>
                </a:lnTo>
                <a:lnTo>
                  <a:pt x="134" y="161"/>
                </a:lnTo>
                <a:lnTo>
                  <a:pt x="137" y="163"/>
                </a:lnTo>
                <a:lnTo>
                  <a:pt x="141" y="166"/>
                </a:lnTo>
                <a:lnTo>
                  <a:pt x="143" y="168"/>
                </a:lnTo>
                <a:lnTo>
                  <a:pt x="149" y="172"/>
                </a:lnTo>
                <a:lnTo>
                  <a:pt x="150" y="172"/>
                </a:lnTo>
                <a:lnTo>
                  <a:pt x="153" y="173"/>
                </a:lnTo>
                <a:lnTo>
                  <a:pt x="153" y="175"/>
                </a:lnTo>
                <a:lnTo>
                  <a:pt x="154" y="177"/>
                </a:lnTo>
                <a:lnTo>
                  <a:pt x="156" y="179"/>
                </a:lnTo>
                <a:lnTo>
                  <a:pt x="150" y="175"/>
                </a:lnTo>
                <a:lnTo>
                  <a:pt x="144" y="170"/>
                </a:lnTo>
                <a:lnTo>
                  <a:pt x="134" y="163"/>
                </a:lnTo>
                <a:lnTo>
                  <a:pt x="126" y="162"/>
                </a:lnTo>
                <a:lnTo>
                  <a:pt x="116" y="156"/>
                </a:lnTo>
                <a:lnTo>
                  <a:pt x="110" y="154"/>
                </a:lnTo>
                <a:lnTo>
                  <a:pt x="112" y="154"/>
                </a:lnTo>
                <a:lnTo>
                  <a:pt x="115" y="154"/>
                </a:lnTo>
                <a:lnTo>
                  <a:pt x="131" y="161"/>
                </a:lnTo>
                <a:lnTo>
                  <a:pt x="129" y="159"/>
                </a:lnTo>
                <a:close/>
                <a:moveTo>
                  <a:pt x="97" y="155"/>
                </a:moveTo>
                <a:lnTo>
                  <a:pt x="97" y="155"/>
                </a:lnTo>
                <a:lnTo>
                  <a:pt x="103" y="156"/>
                </a:lnTo>
                <a:lnTo>
                  <a:pt x="107" y="155"/>
                </a:lnTo>
                <a:lnTo>
                  <a:pt x="111" y="156"/>
                </a:lnTo>
                <a:lnTo>
                  <a:pt x="114" y="158"/>
                </a:lnTo>
                <a:lnTo>
                  <a:pt x="114" y="158"/>
                </a:lnTo>
                <a:lnTo>
                  <a:pt x="111" y="158"/>
                </a:lnTo>
                <a:lnTo>
                  <a:pt x="108" y="158"/>
                </a:lnTo>
                <a:lnTo>
                  <a:pt x="104" y="159"/>
                </a:lnTo>
                <a:lnTo>
                  <a:pt x="100" y="158"/>
                </a:lnTo>
                <a:lnTo>
                  <a:pt x="99" y="157"/>
                </a:lnTo>
                <a:lnTo>
                  <a:pt x="98" y="156"/>
                </a:lnTo>
                <a:lnTo>
                  <a:pt x="97" y="155"/>
                </a:lnTo>
                <a:close/>
                <a:moveTo>
                  <a:pt x="127" y="164"/>
                </a:moveTo>
                <a:lnTo>
                  <a:pt x="127" y="164"/>
                </a:lnTo>
                <a:lnTo>
                  <a:pt x="131" y="167"/>
                </a:lnTo>
                <a:lnTo>
                  <a:pt x="119" y="164"/>
                </a:lnTo>
                <a:lnTo>
                  <a:pt x="120" y="163"/>
                </a:lnTo>
                <a:lnTo>
                  <a:pt x="122" y="163"/>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1226" name="Hungary">
            <a:extLst>
              <a:ext uri="{FF2B5EF4-FFF2-40B4-BE49-F238E27FC236}">
                <a16:creationId xmlns:a16="http://schemas.microsoft.com/office/drawing/2014/main" id="{A7F25CB8-A9BA-42AA-8D41-0E14A36C8C5F}"/>
              </a:ext>
            </a:extLst>
          </p:cNvPr>
          <p:cNvSpPr>
            <a:spLocks/>
          </p:cNvSpPr>
          <p:nvPr/>
        </p:nvSpPr>
        <p:spPr bwMode="auto">
          <a:xfrm>
            <a:off x="6301168" y="3179172"/>
            <a:ext cx="203112" cy="107888"/>
          </a:xfrm>
          <a:custGeom>
            <a:avLst/>
            <a:gdLst>
              <a:gd name="T0" fmla="*/ 191 w 211"/>
              <a:gd name="T1" fmla="*/ 6 h 128"/>
              <a:gd name="T2" fmla="*/ 193 w 211"/>
              <a:gd name="T3" fmla="*/ 10 h 128"/>
              <a:gd name="T4" fmla="*/ 200 w 211"/>
              <a:gd name="T5" fmla="*/ 16 h 128"/>
              <a:gd name="T6" fmla="*/ 206 w 211"/>
              <a:gd name="T7" fmla="*/ 21 h 128"/>
              <a:gd name="T8" fmla="*/ 211 w 211"/>
              <a:gd name="T9" fmla="*/ 24 h 128"/>
              <a:gd name="T10" fmla="*/ 211 w 211"/>
              <a:gd name="T11" fmla="*/ 29 h 128"/>
              <a:gd name="T12" fmla="*/ 199 w 211"/>
              <a:gd name="T13" fmla="*/ 36 h 128"/>
              <a:gd name="T14" fmla="*/ 192 w 211"/>
              <a:gd name="T15" fmla="*/ 40 h 128"/>
              <a:gd name="T16" fmla="*/ 184 w 211"/>
              <a:gd name="T17" fmla="*/ 49 h 128"/>
              <a:gd name="T18" fmla="*/ 180 w 211"/>
              <a:gd name="T19" fmla="*/ 58 h 128"/>
              <a:gd name="T20" fmla="*/ 173 w 211"/>
              <a:gd name="T21" fmla="*/ 71 h 128"/>
              <a:gd name="T22" fmla="*/ 168 w 211"/>
              <a:gd name="T23" fmla="*/ 83 h 128"/>
              <a:gd name="T24" fmla="*/ 163 w 211"/>
              <a:gd name="T25" fmla="*/ 90 h 128"/>
              <a:gd name="T26" fmla="*/ 161 w 211"/>
              <a:gd name="T27" fmla="*/ 98 h 128"/>
              <a:gd name="T28" fmla="*/ 157 w 211"/>
              <a:gd name="T29" fmla="*/ 104 h 128"/>
              <a:gd name="T30" fmla="*/ 145 w 211"/>
              <a:gd name="T31" fmla="*/ 107 h 128"/>
              <a:gd name="T32" fmla="*/ 141 w 211"/>
              <a:gd name="T33" fmla="*/ 111 h 128"/>
              <a:gd name="T34" fmla="*/ 128 w 211"/>
              <a:gd name="T35" fmla="*/ 111 h 128"/>
              <a:gd name="T36" fmla="*/ 113 w 211"/>
              <a:gd name="T37" fmla="*/ 110 h 128"/>
              <a:gd name="T38" fmla="*/ 104 w 211"/>
              <a:gd name="T39" fmla="*/ 114 h 128"/>
              <a:gd name="T40" fmla="*/ 97 w 211"/>
              <a:gd name="T41" fmla="*/ 118 h 128"/>
              <a:gd name="T42" fmla="*/ 92 w 211"/>
              <a:gd name="T43" fmla="*/ 118 h 128"/>
              <a:gd name="T44" fmla="*/ 85 w 211"/>
              <a:gd name="T45" fmla="*/ 121 h 128"/>
              <a:gd name="T46" fmla="*/ 76 w 211"/>
              <a:gd name="T47" fmla="*/ 126 h 128"/>
              <a:gd name="T48" fmla="*/ 68 w 211"/>
              <a:gd name="T49" fmla="*/ 127 h 128"/>
              <a:gd name="T50" fmla="*/ 48 w 211"/>
              <a:gd name="T51" fmla="*/ 123 h 128"/>
              <a:gd name="T52" fmla="*/ 38 w 211"/>
              <a:gd name="T53" fmla="*/ 117 h 128"/>
              <a:gd name="T54" fmla="*/ 26 w 211"/>
              <a:gd name="T55" fmla="*/ 105 h 128"/>
              <a:gd name="T56" fmla="*/ 13 w 211"/>
              <a:gd name="T57" fmla="*/ 94 h 128"/>
              <a:gd name="T58" fmla="*/ 9 w 211"/>
              <a:gd name="T59" fmla="*/ 86 h 128"/>
              <a:gd name="T60" fmla="*/ 7 w 211"/>
              <a:gd name="T61" fmla="*/ 80 h 128"/>
              <a:gd name="T62" fmla="*/ 7 w 211"/>
              <a:gd name="T63" fmla="*/ 72 h 128"/>
              <a:gd name="T64" fmla="*/ 12 w 211"/>
              <a:gd name="T65" fmla="*/ 69 h 128"/>
              <a:gd name="T66" fmla="*/ 11 w 211"/>
              <a:gd name="T67" fmla="*/ 65 h 128"/>
              <a:gd name="T68" fmla="*/ 11 w 211"/>
              <a:gd name="T69" fmla="*/ 55 h 128"/>
              <a:gd name="T70" fmla="*/ 16 w 211"/>
              <a:gd name="T71" fmla="*/ 51 h 128"/>
              <a:gd name="T72" fmla="*/ 11 w 211"/>
              <a:gd name="T73" fmla="*/ 42 h 128"/>
              <a:gd name="T74" fmla="*/ 14 w 211"/>
              <a:gd name="T75" fmla="*/ 37 h 128"/>
              <a:gd name="T76" fmla="*/ 22 w 211"/>
              <a:gd name="T77" fmla="*/ 41 h 128"/>
              <a:gd name="T78" fmla="*/ 30 w 211"/>
              <a:gd name="T79" fmla="*/ 39 h 128"/>
              <a:gd name="T80" fmla="*/ 30 w 211"/>
              <a:gd name="T81" fmla="*/ 32 h 128"/>
              <a:gd name="T82" fmla="*/ 34 w 211"/>
              <a:gd name="T83" fmla="*/ 25 h 128"/>
              <a:gd name="T84" fmla="*/ 43 w 211"/>
              <a:gd name="T85" fmla="*/ 31 h 128"/>
              <a:gd name="T86" fmla="*/ 64 w 211"/>
              <a:gd name="T87" fmla="*/ 37 h 128"/>
              <a:gd name="T88" fmla="*/ 84 w 211"/>
              <a:gd name="T89" fmla="*/ 33 h 128"/>
              <a:gd name="T90" fmla="*/ 88 w 211"/>
              <a:gd name="T91" fmla="*/ 23 h 128"/>
              <a:gd name="T92" fmla="*/ 108 w 211"/>
              <a:gd name="T93" fmla="*/ 16 h 128"/>
              <a:gd name="T94" fmla="*/ 119 w 211"/>
              <a:gd name="T95" fmla="*/ 20 h 128"/>
              <a:gd name="T96" fmla="*/ 137 w 211"/>
              <a:gd name="T97" fmla="*/ 3 h 128"/>
              <a:gd name="T98" fmla="*/ 152 w 211"/>
              <a:gd name="T99" fmla="*/ 1 h 128"/>
              <a:gd name="T100" fmla="*/ 167 w 211"/>
              <a:gd name="T101" fmla="*/ 0 h 128"/>
              <a:gd name="T102" fmla="*/ 173 w 211"/>
              <a:gd name="T103" fmla="*/ 6 h 128"/>
              <a:gd name="T104" fmla="*/ 177 w 211"/>
              <a:gd name="T105" fmla="*/ 1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1" h="128">
                <a:moveTo>
                  <a:pt x="188" y="7"/>
                </a:moveTo>
                <a:lnTo>
                  <a:pt x="188" y="7"/>
                </a:lnTo>
                <a:lnTo>
                  <a:pt x="191" y="6"/>
                </a:lnTo>
                <a:lnTo>
                  <a:pt x="191" y="6"/>
                </a:lnTo>
                <a:lnTo>
                  <a:pt x="192" y="7"/>
                </a:lnTo>
                <a:lnTo>
                  <a:pt x="193" y="9"/>
                </a:lnTo>
                <a:lnTo>
                  <a:pt x="193" y="9"/>
                </a:lnTo>
                <a:lnTo>
                  <a:pt x="193" y="10"/>
                </a:lnTo>
                <a:lnTo>
                  <a:pt x="194" y="12"/>
                </a:lnTo>
                <a:lnTo>
                  <a:pt x="195" y="14"/>
                </a:lnTo>
                <a:lnTo>
                  <a:pt x="197" y="14"/>
                </a:lnTo>
                <a:lnTo>
                  <a:pt x="200" y="16"/>
                </a:lnTo>
                <a:lnTo>
                  <a:pt x="202" y="19"/>
                </a:lnTo>
                <a:lnTo>
                  <a:pt x="205" y="21"/>
                </a:lnTo>
                <a:lnTo>
                  <a:pt x="205" y="21"/>
                </a:lnTo>
                <a:lnTo>
                  <a:pt x="206" y="21"/>
                </a:lnTo>
                <a:lnTo>
                  <a:pt x="208" y="21"/>
                </a:lnTo>
                <a:lnTo>
                  <a:pt x="209" y="21"/>
                </a:lnTo>
                <a:lnTo>
                  <a:pt x="210" y="23"/>
                </a:lnTo>
                <a:lnTo>
                  <a:pt x="211" y="24"/>
                </a:lnTo>
                <a:lnTo>
                  <a:pt x="211" y="26"/>
                </a:lnTo>
                <a:lnTo>
                  <a:pt x="211" y="28"/>
                </a:lnTo>
                <a:lnTo>
                  <a:pt x="211" y="28"/>
                </a:lnTo>
                <a:lnTo>
                  <a:pt x="211" y="29"/>
                </a:lnTo>
                <a:lnTo>
                  <a:pt x="205" y="35"/>
                </a:lnTo>
                <a:lnTo>
                  <a:pt x="203" y="37"/>
                </a:lnTo>
                <a:lnTo>
                  <a:pt x="202" y="37"/>
                </a:lnTo>
                <a:lnTo>
                  <a:pt x="199" y="36"/>
                </a:lnTo>
                <a:lnTo>
                  <a:pt x="197" y="37"/>
                </a:lnTo>
                <a:lnTo>
                  <a:pt x="195" y="38"/>
                </a:lnTo>
                <a:lnTo>
                  <a:pt x="193" y="38"/>
                </a:lnTo>
                <a:lnTo>
                  <a:pt x="192" y="40"/>
                </a:lnTo>
                <a:lnTo>
                  <a:pt x="190" y="43"/>
                </a:lnTo>
                <a:lnTo>
                  <a:pt x="188" y="45"/>
                </a:lnTo>
                <a:lnTo>
                  <a:pt x="185" y="47"/>
                </a:lnTo>
                <a:lnTo>
                  <a:pt x="184" y="49"/>
                </a:lnTo>
                <a:lnTo>
                  <a:pt x="184" y="54"/>
                </a:lnTo>
                <a:lnTo>
                  <a:pt x="183" y="55"/>
                </a:lnTo>
                <a:lnTo>
                  <a:pt x="181" y="57"/>
                </a:lnTo>
                <a:lnTo>
                  <a:pt x="180" y="58"/>
                </a:lnTo>
                <a:lnTo>
                  <a:pt x="177" y="65"/>
                </a:lnTo>
                <a:lnTo>
                  <a:pt x="176" y="68"/>
                </a:lnTo>
                <a:lnTo>
                  <a:pt x="174" y="70"/>
                </a:lnTo>
                <a:lnTo>
                  <a:pt x="173" y="71"/>
                </a:lnTo>
                <a:lnTo>
                  <a:pt x="173" y="73"/>
                </a:lnTo>
                <a:lnTo>
                  <a:pt x="171" y="77"/>
                </a:lnTo>
                <a:lnTo>
                  <a:pt x="168" y="81"/>
                </a:lnTo>
                <a:lnTo>
                  <a:pt x="168" y="83"/>
                </a:lnTo>
                <a:lnTo>
                  <a:pt x="168" y="85"/>
                </a:lnTo>
                <a:lnTo>
                  <a:pt x="166" y="88"/>
                </a:lnTo>
                <a:lnTo>
                  <a:pt x="164" y="89"/>
                </a:lnTo>
                <a:lnTo>
                  <a:pt x="163" y="90"/>
                </a:lnTo>
                <a:lnTo>
                  <a:pt x="162" y="91"/>
                </a:lnTo>
                <a:lnTo>
                  <a:pt x="161" y="95"/>
                </a:lnTo>
                <a:lnTo>
                  <a:pt x="161" y="97"/>
                </a:lnTo>
                <a:lnTo>
                  <a:pt x="161" y="98"/>
                </a:lnTo>
                <a:lnTo>
                  <a:pt x="159" y="99"/>
                </a:lnTo>
                <a:lnTo>
                  <a:pt x="158" y="101"/>
                </a:lnTo>
                <a:lnTo>
                  <a:pt x="158" y="103"/>
                </a:lnTo>
                <a:lnTo>
                  <a:pt x="157" y="104"/>
                </a:lnTo>
                <a:lnTo>
                  <a:pt x="154" y="106"/>
                </a:lnTo>
                <a:lnTo>
                  <a:pt x="148" y="105"/>
                </a:lnTo>
                <a:lnTo>
                  <a:pt x="145" y="106"/>
                </a:lnTo>
                <a:lnTo>
                  <a:pt x="145" y="107"/>
                </a:lnTo>
                <a:lnTo>
                  <a:pt x="145" y="108"/>
                </a:lnTo>
                <a:lnTo>
                  <a:pt x="144" y="109"/>
                </a:lnTo>
                <a:lnTo>
                  <a:pt x="142" y="110"/>
                </a:lnTo>
                <a:lnTo>
                  <a:pt x="141" y="111"/>
                </a:lnTo>
                <a:lnTo>
                  <a:pt x="138" y="109"/>
                </a:lnTo>
                <a:lnTo>
                  <a:pt x="131" y="111"/>
                </a:lnTo>
                <a:lnTo>
                  <a:pt x="129" y="112"/>
                </a:lnTo>
                <a:lnTo>
                  <a:pt x="128" y="111"/>
                </a:lnTo>
                <a:lnTo>
                  <a:pt x="127" y="111"/>
                </a:lnTo>
                <a:lnTo>
                  <a:pt x="120" y="110"/>
                </a:lnTo>
                <a:lnTo>
                  <a:pt x="117" y="110"/>
                </a:lnTo>
                <a:lnTo>
                  <a:pt x="113" y="110"/>
                </a:lnTo>
                <a:lnTo>
                  <a:pt x="110" y="109"/>
                </a:lnTo>
                <a:lnTo>
                  <a:pt x="107" y="110"/>
                </a:lnTo>
                <a:lnTo>
                  <a:pt x="105" y="113"/>
                </a:lnTo>
                <a:lnTo>
                  <a:pt x="104" y="114"/>
                </a:lnTo>
                <a:lnTo>
                  <a:pt x="103" y="115"/>
                </a:lnTo>
                <a:lnTo>
                  <a:pt x="101" y="116"/>
                </a:lnTo>
                <a:lnTo>
                  <a:pt x="99" y="117"/>
                </a:lnTo>
                <a:lnTo>
                  <a:pt x="97" y="118"/>
                </a:lnTo>
                <a:lnTo>
                  <a:pt x="95" y="117"/>
                </a:lnTo>
                <a:lnTo>
                  <a:pt x="93" y="116"/>
                </a:lnTo>
                <a:lnTo>
                  <a:pt x="93" y="116"/>
                </a:lnTo>
                <a:lnTo>
                  <a:pt x="92" y="118"/>
                </a:lnTo>
                <a:lnTo>
                  <a:pt x="91" y="119"/>
                </a:lnTo>
                <a:lnTo>
                  <a:pt x="88" y="120"/>
                </a:lnTo>
                <a:lnTo>
                  <a:pt x="88" y="120"/>
                </a:lnTo>
                <a:lnTo>
                  <a:pt x="85" y="121"/>
                </a:lnTo>
                <a:lnTo>
                  <a:pt x="82" y="121"/>
                </a:lnTo>
                <a:lnTo>
                  <a:pt x="80" y="121"/>
                </a:lnTo>
                <a:lnTo>
                  <a:pt x="77" y="125"/>
                </a:lnTo>
                <a:lnTo>
                  <a:pt x="76" y="126"/>
                </a:lnTo>
                <a:lnTo>
                  <a:pt x="73" y="127"/>
                </a:lnTo>
                <a:lnTo>
                  <a:pt x="71" y="128"/>
                </a:lnTo>
                <a:lnTo>
                  <a:pt x="68" y="127"/>
                </a:lnTo>
                <a:lnTo>
                  <a:pt x="68" y="127"/>
                </a:lnTo>
                <a:lnTo>
                  <a:pt x="58" y="127"/>
                </a:lnTo>
                <a:lnTo>
                  <a:pt x="53" y="126"/>
                </a:lnTo>
                <a:lnTo>
                  <a:pt x="50" y="125"/>
                </a:lnTo>
                <a:lnTo>
                  <a:pt x="48" y="123"/>
                </a:lnTo>
                <a:lnTo>
                  <a:pt x="47" y="121"/>
                </a:lnTo>
                <a:lnTo>
                  <a:pt x="45" y="120"/>
                </a:lnTo>
                <a:lnTo>
                  <a:pt x="41" y="119"/>
                </a:lnTo>
                <a:lnTo>
                  <a:pt x="38" y="117"/>
                </a:lnTo>
                <a:lnTo>
                  <a:pt x="36" y="113"/>
                </a:lnTo>
                <a:lnTo>
                  <a:pt x="33" y="111"/>
                </a:lnTo>
                <a:lnTo>
                  <a:pt x="29" y="108"/>
                </a:lnTo>
                <a:lnTo>
                  <a:pt x="26" y="105"/>
                </a:lnTo>
                <a:lnTo>
                  <a:pt x="24" y="102"/>
                </a:lnTo>
                <a:lnTo>
                  <a:pt x="20" y="98"/>
                </a:lnTo>
                <a:lnTo>
                  <a:pt x="15" y="95"/>
                </a:lnTo>
                <a:lnTo>
                  <a:pt x="13" y="94"/>
                </a:lnTo>
                <a:lnTo>
                  <a:pt x="13" y="93"/>
                </a:lnTo>
                <a:lnTo>
                  <a:pt x="10" y="90"/>
                </a:lnTo>
                <a:lnTo>
                  <a:pt x="9" y="88"/>
                </a:lnTo>
                <a:lnTo>
                  <a:pt x="9" y="86"/>
                </a:lnTo>
                <a:lnTo>
                  <a:pt x="9" y="85"/>
                </a:lnTo>
                <a:lnTo>
                  <a:pt x="8" y="84"/>
                </a:lnTo>
                <a:lnTo>
                  <a:pt x="7" y="82"/>
                </a:lnTo>
                <a:lnTo>
                  <a:pt x="7" y="80"/>
                </a:lnTo>
                <a:lnTo>
                  <a:pt x="6" y="78"/>
                </a:lnTo>
                <a:lnTo>
                  <a:pt x="0" y="78"/>
                </a:lnTo>
                <a:lnTo>
                  <a:pt x="5" y="73"/>
                </a:lnTo>
                <a:lnTo>
                  <a:pt x="7" y="72"/>
                </a:lnTo>
                <a:lnTo>
                  <a:pt x="10" y="72"/>
                </a:lnTo>
                <a:lnTo>
                  <a:pt x="11" y="71"/>
                </a:lnTo>
                <a:lnTo>
                  <a:pt x="11" y="71"/>
                </a:lnTo>
                <a:lnTo>
                  <a:pt x="12" y="69"/>
                </a:lnTo>
                <a:lnTo>
                  <a:pt x="12" y="68"/>
                </a:lnTo>
                <a:lnTo>
                  <a:pt x="12" y="66"/>
                </a:lnTo>
                <a:lnTo>
                  <a:pt x="12" y="65"/>
                </a:lnTo>
                <a:lnTo>
                  <a:pt x="11" y="65"/>
                </a:lnTo>
                <a:lnTo>
                  <a:pt x="10" y="61"/>
                </a:lnTo>
                <a:lnTo>
                  <a:pt x="11" y="60"/>
                </a:lnTo>
                <a:lnTo>
                  <a:pt x="11" y="59"/>
                </a:lnTo>
                <a:lnTo>
                  <a:pt x="11" y="55"/>
                </a:lnTo>
                <a:lnTo>
                  <a:pt x="11" y="53"/>
                </a:lnTo>
                <a:lnTo>
                  <a:pt x="13" y="53"/>
                </a:lnTo>
                <a:lnTo>
                  <a:pt x="15" y="52"/>
                </a:lnTo>
                <a:lnTo>
                  <a:pt x="16" y="51"/>
                </a:lnTo>
                <a:lnTo>
                  <a:pt x="17" y="50"/>
                </a:lnTo>
                <a:lnTo>
                  <a:pt x="18" y="47"/>
                </a:lnTo>
                <a:lnTo>
                  <a:pt x="17" y="44"/>
                </a:lnTo>
                <a:lnTo>
                  <a:pt x="11" y="42"/>
                </a:lnTo>
                <a:lnTo>
                  <a:pt x="10" y="41"/>
                </a:lnTo>
                <a:lnTo>
                  <a:pt x="12" y="40"/>
                </a:lnTo>
                <a:lnTo>
                  <a:pt x="13" y="38"/>
                </a:lnTo>
                <a:lnTo>
                  <a:pt x="14" y="37"/>
                </a:lnTo>
                <a:lnTo>
                  <a:pt x="16" y="37"/>
                </a:lnTo>
                <a:lnTo>
                  <a:pt x="17" y="38"/>
                </a:lnTo>
                <a:lnTo>
                  <a:pt x="20" y="40"/>
                </a:lnTo>
                <a:lnTo>
                  <a:pt x="22" y="41"/>
                </a:lnTo>
                <a:lnTo>
                  <a:pt x="23" y="40"/>
                </a:lnTo>
                <a:lnTo>
                  <a:pt x="24" y="40"/>
                </a:lnTo>
                <a:lnTo>
                  <a:pt x="27" y="40"/>
                </a:lnTo>
                <a:lnTo>
                  <a:pt x="30" y="39"/>
                </a:lnTo>
                <a:lnTo>
                  <a:pt x="30" y="37"/>
                </a:lnTo>
                <a:lnTo>
                  <a:pt x="30" y="35"/>
                </a:lnTo>
                <a:lnTo>
                  <a:pt x="29" y="33"/>
                </a:lnTo>
                <a:lnTo>
                  <a:pt x="30" y="32"/>
                </a:lnTo>
                <a:lnTo>
                  <a:pt x="31" y="30"/>
                </a:lnTo>
                <a:lnTo>
                  <a:pt x="31" y="27"/>
                </a:lnTo>
                <a:lnTo>
                  <a:pt x="33" y="25"/>
                </a:lnTo>
                <a:lnTo>
                  <a:pt x="34" y="25"/>
                </a:lnTo>
                <a:lnTo>
                  <a:pt x="37" y="26"/>
                </a:lnTo>
                <a:lnTo>
                  <a:pt x="38" y="26"/>
                </a:lnTo>
                <a:lnTo>
                  <a:pt x="38" y="26"/>
                </a:lnTo>
                <a:lnTo>
                  <a:pt x="43" y="31"/>
                </a:lnTo>
                <a:lnTo>
                  <a:pt x="48" y="35"/>
                </a:lnTo>
                <a:lnTo>
                  <a:pt x="52" y="36"/>
                </a:lnTo>
                <a:lnTo>
                  <a:pt x="58" y="36"/>
                </a:lnTo>
                <a:lnTo>
                  <a:pt x="64" y="37"/>
                </a:lnTo>
                <a:lnTo>
                  <a:pt x="74" y="36"/>
                </a:lnTo>
                <a:lnTo>
                  <a:pt x="82" y="36"/>
                </a:lnTo>
                <a:lnTo>
                  <a:pt x="83" y="35"/>
                </a:lnTo>
                <a:lnTo>
                  <a:pt x="84" y="33"/>
                </a:lnTo>
                <a:lnTo>
                  <a:pt x="83" y="31"/>
                </a:lnTo>
                <a:lnTo>
                  <a:pt x="83" y="29"/>
                </a:lnTo>
                <a:lnTo>
                  <a:pt x="84" y="26"/>
                </a:lnTo>
                <a:lnTo>
                  <a:pt x="88" y="23"/>
                </a:lnTo>
                <a:lnTo>
                  <a:pt x="99" y="22"/>
                </a:lnTo>
                <a:lnTo>
                  <a:pt x="105" y="21"/>
                </a:lnTo>
                <a:lnTo>
                  <a:pt x="106" y="18"/>
                </a:lnTo>
                <a:lnTo>
                  <a:pt x="108" y="16"/>
                </a:lnTo>
                <a:lnTo>
                  <a:pt x="110" y="15"/>
                </a:lnTo>
                <a:lnTo>
                  <a:pt x="113" y="16"/>
                </a:lnTo>
                <a:lnTo>
                  <a:pt x="116" y="18"/>
                </a:lnTo>
                <a:lnTo>
                  <a:pt x="119" y="20"/>
                </a:lnTo>
                <a:lnTo>
                  <a:pt x="120" y="19"/>
                </a:lnTo>
                <a:lnTo>
                  <a:pt x="126" y="15"/>
                </a:lnTo>
                <a:lnTo>
                  <a:pt x="132" y="12"/>
                </a:lnTo>
                <a:lnTo>
                  <a:pt x="137" y="3"/>
                </a:lnTo>
                <a:lnTo>
                  <a:pt x="137" y="1"/>
                </a:lnTo>
                <a:lnTo>
                  <a:pt x="142" y="0"/>
                </a:lnTo>
                <a:lnTo>
                  <a:pt x="149" y="0"/>
                </a:lnTo>
                <a:lnTo>
                  <a:pt x="152" y="1"/>
                </a:lnTo>
                <a:lnTo>
                  <a:pt x="155" y="2"/>
                </a:lnTo>
                <a:lnTo>
                  <a:pt x="159" y="2"/>
                </a:lnTo>
                <a:lnTo>
                  <a:pt x="165" y="0"/>
                </a:lnTo>
                <a:lnTo>
                  <a:pt x="167" y="0"/>
                </a:lnTo>
                <a:lnTo>
                  <a:pt x="169" y="1"/>
                </a:lnTo>
                <a:lnTo>
                  <a:pt x="171" y="3"/>
                </a:lnTo>
                <a:lnTo>
                  <a:pt x="172" y="4"/>
                </a:lnTo>
                <a:lnTo>
                  <a:pt x="173" y="6"/>
                </a:lnTo>
                <a:lnTo>
                  <a:pt x="173" y="7"/>
                </a:lnTo>
                <a:lnTo>
                  <a:pt x="174" y="8"/>
                </a:lnTo>
                <a:lnTo>
                  <a:pt x="175" y="10"/>
                </a:lnTo>
                <a:lnTo>
                  <a:pt x="177" y="10"/>
                </a:lnTo>
                <a:lnTo>
                  <a:pt x="188" y="7"/>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1228" name="Kosovo">
            <a:extLst>
              <a:ext uri="{FF2B5EF4-FFF2-40B4-BE49-F238E27FC236}">
                <a16:creationId xmlns:a16="http://schemas.microsoft.com/office/drawing/2014/main" id="{E055AA01-55AD-4190-9AB4-2849226A34BC}"/>
              </a:ext>
            </a:extLst>
          </p:cNvPr>
          <p:cNvSpPr>
            <a:spLocks/>
          </p:cNvSpPr>
          <p:nvPr/>
        </p:nvSpPr>
        <p:spPr bwMode="auto">
          <a:xfrm>
            <a:off x="6419465" y="3379256"/>
            <a:ext cx="51337" cy="51002"/>
          </a:xfrm>
          <a:custGeom>
            <a:avLst/>
            <a:gdLst>
              <a:gd name="T0" fmla="*/ 48 w 53"/>
              <a:gd name="T1" fmla="*/ 42 h 59"/>
              <a:gd name="T2" fmla="*/ 42 w 53"/>
              <a:gd name="T3" fmla="*/ 44 h 59"/>
              <a:gd name="T4" fmla="*/ 39 w 53"/>
              <a:gd name="T5" fmla="*/ 47 h 59"/>
              <a:gd name="T6" fmla="*/ 38 w 53"/>
              <a:gd name="T7" fmla="*/ 49 h 59"/>
              <a:gd name="T8" fmla="*/ 34 w 53"/>
              <a:gd name="T9" fmla="*/ 45 h 59"/>
              <a:gd name="T10" fmla="*/ 23 w 53"/>
              <a:gd name="T11" fmla="*/ 50 h 59"/>
              <a:gd name="T12" fmla="*/ 22 w 53"/>
              <a:gd name="T13" fmla="*/ 57 h 59"/>
              <a:gd name="T14" fmla="*/ 20 w 53"/>
              <a:gd name="T15" fmla="*/ 59 h 59"/>
              <a:gd name="T16" fmla="*/ 16 w 53"/>
              <a:gd name="T17" fmla="*/ 58 h 59"/>
              <a:gd name="T18" fmla="*/ 17 w 53"/>
              <a:gd name="T19" fmla="*/ 52 h 59"/>
              <a:gd name="T20" fmla="*/ 14 w 53"/>
              <a:gd name="T21" fmla="*/ 43 h 59"/>
              <a:gd name="T22" fmla="*/ 10 w 53"/>
              <a:gd name="T23" fmla="*/ 40 h 59"/>
              <a:gd name="T24" fmla="*/ 5 w 53"/>
              <a:gd name="T25" fmla="*/ 35 h 59"/>
              <a:gd name="T26" fmla="*/ 1 w 53"/>
              <a:gd name="T27" fmla="*/ 30 h 59"/>
              <a:gd name="T28" fmla="*/ 2 w 53"/>
              <a:gd name="T29" fmla="*/ 26 h 59"/>
              <a:gd name="T30" fmla="*/ 0 w 53"/>
              <a:gd name="T31" fmla="*/ 22 h 59"/>
              <a:gd name="T32" fmla="*/ 3 w 53"/>
              <a:gd name="T33" fmla="*/ 21 h 59"/>
              <a:gd name="T34" fmla="*/ 6 w 53"/>
              <a:gd name="T35" fmla="*/ 19 h 59"/>
              <a:gd name="T36" fmla="*/ 13 w 53"/>
              <a:gd name="T37" fmla="*/ 17 h 59"/>
              <a:gd name="T38" fmla="*/ 13 w 53"/>
              <a:gd name="T39" fmla="*/ 14 h 59"/>
              <a:gd name="T40" fmla="*/ 18 w 53"/>
              <a:gd name="T41" fmla="*/ 9 h 59"/>
              <a:gd name="T42" fmla="*/ 19 w 53"/>
              <a:gd name="T43" fmla="*/ 6 h 59"/>
              <a:gd name="T44" fmla="*/ 18 w 53"/>
              <a:gd name="T45" fmla="*/ 3 h 59"/>
              <a:gd name="T46" fmla="*/ 21 w 53"/>
              <a:gd name="T47" fmla="*/ 1 h 59"/>
              <a:gd name="T48" fmla="*/ 24 w 53"/>
              <a:gd name="T49" fmla="*/ 0 h 59"/>
              <a:gd name="T50" fmla="*/ 24 w 53"/>
              <a:gd name="T51" fmla="*/ 2 h 59"/>
              <a:gd name="T52" fmla="*/ 27 w 53"/>
              <a:gd name="T53" fmla="*/ 4 h 59"/>
              <a:gd name="T54" fmla="*/ 32 w 53"/>
              <a:gd name="T55" fmla="*/ 7 h 59"/>
              <a:gd name="T56" fmla="*/ 37 w 53"/>
              <a:gd name="T57" fmla="*/ 12 h 59"/>
              <a:gd name="T58" fmla="*/ 40 w 53"/>
              <a:gd name="T59" fmla="*/ 16 h 59"/>
              <a:gd name="T60" fmla="*/ 42 w 53"/>
              <a:gd name="T61" fmla="*/ 21 h 59"/>
              <a:gd name="T62" fmla="*/ 53 w 53"/>
              <a:gd name="T63" fmla="*/ 24 h 59"/>
              <a:gd name="T64" fmla="*/ 53 w 53"/>
              <a:gd name="T65" fmla="*/ 25 h 59"/>
              <a:gd name="T66" fmla="*/ 49 w 53"/>
              <a:gd name="T67" fmla="*/ 35 h 59"/>
              <a:gd name="T68" fmla="*/ 46 w 53"/>
              <a:gd name="T69" fmla="*/ 38 h 59"/>
              <a:gd name="T70" fmla="*/ 47 w 53"/>
              <a:gd name="T71" fmla="*/ 4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59">
                <a:moveTo>
                  <a:pt x="48" y="42"/>
                </a:moveTo>
                <a:lnTo>
                  <a:pt x="48" y="42"/>
                </a:lnTo>
                <a:lnTo>
                  <a:pt x="47" y="42"/>
                </a:lnTo>
                <a:lnTo>
                  <a:pt x="42" y="44"/>
                </a:lnTo>
                <a:lnTo>
                  <a:pt x="40" y="45"/>
                </a:lnTo>
                <a:lnTo>
                  <a:pt x="39" y="47"/>
                </a:lnTo>
                <a:lnTo>
                  <a:pt x="39" y="49"/>
                </a:lnTo>
                <a:lnTo>
                  <a:pt x="38" y="49"/>
                </a:lnTo>
                <a:lnTo>
                  <a:pt x="36" y="47"/>
                </a:lnTo>
                <a:lnTo>
                  <a:pt x="34" y="45"/>
                </a:lnTo>
                <a:lnTo>
                  <a:pt x="32" y="46"/>
                </a:lnTo>
                <a:lnTo>
                  <a:pt x="23" y="50"/>
                </a:lnTo>
                <a:lnTo>
                  <a:pt x="22" y="52"/>
                </a:lnTo>
                <a:lnTo>
                  <a:pt x="22" y="57"/>
                </a:lnTo>
                <a:lnTo>
                  <a:pt x="21" y="58"/>
                </a:lnTo>
                <a:lnTo>
                  <a:pt x="20" y="59"/>
                </a:lnTo>
                <a:lnTo>
                  <a:pt x="17" y="58"/>
                </a:lnTo>
                <a:lnTo>
                  <a:pt x="16" y="58"/>
                </a:lnTo>
                <a:lnTo>
                  <a:pt x="17" y="56"/>
                </a:lnTo>
                <a:lnTo>
                  <a:pt x="17" y="52"/>
                </a:lnTo>
                <a:lnTo>
                  <a:pt x="15" y="46"/>
                </a:lnTo>
                <a:lnTo>
                  <a:pt x="14" y="43"/>
                </a:lnTo>
                <a:lnTo>
                  <a:pt x="12" y="41"/>
                </a:lnTo>
                <a:lnTo>
                  <a:pt x="10" y="40"/>
                </a:lnTo>
                <a:lnTo>
                  <a:pt x="6" y="39"/>
                </a:lnTo>
                <a:lnTo>
                  <a:pt x="5" y="35"/>
                </a:lnTo>
                <a:lnTo>
                  <a:pt x="2" y="31"/>
                </a:lnTo>
                <a:lnTo>
                  <a:pt x="1" y="30"/>
                </a:lnTo>
                <a:lnTo>
                  <a:pt x="1" y="29"/>
                </a:lnTo>
                <a:lnTo>
                  <a:pt x="2" y="26"/>
                </a:lnTo>
                <a:lnTo>
                  <a:pt x="1" y="24"/>
                </a:lnTo>
                <a:lnTo>
                  <a:pt x="0" y="22"/>
                </a:lnTo>
                <a:lnTo>
                  <a:pt x="0" y="21"/>
                </a:lnTo>
                <a:lnTo>
                  <a:pt x="3" y="21"/>
                </a:lnTo>
                <a:lnTo>
                  <a:pt x="5" y="21"/>
                </a:lnTo>
                <a:lnTo>
                  <a:pt x="6" y="19"/>
                </a:lnTo>
                <a:lnTo>
                  <a:pt x="10" y="18"/>
                </a:lnTo>
                <a:lnTo>
                  <a:pt x="13" y="17"/>
                </a:lnTo>
                <a:lnTo>
                  <a:pt x="14" y="16"/>
                </a:lnTo>
                <a:lnTo>
                  <a:pt x="13" y="14"/>
                </a:lnTo>
                <a:lnTo>
                  <a:pt x="14" y="13"/>
                </a:lnTo>
                <a:lnTo>
                  <a:pt x="18" y="9"/>
                </a:lnTo>
                <a:lnTo>
                  <a:pt x="19" y="8"/>
                </a:lnTo>
                <a:lnTo>
                  <a:pt x="19" y="6"/>
                </a:lnTo>
                <a:lnTo>
                  <a:pt x="19" y="5"/>
                </a:lnTo>
                <a:lnTo>
                  <a:pt x="18" y="3"/>
                </a:lnTo>
                <a:lnTo>
                  <a:pt x="18" y="2"/>
                </a:lnTo>
                <a:lnTo>
                  <a:pt x="21" y="1"/>
                </a:lnTo>
                <a:lnTo>
                  <a:pt x="23" y="0"/>
                </a:lnTo>
                <a:lnTo>
                  <a:pt x="24" y="0"/>
                </a:lnTo>
                <a:lnTo>
                  <a:pt x="24" y="1"/>
                </a:lnTo>
                <a:lnTo>
                  <a:pt x="24" y="2"/>
                </a:lnTo>
                <a:lnTo>
                  <a:pt x="25" y="3"/>
                </a:lnTo>
                <a:lnTo>
                  <a:pt x="27" y="4"/>
                </a:lnTo>
                <a:lnTo>
                  <a:pt x="29" y="6"/>
                </a:lnTo>
                <a:lnTo>
                  <a:pt x="32" y="7"/>
                </a:lnTo>
                <a:lnTo>
                  <a:pt x="34" y="9"/>
                </a:lnTo>
                <a:lnTo>
                  <a:pt x="37" y="12"/>
                </a:lnTo>
                <a:lnTo>
                  <a:pt x="37" y="14"/>
                </a:lnTo>
                <a:lnTo>
                  <a:pt x="40" y="16"/>
                </a:lnTo>
                <a:lnTo>
                  <a:pt x="43" y="18"/>
                </a:lnTo>
                <a:lnTo>
                  <a:pt x="42" y="21"/>
                </a:lnTo>
                <a:lnTo>
                  <a:pt x="51" y="24"/>
                </a:lnTo>
                <a:lnTo>
                  <a:pt x="53" y="24"/>
                </a:lnTo>
                <a:lnTo>
                  <a:pt x="53" y="25"/>
                </a:lnTo>
                <a:lnTo>
                  <a:pt x="53" y="25"/>
                </a:lnTo>
                <a:lnTo>
                  <a:pt x="53" y="28"/>
                </a:lnTo>
                <a:lnTo>
                  <a:pt x="49" y="35"/>
                </a:lnTo>
                <a:lnTo>
                  <a:pt x="49" y="37"/>
                </a:lnTo>
                <a:lnTo>
                  <a:pt x="46" y="38"/>
                </a:lnTo>
                <a:lnTo>
                  <a:pt x="46" y="39"/>
                </a:lnTo>
                <a:lnTo>
                  <a:pt x="47" y="41"/>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1229" name="Lithuania">
            <a:extLst>
              <a:ext uri="{FF2B5EF4-FFF2-40B4-BE49-F238E27FC236}">
                <a16:creationId xmlns:a16="http://schemas.microsoft.com/office/drawing/2014/main" id="{4C673A08-3DD8-473A-8D88-3E23E1F4C4A1}"/>
              </a:ext>
            </a:extLst>
          </p:cNvPr>
          <p:cNvSpPr>
            <a:spLocks noEditPoints="1"/>
          </p:cNvSpPr>
          <p:nvPr/>
        </p:nvSpPr>
        <p:spPr bwMode="auto">
          <a:xfrm>
            <a:off x="6446249" y="2837852"/>
            <a:ext cx="176329" cy="115735"/>
          </a:xfrm>
          <a:custGeom>
            <a:avLst/>
            <a:gdLst>
              <a:gd name="T0" fmla="*/ 177 w 183"/>
              <a:gd name="T1" fmla="*/ 44 h 137"/>
              <a:gd name="T2" fmla="*/ 174 w 183"/>
              <a:gd name="T3" fmla="*/ 58 h 137"/>
              <a:gd name="T4" fmla="*/ 180 w 183"/>
              <a:gd name="T5" fmla="*/ 61 h 137"/>
              <a:gd name="T6" fmla="*/ 182 w 183"/>
              <a:gd name="T7" fmla="*/ 65 h 137"/>
              <a:gd name="T8" fmla="*/ 178 w 183"/>
              <a:gd name="T9" fmla="*/ 71 h 137"/>
              <a:gd name="T10" fmla="*/ 166 w 183"/>
              <a:gd name="T11" fmla="*/ 73 h 137"/>
              <a:gd name="T12" fmla="*/ 162 w 183"/>
              <a:gd name="T13" fmla="*/ 80 h 137"/>
              <a:gd name="T14" fmla="*/ 152 w 183"/>
              <a:gd name="T15" fmla="*/ 87 h 137"/>
              <a:gd name="T16" fmla="*/ 151 w 183"/>
              <a:gd name="T17" fmla="*/ 100 h 137"/>
              <a:gd name="T18" fmla="*/ 147 w 183"/>
              <a:gd name="T19" fmla="*/ 107 h 137"/>
              <a:gd name="T20" fmla="*/ 145 w 183"/>
              <a:gd name="T21" fmla="*/ 115 h 137"/>
              <a:gd name="T22" fmla="*/ 151 w 183"/>
              <a:gd name="T23" fmla="*/ 118 h 137"/>
              <a:gd name="T24" fmla="*/ 151 w 183"/>
              <a:gd name="T25" fmla="*/ 123 h 137"/>
              <a:gd name="T26" fmla="*/ 144 w 183"/>
              <a:gd name="T27" fmla="*/ 123 h 137"/>
              <a:gd name="T28" fmla="*/ 143 w 183"/>
              <a:gd name="T29" fmla="*/ 118 h 137"/>
              <a:gd name="T30" fmla="*/ 137 w 183"/>
              <a:gd name="T31" fmla="*/ 118 h 137"/>
              <a:gd name="T32" fmla="*/ 129 w 183"/>
              <a:gd name="T33" fmla="*/ 125 h 137"/>
              <a:gd name="T34" fmla="*/ 121 w 183"/>
              <a:gd name="T35" fmla="*/ 132 h 137"/>
              <a:gd name="T36" fmla="*/ 111 w 183"/>
              <a:gd name="T37" fmla="*/ 135 h 137"/>
              <a:gd name="T38" fmla="*/ 102 w 183"/>
              <a:gd name="T39" fmla="*/ 134 h 137"/>
              <a:gd name="T40" fmla="*/ 95 w 183"/>
              <a:gd name="T41" fmla="*/ 135 h 137"/>
              <a:gd name="T42" fmla="*/ 83 w 183"/>
              <a:gd name="T43" fmla="*/ 136 h 137"/>
              <a:gd name="T44" fmla="*/ 80 w 183"/>
              <a:gd name="T45" fmla="*/ 131 h 137"/>
              <a:gd name="T46" fmla="*/ 77 w 183"/>
              <a:gd name="T47" fmla="*/ 121 h 137"/>
              <a:gd name="T48" fmla="*/ 68 w 183"/>
              <a:gd name="T49" fmla="*/ 116 h 137"/>
              <a:gd name="T50" fmla="*/ 66 w 183"/>
              <a:gd name="T51" fmla="*/ 113 h 137"/>
              <a:gd name="T52" fmla="*/ 60 w 183"/>
              <a:gd name="T53" fmla="*/ 111 h 137"/>
              <a:gd name="T54" fmla="*/ 55 w 183"/>
              <a:gd name="T55" fmla="*/ 105 h 137"/>
              <a:gd name="T56" fmla="*/ 60 w 183"/>
              <a:gd name="T57" fmla="*/ 87 h 137"/>
              <a:gd name="T58" fmla="*/ 54 w 183"/>
              <a:gd name="T59" fmla="*/ 80 h 137"/>
              <a:gd name="T60" fmla="*/ 38 w 183"/>
              <a:gd name="T61" fmla="*/ 75 h 137"/>
              <a:gd name="T62" fmla="*/ 24 w 183"/>
              <a:gd name="T63" fmla="*/ 69 h 137"/>
              <a:gd name="T64" fmla="*/ 15 w 183"/>
              <a:gd name="T65" fmla="*/ 63 h 137"/>
              <a:gd name="T66" fmla="*/ 10 w 183"/>
              <a:gd name="T67" fmla="*/ 63 h 137"/>
              <a:gd name="T68" fmla="*/ 8 w 183"/>
              <a:gd name="T69" fmla="*/ 44 h 137"/>
              <a:gd name="T70" fmla="*/ 4 w 183"/>
              <a:gd name="T71" fmla="*/ 19 h 137"/>
              <a:gd name="T72" fmla="*/ 26 w 183"/>
              <a:gd name="T73" fmla="*/ 5 h 137"/>
              <a:gd name="T74" fmla="*/ 46 w 183"/>
              <a:gd name="T75" fmla="*/ 1 h 137"/>
              <a:gd name="T76" fmla="*/ 61 w 183"/>
              <a:gd name="T77" fmla="*/ 1 h 137"/>
              <a:gd name="T78" fmla="*/ 69 w 183"/>
              <a:gd name="T79" fmla="*/ 5 h 137"/>
              <a:gd name="T80" fmla="*/ 87 w 183"/>
              <a:gd name="T81" fmla="*/ 4 h 137"/>
              <a:gd name="T82" fmla="*/ 100 w 183"/>
              <a:gd name="T83" fmla="*/ 8 h 137"/>
              <a:gd name="T84" fmla="*/ 113 w 183"/>
              <a:gd name="T85" fmla="*/ 7 h 137"/>
              <a:gd name="T86" fmla="*/ 123 w 183"/>
              <a:gd name="T87" fmla="*/ 0 h 137"/>
              <a:gd name="T88" fmla="*/ 130 w 183"/>
              <a:gd name="T89" fmla="*/ 12 h 137"/>
              <a:gd name="T90" fmla="*/ 148 w 183"/>
              <a:gd name="T91" fmla="*/ 17 h 137"/>
              <a:gd name="T92" fmla="*/ 161 w 183"/>
              <a:gd name="T93" fmla="*/ 29 h 137"/>
              <a:gd name="T94" fmla="*/ 171 w 183"/>
              <a:gd name="T95" fmla="*/ 40 h 137"/>
              <a:gd name="T96" fmla="*/ 2 w 183"/>
              <a:gd name="T97" fmla="*/ 63 h 137"/>
              <a:gd name="T98" fmla="*/ 3 w 183"/>
              <a:gd name="T99" fmla="*/ 56 h 137"/>
              <a:gd name="T100" fmla="*/ 7 w 183"/>
              <a:gd name="T101" fmla="*/ 44 h 137"/>
              <a:gd name="T102" fmla="*/ 4 w 183"/>
              <a:gd name="T103" fmla="*/ 59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3" h="137">
                <a:moveTo>
                  <a:pt x="177" y="42"/>
                </a:moveTo>
                <a:lnTo>
                  <a:pt x="177" y="42"/>
                </a:lnTo>
                <a:lnTo>
                  <a:pt x="177" y="44"/>
                </a:lnTo>
                <a:lnTo>
                  <a:pt x="177" y="48"/>
                </a:lnTo>
                <a:lnTo>
                  <a:pt x="175" y="54"/>
                </a:lnTo>
                <a:lnTo>
                  <a:pt x="174" y="58"/>
                </a:lnTo>
                <a:lnTo>
                  <a:pt x="173" y="59"/>
                </a:lnTo>
                <a:lnTo>
                  <a:pt x="174" y="61"/>
                </a:lnTo>
                <a:lnTo>
                  <a:pt x="180" y="61"/>
                </a:lnTo>
                <a:lnTo>
                  <a:pt x="183" y="62"/>
                </a:lnTo>
                <a:lnTo>
                  <a:pt x="183" y="63"/>
                </a:lnTo>
                <a:lnTo>
                  <a:pt x="182" y="65"/>
                </a:lnTo>
                <a:lnTo>
                  <a:pt x="180" y="66"/>
                </a:lnTo>
                <a:lnTo>
                  <a:pt x="179" y="67"/>
                </a:lnTo>
                <a:lnTo>
                  <a:pt x="178" y="71"/>
                </a:lnTo>
                <a:lnTo>
                  <a:pt x="168" y="70"/>
                </a:lnTo>
                <a:lnTo>
                  <a:pt x="167" y="71"/>
                </a:lnTo>
                <a:lnTo>
                  <a:pt x="166" y="73"/>
                </a:lnTo>
                <a:lnTo>
                  <a:pt x="166" y="75"/>
                </a:lnTo>
                <a:lnTo>
                  <a:pt x="164" y="78"/>
                </a:lnTo>
                <a:lnTo>
                  <a:pt x="162" y="80"/>
                </a:lnTo>
                <a:lnTo>
                  <a:pt x="158" y="81"/>
                </a:lnTo>
                <a:lnTo>
                  <a:pt x="155" y="82"/>
                </a:lnTo>
                <a:lnTo>
                  <a:pt x="152" y="87"/>
                </a:lnTo>
                <a:lnTo>
                  <a:pt x="150" y="93"/>
                </a:lnTo>
                <a:lnTo>
                  <a:pt x="150" y="98"/>
                </a:lnTo>
                <a:lnTo>
                  <a:pt x="151" y="100"/>
                </a:lnTo>
                <a:lnTo>
                  <a:pt x="150" y="102"/>
                </a:lnTo>
                <a:lnTo>
                  <a:pt x="149" y="103"/>
                </a:lnTo>
                <a:lnTo>
                  <a:pt x="147" y="107"/>
                </a:lnTo>
                <a:lnTo>
                  <a:pt x="145" y="112"/>
                </a:lnTo>
                <a:lnTo>
                  <a:pt x="145" y="114"/>
                </a:lnTo>
                <a:lnTo>
                  <a:pt x="145" y="115"/>
                </a:lnTo>
                <a:lnTo>
                  <a:pt x="147" y="115"/>
                </a:lnTo>
                <a:lnTo>
                  <a:pt x="150" y="116"/>
                </a:lnTo>
                <a:lnTo>
                  <a:pt x="151" y="118"/>
                </a:lnTo>
                <a:lnTo>
                  <a:pt x="152" y="120"/>
                </a:lnTo>
                <a:lnTo>
                  <a:pt x="152" y="122"/>
                </a:lnTo>
                <a:lnTo>
                  <a:pt x="151" y="123"/>
                </a:lnTo>
                <a:lnTo>
                  <a:pt x="149" y="124"/>
                </a:lnTo>
                <a:lnTo>
                  <a:pt x="146" y="124"/>
                </a:lnTo>
                <a:lnTo>
                  <a:pt x="144" y="123"/>
                </a:lnTo>
                <a:lnTo>
                  <a:pt x="143" y="122"/>
                </a:lnTo>
                <a:lnTo>
                  <a:pt x="144" y="120"/>
                </a:lnTo>
                <a:lnTo>
                  <a:pt x="143" y="118"/>
                </a:lnTo>
                <a:lnTo>
                  <a:pt x="142" y="116"/>
                </a:lnTo>
                <a:lnTo>
                  <a:pt x="139" y="118"/>
                </a:lnTo>
                <a:lnTo>
                  <a:pt x="137" y="118"/>
                </a:lnTo>
                <a:lnTo>
                  <a:pt x="133" y="120"/>
                </a:lnTo>
                <a:lnTo>
                  <a:pt x="131" y="123"/>
                </a:lnTo>
                <a:lnTo>
                  <a:pt x="129" y="125"/>
                </a:lnTo>
                <a:lnTo>
                  <a:pt x="124" y="124"/>
                </a:lnTo>
                <a:lnTo>
                  <a:pt x="122" y="125"/>
                </a:lnTo>
                <a:lnTo>
                  <a:pt x="121" y="132"/>
                </a:lnTo>
                <a:lnTo>
                  <a:pt x="120" y="133"/>
                </a:lnTo>
                <a:lnTo>
                  <a:pt x="116" y="133"/>
                </a:lnTo>
                <a:lnTo>
                  <a:pt x="111" y="135"/>
                </a:lnTo>
                <a:lnTo>
                  <a:pt x="106" y="137"/>
                </a:lnTo>
                <a:lnTo>
                  <a:pt x="104" y="136"/>
                </a:lnTo>
                <a:lnTo>
                  <a:pt x="102" y="134"/>
                </a:lnTo>
                <a:lnTo>
                  <a:pt x="100" y="135"/>
                </a:lnTo>
                <a:lnTo>
                  <a:pt x="97" y="135"/>
                </a:lnTo>
                <a:lnTo>
                  <a:pt x="95" y="135"/>
                </a:lnTo>
                <a:lnTo>
                  <a:pt x="93" y="135"/>
                </a:lnTo>
                <a:lnTo>
                  <a:pt x="88" y="136"/>
                </a:lnTo>
                <a:lnTo>
                  <a:pt x="83" y="136"/>
                </a:lnTo>
                <a:lnTo>
                  <a:pt x="80" y="135"/>
                </a:lnTo>
                <a:lnTo>
                  <a:pt x="80" y="134"/>
                </a:lnTo>
                <a:lnTo>
                  <a:pt x="80" y="131"/>
                </a:lnTo>
                <a:lnTo>
                  <a:pt x="80" y="127"/>
                </a:lnTo>
                <a:lnTo>
                  <a:pt x="79" y="124"/>
                </a:lnTo>
                <a:lnTo>
                  <a:pt x="77" y="121"/>
                </a:lnTo>
                <a:lnTo>
                  <a:pt x="74" y="119"/>
                </a:lnTo>
                <a:lnTo>
                  <a:pt x="71" y="117"/>
                </a:lnTo>
                <a:lnTo>
                  <a:pt x="68" y="116"/>
                </a:lnTo>
                <a:lnTo>
                  <a:pt x="67" y="115"/>
                </a:lnTo>
                <a:lnTo>
                  <a:pt x="66" y="114"/>
                </a:lnTo>
                <a:lnTo>
                  <a:pt x="66" y="113"/>
                </a:lnTo>
                <a:lnTo>
                  <a:pt x="65" y="112"/>
                </a:lnTo>
                <a:lnTo>
                  <a:pt x="62" y="111"/>
                </a:lnTo>
                <a:lnTo>
                  <a:pt x="60" y="111"/>
                </a:lnTo>
                <a:lnTo>
                  <a:pt x="58" y="113"/>
                </a:lnTo>
                <a:lnTo>
                  <a:pt x="57" y="110"/>
                </a:lnTo>
                <a:lnTo>
                  <a:pt x="55" y="105"/>
                </a:lnTo>
                <a:lnTo>
                  <a:pt x="55" y="102"/>
                </a:lnTo>
                <a:lnTo>
                  <a:pt x="56" y="98"/>
                </a:lnTo>
                <a:lnTo>
                  <a:pt x="60" y="87"/>
                </a:lnTo>
                <a:lnTo>
                  <a:pt x="60" y="85"/>
                </a:lnTo>
                <a:lnTo>
                  <a:pt x="57" y="82"/>
                </a:lnTo>
                <a:lnTo>
                  <a:pt x="54" y="80"/>
                </a:lnTo>
                <a:lnTo>
                  <a:pt x="52" y="75"/>
                </a:lnTo>
                <a:lnTo>
                  <a:pt x="45" y="75"/>
                </a:lnTo>
                <a:lnTo>
                  <a:pt x="38" y="75"/>
                </a:lnTo>
                <a:lnTo>
                  <a:pt x="36" y="75"/>
                </a:lnTo>
                <a:lnTo>
                  <a:pt x="30" y="73"/>
                </a:lnTo>
                <a:lnTo>
                  <a:pt x="24" y="69"/>
                </a:lnTo>
                <a:lnTo>
                  <a:pt x="20" y="67"/>
                </a:lnTo>
                <a:lnTo>
                  <a:pt x="17" y="65"/>
                </a:lnTo>
                <a:lnTo>
                  <a:pt x="15" y="63"/>
                </a:lnTo>
                <a:lnTo>
                  <a:pt x="12" y="64"/>
                </a:lnTo>
                <a:lnTo>
                  <a:pt x="10" y="64"/>
                </a:lnTo>
                <a:lnTo>
                  <a:pt x="10" y="63"/>
                </a:lnTo>
                <a:lnTo>
                  <a:pt x="9" y="59"/>
                </a:lnTo>
                <a:lnTo>
                  <a:pt x="10" y="53"/>
                </a:lnTo>
                <a:lnTo>
                  <a:pt x="8" y="44"/>
                </a:lnTo>
                <a:lnTo>
                  <a:pt x="5" y="34"/>
                </a:lnTo>
                <a:lnTo>
                  <a:pt x="5" y="22"/>
                </a:lnTo>
                <a:lnTo>
                  <a:pt x="4" y="19"/>
                </a:lnTo>
                <a:lnTo>
                  <a:pt x="13" y="13"/>
                </a:lnTo>
                <a:lnTo>
                  <a:pt x="23" y="6"/>
                </a:lnTo>
                <a:lnTo>
                  <a:pt x="26" y="5"/>
                </a:lnTo>
                <a:lnTo>
                  <a:pt x="35" y="1"/>
                </a:lnTo>
                <a:lnTo>
                  <a:pt x="37" y="0"/>
                </a:lnTo>
                <a:lnTo>
                  <a:pt x="46" y="1"/>
                </a:lnTo>
                <a:lnTo>
                  <a:pt x="52" y="2"/>
                </a:lnTo>
                <a:lnTo>
                  <a:pt x="58" y="2"/>
                </a:lnTo>
                <a:lnTo>
                  <a:pt x="61" y="1"/>
                </a:lnTo>
                <a:lnTo>
                  <a:pt x="64" y="2"/>
                </a:lnTo>
                <a:lnTo>
                  <a:pt x="67" y="5"/>
                </a:lnTo>
                <a:lnTo>
                  <a:pt x="69" y="5"/>
                </a:lnTo>
                <a:lnTo>
                  <a:pt x="71" y="3"/>
                </a:lnTo>
                <a:lnTo>
                  <a:pt x="84" y="4"/>
                </a:lnTo>
                <a:lnTo>
                  <a:pt x="87" y="4"/>
                </a:lnTo>
                <a:lnTo>
                  <a:pt x="91" y="5"/>
                </a:lnTo>
                <a:lnTo>
                  <a:pt x="97" y="7"/>
                </a:lnTo>
                <a:lnTo>
                  <a:pt x="100" y="8"/>
                </a:lnTo>
                <a:lnTo>
                  <a:pt x="108" y="7"/>
                </a:lnTo>
                <a:lnTo>
                  <a:pt x="111" y="7"/>
                </a:lnTo>
                <a:lnTo>
                  <a:pt x="113" y="7"/>
                </a:lnTo>
                <a:lnTo>
                  <a:pt x="118" y="2"/>
                </a:lnTo>
                <a:lnTo>
                  <a:pt x="121" y="1"/>
                </a:lnTo>
                <a:lnTo>
                  <a:pt x="123" y="0"/>
                </a:lnTo>
                <a:lnTo>
                  <a:pt x="125" y="1"/>
                </a:lnTo>
                <a:lnTo>
                  <a:pt x="126" y="5"/>
                </a:lnTo>
                <a:lnTo>
                  <a:pt x="130" y="12"/>
                </a:lnTo>
                <a:lnTo>
                  <a:pt x="134" y="13"/>
                </a:lnTo>
                <a:lnTo>
                  <a:pt x="146" y="16"/>
                </a:lnTo>
                <a:lnTo>
                  <a:pt x="148" y="17"/>
                </a:lnTo>
                <a:lnTo>
                  <a:pt x="155" y="23"/>
                </a:lnTo>
                <a:lnTo>
                  <a:pt x="159" y="26"/>
                </a:lnTo>
                <a:lnTo>
                  <a:pt x="161" y="29"/>
                </a:lnTo>
                <a:lnTo>
                  <a:pt x="165" y="34"/>
                </a:lnTo>
                <a:lnTo>
                  <a:pt x="168" y="37"/>
                </a:lnTo>
                <a:lnTo>
                  <a:pt x="171" y="40"/>
                </a:lnTo>
                <a:lnTo>
                  <a:pt x="176" y="41"/>
                </a:lnTo>
                <a:lnTo>
                  <a:pt x="177" y="42"/>
                </a:lnTo>
                <a:close/>
                <a:moveTo>
                  <a:pt x="2" y="63"/>
                </a:moveTo>
                <a:lnTo>
                  <a:pt x="2" y="63"/>
                </a:lnTo>
                <a:lnTo>
                  <a:pt x="0" y="62"/>
                </a:lnTo>
                <a:lnTo>
                  <a:pt x="3" y="56"/>
                </a:lnTo>
                <a:lnTo>
                  <a:pt x="5" y="52"/>
                </a:lnTo>
                <a:lnTo>
                  <a:pt x="6" y="46"/>
                </a:lnTo>
                <a:lnTo>
                  <a:pt x="7" y="44"/>
                </a:lnTo>
                <a:lnTo>
                  <a:pt x="7" y="47"/>
                </a:lnTo>
                <a:lnTo>
                  <a:pt x="6" y="51"/>
                </a:lnTo>
                <a:lnTo>
                  <a:pt x="4" y="59"/>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1230" name="Luxembourg">
            <a:extLst>
              <a:ext uri="{FF2B5EF4-FFF2-40B4-BE49-F238E27FC236}">
                <a16:creationId xmlns:a16="http://schemas.microsoft.com/office/drawing/2014/main" id="{424E6A08-627A-4BFF-961B-9C66CF2B71F3}"/>
              </a:ext>
            </a:extLst>
          </p:cNvPr>
          <p:cNvSpPr>
            <a:spLocks/>
          </p:cNvSpPr>
          <p:nvPr/>
        </p:nvSpPr>
        <p:spPr bwMode="auto">
          <a:xfrm>
            <a:off x="5990921" y="3112477"/>
            <a:ext cx="22319" cy="31386"/>
          </a:xfrm>
          <a:custGeom>
            <a:avLst/>
            <a:gdLst>
              <a:gd name="T0" fmla="*/ 12 w 24"/>
              <a:gd name="T1" fmla="*/ 2 h 35"/>
              <a:gd name="T2" fmla="*/ 12 w 24"/>
              <a:gd name="T3" fmla="*/ 2 h 35"/>
              <a:gd name="T4" fmla="*/ 12 w 24"/>
              <a:gd name="T5" fmla="*/ 3 h 35"/>
              <a:gd name="T6" fmla="*/ 12 w 24"/>
              <a:gd name="T7" fmla="*/ 6 h 35"/>
              <a:gd name="T8" fmla="*/ 13 w 24"/>
              <a:gd name="T9" fmla="*/ 9 h 35"/>
              <a:gd name="T10" fmla="*/ 15 w 24"/>
              <a:gd name="T11" fmla="*/ 12 h 35"/>
              <a:gd name="T12" fmla="*/ 16 w 24"/>
              <a:gd name="T13" fmla="*/ 14 h 35"/>
              <a:gd name="T14" fmla="*/ 18 w 24"/>
              <a:gd name="T15" fmla="*/ 16 h 35"/>
              <a:gd name="T16" fmla="*/ 22 w 24"/>
              <a:gd name="T17" fmla="*/ 17 h 35"/>
              <a:gd name="T18" fmla="*/ 23 w 24"/>
              <a:gd name="T19" fmla="*/ 18 h 35"/>
              <a:gd name="T20" fmla="*/ 24 w 24"/>
              <a:gd name="T21" fmla="*/ 20 h 35"/>
              <a:gd name="T22" fmla="*/ 23 w 24"/>
              <a:gd name="T23" fmla="*/ 22 h 35"/>
              <a:gd name="T24" fmla="*/ 22 w 24"/>
              <a:gd name="T25" fmla="*/ 23 h 35"/>
              <a:gd name="T26" fmla="*/ 21 w 24"/>
              <a:gd name="T27" fmla="*/ 25 h 35"/>
              <a:gd name="T28" fmla="*/ 20 w 24"/>
              <a:gd name="T29" fmla="*/ 27 h 35"/>
              <a:gd name="T30" fmla="*/ 19 w 24"/>
              <a:gd name="T31" fmla="*/ 31 h 35"/>
              <a:gd name="T32" fmla="*/ 19 w 24"/>
              <a:gd name="T33" fmla="*/ 34 h 35"/>
              <a:gd name="T34" fmla="*/ 17 w 24"/>
              <a:gd name="T35" fmla="*/ 33 h 35"/>
              <a:gd name="T36" fmla="*/ 16 w 24"/>
              <a:gd name="T37" fmla="*/ 32 h 35"/>
              <a:gd name="T38" fmla="*/ 14 w 24"/>
              <a:gd name="T39" fmla="*/ 32 h 35"/>
              <a:gd name="T40" fmla="*/ 12 w 24"/>
              <a:gd name="T41" fmla="*/ 33 h 35"/>
              <a:gd name="T42" fmla="*/ 11 w 24"/>
              <a:gd name="T43" fmla="*/ 34 h 35"/>
              <a:gd name="T44" fmla="*/ 9 w 24"/>
              <a:gd name="T45" fmla="*/ 35 h 35"/>
              <a:gd name="T46" fmla="*/ 7 w 24"/>
              <a:gd name="T47" fmla="*/ 34 h 35"/>
              <a:gd name="T48" fmla="*/ 6 w 24"/>
              <a:gd name="T49" fmla="*/ 33 h 35"/>
              <a:gd name="T50" fmla="*/ 5 w 24"/>
              <a:gd name="T51" fmla="*/ 32 h 35"/>
              <a:gd name="T52" fmla="*/ 3 w 24"/>
              <a:gd name="T53" fmla="*/ 32 h 35"/>
              <a:gd name="T54" fmla="*/ 2 w 24"/>
              <a:gd name="T55" fmla="*/ 30 h 35"/>
              <a:gd name="T56" fmla="*/ 2 w 24"/>
              <a:gd name="T57" fmla="*/ 29 h 35"/>
              <a:gd name="T58" fmla="*/ 3 w 24"/>
              <a:gd name="T59" fmla="*/ 28 h 35"/>
              <a:gd name="T60" fmla="*/ 4 w 24"/>
              <a:gd name="T61" fmla="*/ 27 h 35"/>
              <a:gd name="T62" fmla="*/ 4 w 24"/>
              <a:gd name="T63" fmla="*/ 25 h 35"/>
              <a:gd name="T64" fmla="*/ 2 w 24"/>
              <a:gd name="T65" fmla="*/ 21 h 35"/>
              <a:gd name="T66" fmla="*/ 2 w 24"/>
              <a:gd name="T67" fmla="*/ 20 h 35"/>
              <a:gd name="T68" fmla="*/ 0 w 24"/>
              <a:gd name="T69" fmla="*/ 17 h 35"/>
              <a:gd name="T70" fmla="*/ 0 w 24"/>
              <a:gd name="T71" fmla="*/ 16 h 35"/>
              <a:gd name="T72" fmla="*/ 0 w 24"/>
              <a:gd name="T73" fmla="*/ 15 h 35"/>
              <a:gd name="T74" fmla="*/ 0 w 24"/>
              <a:gd name="T75" fmla="*/ 14 h 35"/>
              <a:gd name="T76" fmla="*/ 0 w 24"/>
              <a:gd name="T77" fmla="*/ 12 h 35"/>
              <a:gd name="T78" fmla="*/ 2 w 24"/>
              <a:gd name="T79" fmla="*/ 10 h 35"/>
              <a:gd name="T80" fmla="*/ 3 w 24"/>
              <a:gd name="T81" fmla="*/ 7 h 35"/>
              <a:gd name="T82" fmla="*/ 4 w 24"/>
              <a:gd name="T83" fmla="*/ 4 h 35"/>
              <a:gd name="T84" fmla="*/ 8 w 24"/>
              <a:gd name="T85" fmla="*/ 0 h 35"/>
              <a:gd name="T86" fmla="*/ 10 w 24"/>
              <a:gd name="T87" fmla="*/ 0 h 35"/>
              <a:gd name="T88" fmla="*/ 11 w 24"/>
              <a:gd name="T89" fmla="*/ 0 h 35"/>
              <a:gd name="T90" fmla="*/ 12 w 24"/>
              <a:gd name="T91" fmla="*/ 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 h="35">
                <a:moveTo>
                  <a:pt x="12" y="2"/>
                </a:moveTo>
                <a:lnTo>
                  <a:pt x="12" y="2"/>
                </a:lnTo>
                <a:lnTo>
                  <a:pt x="12" y="3"/>
                </a:lnTo>
                <a:lnTo>
                  <a:pt x="12" y="6"/>
                </a:lnTo>
                <a:lnTo>
                  <a:pt x="13" y="9"/>
                </a:lnTo>
                <a:lnTo>
                  <a:pt x="15" y="12"/>
                </a:lnTo>
                <a:lnTo>
                  <a:pt x="16" y="14"/>
                </a:lnTo>
                <a:lnTo>
                  <a:pt x="18" y="16"/>
                </a:lnTo>
                <a:lnTo>
                  <a:pt x="22" y="17"/>
                </a:lnTo>
                <a:lnTo>
                  <a:pt x="23" y="18"/>
                </a:lnTo>
                <a:lnTo>
                  <a:pt x="24" y="20"/>
                </a:lnTo>
                <a:lnTo>
                  <a:pt x="23" y="22"/>
                </a:lnTo>
                <a:lnTo>
                  <a:pt x="22" y="23"/>
                </a:lnTo>
                <a:lnTo>
                  <a:pt x="21" y="25"/>
                </a:lnTo>
                <a:lnTo>
                  <a:pt x="20" y="27"/>
                </a:lnTo>
                <a:lnTo>
                  <a:pt x="19" y="31"/>
                </a:lnTo>
                <a:lnTo>
                  <a:pt x="19" y="34"/>
                </a:lnTo>
                <a:lnTo>
                  <a:pt x="17" y="33"/>
                </a:lnTo>
                <a:lnTo>
                  <a:pt x="16" y="32"/>
                </a:lnTo>
                <a:lnTo>
                  <a:pt x="14" y="32"/>
                </a:lnTo>
                <a:lnTo>
                  <a:pt x="12" y="33"/>
                </a:lnTo>
                <a:lnTo>
                  <a:pt x="11" y="34"/>
                </a:lnTo>
                <a:lnTo>
                  <a:pt x="9" y="35"/>
                </a:lnTo>
                <a:lnTo>
                  <a:pt x="7" y="34"/>
                </a:lnTo>
                <a:lnTo>
                  <a:pt x="6" y="33"/>
                </a:lnTo>
                <a:lnTo>
                  <a:pt x="5" y="32"/>
                </a:lnTo>
                <a:lnTo>
                  <a:pt x="3" y="32"/>
                </a:lnTo>
                <a:lnTo>
                  <a:pt x="2" y="30"/>
                </a:lnTo>
                <a:lnTo>
                  <a:pt x="2" y="29"/>
                </a:lnTo>
                <a:lnTo>
                  <a:pt x="3" y="28"/>
                </a:lnTo>
                <a:lnTo>
                  <a:pt x="4" y="27"/>
                </a:lnTo>
                <a:lnTo>
                  <a:pt x="4" y="25"/>
                </a:lnTo>
                <a:lnTo>
                  <a:pt x="2" y="21"/>
                </a:lnTo>
                <a:lnTo>
                  <a:pt x="2" y="20"/>
                </a:lnTo>
                <a:lnTo>
                  <a:pt x="0" y="17"/>
                </a:lnTo>
                <a:lnTo>
                  <a:pt x="0" y="16"/>
                </a:lnTo>
                <a:lnTo>
                  <a:pt x="0" y="15"/>
                </a:lnTo>
                <a:lnTo>
                  <a:pt x="0" y="14"/>
                </a:lnTo>
                <a:lnTo>
                  <a:pt x="0" y="12"/>
                </a:lnTo>
                <a:lnTo>
                  <a:pt x="2" y="10"/>
                </a:lnTo>
                <a:lnTo>
                  <a:pt x="3" y="7"/>
                </a:lnTo>
                <a:lnTo>
                  <a:pt x="4" y="4"/>
                </a:lnTo>
                <a:lnTo>
                  <a:pt x="8" y="0"/>
                </a:lnTo>
                <a:lnTo>
                  <a:pt x="10" y="0"/>
                </a:lnTo>
                <a:lnTo>
                  <a:pt x="11" y="0"/>
                </a:lnTo>
                <a:lnTo>
                  <a:pt x="12" y="2"/>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1231" name="Latvia">
            <a:extLst>
              <a:ext uri="{FF2B5EF4-FFF2-40B4-BE49-F238E27FC236}">
                <a16:creationId xmlns:a16="http://schemas.microsoft.com/office/drawing/2014/main" id="{09180B6C-341C-465F-A344-BA76F8D2BF9E}"/>
              </a:ext>
            </a:extLst>
          </p:cNvPr>
          <p:cNvSpPr>
            <a:spLocks/>
          </p:cNvSpPr>
          <p:nvPr/>
        </p:nvSpPr>
        <p:spPr bwMode="auto">
          <a:xfrm>
            <a:off x="6448480" y="2757428"/>
            <a:ext cx="216505" cy="115735"/>
          </a:xfrm>
          <a:custGeom>
            <a:avLst/>
            <a:gdLst>
              <a:gd name="T0" fmla="*/ 202 w 225"/>
              <a:gd name="T1" fmla="*/ 32 h 137"/>
              <a:gd name="T2" fmla="*/ 208 w 225"/>
              <a:gd name="T3" fmla="*/ 41 h 137"/>
              <a:gd name="T4" fmla="*/ 213 w 225"/>
              <a:gd name="T5" fmla="*/ 48 h 137"/>
              <a:gd name="T6" fmla="*/ 211 w 225"/>
              <a:gd name="T7" fmla="*/ 54 h 137"/>
              <a:gd name="T8" fmla="*/ 207 w 225"/>
              <a:gd name="T9" fmla="*/ 71 h 137"/>
              <a:gd name="T10" fmla="*/ 214 w 225"/>
              <a:gd name="T11" fmla="*/ 70 h 137"/>
              <a:gd name="T12" fmla="*/ 216 w 225"/>
              <a:gd name="T13" fmla="*/ 79 h 137"/>
              <a:gd name="T14" fmla="*/ 221 w 225"/>
              <a:gd name="T15" fmla="*/ 88 h 137"/>
              <a:gd name="T16" fmla="*/ 224 w 225"/>
              <a:gd name="T17" fmla="*/ 101 h 137"/>
              <a:gd name="T18" fmla="*/ 223 w 225"/>
              <a:gd name="T19" fmla="*/ 110 h 137"/>
              <a:gd name="T20" fmla="*/ 215 w 225"/>
              <a:gd name="T21" fmla="*/ 114 h 137"/>
              <a:gd name="T22" fmla="*/ 205 w 225"/>
              <a:gd name="T23" fmla="*/ 129 h 137"/>
              <a:gd name="T24" fmla="*/ 200 w 225"/>
              <a:gd name="T25" fmla="*/ 129 h 137"/>
              <a:gd name="T26" fmla="*/ 186 w 225"/>
              <a:gd name="T27" fmla="*/ 129 h 137"/>
              <a:gd name="T28" fmla="*/ 175 w 225"/>
              <a:gd name="T29" fmla="*/ 136 h 137"/>
              <a:gd name="T30" fmla="*/ 168 w 225"/>
              <a:gd name="T31" fmla="*/ 135 h 137"/>
              <a:gd name="T32" fmla="*/ 159 w 225"/>
              <a:gd name="T33" fmla="*/ 124 h 137"/>
              <a:gd name="T34" fmla="*/ 145 w 225"/>
              <a:gd name="T35" fmla="*/ 112 h 137"/>
              <a:gd name="T36" fmla="*/ 127 w 225"/>
              <a:gd name="T37" fmla="*/ 107 h 137"/>
              <a:gd name="T38" fmla="*/ 120 w 225"/>
              <a:gd name="T39" fmla="*/ 95 h 137"/>
              <a:gd name="T40" fmla="*/ 110 w 225"/>
              <a:gd name="T41" fmla="*/ 102 h 137"/>
              <a:gd name="T42" fmla="*/ 97 w 225"/>
              <a:gd name="T43" fmla="*/ 103 h 137"/>
              <a:gd name="T44" fmla="*/ 84 w 225"/>
              <a:gd name="T45" fmla="*/ 99 h 137"/>
              <a:gd name="T46" fmla="*/ 66 w 225"/>
              <a:gd name="T47" fmla="*/ 100 h 137"/>
              <a:gd name="T48" fmla="*/ 58 w 225"/>
              <a:gd name="T49" fmla="*/ 96 h 137"/>
              <a:gd name="T50" fmla="*/ 43 w 225"/>
              <a:gd name="T51" fmla="*/ 96 h 137"/>
              <a:gd name="T52" fmla="*/ 23 w 225"/>
              <a:gd name="T53" fmla="*/ 100 h 137"/>
              <a:gd name="T54" fmla="*/ 1 w 225"/>
              <a:gd name="T55" fmla="*/ 114 h 137"/>
              <a:gd name="T56" fmla="*/ 2 w 225"/>
              <a:gd name="T57" fmla="*/ 72 h 137"/>
              <a:gd name="T58" fmla="*/ 13 w 225"/>
              <a:gd name="T59" fmla="*/ 54 h 137"/>
              <a:gd name="T60" fmla="*/ 23 w 225"/>
              <a:gd name="T61" fmla="*/ 29 h 137"/>
              <a:gd name="T62" fmla="*/ 48 w 225"/>
              <a:gd name="T63" fmla="*/ 20 h 137"/>
              <a:gd name="T64" fmla="*/ 64 w 225"/>
              <a:gd name="T65" fmla="*/ 39 h 137"/>
              <a:gd name="T66" fmla="*/ 83 w 225"/>
              <a:gd name="T67" fmla="*/ 63 h 137"/>
              <a:gd name="T68" fmla="*/ 102 w 225"/>
              <a:gd name="T69" fmla="*/ 52 h 137"/>
              <a:gd name="T70" fmla="*/ 105 w 225"/>
              <a:gd name="T71" fmla="*/ 24 h 137"/>
              <a:gd name="T72" fmla="*/ 105 w 225"/>
              <a:gd name="T73" fmla="*/ 12 h 137"/>
              <a:gd name="T74" fmla="*/ 120 w 225"/>
              <a:gd name="T75" fmla="*/ 4 h 137"/>
              <a:gd name="T76" fmla="*/ 130 w 225"/>
              <a:gd name="T77" fmla="*/ 2 h 137"/>
              <a:gd name="T78" fmla="*/ 133 w 225"/>
              <a:gd name="T79" fmla="*/ 3 h 137"/>
              <a:gd name="T80" fmla="*/ 135 w 225"/>
              <a:gd name="T81" fmla="*/ 2 h 137"/>
              <a:gd name="T82" fmla="*/ 147 w 225"/>
              <a:gd name="T83" fmla="*/ 9 h 137"/>
              <a:gd name="T84" fmla="*/ 156 w 225"/>
              <a:gd name="T85" fmla="*/ 15 h 137"/>
              <a:gd name="T86" fmla="*/ 165 w 225"/>
              <a:gd name="T87" fmla="*/ 27 h 137"/>
              <a:gd name="T88" fmla="*/ 181 w 225"/>
              <a:gd name="T89" fmla="*/ 28 h 137"/>
              <a:gd name="T90" fmla="*/ 188 w 225"/>
              <a:gd name="T91" fmla="*/ 28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5" h="137">
                <a:moveTo>
                  <a:pt x="198" y="31"/>
                </a:moveTo>
                <a:lnTo>
                  <a:pt x="198" y="31"/>
                </a:lnTo>
                <a:lnTo>
                  <a:pt x="202" y="32"/>
                </a:lnTo>
                <a:lnTo>
                  <a:pt x="203" y="32"/>
                </a:lnTo>
                <a:lnTo>
                  <a:pt x="204" y="37"/>
                </a:lnTo>
                <a:lnTo>
                  <a:pt x="208" y="41"/>
                </a:lnTo>
                <a:lnTo>
                  <a:pt x="212" y="44"/>
                </a:lnTo>
                <a:lnTo>
                  <a:pt x="213" y="45"/>
                </a:lnTo>
                <a:lnTo>
                  <a:pt x="213" y="48"/>
                </a:lnTo>
                <a:lnTo>
                  <a:pt x="213" y="51"/>
                </a:lnTo>
                <a:lnTo>
                  <a:pt x="212" y="52"/>
                </a:lnTo>
                <a:lnTo>
                  <a:pt x="211" y="54"/>
                </a:lnTo>
                <a:lnTo>
                  <a:pt x="209" y="59"/>
                </a:lnTo>
                <a:lnTo>
                  <a:pt x="209" y="63"/>
                </a:lnTo>
                <a:lnTo>
                  <a:pt x="207" y="71"/>
                </a:lnTo>
                <a:lnTo>
                  <a:pt x="208" y="71"/>
                </a:lnTo>
                <a:lnTo>
                  <a:pt x="212" y="69"/>
                </a:lnTo>
                <a:lnTo>
                  <a:pt x="214" y="70"/>
                </a:lnTo>
                <a:lnTo>
                  <a:pt x="215" y="72"/>
                </a:lnTo>
                <a:lnTo>
                  <a:pt x="215" y="76"/>
                </a:lnTo>
                <a:lnTo>
                  <a:pt x="216" y="79"/>
                </a:lnTo>
                <a:lnTo>
                  <a:pt x="218" y="82"/>
                </a:lnTo>
                <a:lnTo>
                  <a:pt x="218" y="84"/>
                </a:lnTo>
                <a:lnTo>
                  <a:pt x="221" y="88"/>
                </a:lnTo>
                <a:lnTo>
                  <a:pt x="222" y="90"/>
                </a:lnTo>
                <a:lnTo>
                  <a:pt x="224" y="96"/>
                </a:lnTo>
                <a:lnTo>
                  <a:pt x="224" y="101"/>
                </a:lnTo>
                <a:lnTo>
                  <a:pt x="225" y="104"/>
                </a:lnTo>
                <a:lnTo>
                  <a:pt x="224" y="108"/>
                </a:lnTo>
                <a:lnTo>
                  <a:pt x="223" y="110"/>
                </a:lnTo>
                <a:lnTo>
                  <a:pt x="222" y="110"/>
                </a:lnTo>
                <a:lnTo>
                  <a:pt x="219" y="111"/>
                </a:lnTo>
                <a:lnTo>
                  <a:pt x="215" y="114"/>
                </a:lnTo>
                <a:lnTo>
                  <a:pt x="209" y="121"/>
                </a:lnTo>
                <a:lnTo>
                  <a:pt x="207" y="123"/>
                </a:lnTo>
                <a:lnTo>
                  <a:pt x="205" y="129"/>
                </a:lnTo>
                <a:lnTo>
                  <a:pt x="205" y="129"/>
                </a:lnTo>
                <a:lnTo>
                  <a:pt x="201" y="129"/>
                </a:lnTo>
                <a:lnTo>
                  <a:pt x="200" y="129"/>
                </a:lnTo>
                <a:lnTo>
                  <a:pt x="197" y="129"/>
                </a:lnTo>
                <a:lnTo>
                  <a:pt x="189" y="128"/>
                </a:lnTo>
                <a:lnTo>
                  <a:pt x="186" y="129"/>
                </a:lnTo>
                <a:lnTo>
                  <a:pt x="182" y="134"/>
                </a:lnTo>
                <a:lnTo>
                  <a:pt x="180" y="135"/>
                </a:lnTo>
                <a:lnTo>
                  <a:pt x="175" y="136"/>
                </a:lnTo>
                <a:lnTo>
                  <a:pt x="174" y="137"/>
                </a:lnTo>
                <a:lnTo>
                  <a:pt x="173" y="136"/>
                </a:lnTo>
                <a:lnTo>
                  <a:pt x="168" y="135"/>
                </a:lnTo>
                <a:lnTo>
                  <a:pt x="165" y="132"/>
                </a:lnTo>
                <a:lnTo>
                  <a:pt x="162" y="129"/>
                </a:lnTo>
                <a:lnTo>
                  <a:pt x="159" y="124"/>
                </a:lnTo>
                <a:lnTo>
                  <a:pt x="156" y="121"/>
                </a:lnTo>
                <a:lnTo>
                  <a:pt x="152" y="118"/>
                </a:lnTo>
                <a:lnTo>
                  <a:pt x="145" y="112"/>
                </a:lnTo>
                <a:lnTo>
                  <a:pt x="143" y="111"/>
                </a:lnTo>
                <a:lnTo>
                  <a:pt x="131" y="108"/>
                </a:lnTo>
                <a:lnTo>
                  <a:pt x="127" y="107"/>
                </a:lnTo>
                <a:lnTo>
                  <a:pt x="123" y="100"/>
                </a:lnTo>
                <a:lnTo>
                  <a:pt x="122" y="96"/>
                </a:lnTo>
                <a:lnTo>
                  <a:pt x="120" y="95"/>
                </a:lnTo>
                <a:lnTo>
                  <a:pt x="118" y="96"/>
                </a:lnTo>
                <a:lnTo>
                  <a:pt x="115" y="97"/>
                </a:lnTo>
                <a:lnTo>
                  <a:pt x="110" y="102"/>
                </a:lnTo>
                <a:lnTo>
                  <a:pt x="108" y="102"/>
                </a:lnTo>
                <a:lnTo>
                  <a:pt x="105" y="102"/>
                </a:lnTo>
                <a:lnTo>
                  <a:pt x="97" y="103"/>
                </a:lnTo>
                <a:lnTo>
                  <a:pt x="94" y="102"/>
                </a:lnTo>
                <a:lnTo>
                  <a:pt x="88" y="100"/>
                </a:lnTo>
                <a:lnTo>
                  <a:pt x="84" y="99"/>
                </a:lnTo>
                <a:lnTo>
                  <a:pt x="81" y="99"/>
                </a:lnTo>
                <a:lnTo>
                  <a:pt x="68" y="98"/>
                </a:lnTo>
                <a:lnTo>
                  <a:pt x="66" y="100"/>
                </a:lnTo>
                <a:lnTo>
                  <a:pt x="64" y="100"/>
                </a:lnTo>
                <a:lnTo>
                  <a:pt x="61" y="97"/>
                </a:lnTo>
                <a:lnTo>
                  <a:pt x="58" y="96"/>
                </a:lnTo>
                <a:lnTo>
                  <a:pt x="55" y="97"/>
                </a:lnTo>
                <a:lnTo>
                  <a:pt x="49" y="97"/>
                </a:lnTo>
                <a:lnTo>
                  <a:pt x="43" y="96"/>
                </a:lnTo>
                <a:lnTo>
                  <a:pt x="34" y="95"/>
                </a:lnTo>
                <a:lnTo>
                  <a:pt x="32" y="96"/>
                </a:lnTo>
                <a:lnTo>
                  <a:pt x="23" y="100"/>
                </a:lnTo>
                <a:lnTo>
                  <a:pt x="20" y="101"/>
                </a:lnTo>
                <a:lnTo>
                  <a:pt x="10" y="108"/>
                </a:lnTo>
                <a:lnTo>
                  <a:pt x="1" y="114"/>
                </a:lnTo>
                <a:lnTo>
                  <a:pt x="0" y="104"/>
                </a:lnTo>
                <a:lnTo>
                  <a:pt x="1" y="82"/>
                </a:lnTo>
                <a:lnTo>
                  <a:pt x="2" y="72"/>
                </a:lnTo>
                <a:lnTo>
                  <a:pt x="8" y="66"/>
                </a:lnTo>
                <a:lnTo>
                  <a:pt x="11" y="61"/>
                </a:lnTo>
                <a:lnTo>
                  <a:pt x="13" y="54"/>
                </a:lnTo>
                <a:lnTo>
                  <a:pt x="13" y="48"/>
                </a:lnTo>
                <a:lnTo>
                  <a:pt x="14" y="43"/>
                </a:lnTo>
                <a:lnTo>
                  <a:pt x="23" y="29"/>
                </a:lnTo>
                <a:lnTo>
                  <a:pt x="29" y="27"/>
                </a:lnTo>
                <a:lnTo>
                  <a:pt x="38" y="23"/>
                </a:lnTo>
                <a:lnTo>
                  <a:pt x="48" y="20"/>
                </a:lnTo>
                <a:lnTo>
                  <a:pt x="50" y="24"/>
                </a:lnTo>
                <a:lnTo>
                  <a:pt x="51" y="27"/>
                </a:lnTo>
                <a:lnTo>
                  <a:pt x="64" y="39"/>
                </a:lnTo>
                <a:lnTo>
                  <a:pt x="67" y="43"/>
                </a:lnTo>
                <a:lnTo>
                  <a:pt x="71" y="57"/>
                </a:lnTo>
                <a:lnTo>
                  <a:pt x="83" y="63"/>
                </a:lnTo>
                <a:lnTo>
                  <a:pt x="91" y="61"/>
                </a:lnTo>
                <a:lnTo>
                  <a:pt x="95" y="58"/>
                </a:lnTo>
                <a:lnTo>
                  <a:pt x="102" y="52"/>
                </a:lnTo>
                <a:lnTo>
                  <a:pt x="105" y="47"/>
                </a:lnTo>
                <a:lnTo>
                  <a:pt x="106" y="43"/>
                </a:lnTo>
                <a:lnTo>
                  <a:pt x="105" y="24"/>
                </a:lnTo>
                <a:lnTo>
                  <a:pt x="103" y="16"/>
                </a:lnTo>
                <a:lnTo>
                  <a:pt x="104" y="11"/>
                </a:lnTo>
                <a:lnTo>
                  <a:pt x="105" y="12"/>
                </a:lnTo>
                <a:lnTo>
                  <a:pt x="108" y="9"/>
                </a:lnTo>
                <a:lnTo>
                  <a:pt x="118" y="5"/>
                </a:lnTo>
                <a:lnTo>
                  <a:pt x="120" y="4"/>
                </a:lnTo>
                <a:lnTo>
                  <a:pt x="122" y="4"/>
                </a:lnTo>
                <a:lnTo>
                  <a:pt x="128" y="0"/>
                </a:lnTo>
                <a:lnTo>
                  <a:pt x="130" y="2"/>
                </a:lnTo>
                <a:lnTo>
                  <a:pt x="132" y="4"/>
                </a:lnTo>
                <a:lnTo>
                  <a:pt x="133" y="4"/>
                </a:lnTo>
                <a:lnTo>
                  <a:pt x="133" y="3"/>
                </a:lnTo>
                <a:lnTo>
                  <a:pt x="133" y="2"/>
                </a:lnTo>
                <a:lnTo>
                  <a:pt x="134" y="1"/>
                </a:lnTo>
                <a:lnTo>
                  <a:pt x="135" y="2"/>
                </a:lnTo>
                <a:lnTo>
                  <a:pt x="143" y="7"/>
                </a:lnTo>
                <a:lnTo>
                  <a:pt x="145" y="9"/>
                </a:lnTo>
                <a:lnTo>
                  <a:pt x="147" y="9"/>
                </a:lnTo>
                <a:lnTo>
                  <a:pt x="149" y="12"/>
                </a:lnTo>
                <a:lnTo>
                  <a:pt x="156" y="13"/>
                </a:lnTo>
                <a:lnTo>
                  <a:pt x="156" y="15"/>
                </a:lnTo>
                <a:lnTo>
                  <a:pt x="157" y="16"/>
                </a:lnTo>
                <a:lnTo>
                  <a:pt x="163" y="24"/>
                </a:lnTo>
                <a:lnTo>
                  <a:pt x="165" y="27"/>
                </a:lnTo>
                <a:lnTo>
                  <a:pt x="170" y="30"/>
                </a:lnTo>
                <a:lnTo>
                  <a:pt x="173" y="31"/>
                </a:lnTo>
                <a:lnTo>
                  <a:pt x="181" y="28"/>
                </a:lnTo>
                <a:lnTo>
                  <a:pt x="184" y="27"/>
                </a:lnTo>
                <a:lnTo>
                  <a:pt x="186" y="27"/>
                </a:lnTo>
                <a:lnTo>
                  <a:pt x="188" y="28"/>
                </a:lnTo>
                <a:lnTo>
                  <a:pt x="193" y="31"/>
                </a:lnTo>
                <a:lnTo>
                  <a:pt x="197" y="31"/>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1232" name="Monaco">
            <a:extLst>
              <a:ext uri="{FF2B5EF4-FFF2-40B4-BE49-F238E27FC236}">
                <a16:creationId xmlns:a16="http://schemas.microsoft.com/office/drawing/2014/main" id="{67A14519-2987-403E-8C1B-0018D3AF6AB8}"/>
              </a:ext>
            </a:extLst>
          </p:cNvPr>
          <p:cNvSpPr>
            <a:spLocks/>
          </p:cNvSpPr>
          <p:nvPr/>
        </p:nvSpPr>
        <p:spPr bwMode="auto">
          <a:xfrm>
            <a:off x="6040025" y="3361602"/>
            <a:ext cx="2233" cy="0"/>
          </a:xfrm>
          <a:custGeom>
            <a:avLst/>
            <a:gdLst>
              <a:gd name="T0" fmla="*/ 2 w 2"/>
              <a:gd name="T1" fmla="*/ 1 h 1"/>
              <a:gd name="T2" fmla="*/ 2 w 2"/>
              <a:gd name="T3" fmla="*/ 1 h 1"/>
              <a:gd name="T4" fmla="*/ 0 w 2"/>
              <a:gd name="T5" fmla="*/ 1 h 1"/>
              <a:gd name="T6" fmla="*/ 0 w 2"/>
              <a:gd name="T7" fmla="*/ 0 h 1"/>
              <a:gd name="T8" fmla="*/ 1 w 2"/>
              <a:gd name="T9" fmla="*/ 0 h 1"/>
              <a:gd name="T10" fmla="*/ 1 w 2"/>
              <a:gd name="T11" fmla="*/ 0 h 1"/>
              <a:gd name="T12" fmla="*/ 2 w 2"/>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2" y="1"/>
                </a:moveTo>
                <a:lnTo>
                  <a:pt x="2" y="1"/>
                </a:lnTo>
                <a:lnTo>
                  <a:pt x="0" y="1"/>
                </a:lnTo>
                <a:lnTo>
                  <a:pt x="0" y="0"/>
                </a:lnTo>
                <a:lnTo>
                  <a:pt x="1" y="0"/>
                </a:lnTo>
                <a:lnTo>
                  <a:pt x="1" y="0"/>
                </a:lnTo>
                <a:lnTo>
                  <a:pt x="2" y="0"/>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1233" name="Moldova">
            <a:extLst>
              <a:ext uri="{FF2B5EF4-FFF2-40B4-BE49-F238E27FC236}">
                <a16:creationId xmlns:a16="http://schemas.microsoft.com/office/drawing/2014/main" id="{CA66EE98-CD30-46B9-AEB5-1490216A74E4}"/>
              </a:ext>
            </a:extLst>
          </p:cNvPr>
          <p:cNvSpPr>
            <a:spLocks/>
          </p:cNvSpPr>
          <p:nvPr/>
        </p:nvSpPr>
        <p:spPr bwMode="auto">
          <a:xfrm>
            <a:off x="6618112" y="3181134"/>
            <a:ext cx="104905" cy="117696"/>
          </a:xfrm>
          <a:custGeom>
            <a:avLst/>
            <a:gdLst>
              <a:gd name="T0" fmla="*/ 48 w 110"/>
              <a:gd name="T1" fmla="*/ 136 h 138"/>
              <a:gd name="T2" fmla="*/ 46 w 110"/>
              <a:gd name="T3" fmla="*/ 131 h 138"/>
              <a:gd name="T4" fmla="*/ 48 w 110"/>
              <a:gd name="T5" fmla="*/ 127 h 138"/>
              <a:gd name="T6" fmla="*/ 47 w 110"/>
              <a:gd name="T7" fmla="*/ 119 h 138"/>
              <a:gd name="T8" fmla="*/ 49 w 110"/>
              <a:gd name="T9" fmla="*/ 98 h 138"/>
              <a:gd name="T10" fmla="*/ 51 w 110"/>
              <a:gd name="T11" fmla="*/ 85 h 138"/>
              <a:gd name="T12" fmla="*/ 45 w 110"/>
              <a:gd name="T13" fmla="*/ 70 h 138"/>
              <a:gd name="T14" fmla="*/ 37 w 110"/>
              <a:gd name="T15" fmla="*/ 61 h 138"/>
              <a:gd name="T16" fmla="*/ 31 w 110"/>
              <a:gd name="T17" fmla="*/ 53 h 138"/>
              <a:gd name="T18" fmla="*/ 26 w 110"/>
              <a:gd name="T19" fmla="*/ 43 h 138"/>
              <a:gd name="T20" fmla="*/ 20 w 110"/>
              <a:gd name="T21" fmla="*/ 33 h 138"/>
              <a:gd name="T22" fmla="*/ 15 w 110"/>
              <a:gd name="T23" fmla="*/ 21 h 138"/>
              <a:gd name="T24" fmla="*/ 9 w 110"/>
              <a:gd name="T25" fmla="*/ 13 h 138"/>
              <a:gd name="T26" fmla="*/ 0 w 110"/>
              <a:gd name="T27" fmla="*/ 11 h 138"/>
              <a:gd name="T28" fmla="*/ 9 w 110"/>
              <a:gd name="T29" fmla="*/ 5 h 138"/>
              <a:gd name="T30" fmla="*/ 23 w 110"/>
              <a:gd name="T31" fmla="*/ 3 h 138"/>
              <a:gd name="T32" fmla="*/ 29 w 110"/>
              <a:gd name="T33" fmla="*/ 0 h 138"/>
              <a:gd name="T34" fmla="*/ 34 w 110"/>
              <a:gd name="T35" fmla="*/ 2 h 138"/>
              <a:gd name="T36" fmla="*/ 42 w 110"/>
              <a:gd name="T37" fmla="*/ 7 h 138"/>
              <a:gd name="T38" fmla="*/ 46 w 110"/>
              <a:gd name="T39" fmla="*/ 11 h 138"/>
              <a:gd name="T40" fmla="*/ 54 w 110"/>
              <a:gd name="T41" fmla="*/ 13 h 138"/>
              <a:gd name="T42" fmla="*/ 55 w 110"/>
              <a:gd name="T43" fmla="*/ 15 h 138"/>
              <a:gd name="T44" fmla="*/ 58 w 110"/>
              <a:gd name="T45" fmla="*/ 19 h 138"/>
              <a:gd name="T46" fmla="*/ 67 w 110"/>
              <a:gd name="T47" fmla="*/ 17 h 138"/>
              <a:gd name="T48" fmla="*/ 74 w 110"/>
              <a:gd name="T49" fmla="*/ 26 h 138"/>
              <a:gd name="T50" fmla="*/ 78 w 110"/>
              <a:gd name="T51" fmla="*/ 24 h 138"/>
              <a:gd name="T52" fmla="*/ 81 w 110"/>
              <a:gd name="T53" fmla="*/ 35 h 138"/>
              <a:gd name="T54" fmla="*/ 78 w 110"/>
              <a:gd name="T55" fmla="*/ 44 h 138"/>
              <a:gd name="T56" fmla="*/ 81 w 110"/>
              <a:gd name="T57" fmla="*/ 48 h 138"/>
              <a:gd name="T58" fmla="*/ 89 w 110"/>
              <a:gd name="T59" fmla="*/ 55 h 138"/>
              <a:gd name="T60" fmla="*/ 92 w 110"/>
              <a:gd name="T61" fmla="*/ 57 h 138"/>
              <a:gd name="T62" fmla="*/ 91 w 110"/>
              <a:gd name="T63" fmla="*/ 65 h 138"/>
              <a:gd name="T64" fmla="*/ 93 w 110"/>
              <a:gd name="T65" fmla="*/ 72 h 138"/>
              <a:gd name="T66" fmla="*/ 103 w 110"/>
              <a:gd name="T67" fmla="*/ 79 h 138"/>
              <a:gd name="T68" fmla="*/ 103 w 110"/>
              <a:gd name="T69" fmla="*/ 90 h 138"/>
              <a:gd name="T70" fmla="*/ 108 w 110"/>
              <a:gd name="T71" fmla="*/ 97 h 138"/>
              <a:gd name="T72" fmla="*/ 98 w 110"/>
              <a:gd name="T73" fmla="*/ 94 h 138"/>
              <a:gd name="T74" fmla="*/ 94 w 110"/>
              <a:gd name="T75" fmla="*/ 96 h 138"/>
              <a:gd name="T76" fmla="*/ 89 w 110"/>
              <a:gd name="T77" fmla="*/ 93 h 138"/>
              <a:gd name="T78" fmla="*/ 85 w 110"/>
              <a:gd name="T79" fmla="*/ 94 h 138"/>
              <a:gd name="T80" fmla="*/ 81 w 110"/>
              <a:gd name="T81" fmla="*/ 97 h 138"/>
              <a:gd name="T82" fmla="*/ 80 w 110"/>
              <a:gd name="T83" fmla="*/ 90 h 138"/>
              <a:gd name="T84" fmla="*/ 73 w 110"/>
              <a:gd name="T85" fmla="*/ 93 h 138"/>
              <a:gd name="T86" fmla="*/ 73 w 110"/>
              <a:gd name="T87" fmla="*/ 101 h 138"/>
              <a:gd name="T88" fmla="*/ 73 w 110"/>
              <a:gd name="T89" fmla="*/ 112 h 138"/>
              <a:gd name="T90" fmla="*/ 66 w 110"/>
              <a:gd name="T91" fmla="*/ 121 h 138"/>
              <a:gd name="T92" fmla="*/ 59 w 110"/>
              <a:gd name="T93" fmla="*/ 129 h 138"/>
              <a:gd name="T94" fmla="*/ 59 w 110"/>
              <a:gd name="T95" fmla="*/ 134 h 138"/>
              <a:gd name="T96" fmla="*/ 53 w 110"/>
              <a:gd name="T97" fmla="*/ 13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0" h="138">
                <a:moveTo>
                  <a:pt x="50" y="138"/>
                </a:moveTo>
                <a:lnTo>
                  <a:pt x="50" y="138"/>
                </a:lnTo>
                <a:lnTo>
                  <a:pt x="48" y="136"/>
                </a:lnTo>
                <a:lnTo>
                  <a:pt x="47" y="133"/>
                </a:lnTo>
                <a:lnTo>
                  <a:pt x="46" y="132"/>
                </a:lnTo>
                <a:lnTo>
                  <a:pt x="46" y="131"/>
                </a:lnTo>
                <a:lnTo>
                  <a:pt x="47" y="130"/>
                </a:lnTo>
                <a:lnTo>
                  <a:pt x="48" y="130"/>
                </a:lnTo>
                <a:lnTo>
                  <a:pt x="48" y="127"/>
                </a:lnTo>
                <a:lnTo>
                  <a:pt x="47" y="123"/>
                </a:lnTo>
                <a:lnTo>
                  <a:pt x="47" y="122"/>
                </a:lnTo>
                <a:lnTo>
                  <a:pt x="47" y="119"/>
                </a:lnTo>
                <a:lnTo>
                  <a:pt x="46" y="115"/>
                </a:lnTo>
                <a:lnTo>
                  <a:pt x="47" y="108"/>
                </a:lnTo>
                <a:lnTo>
                  <a:pt x="49" y="98"/>
                </a:lnTo>
                <a:lnTo>
                  <a:pt x="51" y="94"/>
                </a:lnTo>
                <a:lnTo>
                  <a:pt x="50" y="91"/>
                </a:lnTo>
                <a:lnTo>
                  <a:pt x="51" y="85"/>
                </a:lnTo>
                <a:lnTo>
                  <a:pt x="50" y="82"/>
                </a:lnTo>
                <a:lnTo>
                  <a:pt x="48" y="78"/>
                </a:lnTo>
                <a:lnTo>
                  <a:pt x="45" y="70"/>
                </a:lnTo>
                <a:lnTo>
                  <a:pt x="42" y="67"/>
                </a:lnTo>
                <a:lnTo>
                  <a:pt x="39" y="63"/>
                </a:lnTo>
                <a:lnTo>
                  <a:pt x="37" y="61"/>
                </a:lnTo>
                <a:lnTo>
                  <a:pt x="36" y="58"/>
                </a:lnTo>
                <a:lnTo>
                  <a:pt x="34" y="56"/>
                </a:lnTo>
                <a:lnTo>
                  <a:pt x="31" y="53"/>
                </a:lnTo>
                <a:lnTo>
                  <a:pt x="28" y="47"/>
                </a:lnTo>
                <a:lnTo>
                  <a:pt x="27" y="44"/>
                </a:lnTo>
                <a:lnTo>
                  <a:pt x="26" y="43"/>
                </a:lnTo>
                <a:lnTo>
                  <a:pt x="23" y="39"/>
                </a:lnTo>
                <a:lnTo>
                  <a:pt x="21" y="36"/>
                </a:lnTo>
                <a:lnTo>
                  <a:pt x="20" y="33"/>
                </a:lnTo>
                <a:lnTo>
                  <a:pt x="19" y="30"/>
                </a:lnTo>
                <a:lnTo>
                  <a:pt x="17" y="25"/>
                </a:lnTo>
                <a:lnTo>
                  <a:pt x="15" y="21"/>
                </a:lnTo>
                <a:lnTo>
                  <a:pt x="12" y="18"/>
                </a:lnTo>
                <a:lnTo>
                  <a:pt x="11" y="15"/>
                </a:lnTo>
                <a:lnTo>
                  <a:pt x="9" y="13"/>
                </a:lnTo>
                <a:lnTo>
                  <a:pt x="5" y="11"/>
                </a:lnTo>
                <a:lnTo>
                  <a:pt x="3" y="10"/>
                </a:lnTo>
                <a:lnTo>
                  <a:pt x="0" y="11"/>
                </a:lnTo>
                <a:lnTo>
                  <a:pt x="1" y="9"/>
                </a:lnTo>
                <a:lnTo>
                  <a:pt x="7" y="5"/>
                </a:lnTo>
                <a:lnTo>
                  <a:pt x="9" y="5"/>
                </a:lnTo>
                <a:lnTo>
                  <a:pt x="12" y="6"/>
                </a:lnTo>
                <a:lnTo>
                  <a:pt x="19" y="5"/>
                </a:lnTo>
                <a:lnTo>
                  <a:pt x="23" y="3"/>
                </a:lnTo>
                <a:lnTo>
                  <a:pt x="25" y="3"/>
                </a:lnTo>
                <a:lnTo>
                  <a:pt x="26" y="2"/>
                </a:lnTo>
                <a:lnTo>
                  <a:pt x="29" y="0"/>
                </a:lnTo>
                <a:lnTo>
                  <a:pt x="30" y="1"/>
                </a:lnTo>
                <a:lnTo>
                  <a:pt x="30" y="1"/>
                </a:lnTo>
                <a:lnTo>
                  <a:pt x="34" y="2"/>
                </a:lnTo>
                <a:lnTo>
                  <a:pt x="38" y="3"/>
                </a:lnTo>
                <a:lnTo>
                  <a:pt x="40" y="6"/>
                </a:lnTo>
                <a:lnTo>
                  <a:pt x="42" y="7"/>
                </a:lnTo>
                <a:lnTo>
                  <a:pt x="44" y="8"/>
                </a:lnTo>
                <a:lnTo>
                  <a:pt x="46" y="9"/>
                </a:lnTo>
                <a:lnTo>
                  <a:pt x="46" y="11"/>
                </a:lnTo>
                <a:lnTo>
                  <a:pt x="48" y="12"/>
                </a:lnTo>
                <a:lnTo>
                  <a:pt x="52" y="12"/>
                </a:lnTo>
                <a:lnTo>
                  <a:pt x="54" y="13"/>
                </a:lnTo>
                <a:lnTo>
                  <a:pt x="53" y="15"/>
                </a:lnTo>
                <a:lnTo>
                  <a:pt x="54" y="16"/>
                </a:lnTo>
                <a:lnTo>
                  <a:pt x="55" y="15"/>
                </a:lnTo>
                <a:lnTo>
                  <a:pt x="56" y="16"/>
                </a:lnTo>
                <a:lnTo>
                  <a:pt x="57" y="18"/>
                </a:lnTo>
                <a:lnTo>
                  <a:pt x="58" y="19"/>
                </a:lnTo>
                <a:lnTo>
                  <a:pt x="60" y="16"/>
                </a:lnTo>
                <a:lnTo>
                  <a:pt x="62" y="16"/>
                </a:lnTo>
                <a:lnTo>
                  <a:pt x="67" y="17"/>
                </a:lnTo>
                <a:lnTo>
                  <a:pt x="70" y="23"/>
                </a:lnTo>
                <a:lnTo>
                  <a:pt x="72" y="25"/>
                </a:lnTo>
                <a:lnTo>
                  <a:pt x="74" y="26"/>
                </a:lnTo>
                <a:lnTo>
                  <a:pt x="76" y="25"/>
                </a:lnTo>
                <a:lnTo>
                  <a:pt x="77" y="24"/>
                </a:lnTo>
                <a:lnTo>
                  <a:pt x="78" y="24"/>
                </a:lnTo>
                <a:lnTo>
                  <a:pt x="81" y="28"/>
                </a:lnTo>
                <a:lnTo>
                  <a:pt x="81" y="33"/>
                </a:lnTo>
                <a:lnTo>
                  <a:pt x="81" y="35"/>
                </a:lnTo>
                <a:lnTo>
                  <a:pt x="80" y="39"/>
                </a:lnTo>
                <a:lnTo>
                  <a:pt x="79" y="42"/>
                </a:lnTo>
                <a:lnTo>
                  <a:pt x="78" y="44"/>
                </a:lnTo>
                <a:lnTo>
                  <a:pt x="79" y="46"/>
                </a:lnTo>
                <a:lnTo>
                  <a:pt x="79" y="48"/>
                </a:lnTo>
                <a:lnTo>
                  <a:pt x="81" y="48"/>
                </a:lnTo>
                <a:lnTo>
                  <a:pt x="85" y="52"/>
                </a:lnTo>
                <a:lnTo>
                  <a:pt x="86" y="54"/>
                </a:lnTo>
                <a:lnTo>
                  <a:pt x="89" y="55"/>
                </a:lnTo>
                <a:lnTo>
                  <a:pt x="90" y="55"/>
                </a:lnTo>
                <a:lnTo>
                  <a:pt x="91" y="56"/>
                </a:lnTo>
                <a:lnTo>
                  <a:pt x="92" y="57"/>
                </a:lnTo>
                <a:lnTo>
                  <a:pt x="91" y="60"/>
                </a:lnTo>
                <a:lnTo>
                  <a:pt x="90" y="63"/>
                </a:lnTo>
                <a:lnTo>
                  <a:pt x="91" y="65"/>
                </a:lnTo>
                <a:lnTo>
                  <a:pt x="92" y="67"/>
                </a:lnTo>
                <a:lnTo>
                  <a:pt x="92" y="70"/>
                </a:lnTo>
                <a:lnTo>
                  <a:pt x="93" y="72"/>
                </a:lnTo>
                <a:lnTo>
                  <a:pt x="97" y="74"/>
                </a:lnTo>
                <a:lnTo>
                  <a:pt x="102" y="77"/>
                </a:lnTo>
                <a:lnTo>
                  <a:pt x="103" y="79"/>
                </a:lnTo>
                <a:lnTo>
                  <a:pt x="104" y="81"/>
                </a:lnTo>
                <a:lnTo>
                  <a:pt x="104" y="86"/>
                </a:lnTo>
                <a:lnTo>
                  <a:pt x="103" y="90"/>
                </a:lnTo>
                <a:lnTo>
                  <a:pt x="110" y="95"/>
                </a:lnTo>
                <a:lnTo>
                  <a:pt x="109" y="96"/>
                </a:lnTo>
                <a:lnTo>
                  <a:pt x="108" y="97"/>
                </a:lnTo>
                <a:lnTo>
                  <a:pt x="102" y="98"/>
                </a:lnTo>
                <a:lnTo>
                  <a:pt x="101" y="98"/>
                </a:lnTo>
                <a:lnTo>
                  <a:pt x="98" y="94"/>
                </a:lnTo>
                <a:lnTo>
                  <a:pt x="96" y="94"/>
                </a:lnTo>
                <a:lnTo>
                  <a:pt x="95" y="95"/>
                </a:lnTo>
                <a:lnTo>
                  <a:pt x="94" y="96"/>
                </a:lnTo>
                <a:lnTo>
                  <a:pt x="92" y="96"/>
                </a:lnTo>
                <a:lnTo>
                  <a:pt x="90" y="94"/>
                </a:lnTo>
                <a:lnTo>
                  <a:pt x="89" y="93"/>
                </a:lnTo>
                <a:lnTo>
                  <a:pt x="88" y="93"/>
                </a:lnTo>
                <a:lnTo>
                  <a:pt x="87" y="94"/>
                </a:lnTo>
                <a:lnTo>
                  <a:pt x="85" y="94"/>
                </a:lnTo>
                <a:lnTo>
                  <a:pt x="84" y="93"/>
                </a:lnTo>
                <a:lnTo>
                  <a:pt x="82" y="96"/>
                </a:lnTo>
                <a:lnTo>
                  <a:pt x="81" y="97"/>
                </a:lnTo>
                <a:lnTo>
                  <a:pt x="81" y="97"/>
                </a:lnTo>
                <a:lnTo>
                  <a:pt x="81" y="91"/>
                </a:lnTo>
                <a:lnTo>
                  <a:pt x="80" y="90"/>
                </a:lnTo>
                <a:lnTo>
                  <a:pt x="79" y="90"/>
                </a:lnTo>
                <a:lnTo>
                  <a:pt x="76" y="92"/>
                </a:lnTo>
                <a:lnTo>
                  <a:pt x="73" y="93"/>
                </a:lnTo>
                <a:lnTo>
                  <a:pt x="72" y="95"/>
                </a:lnTo>
                <a:lnTo>
                  <a:pt x="72" y="98"/>
                </a:lnTo>
                <a:lnTo>
                  <a:pt x="73" y="101"/>
                </a:lnTo>
                <a:lnTo>
                  <a:pt x="75" y="106"/>
                </a:lnTo>
                <a:lnTo>
                  <a:pt x="74" y="108"/>
                </a:lnTo>
                <a:lnTo>
                  <a:pt x="73" y="112"/>
                </a:lnTo>
                <a:lnTo>
                  <a:pt x="70" y="115"/>
                </a:lnTo>
                <a:lnTo>
                  <a:pt x="66" y="117"/>
                </a:lnTo>
                <a:lnTo>
                  <a:pt x="66" y="121"/>
                </a:lnTo>
                <a:lnTo>
                  <a:pt x="64" y="123"/>
                </a:lnTo>
                <a:lnTo>
                  <a:pt x="61" y="126"/>
                </a:lnTo>
                <a:lnTo>
                  <a:pt x="59" y="129"/>
                </a:lnTo>
                <a:lnTo>
                  <a:pt x="59" y="131"/>
                </a:lnTo>
                <a:lnTo>
                  <a:pt x="59" y="133"/>
                </a:lnTo>
                <a:lnTo>
                  <a:pt x="59" y="134"/>
                </a:lnTo>
                <a:lnTo>
                  <a:pt x="59" y="135"/>
                </a:lnTo>
                <a:lnTo>
                  <a:pt x="58" y="136"/>
                </a:lnTo>
                <a:lnTo>
                  <a:pt x="53" y="136"/>
                </a:lnTo>
                <a:lnTo>
                  <a:pt x="51" y="137"/>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1234" name="Montenegro">
            <a:extLst>
              <a:ext uri="{FF2B5EF4-FFF2-40B4-BE49-F238E27FC236}">
                <a16:creationId xmlns:a16="http://schemas.microsoft.com/office/drawing/2014/main" id="{997F3482-24B6-478C-90EE-77B4536CF810}"/>
              </a:ext>
            </a:extLst>
          </p:cNvPr>
          <p:cNvSpPr>
            <a:spLocks/>
          </p:cNvSpPr>
          <p:nvPr/>
        </p:nvSpPr>
        <p:spPr bwMode="auto">
          <a:xfrm>
            <a:off x="6372591" y="3369448"/>
            <a:ext cx="58032" cy="58849"/>
          </a:xfrm>
          <a:custGeom>
            <a:avLst/>
            <a:gdLst>
              <a:gd name="T0" fmla="*/ 24 w 60"/>
              <a:gd name="T1" fmla="*/ 1 h 71"/>
              <a:gd name="T2" fmla="*/ 24 w 60"/>
              <a:gd name="T3" fmla="*/ 3 h 71"/>
              <a:gd name="T4" fmla="*/ 27 w 60"/>
              <a:gd name="T5" fmla="*/ 6 h 71"/>
              <a:gd name="T6" fmla="*/ 35 w 60"/>
              <a:gd name="T7" fmla="*/ 15 h 71"/>
              <a:gd name="T8" fmla="*/ 39 w 60"/>
              <a:gd name="T9" fmla="*/ 17 h 71"/>
              <a:gd name="T10" fmla="*/ 44 w 60"/>
              <a:gd name="T11" fmla="*/ 20 h 71"/>
              <a:gd name="T12" fmla="*/ 54 w 60"/>
              <a:gd name="T13" fmla="*/ 25 h 71"/>
              <a:gd name="T14" fmla="*/ 59 w 60"/>
              <a:gd name="T15" fmla="*/ 28 h 71"/>
              <a:gd name="T16" fmla="*/ 60 w 60"/>
              <a:gd name="T17" fmla="*/ 31 h 71"/>
              <a:gd name="T18" fmla="*/ 55 w 60"/>
              <a:gd name="T19" fmla="*/ 34 h 71"/>
              <a:gd name="T20" fmla="*/ 50 w 60"/>
              <a:gd name="T21" fmla="*/ 34 h 71"/>
              <a:gd name="T22" fmla="*/ 51 w 60"/>
              <a:gd name="T23" fmla="*/ 37 h 71"/>
              <a:gd name="T24" fmla="*/ 51 w 60"/>
              <a:gd name="T25" fmla="*/ 42 h 71"/>
              <a:gd name="T26" fmla="*/ 50 w 60"/>
              <a:gd name="T27" fmla="*/ 43 h 71"/>
              <a:gd name="T28" fmla="*/ 44 w 60"/>
              <a:gd name="T29" fmla="*/ 45 h 71"/>
              <a:gd name="T30" fmla="*/ 41 w 60"/>
              <a:gd name="T31" fmla="*/ 45 h 71"/>
              <a:gd name="T32" fmla="*/ 41 w 60"/>
              <a:gd name="T33" fmla="*/ 40 h 71"/>
              <a:gd name="T34" fmla="*/ 40 w 60"/>
              <a:gd name="T35" fmla="*/ 39 h 71"/>
              <a:gd name="T36" fmla="*/ 36 w 60"/>
              <a:gd name="T37" fmla="*/ 42 h 71"/>
              <a:gd name="T38" fmla="*/ 32 w 60"/>
              <a:gd name="T39" fmla="*/ 48 h 71"/>
              <a:gd name="T40" fmla="*/ 28 w 60"/>
              <a:gd name="T41" fmla="*/ 55 h 71"/>
              <a:gd name="T42" fmla="*/ 28 w 60"/>
              <a:gd name="T43" fmla="*/ 60 h 71"/>
              <a:gd name="T44" fmla="*/ 29 w 60"/>
              <a:gd name="T45" fmla="*/ 65 h 71"/>
              <a:gd name="T46" fmla="*/ 28 w 60"/>
              <a:gd name="T47" fmla="*/ 69 h 71"/>
              <a:gd name="T48" fmla="*/ 23 w 60"/>
              <a:gd name="T49" fmla="*/ 68 h 71"/>
              <a:gd name="T50" fmla="*/ 14 w 60"/>
              <a:gd name="T51" fmla="*/ 55 h 71"/>
              <a:gd name="T52" fmla="*/ 6 w 60"/>
              <a:gd name="T53" fmla="*/ 49 h 71"/>
              <a:gd name="T54" fmla="*/ 7 w 60"/>
              <a:gd name="T55" fmla="*/ 47 h 71"/>
              <a:gd name="T56" fmla="*/ 4 w 60"/>
              <a:gd name="T57" fmla="*/ 48 h 71"/>
              <a:gd name="T58" fmla="*/ 1 w 60"/>
              <a:gd name="T59" fmla="*/ 46 h 71"/>
              <a:gd name="T60" fmla="*/ 0 w 60"/>
              <a:gd name="T61" fmla="*/ 42 h 71"/>
              <a:gd name="T62" fmla="*/ 1 w 60"/>
              <a:gd name="T63" fmla="*/ 41 h 71"/>
              <a:gd name="T64" fmla="*/ 3 w 60"/>
              <a:gd name="T65" fmla="*/ 39 h 71"/>
              <a:gd name="T66" fmla="*/ 1 w 60"/>
              <a:gd name="T67" fmla="*/ 33 h 71"/>
              <a:gd name="T68" fmla="*/ 0 w 60"/>
              <a:gd name="T69" fmla="*/ 25 h 71"/>
              <a:gd name="T70" fmla="*/ 2 w 60"/>
              <a:gd name="T71" fmla="*/ 23 h 71"/>
              <a:gd name="T72" fmla="*/ 6 w 60"/>
              <a:gd name="T73" fmla="*/ 18 h 71"/>
              <a:gd name="T74" fmla="*/ 7 w 60"/>
              <a:gd name="T75" fmla="*/ 15 h 71"/>
              <a:gd name="T76" fmla="*/ 10 w 60"/>
              <a:gd name="T77" fmla="*/ 12 h 71"/>
              <a:gd name="T78" fmla="*/ 14 w 60"/>
              <a:gd name="T79" fmla="*/ 9 h 71"/>
              <a:gd name="T80" fmla="*/ 17 w 60"/>
              <a:gd name="T81" fmla="*/ 11 h 71"/>
              <a:gd name="T82" fmla="*/ 19 w 60"/>
              <a:gd name="T83" fmla="*/ 8 h 71"/>
              <a:gd name="T84" fmla="*/ 16 w 60"/>
              <a:gd name="T85" fmla="*/ 2 h 71"/>
              <a:gd name="T86" fmla="*/ 17 w 60"/>
              <a:gd name="T87" fmla="*/ 0 h 71"/>
              <a:gd name="T88" fmla="*/ 20 w 60"/>
              <a:gd name="T89" fmla="*/ 2 h 71"/>
              <a:gd name="T90" fmla="*/ 23 w 60"/>
              <a:gd name="T91" fmla="*/ 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0" h="71">
                <a:moveTo>
                  <a:pt x="24" y="1"/>
                </a:moveTo>
                <a:lnTo>
                  <a:pt x="24" y="1"/>
                </a:lnTo>
                <a:lnTo>
                  <a:pt x="24" y="1"/>
                </a:lnTo>
                <a:lnTo>
                  <a:pt x="24" y="3"/>
                </a:lnTo>
                <a:lnTo>
                  <a:pt x="24" y="4"/>
                </a:lnTo>
                <a:lnTo>
                  <a:pt x="27" y="6"/>
                </a:lnTo>
                <a:lnTo>
                  <a:pt x="31" y="9"/>
                </a:lnTo>
                <a:lnTo>
                  <a:pt x="35" y="15"/>
                </a:lnTo>
                <a:lnTo>
                  <a:pt x="37" y="16"/>
                </a:lnTo>
                <a:lnTo>
                  <a:pt x="39" y="17"/>
                </a:lnTo>
                <a:lnTo>
                  <a:pt x="42" y="19"/>
                </a:lnTo>
                <a:lnTo>
                  <a:pt x="44" y="20"/>
                </a:lnTo>
                <a:lnTo>
                  <a:pt x="47" y="20"/>
                </a:lnTo>
                <a:lnTo>
                  <a:pt x="54" y="25"/>
                </a:lnTo>
                <a:lnTo>
                  <a:pt x="57" y="26"/>
                </a:lnTo>
                <a:lnTo>
                  <a:pt x="59" y="28"/>
                </a:lnTo>
                <a:lnTo>
                  <a:pt x="60" y="30"/>
                </a:lnTo>
                <a:lnTo>
                  <a:pt x="60" y="31"/>
                </a:lnTo>
                <a:lnTo>
                  <a:pt x="56" y="32"/>
                </a:lnTo>
                <a:lnTo>
                  <a:pt x="55" y="34"/>
                </a:lnTo>
                <a:lnTo>
                  <a:pt x="53" y="34"/>
                </a:lnTo>
                <a:lnTo>
                  <a:pt x="50" y="34"/>
                </a:lnTo>
                <a:lnTo>
                  <a:pt x="50" y="35"/>
                </a:lnTo>
                <a:lnTo>
                  <a:pt x="51" y="37"/>
                </a:lnTo>
                <a:lnTo>
                  <a:pt x="52" y="39"/>
                </a:lnTo>
                <a:lnTo>
                  <a:pt x="51" y="42"/>
                </a:lnTo>
                <a:lnTo>
                  <a:pt x="51" y="43"/>
                </a:lnTo>
                <a:lnTo>
                  <a:pt x="50" y="43"/>
                </a:lnTo>
                <a:lnTo>
                  <a:pt x="47" y="45"/>
                </a:lnTo>
                <a:lnTo>
                  <a:pt x="44" y="45"/>
                </a:lnTo>
                <a:lnTo>
                  <a:pt x="42" y="46"/>
                </a:lnTo>
                <a:lnTo>
                  <a:pt x="41" y="45"/>
                </a:lnTo>
                <a:lnTo>
                  <a:pt x="41" y="44"/>
                </a:lnTo>
                <a:lnTo>
                  <a:pt x="41" y="40"/>
                </a:lnTo>
                <a:lnTo>
                  <a:pt x="40" y="39"/>
                </a:lnTo>
                <a:lnTo>
                  <a:pt x="40" y="39"/>
                </a:lnTo>
                <a:lnTo>
                  <a:pt x="38" y="39"/>
                </a:lnTo>
                <a:lnTo>
                  <a:pt x="36" y="42"/>
                </a:lnTo>
                <a:lnTo>
                  <a:pt x="35" y="45"/>
                </a:lnTo>
                <a:lnTo>
                  <a:pt x="32" y="48"/>
                </a:lnTo>
                <a:lnTo>
                  <a:pt x="30" y="51"/>
                </a:lnTo>
                <a:lnTo>
                  <a:pt x="28" y="55"/>
                </a:lnTo>
                <a:lnTo>
                  <a:pt x="26" y="59"/>
                </a:lnTo>
                <a:lnTo>
                  <a:pt x="28" y="60"/>
                </a:lnTo>
                <a:lnTo>
                  <a:pt x="29" y="63"/>
                </a:lnTo>
                <a:lnTo>
                  <a:pt x="29" y="65"/>
                </a:lnTo>
                <a:lnTo>
                  <a:pt x="29" y="66"/>
                </a:lnTo>
                <a:lnTo>
                  <a:pt x="28" y="69"/>
                </a:lnTo>
                <a:lnTo>
                  <a:pt x="28" y="71"/>
                </a:lnTo>
                <a:lnTo>
                  <a:pt x="23" y="68"/>
                </a:lnTo>
                <a:lnTo>
                  <a:pt x="21" y="63"/>
                </a:lnTo>
                <a:lnTo>
                  <a:pt x="14" y="55"/>
                </a:lnTo>
                <a:lnTo>
                  <a:pt x="6" y="50"/>
                </a:lnTo>
                <a:lnTo>
                  <a:pt x="6" y="49"/>
                </a:lnTo>
                <a:lnTo>
                  <a:pt x="6" y="48"/>
                </a:lnTo>
                <a:lnTo>
                  <a:pt x="7" y="47"/>
                </a:lnTo>
                <a:lnTo>
                  <a:pt x="5" y="47"/>
                </a:lnTo>
                <a:lnTo>
                  <a:pt x="4" y="48"/>
                </a:lnTo>
                <a:lnTo>
                  <a:pt x="3" y="48"/>
                </a:lnTo>
                <a:lnTo>
                  <a:pt x="1" y="46"/>
                </a:lnTo>
                <a:lnTo>
                  <a:pt x="0" y="44"/>
                </a:lnTo>
                <a:lnTo>
                  <a:pt x="0" y="42"/>
                </a:lnTo>
                <a:lnTo>
                  <a:pt x="1" y="42"/>
                </a:lnTo>
                <a:lnTo>
                  <a:pt x="1" y="41"/>
                </a:lnTo>
                <a:lnTo>
                  <a:pt x="3" y="40"/>
                </a:lnTo>
                <a:lnTo>
                  <a:pt x="3" y="39"/>
                </a:lnTo>
                <a:lnTo>
                  <a:pt x="3" y="37"/>
                </a:lnTo>
                <a:lnTo>
                  <a:pt x="1" y="33"/>
                </a:lnTo>
                <a:lnTo>
                  <a:pt x="1" y="30"/>
                </a:lnTo>
                <a:lnTo>
                  <a:pt x="0" y="25"/>
                </a:lnTo>
                <a:lnTo>
                  <a:pt x="1" y="24"/>
                </a:lnTo>
                <a:lnTo>
                  <a:pt x="2" y="23"/>
                </a:lnTo>
                <a:lnTo>
                  <a:pt x="6" y="22"/>
                </a:lnTo>
                <a:lnTo>
                  <a:pt x="6" y="18"/>
                </a:lnTo>
                <a:lnTo>
                  <a:pt x="6" y="17"/>
                </a:lnTo>
                <a:lnTo>
                  <a:pt x="7" y="15"/>
                </a:lnTo>
                <a:lnTo>
                  <a:pt x="7" y="14"/>
                </a:lnTo>
                <a:lnTo>
                  <a:pt x="10" y="12"/>
                </a:lnTo>
                <a:lnTo>
                  <a:pt x="13" y="9"/>
                </a:lnTo>
                <a:lnTo>
                  <a:pt x="14" y="9"/>
                </a:lnTo>
                <a:lnTo>
                  <a:pt x="16" y="9"/>
                </a:lnTo>
                <a:lnTo>
                  <a:pt x="17" y="11"/>
                </a:lnTo>
                <a:lnTo>
                  <a:pt x="18" y="11"/>
                </a:lnTo>
                <a:lnTo>
                  <a:pt x="19" y="8"/>
                </a:lnTo>
                <a:lnTo>
                  <a:pt x="17" y="5"/>
                </a:lnTo>
                <a:lnTo>
                  <a:pt x="16" y="2"/>
                </a:lnTo>
                <a:lnTo>
                  <a:pt x="16" y="1"/>
                </a:lnTo>
                <a:lnTo>
                  <a:pt x="17" y="0"/>
                </a:lnTo>
                <a:lnTo>
                  <a:pt x="19" y="1"/>
                </a:lnTo>
                <a:lnTo>
                  <a:pt x="20" y="2"/>
                </a:lnTo>
                <a:lnTo>
                  <a:pt x="21" y="1"/>
                </a:lnTo>
                <a:lnTo>
                  <a:pt x="23" y="1"/>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1235" name="Macedonia">
            <a:extLst>
              <a:ext uri="{FF2B5EF4-FFF2-40B4-BE49-F238E27FC236}">
                <a16:creationId xmlns:a16="http://schemas.microsoft.com/office/drawing/2014/main" id="{018E533A-1866-49FC-8840-019EB22C151B}"/>
              </a:ext>
            </a:extLst>
          </p:cNvPr>
          <p:cNvSpPr>
            <a:spLocks/>
          </p:cNvSpPr>
          <p:nvPr/>
        </p:nvSpPr>
        <p:spPr bwMode="auto">
          <a:xfrm>
            <a:off x="6432856" y="3412602"/>
            <a:ext cx="78121" cy="51002"/>
          </a:xfrm>
          <a:custGeom>
            <a:avLst/>
            <a:gdLst>
              <a:gd name="T0" fmla="*/ 59 w 80"/>
              <a:gd name="T1" fmla="*/ 2 h 62"/>
              <a:gd name="T2" fmla="*/ 66 w 80"/>
              <a:gd name="T3" fmla="*/ 10 h 62"/>
              <a:gd name="T4" fmla="*/ 73 w 80"/>
              <a:gd name="T5" fmla="*/ 14 h 62"/>
              <a:gd name="T6" fmla="*/ 77 w 80"/>
              <a:gd name="T7" fmla="*/ 22 h 62"/>
              <a:gd name="T8" fmla="*/ 79 w 80"/>
              <a:gd name="T9" fmla="*/ 25 h 62"/>
              <a:gd name="T10" fmla="*/ 80 w 80"/>
              <a:gd name="T11" fmla="*/ 27 h 62"/>
              <a:gd name="T12" fmla="*/ 77 w 80"/>
              <a:gd name="T13" fmla="*/ 42 h 62"/>
              <a:gd name="T14" fmla="*/ 75 w 80"/>
              <a:gd name="T15" fmla="*/ 42 h 62"/>
              <a:gd name="T16" fmla="*/ 72 w 80"/>
              <a:gd name="T17" fmla="*/ 43 h 62"/>
              <a:gd name="T18" fmla="*/ 67 w 80"/>
              <a:gd name="T19" fmla="*/ 51 h 62"/>
              <a:gd name="T20" fmla="*/ 61 w 80"/>
              <a:gd name="T21" fmla="*/ 51 h 62"/>
              <a:gd name="T22" fmla="*/ 54 w 80"/>
              <a:gd name="T23" fmla="*/ 50 h 62"/>
              <a:gd name="T24" fmla="*/ 48 w 80"/>
              <a:gd name="T25" fmla="*/ 51 h 62"/>
              <a:gd name="T26" fmla="*/ 41 w 80"/>
              <a:gd name="T27" fmla="*/ 58 h 62"/>
              <a:gd name="T28" fmla="*/ 35 w 80"/>
              <a:gd name="T29" fmla="*/ 62 h 62"/>
              <a:gd name="T30" fmla="*/ 30 w 80"/>
              <a:gd name="T31" fmla="*/ 60 h 62"/>
              <a:gd name="T32" fmla="*/ 22 w 80"/>
              <a:gd name="T33" fmla="*/ 62 h 62"/>
              <a:gd name="T34" fmla="*/ 16 w 80"/>
              <a:gd name="T35" fmla="*/ 62 h 62"/>
              <a:gd name="T36" fmla="*/ 15 w 80"/>
              <a:gd name="T37" fmla="*/ 60 h 62"/>
              <a:gd name="T38" fmla="*/ 9 w 80"/>
              <a:gd name="T39" fmla="*/ 60 h 62"/>
              <a:gd name="T40" fmla="*/ 6 w 80"/>
              <a:gd name="T41" fmla="*/ 54 h 62"/>
              <a:gd name="T42" fmla="*/ 3 w 80"/>
              <a:gd name="T43" fmla="*/ 51 h 62"/>
              <a:gd name="T44" fmla="*/ 1 w 80"/>
              <a:gd name="T45" fmla="*/ 42 h 62"/>
              <a:gd name="T46" fmla="*/ 0 w 80"/>
              <a:gd name="T47" fmla="*/ 35 h 62"/>
              <a:gd name="T48" fmla="*/ 2 w 80"/>
              <a:gd name="T49" fmla="*/ 32 h 62"/>
              <a:gd name="T50" fmla="*/ 2 w 80"/>
              <a:gd name="T51" fmla="*/ 27 h 62"/>
              <a:gd name="T52" fmla="*/ 3 w 80"/>
              <a:gd name="T53" fmla="*/ 20 h 62"/>
              <a:gd name="T54" fmla="*/ 7 w 80"/>
              <a:gd name="T55" fmla="*/ 21 h 62"/>
              <a:gd name="T56" fmla="*/ 9 w 80"/>
              <a:gd name="T57" fmla="*/ 19 h 62"/>
              <a:gd name="T58" fmla="*/ 10 w 80"/>
              <a:gd name="T59" fmla="*/ 12 h 62"/>
              <a:gd name="T60" fmla="*/ 21 w 80"/>
              <a:gd name="T61" fmla="*/ 7 h 62"/>
              <a:gd name="T62" fmla="*/ 25 w 80"/>
              <a:gd name="T63" fmla="*/ 11 h 62"/>
              <a:gd name="T64" fmla="*/ 26 w 80"/>
              <a:gd name="T65" fmla="*/ 9 h 62"/>
              <a:gd name="T66" fmla="*/ 29 w 80"/>
              <a:gd name="T67" fmla="*/ 6 h 62"/>
              <a:gd name="T68" fmla="*/ 35 w 80"/>
              <a:gd name="T69" fmla="*/ 4 h 62"/>
              <a:gd name="T70" fmla="*/ 40 w 80"/>
              <a:gd name="T71" fmla="*/ 4 h 62"/>
              <a:gd name="T72" fmla="*/ 44 w 80"/>
              <a:gd name="T73" fmla="*/ 2 h 62"/>
              <a:gd name="T74" fmla="*/ 47 w 80"/>
              <a:gd name="T75" fmla="*/ 1 h 62"/>
              <a:gd name="T76" fmla="*/ 53 w 80"/>
              <a:gd name="T77" fmla="*/ 1 h 62"/>
              <a:gd name="T78" fmla="*/ 57 w 80"/>
              <a:gd name="T79"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0" h="62">
                <a:moveTo>
                  <a:pt x="59" y="2"/>
                </a:moveTo>
                <a:lnTo>
                  <a:pt x="59" y="2"/>
                </a:lnTo>
                <a:lnTo>
                  <a:pt x="64" y="8"/>
                </a:lnTo>
                <a:lnTo>
                  <a:pt x="66" y="10"/>
                </a:lnTo>
                <a:lnTo>
                  <a:pt x="69" y="12"/>
                </a:lnTo>
                <a:lnTo>
                  <a:pt x="73" y="14"/>
                </a:lnTo>
                <a:lnTo>
                  <a:pt x="74" y="15"/>
                </a:lnTo>
                <a:lnTo>
                  <a:pt x="77" y="22"/>
                </a:lnTo>
                <a:lnTo>
                  <a:pt x="78" y="24"/>
                </a:lnTo>
                <a:lnTo>
                  <a:pt x="79" y="25"/>
                </a:lnTo>
                <a:lnTo>
                  <a:pt x="79" y="26"/>
                </a:lnTo>
                <a:lnTo>
                  <a:pt x="80" y="27"/>
                </a:lnTo>
                <a:lnTo>
                  <a:pt x="78" y="31"/>
                </a:lnTo>
                <a:lnTo>
                  <a:pt x="77" y="42"/>
                </a:lnTo>
                <a:lnTo>
                  <a:pt x="77" y="42"/>
                </a:lnTo>
                <a:lnTo>
                  <a:pt x="75" y="42"/>
                </a:lnTo>
                <a:lnTo>
                  <a:pt x="73" y="43"/>
                </a:lnTo>
                <a:lnTo>
                  <a:pt x="72" y="43"/>
                </a:lnTo>
                <a:lnTo>
                  <a:pt x="71" y="49"/>
                </a:lnTo>
                <a:lnTo>
                  <a:pt x="67" y="51"/>
                </a:lnTo>
                <a:lnTo>
                  <a:pt x="64" y="51"/>
                </a:lnTo>
                <a:lnTo>
                  <a:pt x="61" y="51"/>
                </a:lnTo>
                <a:lnTo>
                  <a:pt x="56" y="50"/>
                </a:lnTo>
                <a:lnTo>
                  <a:pt x="54" y="50"/>
                </a:lnTo>
                <a:lnTo>
                  <a:pt x="52" y="50"/>
                </a:lnTo>
                <a:lnTo>
                  <a:pt x="48" y="51"/>
                </a:lnTo>
                <a:lnTo>
                  <a:pt x="46" y="52"/>
                </a:lnTo>
                <a:lnTo>
                  <a:pt x="41" y="58"/>
                </a:lnTo>
                <a:lnTo>
                  <a:pt x="37" y="61"/>
                </a:lnTo>
                <a:lnTo>
                  <a:pt x="35" y="62"/>
                </a:lnTo>
                <a:lnTo>
                  <a:pt x="31" y="60"/>
                </a:lnTo>
                <a:lnTo>
                  <a:pt x="30" y="60"/>
                </a:lnTo>
                <a:lnTo>
                  <a:pt x="27" y="62"/>
                </a:lnTo>
                <a:lnTo>
                  <a:pt x="22" y="62"/>
                </a:lnTo>
                <a:lnTo>
                  <a:pt x="20" y="62"/>
                </a:lnTo>
                <a:lnTo>
                  <a:pt x="16" y="62"/>
                </a:lnTo>
                <a:lnTo>
                  <a:pt x="16" y="62"/>
                </a:lnTo>
                <a:lnTo>
                  <a:pt x="15" y="60"/>
                </a:lnTo>
                <a:lnTo>
                  <a:pt x="13" y="60"/>
                </a:lnTo>
                <a:lnTo>
                  <a:pt x="9" y="60"/>
                </a:lnTo>
                <a:lnTo>
                  <a:pt x="8" y="59"/>
                </a:lnTo>
                <a:lnTo>
                  <a:pt x="6" y="54"/>
                </a:lnTo>
                <a:lnTo>
                  <a:pt x="5" y="53"/>
                </a:lnTo>
                <a:lnTo>
                  <a:pt x="3" y="51"/>
                </a:lnTo>
                <a:lnTo>
                  <a:pt x="1" y="45"/>
                </a:lnTo>
                <a:lnTo>
                  <a:pt x="1" y="42"/>
                </a:lnTo>
                <a:lnTo>
                  <a:pt x="1" y="40"/>
                </a:lnTo>
                <a:lnTo>
                  <a:pt x="0" y="35"/>
                </a:lnTo>
                <a:lnTo>
                  <a:pt x="1" y="33"/>
                </a:lnTo>
                <a:lnTo>
                  <a:pt x="2" y="32"/>
                </a:lnTo>
                <a:lnTo>
                  <a:pt x="2" y="30"/>
                </a:lnTo>
                <a:lnTo>
                  <a:pt x="2" y="27"/>
                </a:lnTo>
                <a:lnTo>
                  <a:pt x="3" y="21"/>
                </a:lnTo>
                <a:lnTo>
                  <a:pt x="3" y="20"/>
                </a:lnTo>
                <a:lnTo>
                  <a:pt x="4" y="20"/>
                </a:lnTo>
                <a:lnTo>
                  <a:pt x="7" y="21"/>
                </a:lnTo>
                <a:lnTo>
                  <a:pt x="8" y="20"/>
                </a:lnTo>
                <a:lnTo>
                  <a:pt x="9" y="19"/>
                </a:lnTo>
                <a:lnTo>
                  <a:pt x="9" y="14"/>
                </a:lnTo>
                <a:lnTo>
                  <a:pt x="10" y="12"/>
                </a:lnTo>
                <a:lnTo>
                  <a:pt x="19" y="8"/>
                </a:lnTo>
                <a:lnTo>
                  <a:pt x="21" y="7"/>
                </a:lnTo>
                <a:lnTo>
                  <a:pt x="23" y="9"/>
                </a:lnTo>
                <a:lnTo>
                  <a:pt x="25" y="11"/>
                </a:lnTo>
                <a:lnTo>
                  <a:pt x="26" y="11"/>
                </a:lnTo>
                <a:lnTo>
                  <a:pt x="26" y="9"/>
                </a:lnTo>
                <a:lnTo>
                  <a:pt x="27" y="7"/>
                </a:lnTo>
                <a:lnTo>
                  <a:pt x="29" y="6"/>
                </a:lnTo>
                <a:lnTo>
                  <a:pt x="34" y="4"/>
                </a:lnTo>
                <a:lnTo>
                  <a:pt x="35" y="4"/>
                </a:lnTo>
                <a:lnTo>
                  <a:pt x="36" y="5"/>
                </a:lnTo>
                <a:lnTo>
                  <a:pt x="40" y="4"/>
                </a:lnTo>
                <a:lnTo>
                  <a:pt x="42" y="2"/>
                </a:lnTo>
                <a:lnTo>
                  <a:pt x="44" y="2"/>
                </a:lnTo>
                <a:lnTo>
                  <a:pt x="45" y="1"/>
                </a:lnTo>
                <a:lnTo>
                  <a:pt x="47" y="1"/>
                </a:lnTo>
                <a:lnTo>
                  <a:pt x="50" y="2"/>
                </a:lnTo>
                <a:lnTo>
                  <a:pt x="53" y="1"/>
                </a:lnTo>
                <a:lnTo>
                  <a:pt x="56" y="0"/>
                </a:lnTo>
                <a:lnTo>
                  <a:pt x="57" y="0"/>
                </a:lnTo>
                <a:lnTo>
                  <a:pt x="58" y="1"/>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1236" name="Netherlands">
            <a:extLst>
              <a:ext uri="{FF2B5EF4-FFF2-40B4-BE49-F238E27FC236}">
                <a16:creationId xmlns:a16="http://schemas.microsoft.com/office/drawing/2014/main" id="{56F934EE-2086-4DAF-92C8-618DB2B819A9}"/>
              </a:ext>
            </a:extLst>
          </p:cNvPr>
          <p:cNvSpPr>
            <a:spLocks noEditPoints="1"/>
          </p:cNvSpPr>
          <p:nvPr/>
        </p:nvSpPr>
        <p:spPr bwMode="auto">
          <a:xfrm>
            <a:off x="5919498" y="2965358"/>
            <a:ext cx="116064" cy="123581"/>
          </a:xfrm>
          <a:custGeom>
            <a:avLst/>
            <a:gdLst>
              <a:gd name="T0" fmla="*/ 64 w 120"/>
              <a:gd name="T1" fmla="*/ 11 h 146"/>
              <a:gd name="T2" fmla="*/ 58 w 120"/>
              <a:gd name="T3" fmla="*/ 13 h 146"/>
              <a:gd name="T4" fmla="*/ 80 w 120"/>
              <a:gd name="T5" fmla="*/ 9 h 146"/>
              <a:gd name="T6" fmla="*/ 72 w 120"/>
              <a:gd name="T7" fmla="*/ 9 h 146"/>
              <a:gd name="T8" fmla="*/ 91 w 120"/>
              <a:gd name="T9" fmla="*/ 6 h 146"/>
              <a:gd name="T10" fmla="*/ 93 w 120"/>
              <a:gd name="T11" fmla="*/ 6 h 146"/>
              <a:gd name="T12" fmla="*/ 48 w 120"/>
              <a:gd name="T13" fmla="*/ 20 h 146"/>
              <a:gd name="T14" fmla="*/ 107 w 120"/>
              <a:gd name="T15" fmla="*/ 0 h 146"/>
              <a:gd name="T16" fmla="*/ 105 w 120"/>
              <a:gd name="T17" fmla="*/ 3 h 146"/>
              <a:gd name="T18" fmla="*/ 16 w 120"/>
              <a:gd name="T19" fmla="*/ 116 h 146"/>
              <a:gd name="T20" fmla="*/ 0 w 120"/>
              <a:gd name="T21" fmla="*/ 115 h 146"/>
              <a:gd name="T22" fmla="*/ 3 w 120"/>
              <a:gd name="T23" fmla="*/ 122 h 146"/>
              <a:gd name="T24" fmla="*/ 12 w 120"/>
              <a:gd name="T25" fmla="*/ 121 h 146"/>
              <a:gd name="T26" fmla="*/ 21 w 120"/>
              <a:gd name="T27" fmla="*/ 122 h 146"/>
              <a:gd name="T28" fmla="*/ 23 w 120"/>
              <a:gd name="T29" fmla="*/ 116 h 146"/>
              <a:gd name="T30" fmla="*/ 115 w 120"/>
              <a:gd name="T31" fmla="*/ 17 h 146"/>
              <a:gd name="T32" fmla="*/ 100 w 120"/>
              <a:gd name="T33" fmla="*/ 10 h 146"/>
              <a:gd name="T34" fmla="*/ 68 w 120"/>
              <a:gd name="T35" fmla="*/ 19 h 146"/>
              <a:gd name="T36" fmla="*/ 48 w 120"/>
              <a:gd name="T37" fmla="*/ 38 h 146"/>
              <a:gd name="T38" fmla="*/ 41 w 120"/>
              <a:gd name="T39" fmla="*/ 43 h 146"/>
              <a:gd name="T40" fmla="*/ 26 w 120"/>
              <a:gd name="T41" fmla="*/ 81 h 146"/>
              <a:gd name="T42" fmla="*/ 19 w 120"/>
              <a:gd name="T43" fmla="*/ 92 h 146"/>
              <a:gd name="T44" fmla="*/ 26 w 120"/>
              <a:gd name="T45" fmla="*/ 104 h 146"/>
              <a:gd name="T46" fmla="*/ 27 w 120"/>
              <a:gd name="T47" fmla="*/ 109 h 146"/>
              <a:gd name="T48" fmla="*/ 16 w 120"/>
              <a:gd name="T49" fmla="*/ 105 h 146"/>
              <a:gd name="T50" fmla="*/ 3 w 120"/>
              <a:gd name="T51" fmla="*/ 107 h 146"/>
              <a:gd name="T52" fmla="*/ 14 w 120"/>
              <a:gd name="T53" fmla="*/ 114 h 146"/>
              <a:gd name="T54" fmla="*/ 29 w 120"/>
              <a:gd name="T55" fmla="*/ 116 h 146"/>
              <a:gd name="T56" fmla="*/ 34 w 120"/>
              <a:gd name="T57" fmla="*/ 111 h 146"/>
              <a:gd name="T58" fmla="*/ 40 w 120"/>
              <a:gd name="T59" fmla="*/ 113 h 146"/>
              <a:gd name="T60" fmla="*/ 45 w 120"/>
              <a:gd name="T61" fmla="*/ 112 h 146"/>
              <a:gd name="T62" fmla="*/ 51 w 120"/>
              <a:gd name="T63" fmla="*/ 112 h 146"/>
              <a:gd name="T64" fmla="*/ 54 w 120"/>
              <a:gd name="T65" fmla="*/ 117 h 146"/>
              <a:gd name="T66" fmla="*/ 66 w 120"/>
              <a:gd name="T67" fmla="*/ 120 h 146"/>
              <a:gd name="T68" fmla="*/ 75 w 120"/>
              <a:gd name="T69" fmla="*/ 126 h 146"/>
              <a:gd name="T70" fmla="*/ 74 w 120"/>
              <a:gd name="T71" fmla="*/ 135 h 146"/>
              <a:gd name="T72" fmla="*/ 71 w 120"/>
              <a:gd name="T73" fmla="*/ 141 h 146"/>
              <a:gd name="T74" fmla="*/ 77 w 120"/>
              <a:gd name="T75" fmla="*/ 143 h 146"/>
              <a:gd name="T76" fmla="*/ 82 w 120"/>
              <a:gd name="T77" fmla="*/ 136 h 146"/>
              <a:gd name="T78" fmla="*/ 78 w 120"/>
              <a:gd name="T79" fmla="*/ 133 h 146"/>
              <a:gd name="T80" fmla="*/ 86 w 120"/>
              <a:gd name="T81" fmla="*/ 127 h 146"/>
              <a:gd name="T82" fmla="*/ 85 w 120"/>
              <a:gd name="T83" fmla="*/ 124 h 146"/>
              <a:gd name="T84" fmla="*/ 88 w 120"/>
              <a:gd name="T85" fmla="*/ 112 h 146"/>
              <a:gd name="T86" fmla="*/ 85 w 120"/>
              <a:gd name="T87" fmla="*/ 102 h 146"/>
              <a:gd name="T88" fmla="*/ 82 w 120"/>
              <a:gd name="T89" fmla="*/ 92 h 146"/>
              <a:gd name="T90" fmla="*/ 92 w 120"/>
              <a:gd name="T91" fmla="*/ 92 h 146"/>
              <a:gd name="T92" fmla="*/ 98 w 120"/>
              <a:gd name="T93" fmla="*/ 91 h 146"/>
              <a:gd name="T94" fmla="*/ 107 w 120"/>
              <a:gd name="T95" fmla="*/ 85 h 146"/>
              <a:gd name="T96" fmla="*/ 106 w 120"/>
              <a:gd name="T97" fmla="*/ 79 h 146"/>
              <a:gd name="T98" fmla="*/ 114 w 120"/>
              <a:gd name="T99" fmla="*/ 71 h 146"/>
              <a:gd name="T100" fmla="*/ 112 w 120"/>
              <a:gd name="T101" fmla="*/ 62 h 146"/>
              <a:gd name="T102" fmla="*/ 104 w 120"/>
              <a:gd name="T103" fmla="*/ 59 h 146"/>
              <a:gd name="T104" fmla="*/ 104 w 120"/>
              <a:gd name="T105" fmla="*/ 54 h 146"/>
              <a:gd name="T106" fmla="*/ 114 w 120"/>
              <a:gd name="T107" fmla="*/ 51 h 146"/>
              <a:gd name="T108" fmla="*/ 119 w 120"/>
              <a:gd name="T109" fmla="*/ 33 h 146"/>
              <a:gd name="T110" fmla="*/ 12 w 120"/>
              <a:gd name="T111" fmla="*/ 100 h 146"/>
              <a:gd name="T112" fmla="*/ 22 w 120"/>
              <a:gd name="T113" fmla="*/ 101 h 146"/>
              <a:gd name="T114" fmla="*/ 10 w 120"/>
              <a:gd name="T115" fmla="*/ 98 h 146"/>
              <a:gd name="T116" fmla="*/ 44 w 120"/>
              <a:gd name="T117" fmla="*/ 33 h 146"/>
              <a:gd name="T118" fmla="*/ 42 w 120"/>
              <a:gd name="T119" fmla="*/ 31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0" h="146">
                <a:moveTo>
                  <a:pt x="58" y="13"/>
                </a:moveTo>
                <a:lnTo>
                  <a:pt x="58" y="13"/>
                </a:lnTo>
                <a:lnTo>
                  <a:pt x="57" y="13"/>
                </a:lnTo>
                <a:lnTo>
                  <a:pt x="64" y="11"/>
                </a:lnTo>
                <a:lnTo>
                  <a:pt x="68" y="10"/>
                </a:lnTo>
                <a:lnTo>
                  <a:pt x="69" y="10"/>
                </a:lnTo>
                <a:lnTo>
                  <a:pt x="61" y="13"/>
                </a:lnTo>
                <a:lnTo>
                  <a:pt x="58" y="13"/>
                </a:lnTo>
                <a:close/>
                <a:moveTo>
                  <a:pt x="74" y="10"/>
                </a:moveTo>
                <a:lnTo>
                  <a:pt x="74" y="10"/>
                </a:lnTo>
                <a:lnTo>
                  <a:pt x="80" y="9"/>
                </a:lnTo>
                <a:lnTo>
                  <a:pt x="80" y="9"/>
                </a:lnTo>
                <a:lnTo>
                  <a:pt x="78" y="8"/>
                </a:lnTo>
                <a:lnTo>
                  <a:pt x="73" y="8"/>
                </a:lnTo>
                <a:lnTo>
                  <a:pt x="71" y="9"/>
                </a:lnTo>
                <a:lnTo>
                  <a:pt x="72" y="9"/>
                </a:lnTo>
                <a:lnTo>
                  <a:pt x="74" y="10"/>
                </a:lnTo>
                <a:close/>
                <a:moveTo>
                  <a:pt x="93" y="6"/>
                </a:moveTo>
                <a:lnTo>
                  <a:pt x="93" y="6"/>
                </a:lnTo>
                <a:lnTo>
                  <a:pt x="91" y="6"/>
                </a:lnTo>
                <a:lnTo>
                  <a:pt x="87" y="7"/>
                </a:lnTo>
                <a:lnTo>
                  <a:pt x="87" y="8"/>
                </a:lnTo>
                <a:lnTo>
                  <a:pt x="88" y="8"/>
                </a:lnTo>
                <a:lnTo>
                  <a:pt x="93" y="6"/>
                </a:lnTo>
                <a:close/>
                <a:moveTo>
                  <a:pt x="54" y="17"/>
                </a:moveTo>
                <a:lnTo>
                  <a:pt x="54" y="17"/>
                </a:lnTo>
                <a:lnTo>
                  <a:pt x="52" y="17"/>
                </a:lnTo>
                <a:lnTo>
                  <a:pt x="48" y="20"/>
                </a:lnTo>
                <a:lnTo>
                  <a:pt x="49" y="21"/>
                </a:lnTo>
                <a:lnTo>
                  <a:pt x="54" y="17"/>
                </a:lnTo>
                <a:close/>
                <a:moveTo>
                  <a:pt x="107" y="0"/>
                </a:moveTo>
                <a:lnTo>
                  <a:pt x="107" y="0"/>
                </a:lnTo>
                <a:lnTo>
                  <a:pt x="106" y="0"/>
                </a:lnTo>
                <a:lnTo>
                  <a:pt x="103" y="1"/>
                </a:lnTo>
                <a:lnTo>
                  <a:pt x="102" y="3"/>
                </a:lnTo>
                <a:lnTo>
                  <a:pt x="105" y="3"/>
                </a:lnTo>
                <a:lnTo>
                  <a:pt x="107" y="0"/>
                </a:lnTo>
                <a:close/>
                <a:moveTo>
                  <a:pt x="20" y="114"/>
                </a:moveTo>
                <a:lnTo>
                  <a:pt x="20" y="114"/>
                </a:lnTo>
                <a:lnTo>
                  <a:pt x="16" y="116"/>
                </a:lnTo>
                <a:lnTo>
                  <a:pt x="11" y="116"/>
                </a:lnTo>
                <a:lnTo>
                  <a:pt x="7" y="114"/>
                </a:lnTo>
                <a:lnTo>
                  <a:pt x="2" y="115"/>
                </a:lnTo>
                <a:lnTo>
                  <a:pt x="0" y="115"/>
                </a:lnTo>
                <a:lnTo>
                  <a:pt x="1" y="120"/>
                </a:lnTo>
                <a:lnTo>
                  <a:pt x="1" y="121"/>
                </a:lnTo>
                <a:lnTo>
                  <a:pt x="2" y="122"/>
                </a:lnTo>
                <a:lnTo>
                  <a:pt x="3" y="122"/>
                </a:lnTo>
                <a:lnTo>
                  <a:pt x="5" y="121"/>
                </a:lnTo>
                <a:lnTo>
                  <a:pt x="7" y="120"/>
                </a:lnTo>
                <a:lnTo>
                  <a:pt x="10" y="120"/>
                </a:lnTo>
                <a:lnTo>
                  <a:pt x="12" y="121"/>
                </a:lnTo>
                <a:lnTo>
                  <a:pt x="13" y="122"/>
                </a:lnTo>
                <a:lnTo>
                  <a:pt x="15" y="124"/>
                </a:lnTo>
                <a:lnTo>
                  <a:pt x="17" y="124"/>
                </a:lnTo>
                <a:lnTo>
                  <a:pt x="21" y="122"/>
                </a:lnTo>
                <a:lnTo>
                  <a:pt x="25" y="119"/>
                </a:lnTo>
                <a:lnTo>
                  <a:pt x="26" y="117"/>
                </a:lnTo>
                <a:lnTo>
                  <a:pt x="27" y="115"/>
                </a:lnTo>
                <a:lnTo>
                  <a:pt x="23" y="116"/>
                </a:lnTo>
                <a:lnTo>
                  <a:pt x="20" y="114"/>
                </a:lnTo>
                <a:close/>
                <a:moveTo>
                  <a:pt x="120" y="18"/>
                </a:moveTo>
                <a:lnTo>
                  <a:pt x="120" y="18"/>
                </a:lnTo>
                <a:lnTo>
                  <a:pt x="115" y="17"/>
                </a:lnTo>
                <a:lnTo>
                  <a:pt x="112" y="16"/>
                </a:lnTo>
                <a:lnTo>
                  <a:pt x="111" y="13"/>
                </a:lnTo>
                <a:lnTo>
                  <a:pt x="108" y="10"/>
                </a:lnTo>
                <a:lnTo>
                  <a:pt x="100" y="10"/>
                </a:lnTo>
                <a:lnTo>
                  <a:pt x="93" y="11"/>
                </a:lnTo>
                <a:lnTo>
                  <a:pt x="84" y="12"/>
                </a:lnTo>
                <a:lnTo>
                  <a:pt x="78" y="13"/>
                </a:lnTo>
                <a:lnTo>
                  <a:pt x="68" y="19"/>
                </a:lnTo>
                <a:lnTo>
                  <a:pt x="65" y="22"/>
                </a:lnTo>
                <a:lnTo>
                  <a:pt x="62" y="28"/>
                </a:lnTo>
                <a:lnTo>
                  <a:pt x="53" y="35"/>
                </a:lnTo>
                <a:lnTo>
                  <a:pt x="48" y="38"/>
                </a:lnTo>
                <a:lnTo>
                  <a:pt x="46" y="37"/>
                </a:lnTo>
                <a:lnTo>
                  <a:pt x="44" y="36"/>
                </a:lnTo>
                <a:lnTo>
                  <a:pt x="42" y="40"/>
                </a:lnTo>
                <a:lnTo>
                  <a:pt x="41" y="43"/>
                </a:lnTo>
                <a:lnTo>
                  <a:pt x="37" y="62"/>
                </a:lnTo>
                <a:lnTo>
                  <a:pt x="35" y="68"/>
                </a:lnTo>
                <a:lnTo>
                  <a:pt x="32" y="74"/>
                </a:lnTo>
                <a:lnTo>
                  <a:pt x="26" y="81"/>
                </a:lnTo>
                <a:lnTo>
                  <a:pt x="24" y="83"/>
                </a:lnTo>
                <a:lnTo>
                  <a:pt x="23" y="84"/>
                </a:lnTo>
                <a:lnTo>
                  <a:pt x="21" y="88"/>
                </a:lnTo>
                <a:lnTo>
                  <a:pt x="19" y="92"/>
                </a:lnTo>
                <a:lnTo>
                  <a:pt x="18" y="94"/>
                </a:lnTo>
                <a:lnTo>
                  <a:pt x="24" y="100"/>
                </a:lnTo>
                <a:lnTo>
                  <a:pt x="25" y="102"/>
                </a:lnTo>
                <a:lnTo>
                  <a:pt x="26" y="104"/>
                </a:lnTo>
                <a:lnTo>
                  <a:pt x="20" y="104"/>
                </a:lnTo>
                <a:lnTo>
                  <a:pt x="22" y="107"/>
                </a:lnTo>
                <a:lnTo>
                  <a:pt x="25" y="108"/>
                </a:lnTo>
                <a:lnTo>
                  <a:pt x="27" y="109"/>
                </a:lnTo>
                <a:lnTo>
                  <a:pt x="28" y="111"/>
                </a:lnTo>
                <a:lnTo>
                  <a:pt x="26" y="111"/>
                </a:lnTo>
                <a:lnTo>
                  <a:pt x="24" y="111"/>
                </a:lnTo>
                <a:lnTo>
                  <a:pt x="16" y="105"/>
                </a:lnTo>
                <a:lnTo>
                  <a:pt x="12" y="104"/>
                </a:lnTo>
                <a:lnTo>
                  <a:pt x="6" y="105"/>
                </a:lnTo>
                <a:lnTo>
                  <a:pt x="4" y="105"/>
                </a:lnTo>
                <a:lnTo>
                  <a:pt x="3" y="107"/>
                </a:lnTo>
                <a:lnTo>
                  <a:pt x="5" y="110"/>
                </a:lnTo>
                <a:lnTo>
                  <a:pt x="7" y="111"/>
                </a:lnTo>
                <a:lnTo>
                  <a:pt x="10" y="112"/>
                </a:lnTo>
                <a:lnTo>
                  <a:pt x="14" y="114"/>
                </a:lnTo>
                <a:lnTo>
                  <a:pt x="20" y="112"/>
                </a:lnTo>
                <a:lnTo>
                  <a:pt x="24" y="114"/>
                </a:lnTo>
                <a:lnTo>
                  <a:pt x="27" y="115"/>
                </a:lnTo>
                <a:lnTo>
                  <a:pt x="29" y="116"/>
                </a:lnTo>
                <a:lnTo>
                  <a:pt x="32" y="116"/>
                </a:lnTo>
                <a:lnTo>
                  <a:pt x="33" y="116"/>
                </a:lnTo>
                <a:lnTo>
                  <a:pt x="32" y="113"/>
                </a:lnTo>
                <a:lnTo>
                  <a:pt x="34" y="111"/>
                </a:lnTo>
                <a:lnTo>
                  <a:pt x="36" y="110"/>
                </a:lnTo>
                <a:lnTo>
                  <a:pt x="36" y="112"/>
                </a:lnTo>
                <a:lnTo>
                  <a:pt x="38" y="113"/>
                </a:lnTo>
                <a:lnTo>
                  <a:pt x="40" y="113"/>
                </a:lnTo>
                <a:lnTo>
                  <a:pt x="43" y="110"/>
                </a:lnTo>
                <a:lnTo>
                  <a:pt x="44" y="110"/>
                </a:lnTo>
                <a:lnTo>
                  <a:pt x="45" y="112"/>
                </a:lnTo>
                <a:lnTo>
                  <a:pt x="45" y="112"/>
                </a:lnTo>
                <a:lnTo>
                  <a:pt x="45" y="114"/>
                </a:lnTo>
                <a:lnTo>
                  <a:pt x="46" y="114"/>
                </a:lnTo>
                <a:lnTo>
                  <a:pt x="49" y="114"/>
                </a:lnTo>
                <a:lnTo>
                  <a:pt x="51" y="112"/>
                </a:lnTo>
                <a:lnTo>
                  <a:pt x="52" y="111"/>
                </a:lnTo>
                <a:lnTo>
                  <a:pt x="53" y="112"/>
                </a:lnTo>
                <a:lnTo>
                  <a:pt x="53" y="114"/>
                </a:lnTo>
                <a:lnTo>
                  <a:pt x="54" y="117"/>
                </a:lnTo>
                <a:lnTo>
                  <a:pt x="58" y="120"/>
                </a:lnTo>
                <a:lnTo>
                  <a:pt x="61" y="121"/>
                </a:lnTo>
                <a:lnTo>
                  <a:pt x="64" y="120"/>
                </a:lnTo>
                <a:lnTo>
                  <a:pt x="66" y="120"/>
                </a:lnTo>
                <a:lnTo>
                  <a:pt x="67" y="120"/>
                </a:lnTo>
                <a:lnTo>
                  <a:pt x="68" y="122"/>
                </a:lnTo>
                <a:lnTo>
                  <a:pt x="70" y="124"/>
                </a:lnTo>
                <a:lnTo>
                  <a:pt x="75" y="126"/>
                </a:lnTo>
                <a:lnTo>
                  <a:pt x="76" y="126"/>
                </a:lnTo>
                <a:lnTo>
                  <a:pt x="77" y="128"/>
                </a:lnTo>
                <a:lnTo>
                  <a:pt x="77" y="130"/>
                </a:lnTo>
                <a:lnTo>
                  <a:pt x="74" y="135"/>
                </a:lnTo>
                <a:lnTo>
                  <a:pt x="74" y="136"/>
                </a:lnTo>
                <a:lnTo>
                  <a:pt x="74" y="136"/>
                </a:lnTo>
                <a:lnTo>
                  <a:pt x="74" y="137"/>
                </a:lnTo>
                <a:lnTo>
                  <a:pt x="71" y="141"/>
                </a:lnTo>
                <a:lnTo>
                  <a:pt x="71" y="142"/>
                </a:lnTo>
                <a:lnTo>
                  <a:pt x="72" y="144"/>
                </a:lnTo>
                <a:lnTo>
                  <a:pt x="73" y="145"/>
                </a:lnTo>
                <a:lnTo>
                  <a:pt x="77" y="143"/>
                </a:lnTo>
                <a:lnTo>
                  <a:pt x="79" y="146"/>
                </a:lnTo>
                <a:lnTo>
                  <a:pt x="82" y="146"/>
                </a:lnTo>
                <a:lnTo>
                  <a:pt x="84" y="139"/>
                </a:lnTo>
                <a:lnTo>
                  <a:pt x="82" y="136"/>
                </a:lnTo>
                <a:lnTo>
                  <a:pt x="81" y="135"/>
                </a:lnTo>
                <a:lnTo>
                  <a:pt x="79" y="135"/>
                </a:lnTo>
                <a:lnTo>
                  <a:pt x="78" y="134"/>
                </a:lnTo>
                <a:lnTo>
                  <a:pt x="78" y="133"/>
                </a:lnTo>
                <a:lnTo>
                  <a:pt x="78" y="132"/>
                </a:lnTo>
                <a:lnTo>
                  <a:pt x="80" y="132"/>
                </a:lnTo>
                <a:lnTo>
                  <a:pt x="81" y="131"/>
                </a:lnTo>
                <a:lnTo>
                  <a:pt x="86" y="127"/>
                </a:lnTo>
                <a:lnTo>
                  <a:pt x="87" y="126"/>
                </a:lnTo>
                <a:lnTo>
                  <a:pt x="86" y="125"/>
                </a:lnTo>
                <a:lnTo>
                  <a:pt x="85" y="125"/>
                </a:lnTo>
                <a:lnTo>
                  <a:pt x="85" y="124"/>
                </a:lnTo>
                <a:lnTo>
                  <a:pt x="85" y="123"/>
                </a:lnTo>
                <a:lnTo>
                  <a:pt x="87" y="116"/>
                </a:lnTo>
                <a:lnTo>
                  <a:pt x="88" y="114"/>
                </a:lnTo>
                <a:lnTo>
                  <a:pt x="88" y="112"/>
                </a:lnTo>
                <a:lnTo>
                  <a:pt x="88" y="110"/>
                </a:lnTo>
                <a:lnTo>
                  <a:pt x="87" y="107"/>
                </a:lnTo>
                <a:lnTo>
                  <a:pt x="85" y="104"/>
                </a:lnTo>
                <a:lnTo>
                  <a:pt x="85" y="102"/>
                </a:lnTo>
                <a:lnTo>
                  <a:pt x="84" y="101"/>
                </a:lnTo>
                <a:lnTo>
                  <a:pt x="81" y="96"/>
                </a:lnTo>
                <a:lnTo>
                  <a:pt x="81" y="94"/>
                </a:lnTo>
                <a:lnTo>
                  <a:pt x="82" y="92"/>
                </a:lnTo>
                <a:lnTo>
                  <a:pt x="85" y="91"/>
                </a:lnTo>
                <a:lnTo>
                  <a:pt x="86" y="91"/>
                </a:lnTo>
                <a:lnTo>
                  <a:pt x="87" y="90"/>
                </a:lnTo>
                <a:lnTo>
                  <a:pt x="92" y="92"/>
                </a:lnTo>
                <a:lnTo>
                  <a:pt x="93" y="93"/>
                </a:lnTo>
                <a:lnTo>
                  <a:pt x="94" y="93"/>
                </a:lnTo>
                <a:lnTo>
                  <a:pt x="96" y="91"/>
                </a:lnTo>
                <a:lnTo>
                  <a:pt x="98" y="91"/>
                </a:lnTo>
                <a:lnTo>
                  <a:pt x="105" y="89"/>
                </a:lnTo>
                <a:lnTo>
                  <a:pt x="106" y="87"/>
                </a:lnTo>
                <a:lnTo>
                  <a:pt x="107" y="86"/>
                </a:lnTo>
                <a:lnTo>
                  <a:pt x="107" y="85"/>
                </a:lnTo>
                <a:lnTo>
                  <a:pt x="105" y="82"/>
                </a:lnTo>
                <a:lnTo>
                  <a:pt x="104" y="81"/>
                </a:lnTo>
                <a:lnTo>
                  <a:pt x="105" y="80"/>
                </a:lnTo>
                <a:lnTo>
                  <a:pt x="106" y="79"/>
                </a:lnTo>
                <a:lnTo>
                  <a:pt x="107" y="78"/>
                </a:lnTo>
                <a:lnTo>
                  <a:pt x="109" y="77"/>
                </a:lnTo>
                <a:lnTo>
                  <a:pt x="113" y="74"/>
                </a:lnTo>
                <a:lnTo>
                  <a:pt x="114" y="71"/>
                </a:lnTo>
                <a:lnTo>
                  <a:pt x="114" y="67"/>
                </a:lnTo>
                <a:lnTo>
                  <a:pt x="115" y="65"/>
                </a:lnTo>
                <a:lnTo>
                  <a:pt x="113" y="63"/>
                </a:lnTo>
                <a:lnTo>
                  <a:pt x="112" y="62"/>
                </a:lnTo>
                <a:lnTo>
                  <a:pt x="111" y="62"/>
                </a:lnTo>
                <a:lnTo>
                  <a:pt x="108" y="62"/>
                </a:lnTo>
                <a:lnTo>
                  <a:pt x="106" y="61"/>
                </a:lnTo>
                <a:lnTo>
                  <a:pt x="104" y="59"/>
                </a:lnTo>
                <a:lnTo>
                  <a:pt x="104" y="57"/>
                </a:lnTo>
                <a:lnTo>
                  <a:pt x="104" y="56"/>
                </a:lnTo>
                <a:lnTo>
                  <a:pt x="105" y="55"/>
                </a:lnTo>
                <a:lnTo>
                  <a:pt x="104" y="54"/>
                </a:lnTo>
                <a:lnTo>
                  <a:pt x="104" y="53"/>
                </a:lnTo>
                <a:lnTo>
                  <a:pt x="106" y="52"/>
                </a:lnTo>
                <a:lnTo>
                  <a:pt x="114" y="52"/>
                </a:lnTo>
                <a:lnTo>
                  <a:pt x="114" y="51"/>
                </a:lnTo>
                <a:lnTo>
                  <a:pt x="115" y="46"/>
                </a:lnTo>
                <a:lnTo>
                  <a:pt x="117" y="39"/>
                </a:lnTo>
                <a:lnTo>
                  <a:pt x="119" y="35"/>
                </a:lnTo>
                <a:lnTo>
                  <a:pt x="119" y="33"/>
                </a:lnTo>
                <a:lnTo>
                  <a:pt x="119" y="23"/>
                </a:lnTo>
                <a:lnTo>
                  <a:pt x="120" y="18"/>
                </a:lnTo>
                <a:close/>
                <a:moveTo>
                  <a:pt x="12" y="100"/>
                </a:moveTo>
                <a:lnTo>
                  <a:pt x="12" y="100"/>
                </a:lnTo>
                <a:lnTo>
                  <a:pt x="14" y="99"/>
                </a:lnTo>
                <a:lnTo>
                  <a:pt x="18" y="103"/>
                </a:lnTo>
                <a:lnTo>
                  <a:pt x="22" y="102"/>
                </a:lnTo>
                <a:lnTo>
                  <a:pt x="22" y="101"/>
                </a:lnTo>
                <a:lnTo>
                  <a:pt x="21" y="100"/>
                </a:lnTo>
                <a:lnTo>
                  <a:pt x="18" y="97"/>
                </a:lnTo>
                <a:lnTo>
                  <a:pt x="13" y="97"/>
                </a:lnTo>
                <a:lnTo>
                  <a:pt x="10" y="98"/>
                </a:lnTo>
                <a:lnTo>
                  <a:pt x="10" y="99"/>
                </a:lnTo>
                <a:lnTo>
                  <a:pt x="12" y="100"/>
                </a:lnTo>
                <a:close/>
                <a:moveTo>
                  <a:pt x="44" y="33"/>
                </a:moveTo>
                <a:lnTo>
                  <a:pt x="44" y="33"/>
                </a:lnTo>
                <a:lnTo>
                  <a:pt x="47" y="29"/>
                </a:lnTo>
                <a:lnTo>
                  <a:pt x="47" y="23"/>
                </a:lnTo>
                <a:lnTo>
                  <a:pt x="43" y="28"/>
                </a:lnTo>
                <a:lnTo>
                  <a:pt x="42" y="31"/>
                </a:lnTo>
                <a:lnTo>
                  <a:pt x="42" y="32"/>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1238" name="Poland">
            <a:extLst>
              <a:ext uri="{FF2B5EF4-FFF2-40B4-BE49-F238E27FC236}">
                <a16:creationId xmlns:a16="http://schemas.microsoft.com/office/drawing/2014/main" id="{BBCD3D98-3CEF-4581-A425-82130206F68F}"/>
              </a:ext>
            </a:extLst>
          </p:cNvPr>
          <p:cNvSpPr>
            <a:spLocks/>
          </p:cNvSpPr>
          <p:nvPr/>
        </p:nvSpPr>
        <p:spPr bwMode="auto">
          <a:xfrm>
            <a:off x="6243136" y="2910433"/>
            <a:ext cx="299088" cy="249124"/>
          </a:xfrm>
          <a:custGeom>
            <a:avLst/>
            <a:gdLst>
              <a:gd name="T0" fmla="*/ 189 w 311"/>
              <a:gd name="T1" fmla="*/ 22 h 294"/>
              <a:gd name="T2" fmla="*/ 268 w 311"/>
              <a:gd name="T3" fmla="*/ 26 h 294"/>
              <a:gd name="T4" fmla="*/ 277 w 311"/>
              <a:gd name="T5" fmla="*/ 26 h 294"/>
              <a:gd name="T6" fmla="*/ 285 w 311"/>
              <a:gd name="T7" fmla="*/ 32 h 294"/>
              <a:gd name="T8" fmla="*/ 291 w 311"/>
              <a:gd name="T9" fmla="*/ 47 h 294"/>
              <a:gd name="T10" fmla="*/ 304 w 311"/>
              <a:gd name="T11" fmla="*/ 96 h 294"/>
              <a:gd name="T12" fmla="*/ 303 w 311"/>
              <a:gd name="T13" fmla="*/ 114 h 294"/>
              <a:gd name="T14" fmla="*/ 282 w 311"/>
              <a:gd name="T15" fmla="*/ 132 h 294"/>
              <a:gd name="T16" fmla="*/ 292 w 311"/>
              <a:gd name="T17" fmla="*/ 141 h 294"/>
              <a:gd name="T18" fmla="*/ 295 w 311"/>
              <a:gd name="T19" fmla="*/ 154 h 294"/>
              <a:gd name="T20" fmla="*/ 295 w 311"/>
              <a:gd name="T21" fmla="*/ 172 h 294"/>
              <a:gd name="T22" fmla="*/ 299 w 311"/>
              <a:gd name="T23" fmla="*/ 185 h 294"/>
              <a:gd name="T24" fmla="*/ 311 w 311"/>
              <a:gd name="T25" fmla="*/ 206 h 294"/>
              <a:gd name="T26" fmla="*/ 308 w 311"/>
              <a:gd name="T27" fmla="*/ 210 h 294"/>
              <a:gd name="T28" fmla="*/ 308 w 311"/>
              <a:gd name="T29" fmla="*/ 225 h 294"/>
              <a:gd name="T30" fmla="*/ 289 w 311"/>
              <a:gd name="T31" fmla="*/ 239 h 294"/>
              <a:gd name="T32" fmla="*/ 267 w 311"/>
              <a:gd name="T33" fmla="*/ 266 h 294"/>
              <a:gd name="T34" fmla="*/ 268 w 311"/>
              <a:gd name="T35" fmla="*/ 283 h 294"/>
              <a:gd name="T36" fmla="*/ 272 w 311"/>
              <a:gd name="T37" fmla="*/ 292 h 294"/>
              <a:gd name="T38" fmla="*/ 262 w 311"/>
              <a:gd name="T39" fmla="*/ 291 h 294"/>
              <a:gd name="T40" fmla="*/ 244 w 311"/>
              <a:gd name="T41" fmla="*/ 281 h 294"/>
              <a:gd name="T42" fmla="*/ 221 w 311"/>
              <a:gd name="T43" fmla="*/ 274 h 294"/>
              <a:gd name="T44" fmla="*/ 210 w 311"/>
              <a:gd name="T45" fmla="*/ 280 h 294"/>
              <a:gd name="T46" fmla="*/ 198 w 311"/>
              <a:gd name="T47" fmla="*/ 276 h 294"/>
              <a:gd name="T48" fmla="*/ 190 w 311"/>
              <a:gd name="T49" fmla="*/ 279 h 294"/>
              <a:gd name="T50" fmla="*/ 179 w 311"/>
              <a:gd name="T51" fmla="*/ 285 h 294"/>
              <a:gd name="T52" fmla="*/ 176 w 311"/>
              <a:gd name="T53" fmla="*/ 280 h 294"/>
              <a:gd name="T54" fmla="*/ 171 w 311"/>
              <a:gd name="T55" fmla="*/ 275 h 294"/>
              <a:gd name="T56" fmla="*/ 164 w 311"/>
              <a:gd name="T57" fmla="*/ 268 h 294"/>
              <a:gd name="T58" fmla="*/ 150 w 311"/>
              <a:gd name="T59" fmla="*/ 273 h 294"/>
              <a:gd name="T60" fmla="*/ 139 w 311"/>
              <a:gd name="T61" fmla="*/ 259 h 294"/>
              <a:gd name="T62" fmla="*/ 131 w 311"/>
              <a:gd name="T63" fmla="*/ 250 h 294"/>
              <a:gd name="T64" fmla="*/ 123 w 311"/>
              <a:gd name="T65" fmla="*/ 247 h 294"/>
              <a:gd name="T66" fmla="*/ 116 w 311"/>
              <a:gd name="T67" fmla="*/ 248 h 294"/>
              <a:gd name="T68" fmla="*/ 109 w 311"/>
              <a:gd name="T69" fmla="*/ 241 h 294"/>
              <a:gd name="T70" fmla="*/ 112 w 311"/>
              <a:gd name="T71" fmla="*/ 232 h 294"/>
              <a:gd name="T72" fmla="*/ 102 w 311"/>
              <a:gd name="T73" fmla="*/ 235 h 294"/>
              <a:gd name="T74" fmla="*/ 87 w 311"/>
              <a:gd name="T75" fmla="*/ 230 h 294"/>
              <a:gd name="T76" fmla="*/ 82 w 311"/>
              <a:gd name="T77" fmla="*/ 239 h 294"/>
              <a:gd name="T78" fmla="*/ 73 w 311"/>
              <a:gd name="T79" fmla="*/ 235 h 294"/>
              <a:gd name="T80" fmla="*/ 65 w 311"/>
              <a:gd name="T81" fmla="*/ 226 h 294"/>
              <a:gd name="T82" fmla="*/ 70 w 311"/>
              <a:gd name="T83" fmla="*/ 221 h 294"/>
              <a:gd name="T84" fmla="*/ 60 w 311"/>
              <a:gd name="T85" fmla="*/ 216 h 294"/>
              <a:gd name="T86" fmla="*/ 52 w 311"/>
              <a:gd name="T87" fmla="*/ 212 h 294"/>
              <a:gd name="T88" fmla="*/ 38 w 311"/>
              <a:gd name="T89" fmla="*/ 207 h 294"/>
              <a:gd name="T90" fmla="*/ 27 w 311"/>
              <a:gd name="T91" fmla="*/ 197 h 294"/>
              <a:gd name="T92" fmla="*/ 21 w 311"/>
              <a:gd name="T93" fmla="*/ 205 h 294"/>
              <a:gd name="T94" fmla="*/ 25 w 311"/>
              <a:gd name="T95" fmla="*/ 179 h 294"/>
              <a:gd name="T96" fmla="*/ 19 w 311"/>
              <a:gd name="T97" fmla="*/ 167 h 294"/>
              <a:gd name="T98" fmla="*/ 17 w 311"/>
              <a:gd name="T99" fmla="*/ 153 h 294"/>
              <a:gd name="T100" fmla="*/ 18 w 311"/>
              <a:gd name="T101" fmla="*/ 142 h 294"/>
              <a:gd name="T102" fmla="*/ 14 w 311"/>
              <a:gd name="T103" fmla="*/ 132 h 294"/>
              <a:gd name="T104" fmla="*/ 4 w 311"/>
              <a:gd name="T105" fmla="*/ 108 h 294"/>
              <a:gd name="T106" fmla="*/ 7 w 311"/>
              <a:gd name="T107" fmla="*/ 91 h 294"/>
              <a:gd name="T108" fmla="*/ 4 w 311"/>
              <a:gd name="T109" fmla="*/ 64 h 294"/>
              <a:gd name="T110" fmla="*/ 14 w 311"/>
              <a:gd name="T111" fmla="*/ 62 h 294"/>
              <a:gd name="T112" fmla="*/ 2 w 311"/>
              <a:gd name="T113" fmla="*/ 51 h 294"/>
              <a:gd name="T114" fmla="*/ 18 w 311"/>
              <a:gd name="T115" fmla="*/ 44 h 294"/>
              <a:gd name="T116" fmla="*/ 65 w 311"/>
              <a:gd name="T117" fmla="*/ 27 h 294"/>
              <a:gd name="T118" fmla="*/ 89 w 311"/>
              <a:gd name="T119" fmla="*/ 10 h 294"/>
              <a:gd name="T120" fmla="*/ 137 w 311"/>
              <a:gd name="T121" fmla="*/ 4 h 294"/>
              <a:gd name="T122" fmla="*/ 134 w 311"/>
              <a:gd name="T123" fmla="*/ 5 h 294"/>
              <a:gd name="T124" fmla="*/ 164 w 311"/>
              <a:gd name="T125" fmla="*/ 24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1" h="294">
                <a:moveTo>
                  <a:pt x="170" y="20"/>
                </a:moveTo>
                <a:lnTo>
                  <a:pt x="170" y="20"/>
                </a:lnTo>
                <a:lnTo>
                  <a:pt x="172" y="21"/>
                </a:lnTo>
                <a:lnTo>
                  <a:pt x="180" y="22"/>
                </a:lnTo>
                <a:lnTo>
                  <a:pt x="189" y="22"/>
                </a:lnTo>
                <a:lnTo>
                  <a:pt x="204" y="23"/>
                </a:lnTo>
                <a:lnTo>
                  <a:pt x="218" y="24"/>
                </a:lnTo>
                <a:lnTo>
                  <a:pt x="234" y="25"/>
                </a:lnTo>
                <a:lnTo>
                  <a:pt x="250" y="26"/>
                </a:lnTo>
                <a:lnTo>
                  <a:pt x="268" y="26"/>
                </a:lnTo>
                <a:lnTo>
                  <a:pt x="269" y="26"/>
                </a:lnTo>
                <a:lnTo>
                  <a:pt x="271" y="24"/>
                </a:lnTo>
                <a:lnTo>
                  <a:pt x="273" y="24"/>
                </a:lnTo>
                <a:lnTo>
                  <a:pt x="276" y="25"/>
                </a:lnTo>
                <a:lnTo>
                  <a:pt x="277" y="26"/>
                </a:lnTo>
                <a:lnTo>
                  <a:pt x="277" y="27"/>
                </a:lnTo>
                <a:lnTo>
                  <a:pt x="278" y="28"/>
                </a:lnTo>
                <a:lnTo>
                  <a:pt x="279" y="29"/>
                </a:lnTo>
                <a:lnTo>
                  <a:pt x="282" y="30"/>
                </a:lnTo>
                <a:lnTo>
                  <a:pt x="285" y="32"/>
                </a:lnTo>
                <a:lnTo>
                  <a:pt x="288" y="34"/>
                </a:lnTo>
                <a:lnTo>
                  <a:pt x="290" y="37"/>
                </a:lnTo>
                <a:lnTo>
                  <a:pt x="291" y="40"/>
                </a:lnTo>
                <a:lnTo>
                  <a:pt x="291" y="44"/>
                </a:lnTo>
                <a:lnTo>
                  <a:pt x="291" y="47"/>
                </a:lnTo>
                <a:lnTo>
                  <a:pt x="291" y="48"/>
                </a:lnTo>
                <a:lnTo>
                  <a:pt x="295" y="66"/>
                </a:lnTo>
                <a:lnTo>
                  <a:pt x="301" y="83"/>
                </a:lnTo>
                <a:lnTo>
                  <a:pt x="303" y="91"/>
                </a:lnTo>
                <a:lnTo>
                  <a:pt x="304" y="96"/>
                </a:lnTo>
                <a:lnTo>
                  <a:pt x="305" y="102"/>
                </a:lnTo>
                <a:lnTo>
                  <a:pt x="305" y="106"/>
                </a:lnTo>
                <a:lnTo>
                  <a:pt x="305" y="109"/>
                </a:lnTo>
                <a:lnTo>
                  <a:pt x="304" y="112"/>
                </a:lnTo>
                <a:lnTo>
                  <a:pt x="303" y="114"/>
                </a:lnTo>
                <a:lnTo>
                  <a:pt x="291" y="120"/>
                </a:lnTo>
                <a:lnTo>
                  <a:pt x="289" y="122"/>
                </a:lnTo>
                <a:lnTo>
                  <a:pt x="286" y="126"/>
                </a:lnTo>
                <a:lnTo>
                  <a:pt x="283" y="131"/>
                </a:lnTo>
                <a:lnTo>
                  <a:pt x="282" y="132"/>
                </a:lnTo>
                <a:lnTo>
                  <a:pt x="282" y="134"/>
                </a:lnTo>
                <a:lnTo>
                  <a:pt x="283" y="135"/>
                </a:lnTo>
                <a:lnTo>
                  <a:pt x="287" y="137"/>
                </a:lnTo>
                <a:lnTo>
                  <a:pt x="291" y="139"/>
                </a:lnTo>
                <a:lnTo>
                  <a:pt x="292" y="141"/>
                </a:lnTo>
                <a:lnTo>
                  <a:pt x="295" y="143"/>
                </a:lnTo>
                <a:lnTo>
                  <a:pt x="296" y="145"/>
                </a:lnTo>
                <a:lnTo>
                  <a:pt x="297" y="146"/>
                </a:lnTo>
                <a:lnTo>
                  <a:pt x="297" y="149"/>
                </a:lnTo>
                <a:lnTo>
                  <a:pt x="295" y="154"/>
                </a:lnTo>
                <a:lnTo>
                  <a:pt x="296" y="158"/>
                </a:lnTo>
                <a:lnTo>
                  <a:pt x="294" y="160"/>
                </a:lnTo>
                <a:lnTo>
                  <a:pt x="293" y="163"/>
                </a:lnTo>
                <a:lnTo>
                  <a:pt x="293" y="167"/>
                </a:lnTo>
                <a:lnTo>
                  <a:pt x="295" y="172"/>
                </a:lnTo>
                <a:lnTo>
                  <a:pt x="297" y="176"/>
                </a:lnTo>
                <a:lnTo>
                  <a:pt x="298" y="178"/>
                </a:lnTo>
                <a:lnTo>
                  <a:pt x="297" y="180"/>
                </a:lnTo>
                <a:lnTo>
                  <a:pt x="297" y="183"/>
                </a:lnTo>
                <a:lnTo>
                  <a:pt x="299" y="185"/>
                </a:lnTo>
                <a:lnTo>
                  <a:pt x="303" y="192"/>
                </a:lnTo>
                <a:lnTo>
                  <a:pt x="306" y="198"/>
                </a:lnTo>
                <a:lnTo>
                  <a:pt x="307" y="201"/>
                </a:lnTo>
                <a:lnTo>
                  <a:pt x="311" y="204"/>
                </a:lnTo>
                <a:lnTo>
                  <a:pt x="311" y="206"/>
                </a:lnTo>
                <a:lnTo>
                  <a:pt x="309" y="207"/>
                </a:lnTo>
                <a:lnTo>
                  <a:pt x="308" y="207"/>
                </a:lnTo>
                <a:lnTo>
                  <a:pt x="307" y="207"/>
                </a:lnTo>
                <a:lnTo>
                  <a:pt x="307" y="209"/>
                </a:lnTo>
                <a:lnTo>
                  <a:pt x="308" y="210"/>
                </a:lnTo>
                <a:lnTo>
                  <a:pt x="309" y="212"/>
                </a:lnTo>
                <a:lnTo>
                  <a:pt x="310" y="217"/>
                </a:lnTo>
                <a:lnTo>
                  <a:pt x="310" y="221"/>
                </a:lnTo>
                <a:lnTo>
                  <a:pt x="309" y="222"/>
                </a:lnTo>
                <a:lnTo>
                  <a:pt x="308" y="225"/>
                </a:lnTo>
                <a:lnTo>
                  <a:pt x="307" y="227"/>
                </a:lnTo>
                <a:lnTo>
                  <a:pt x="299" y="229"/>
                </a:lnTo>
                <a:lnTo>
                  <a:pt x="297" y="231"/>
                </a:lnTo>
                <a:lnTo>
                  <a:pt x="292" y="236"/>
                </a:lnTo>
                <a:lnTo>
                  <a:pt x="289" y="239"/>
                </a:lnTo>
                <a:lnTo>
                  <a:pt x="285" y="243"/>
                </a:lnTo>
                <a:lnTo>
                  <a:pt x="277" y="252"/>
                </a:lnTo>
                <a:lnTo>
                  <a:pt x="275" y="255"/>
                </a:lnTo>
                <a:lnTo>
                  <a:pt x="273" y="258"/>
                </a:lnTo>
                <a:lnTo>
                  <a:pt x="267" y="266"/>
                </a:lnTo>
                <a:lnTo>
                  <a:pt x="265" y="269"/>
                </a:lnTo>
                <a:lnTo>
                  <a:pt x="266" y="272"/>
                </a:lnTo>
                <a:lnTo>
                  <a:pt x="268" y="278"/>
                </a:lnTo>
                <a:lnTo>
                  <a:pt x="268" y="281"/>
                </a:lnTo>
                <a:lnTo>
                  <a:pt x="268" y="283"/>
                </a:lnTo>
                <a:lnTo>
                  <a:pt x="267" y="286"/>
                </a:lnTo>
                <a:lnTo>
                  <a:pt x="267" y="287"/>
                </a:lnTo>
                <a:lnTo>
                  <a:pt x="269" y="288"/>
                </a:lnTo>
                <a:lnTo>
                  <a:pt x="272" y="291"/>
                </a:lnTo>
                <a:lnTo>
                  <a:pt x="272" y="292"/>
                </a:lnTo>
                <a:lnTo>
                  <a:pt x="271" y="293"/>
                </a:lnTo>
                <a:lnTo>
                  <a:pt x="270" y="294"/>
                </a:lnTo>
                <a:lnTo>
                  <a:pt x="267" y="293"/>
                </a:lnTo>
                <a:lnTo>
                  <a:pt x="263" y="291"/>
                </a:lnTo>
                <a:lnTo>
                  <a:pt x="262" y="291"/>
                </a:lnTo>
                <a:lnTo>
                  <a:pt x="260" y="291"/>
                </a:lnTo>
                <a:lnTo>
                  <a:pt x="251" y="287"/>
                </a:lnTo>
                <a:lnTo>
                  <a:pt x="246" y="285"/>
                </a:lnTo>
                <a:lnTo>
                  <a:pt x="245" y="283"/>
                </a:lnTo>
                <a:lnTo>
                  <a:pt x="244" y="281"/>
                </a:lnTo>
                <a:lnTo>
                  <a:pt x="242" y="278"/>
                </a:lnTo>
                <a:lnTo>
                  <a:pt x="236" y="277"/>
                </a:lnTo>
                <a:lnTo>
                  <a:pt x="234" y="275"/>
                </a:lnTo>
                <a:lnTo>
                  <a:pt x="225" y="274"/>
                </a:lnTo>
                <a:lnTo>
                  <a:pt x="221" y="274"/>
                </a:lnTo>
                <a:lnTo>
                  <a:pt x="218" y="275"/>
                </a:lnTo>
                <a:lnTo>
                  <a:pt x="216" y="275"/>
                </a:lnTo>
                <a:lnTo>
                  <a:pt x="214" y="279"/>
                </a:lnTo>
                <a:lnTo>
                  <a:pt x="212" y="280"/>
                </a:lnTo>
                <a:lnTo>
                  <a:pt x="210" y="280"/>
                </a:lnTo>
                <a:lnTo>
                  <a:pt x="208" y="279"/>
                </a:lnTo>
                <a:lnTo>
                  <a:pt x="206" y="277"/>
                </a:lnTo>
                <a:lnTo>
                  <a:pt x="202" y="276"/>
                </a:lnTo>
                <a:lnTo>
                  <a:pt x="199" y="277"/>
                </a:lnTo>
                <a:lnTo>
                  <a:pt x="198" y="276"/>
                </a:lnTo>
                <a:lnTo>
                  <a:pt x="196" y="276"/>
                </a:lnTo>
                <a:lnTo>
                  <a:pt x="195" y="277"/>
                </a:lnTo>
                <a:lnTo>
                  <a:pt x="194" y="276"/>
                </a:lnTo>
                <a:lnTo>
                  <a:pt x="192" y="277"/>
                </a:lnTo>
                <a:lnTo>
                  <a:pt x="190" y="279"/>
                </a:lnTo>
                <a:lnTo>
                  <a:pt x="188" y="280"/>
                </a:lnTo>
                <a:lnTo>
                  <a:pt x="186" y="282"/>
                </a:lnTo>
                <a:lnTo>
                  <a:pt x="185" y="286"/>
                </a:lnTo>
                <a:lnTo>
                  <a:pt x="180" y="284"/>
                </a:lnTo>
                <a:lnTo>
                  <a:pt x="179" y="285"/>
                </a:lnTo>
                <a:lnTo>
                  <a:pt x="177" y="286"/>
                </a:lnTo>
                <a:lnTo>
                  <a:pt x="175" y="285"/>
                </a:lnTo>
                <a:lnTo>
                  <a:pt x="176" y="284"/>
                </a:lnTo>
                <a:lnTo>
                  <a:pt x="176" y="282"/>
                </a:lnTo>
                <a:lnTo>
                  <a:pt x="176" y="280"/>
                </a:lnTo>
                <a:lnTo>
                  <a:pt x="176" y="277"/>
                </a:lnTo>
                <a:lnTo>
                  <a:pt x="174" y="276"/>
                </a:lnTo>
                <a:lnTo>
                  <a:pt x="172" y="276"/>
                </a:lnTo>
                <a:lnTo>
                  <a:pt x="171" y="275"/>
                </a:lnTo>
                <a:lnTo>
                  <a:pt x="171" y="275"/>
                </a:lnTo>
                <a:lnTo>
                  <a:pt x="170" y="273"/>
                </a:lnTo>
                <a:lnTo>
                  <a:pt x="168" y="271"/>
                </a:lnTo>
                <a:lnTo>
                  <a:pt x="167" y="267"/>
                </a:lnTo>
                <a:lnTo>
                  <a:pt x="165" y="266"/>
                </a:lnTo>
                <a:lnTo>
                  <a:pt x="164" y="268"/>
                </a:lnTo>
                <a:lnTo>
                  <a:pt x="161" y="270"/>
                </a:lnTo>
                <a:lnTo>
                  <a:pt x="159" y="270"/>
                </a:lnTo>
                <a:lnTo>
                  <a:pt x="156" y="276"/>
                </a:lnTo>
                <a:lnTo>
                  <a:pt x="151" y="276"/>
                </a:lnTo>
                <a:lnTo>
                  <a:pt x="150" y="273"/>
                </a:lnTo>
                <a:lnTo>
                  <a:pt x="150" y="271"/>
                </a:lnTo>
                <a:lnTo>
                  <a:pt x="146" y="270"/>
                </a:lnTo>
                <a:lnTo>
                  <a:pt x="146" y="269"/>
                </a:lnTo>
                <a:lnTo>
                  <a:pt x="146" y="266"/>
                </a:lnTo>
                <a:lnTo>
                  <a:pt x="139" y="259"/>
                </a:lnTo>
                <a:lnTo>
                  <a:pt x="138" y="256"/>
                </a:lnTo>
                <a:lnTo>
                  <a:pt x="138" y="255"/>
                </a:lnTo>
                <a:lnTo>
                  <a:pt x="138" y="253"/>
                </a:lnTo>
                <a:lnTo>
                  <a:pt x="137" y="252"/>
                </a:lnTo>
                <a:lnTo>
                  <a:pt x="131" y="250"/>
                </a:lnTo>
                <a:lnTo>
                  <a:pt x="130" y="251"/>
                </a:lnTo>
                <a:lnTo>
                  <a:pt x="129" y="250"/>
                </a:lnTo>
                <a:lnTo>
                  <a:pt x="127" y="249"/>
                </a:lnTo>
                <a:lnTo>
                  <a:pt x="123" y="247"/>
                </a:lnTo>
                <a:lnTo>
                  <a:pt x="123" y="247"/>
                </a:lnTo>
                <a:lnTo>
                  <a:pt x="122" y="245"/>
                </a:lnTo>
                <a:lnTo>
                  <a:pt x="121" y="245"/>
                </a:lnTo>
                <a:lnTo>
                  <a:pt x="121" y="246"/>
                </a:lnTo>
                <a:lnTo>
                  <a:pt x="120" y="247"/>
                </a:lnTo>
                <a:lnTo>
                  <a:pt x="116" y="248"/>
                </a:lnTo>
                <a:lnTo>
                  <a:pt x="115" y="248"/>
                </a:lnTo>
                <a:lnTo>
                  <a:pt x="114" y="247"/>
                </a:lnTo>
                <a:lnTo>
                  <a:pt x="113" y="244"/>
                </a:lnTo>
                <a:lnTo>
                  <a:pt x="110" y="242"/>
                </a:lnTo>
                <a:lnTo>
                  <a:pt x="109" y="241"/>
                </a:lnTo>
                <a:lnTo>
                  <a:pt x="108" y="240"/>
                </a:lnTo>
                <a:lnTo>
                  <a:pt x="108" y="239"/>
                </a:lnTo>
                <a:lnTo>
                  <a:pt x="111" y="238"/>
                </a:lnTo>
                <a:lnTo>
                  <a:pt x="112" y="236"/>
                </a:lnTo>
                <a:lnTo>
                  <a:pt x="112" y="232"/>
                </a:lnTo>
                <a:lnTo>
                  <a:pt x="111" y="232"/>
                </a:lnTo>
                <a:lnTo>
                  <a:pt x="110" y="233"/>
                </a:lnTo>
                <a:lnTo>
                  <a:pt x="107" y="234"/>
                </a:lnTo>
                <a:lnTo>
                  <a:pt x="104" y="235"/>
                </a:lnTo>
                <a:lnTo>
                  <a:pt x="102" y="235"/>
                </a:lnTo>
                <a:lnTo>
                  <a:pt x="94" y="229"/>
                </a:lnTo>
                <a:lnTo>
                  <a:pt x="89" y="227"/>
                </a:lnTo>
                <a:lnTo>
                  <a:pt x="86" y="226"/>
                </a:lnTo>
                <a:lnTo>
                  <a:pt x="85" y="227"/>
                </a:lnTo>
                <a:lnTo>
                  <a:pt x="87" y="230"/>
                </a:lnTo>
                <a:lnTo>
                  <a:pt x="89" y="234"/>
                </a:lnTo>
                <a:lnTo>
                  <a:pt x="89" y="235"/>
                </a:lnTo>
                <a:lnTo>
                  <a:pt x="86" y="237"/>
                </a:lnTo>
                <a:lnTo>
                  <a:pt x="84" y="238"/>
                </a:lnTo>
                <a:lnTo>
                  <a:pt x="82" y="239"/>
                </a:lnTo>
                <a:lnTo>
                  <a:pt x="81" y="241"/>
                </a:lnTo>
                <a:lnTo>
                  <a:pt x="79" y="242"/>
                </a:lnTo>
                <a:lnTo>
                  <a:pt x="78" y="242"/>
                </a:lnTo>
                <a:lnTo>
                  <a:pt x="77" y="241"/>
                </a:lnTo>
                <a:lnTo>
                  <a:pt x="73" y="235"/>
                </a:lnTo>
                <a:lnTo>
                  <a:pt x="69" y="230"/>
                </a:lnTo>
                <a:lnTo>
                  <a:pt x="68" y="229"/>
                </a:lnTo>
                <a:lnTo>
                  <a:pt x="67" y="229"/>
                </a:lnTo>
                <a:lnTo>
                  <a:pt x="65" y="228"/>
                </a:lnTo>
                <a:lnTo>
                  <a:pt x="65" y="226"/>
                </a:lnTo>
                <a:lnTo>
                  <a:pt x="66" y="225"/>
                </a:lnTo>
                <a:lnTo>
                  <a:pt x="67" y="223"/>
                </a:lnTo>
                <a:lnTo>
                  <a:pt x="69" y="223"/>
                </a:lnTo>
                <a:lnTo>
                  <a:pt x="70" y="222"/>
                </a:lnTo>
                <a:lnTo>
                  <a:pt x="70" y="221"/>
                </a:lnTo>
                <a:lnTo>
                  <a:pt x="71" y="219"/>
                </a:lnTo>
                <a:lnTo>
                  <a:pt x="71" y="218"/>
                </a:lnTo>
                <a:lnTo>
                  <a:pt x="69" y="217"/>
                </a:lnTo>
                <a:lnTo>
                  <a:pt x="67" y="215"/>
                </a:lnTo>
                <a:lnTo>
                  <a:pt x="60" y="216"/>
                </a:lnTo>
                <a:lnTo>
                  <a:pt x="58" y="217"/>
                </a:lnTo>
                <a:lnTo>
                  <a:pt x="57" y="216"/>
                </a:lnTo>
                <a:lnTo>
                  <a:pt x="56" y="214"/>
                </a:lnTo>
                <a:lnTo>
                  <a:pt x="55" y="214"/>
                </a:lnTo>
                <a:lnTo>
                  <a:pt x="52" y="212"/>
                </a:lnTo>
                <a:lnTo>
                  <a:pt x="50" y="211"/>
                </a:lnTo>
                <a:lnTo>
                  <a:pt x="47" y="210"/>
                </a:lnTo>
                <a:lnTo>
                  <a:pt x="41" y="208"/>
                </a:lnTo>
                <a:lnTo>
                  <a:pt x="39" y="208"/>
                </a:lnTo>
                <a:lnTo>
                  <a:pt x="38" y="207"/>
                </a:lnTo>
                <a:lnTo>
                  <a:pt x="37" y="206"/>
                </a:lnTo>
                <a:lnTo>
                  <a:pt x="35" y="204"/>
                </a:lnTo>
                <a:lnTo>
                  <a:pt x="35" y="200"/>
                </a:lnTo>
                <a:lnTo>
                  <a:pt x="31" y="198"/>
                </a:lnTo>
                <a:lnTo>
                  <a:pt x="27" y="197"/>
                </a:lnTo>
                <a:lnTo>
                  <a:pt x="26" y="198"/>
                </a:lnTo>
                <a:lnTo>
                  <a:pt x="27" y="202"/>
                </a:lnTo>
                <a:lnTo>
                  <a:pt x="26" y="204"/>
                </a:lnTo>
                <a:lnTo>
                  <a:pt x="24" y="205"/>
                </a:lnTo>
                <a:lnTo>
                  <a:pt x="21" y="205"/>
                </a:lnTo>
                <a:lnTo>
                  <a:pt x="21" y="204"/>
                </a:lnTo>
                <a:lnTo>
                  <a:pt x="24" y="198"/>
                </a:lnTo>
                <a:lnTo>
                  <a:pt x="26" y="193"/>
                </a:lnTo>
                <a:lnTo>
                  <a:pt x="27" y="186"/>
                </a:lnTo>
                <a:lnTo>
                  <a:pt x="25" y="179"/>
                </a:lnTo>
                <a:lnTo>
                  <a:pt x="25" y="176"/>
                </a:lnTo>
                <a:lnTo>
                  <a:pt x="24" y="175"/>
                </a:lnTo>
                <a:lnTo>
                  <a:pt x="18" y="172"/>
                </a:lnTo>
                <a:lnTo>
                  <a:pt x="18" y="171"/>
                </a:lnTo>
                <a:lnTo>
                  <a:pt x="19" y="167"/>
                </a:lnTo>
                <a:lnTo>
                  <a:pt x="18" y="165"/>
                </a:lnTo>
                <a:lnTo>
                  <a:pt x="17" y="163"/>
                </a:lnTo>
                <a:lnTo>
                  <a:pt x="15" y="160"/>
                </a:lnTo>
                <a:lnTo>
                  <a:pt x="14" y="157"/>
                </a:lnTo>
                <a:lnTo>
                  <a:pt x="17" y="153"/>
                </a:lnTo>
                <a:lnTo>
                  <a:pt x="17" y="150"/>
                </a:lnTo>
                <a:lnTo>
                  <a:pt x="18" y="146"/>
                </a:lnTo>
                <a:lnTo>
                  <a:pt x="19" y="144"/>
                </a:lnTo>
                <a:lnTo>
                  <a:pt x="19" y="144"/>
                </a:lnTo>
                <a:lnTo>
                  <a:pt x="18" y="142"/>
                </a:lnTo>
                <a:lnTo>
                  <a:pt x="17" y="140"/>
                </a:lnTo>
                <a:lnTo>
                  <a:pt x="18" y="138"/>
                </a:lnTo>
                <a:lnTo>
                  <a:pt x="17" y="135"/>
                </a:lnTo>
                <a:lnTo>
                  <a:pt x="15" y="134"/>
                </a:lnTo>
                <a:lnTo>
                  <a:pt x="14" y="132"/>
                </a:lnTo>
                <a:lnTo>
                  <a:pt x="13" y="130"/>
                </a:lnTo>
                <a:lnTo>
                  <a:pt x="13" y="126"/>
                </a:lnTo>
                <a:lnTo>
                  <a:pt x="15" y="121"/>
                </a:lnTo>
                <a:lnTo>
                  <a:pt x="12" y="115"/>
                </a:lnTo>
                <a:lnTo>
                  <a:pt x="4" y="108"/>
                </a:lnTo>
                <a:lnTo>
                  <a:pt x="0" y="103"/>
                </a:lnTo>
                <a:lnTo>
                  <a:pt x="0" y="100"/>
                </a:lnTo>
                <a:lnTo>
                  <a:pt x="2" y="98"/>
                </a:lnTo>
                <a:lnTo>
                  <a:pt x="5" y="96"/>
                </a:lnTo>
                <a:lnTo>
                  <a:pt x="7" y="91"/>
                </a:lnTo>
                <a:lnTo>
                  <a:pt x="9" y="87"/>
                </a:lnTo>
                <a:lnTo>
                  <a:pt x="9" y="86"/>
                </a:lnTo>
                <a:lnTo>
                  <a:pt x="9" y="82"/>
                </a:lnTo>
                <a:lnTo>
                  <a:pt x="5" y="68"/>
                </a:lnTo>
                <a:lnTo>
                  <a:pt x="4" y="64"/>
                </a:lnTo>
                <a:lnTo>
                  <a:pt x="4" y="60"/>
                </a:lnTo>
                <a:lnTo>
                  <a:pt x="4" y="59"/>
                </a:lnTo>
                <a:lnTo>
                  <a:pt x="11" y="62"/>
                </a:lnTo>
                <a:lnTo>
                  <a:pt x="14" y="64"/>
                </a:lnTo>
                <a:lnTo>
                  <a:pt x="14" y="62"/>
                </a:lnTo>
                <a:lnTo>
                  <a:pt x="13" y="60"/>
                </a:lnTo>
                <a:lnTo>
                  <a:pt x="13" y="58"/>
                </a:lnTo>
                <a:lnTo>
                  <a:pt x="13" y="54"/>
                </a:lnTo>
                <a:lnTo>
                  <a:pt x="7" y="52"/>
                </a:lnTo>
                <a:lnTo>
                  <a:pt x="2" y="51"/>
                </a:lnTo>
                <a:lnTo>
                  <a:pt x="2" y="49"/>
                </a:lnTo>
                <a:lnTo>
                  <a:pt x="2" y="47"/>
                </a:lnTo>
                <a:lnTo>
                  <a:pt x="3" y="48"/>
                </a:lnTo>
                <a:lnTo>
                  <a:pt x="8" y="49"/>
                </a:lnTo>
                <a:lnTo>
                  <a:pt x="18" y="44"/>
                </a:lnTo>
                <a:lnTo>
                  <a:pt x="36" y="37"/>
                </a:lnTo>
                <a:lnTo>
                  <a:pt x="55" y="31"/>
                </a:lnTo>
                <a:lnTo>
                  <a:pt x="59" y="30"/>
                </a:lnTo>
                <a:lnTo>
                  <a:pt x="64" y="29"/>
                </a:lnTo>
                <a:lnTo>
                  <a:pt x="65" y="27"/>
                </a:lnTo>
                <a:lnTo>
                  <a:pt x="67" y="25"/>
                </a:lnTo>
                <a:lnTo>
                  <a:pt x="70" y="21"/>
                </a:lnTo>
                <a:lnTo>
                  <a:pt x="76" y="15"/>
                </a:lnTo>
                <a:lnTo>
                  <a:pt x="86" y="13"/>
                </a:lnTo>
                <a:lnTo>
                  <a:pt x="89" y="10"/>
                </a:lnTo>
                <a:lnTo>
                  <a:pt x="97" y="6"/>
                </a:lnTo>
                <a:lnTo>
                  <a:pt x="116" y="1"/>
                </a:lnTo>
                <a:lnTo>
                  <a:pt x="123" y="0"/>
                </a:lnTo>
                <a:lnTo>
                  <a:pt x="130" y="0"/>
                </a:lnTo>
                <a:lnTo>
                  <a:pt x="137" y="4"/>
                </a:lnTo>
                <a:lnTo>
                  <a:pt x="144" y="8"/>
                </a:lnTo>
                <a:lnTo>
                  <a:pt x="145" y="11"/>
                </a:lnTo>
                <a:lnTo>
                  <a:pt x="142" y="9"/>
                </a:lnTo>
                <a:lnTo>
                  <a:pt x="136" y="5"/>
                </a:lnTo>
                <a:lnTo>
                  <a:pt x="134" y="5"/>
                </a:lnTo>
                <a:lnTo>
                  <a:pt x="139" y="17"/>
                </a:lnTo>
                <a:lnTo>
                  <a:pt x="141" y="22"/>
                </a:lnTo>
                <a:lnTo>
                  <a:pt x="146" y="25"/>
                </a:lnTo>
                <a:lnTo>
                  <a:pt x="151" y="26"/>
                </a:lnTo>
                <a:lnTo>
                  <a:pt x="164" y="24"/>
                </a:lnTo>
                <a:lnTo>
                  <a:pt x="169" y="21"/>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1239" name="Portugal">
            <a:extLst>
              <a:ext uri="{FF2B5EF4-FFF2-40B4-BE49-F238E27FC236}">
                <a16:creationId xmlns:a16="http://schemas.microsoft.com/office/drawing/2014/main" id="{5FCECE60-946C-407C-BE2B-06AD2CF8758A}"/>
              </a:ext>
            </a:extLst>
          </p:cNvPr>
          <p:cNvSpPr>
            <a:spLocks noEditPoints="1"/>
          </p:cNvSpPr>
          <p:nvPr/>
        </p:nvSpPr>
        <p:spPr bwMode="auto">
          <a:xfrm>
            <a:off x="4877154" y="3418487"/>
            <a:ext cx="754415" cy="315819"/>
          </a:xfrm>
          <a:custGeom>
            <a:avLst/>
            <a:gdLst>
              <a:gd name="T0" fmla="*/ 452 w 781"/>
              <a:gd name="T1" fmla="*/ 367 h 372"/>
              <a:gd name="T2" fmla="*/ 440 w 781"/>
              <a:gd name="T3" fmla="*/ 369 h 372"/>
              <a:gd name="T4" fmla="*/ 195 w 781"/>
              <a:gd name="T5" fmla="*/ 209 h 372"/>
              <a:gd name="T6" fmla="*/ 190 w 781"/>
              <a:gd name="T7" fmla="*/ 206 h 372"/>
              <a:gd name="T8" fmla="*/ 175 w 781"/>
              <a:gd name="T9" fmla="*/ 174 h 372"/>
              <a:gd name="T10" fmla="*/ 188 w 781"/>
              <a:gd name="T11" fmla="*/ 178 h 372"/>
              <a:gd name="T12" fmla="*/ 169 w 781"/>
              <a:gd name="T13" fmla="*/ 172 h 372"/>
              <a:gd name="T14" fmla="*/ 100 w 781"/>
              <a:gd name="T15" fmla="*/ 152 h 372"/>
              <a:gd name="T16" fmla="*/ 85 w 781"/>
              <a:gd name="T17" fmla="*/ 150 h 372"/>
              <a:gd name="T18" fmla="*/ 82 w 781"/>
              <a:gd name="T19" fmla="*/ 147 h 372"/>
              <a:gd name="T20" fmla="*/ 82 w 781"/>
              <a:gd name="T21" fmla="*/ 144 h 372"/>
              <a:gd name="T22" fmla="*/ 109 w 781"/>
              <a:gd name="T23" fmla="*/ 146 h 372"/>
              <a:gd name="T24" fmla="*/ 103 w 781"/>
              <a:gd name="T25" fmla="*/ 143 h 372"/>
              <a:gd name="T26" fmla="*/ 124 w 781"/>
              <a:gd name="T27" fmla="*/ 142 h 372"/>
              <a:gd name="T28" fmla="*/ 129 w 781"/>
              <a:gd name="T29" fmla="*/ 137 h 372"/>
              <a:gd name="T30" fmla="*/ 4 w 781"/>
              <a:gd name="T31" fmla="*/ 112 h 372"/>
              <a:gd name="T32" fmla="*/ 2 w 781"/>
              <a:gd name="T33" fmla="*/ 107 h 372"/>
              <a:gd name="T34" fmla="*/ 721 w 781"/>
              <a:gd name="T35" fmla="*/ 14 h 372"/>
              <a:gd name="T36" fmla="*/ 735 w 781"/>
              <a:gd name="T37" fmla="*/ 10 h 372"/>
              <a:gd name="T38" fmla="*/ 748 w 781"/>
              <a:gd name="T39" fmla="*/ 11 h 372"/>
              <a:gd name="T40" fmla="*/ 752 w 781"/>
              <a:gd name="T41" fmla="*/ 7 h 372"/>
              <a:gd name="T42" fmla="*/ 764 w 781"/>
              <a:gd name="T43" fmla="*/ 8 h 372"/>
              <a:gd name="T44" fmla="*/ 771 w 781"/>
              <a:gd name="T45" fmla="*/ 15 h 372"/>
              <a:gd name="T46" fmla="*/ 778 w 781"/>
              <a:gd name="T47" fmla="*/ 21 h 372"/>
              <a:gd name="T48" fmla="*/ 779 w 781"/>
              <a:gd name="T49" fmla="*/ 28 h 372"/>
              <a:gd name="T50" fmla="*/ 761 w 781"/>
              <a:gd name="T51" fmla="*/ 45 h 372"/>
              <a:gd name="T52" fmla="*/ 763 w 781"/>
              <a:gd name="T53" fmla="*/ 61 h 372"/>
              <a:gd name="T54" fmla="*/ 762 w 781"/>
              <a:gd name="T55" fmla="*/ 73 h 372"/>
              <a:gd name="T56" fmla="*/ 756 w 781"/>
              <a:gd name="T57" fmla="*/ 81 h 372"/>
              <a:gd name="T58" fmla="*/ 758 w 781"/>
              <a:gd name="T59" fmla="*/ 96 h 372"/>
              <a:gd name="T60" fmla="*/ 740 w 781"/>
              <a:gd name="T61" fmla="*/ 102 h 372"/>
              <a:gd name="T62" fmla="*/ 747 w 781"/>
              <a:gd name="T63" fmla="*/ 115 h 372"/>
              <a:gd name="T64" fmla="*/ 755 w 781"/>
              <a:gd name="T65" fmla="*/ 132 h 372"/>
              <a:gd name="T66" fmla="*/ 747 w 781"/>
              <a:gd name="T67" fmla="*/ 146 h 372"/>
              <a:gd name="T68" fmla="*/ 758 w 781"/>
              <a:gd name="T69" fmla="*/ 161 h 372"/>
              <a:gd name="T70" fmla="*/ 748 w 781"/>
              <a:gd name="T71" fmla="*/ 172 h 372"/>
              <a:gd name="T72" fmla="*/ 742 w 781"/>
              <a:gd name="T73" fmla="*/ 190 h 372"/>
              <a:gd name="T74" fmla="*/ 721 w 781"/>
              <a:gd name="T75" fmla="*/ 204 h 372"/>
              <a:gd name="T76" fmla="*/ 696 w 781"/>
              <a:gd name="T77" fmla="*/ 206 h 372"/>
              <a:gd name="T78" fmla="*/ 701 w 781"/>
              <a:gd name="T79" fmla="*/ 178 h 372"/>
              <a:gd name="T80" fmla="*/ 698 w 781"/>
              <a:gd name="T81" fmla="*/ 150 h 372"/>
              <a:gd name="T82" fmla="*/ 697 w 781"/>
              <a:gd name="T83" fmla="*/ 148 h 372"/>
              <a:gd name="T84" fmla="*/ 687 w 781"/>
              <a:gd name="T85" fmla="*/ 142 h 372"/>
              <a:gd name="T86" fmla="*/ 694 w 781"/>
              <a:gd name="T87" fmla="*/ 132 h 372"/>
              <a:gd name="T88" fmla="*/ 692 w 781"/>
              <a:gd name="T89" fmla="*/ 135 h 372"/>
              <a:gd name="T90" fmla="*/ 680 w 781"/>
              <a:gd name="T91" fmla="*/ 139 h 372"/>
              <a:gd name="T92" fmla="*/ 683 w 781"/>
              <a:gd name="T93" fmla="*/ 118 h 372"/>
              <a:gd name="T94" fmla="*/ 690 w 781"/>
              <a:gd name="T95" fmla="*/ 107 h 372"/>
              <a:gd name="T96" fmla="*/ 699 w 781"/>
              <a:gd name="T97" fmla="*/ 78 h 372"/>
              <a:gd name="T98" fmla="*/ 705 w 781"/>
              <a:gd name="T99" fmla="*/ 46 h 372"/>
              <a:gd name="T100" fmla="*/ 700 w 781"/>
              <a:gd name="T101" fmla="*/ 20 h 372"/>
              <a:gd name="T102" fmla="*/ 701 w 781"/>
              <a:gd name="T103" fmla="*/ 8 h 372"/>
              <a:gd name="T104" fmla="*/ 717 w 781"/>
              <a:gd name="T105" fmla="*/ 0 h 372"/>
              <a:gd name="T106" fmla="*/ 722 w 781"/>
              <a:gd name="T107" fmla="*/ 5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81" h="372">
                <a:moveTo>
                  <a:pt x="439" y="364"/>
                </a:moveTo>
                <a:lnTo>
                  <a:pt x="439" y="364"/>
                </a:lnTo>
                <a:lnTo>
                  <a:pt x="443" y="366"/>
                </a:lnTo>
                <a:lnTo>
                  <a:pt x="447" y="365"/>
                </a:lnTo>
                <a:lnTo>
                  <a:pt x="452" y="367"/>
                </a:lnTo>
                <a:lnTo>
                  <a:pt x="455" y="368"/>
                </a:lnTo>
                <a:lnTo>
                  <a:pt x="452" y="370"/>
                </a:lnTo>
                <a:lnTo>
                  <a:pt x="450" y="372"/>
                </a:lnTo>
                <a:lnTo>
                  <a:pt x="444" y="371"/>
                </a:lnTo>
                <a:lnTo>
                  <a:pt x="440" y="369"/>
                </a:lnTo>
                <a:lnTo>
                  <a:pt x="438" y="367"/>
                </a:lnTo>
                <a:lnTo>
                  <a:pt x="437" y="366"/>
                </a:lnTo>
                <a:lnTo>
                  <a:pt x="439" y="364"/>
                </a:lnTo>
                <a:close/>
                <a:moveTo>
                  <a:pt x="195" y="209"/>
                </a:moveTo>
                <a:lnTo>
                  <a:pt x="195" y="209"/>
                </a:lnTo>
                <a:lnTo>
                  <a:pt x="195" y="209"/>
                </a:lnTo>
                <a:lnTo>
                  <a:pt x="193" y="209"/>
                </a:lnTo>
                <a:lnTo>
                  <a:pt x="191" y="209"/>
                </a:lnTo>
                <a:lnTo>
                  <a:pt x="189" y="207"/>
                </a:lnTo>
                <a:lnTo>
                  <a:pt x="190" y="206"/>
                </a:lnTo>
                <a:lnTo>
                  <a:pt x="193" y="206"/>
                </a:lnTo>
                <a:lnTo>
                  <a:pt x="194" y="207"/>
                </a:lnTo>
                <a:lnTo>
                  <a:pt x="195" y="209"/>
                </a:lnTo>
                <a:close/>
                <a:moveTo>
                  <a:pt x="175" y="174"/>
                </a:moveTo>
                <a:lnTo>
                  <a:pt x="175" y="174"/>
                </a:lnTo>
                <a:lnTo>
                  <a:pt x="177" y="175"/>
                </a:lnTo>
                <a:lnTo>
                  <a:pt x="187" y="174"/>
                </a:lnTo>
                <a:lnTo>
                  <a:pt x="190" y="174"/>
                </a:lnTo>
                <a:lnTo>
                  <a:pt x="190" y="177"/>
                </a:lnTo>
                <a:lnTo>
                  <a:pt x="188" y="178"/>
                </a:lnTo>
                <a:lnTo>
                  <a:pt x="182" y="179"/>
                </a:lnTo>
                <a:lnTo>
                  <a:pt x="173" y="177"/>
                </a:lnTo>
                <a:lnTo>
                  <a:pt x="170" y="175"/>
                </a:lnTo>
                <a:lnTo>
                  <a:pt x="169" y="173"/>
                </a:lnTo>
                <a:lnTo>
                  <a:pt x="169" y="172"/>
                </a:lnTo>
                <a:lnTo>
                  <a:pt x="171" y="172"/>
                </a:lnTo>
                <a:lnTo>
                  <a:pt x="175" y="174"/>
                </a:lnTo>
                <a:close/>
                <a:moveTo>
                  <a:pt x="97" y="150"/>
                </a:moveTo>
                <a:lnTo>
                  <a:pt x="97" y="150"/>
                </a:lnTo>
                <a:lnTo>
                  <a:pt x="100" y="152"/>
                </a:lnTo>
                <a:lnTo>
                  <a:pt x="96" y="152"/>
                </a:lnTo>
                <a:lnTo>
                  <a:pt x="95" y="153"/>
                </a:lnTo>
                <a:lnTo>
                  <a:pt x="92" y="152"/>
                </a:lnTo>
                <a:lnTo>
                  <a:pt x="88" y="152"/>
                </a:lnTo>
                <a:lnTo>
                  <a:pt x="85" y="150"/>
                </a:lnTo>
                <a:lnTo>
                  <a:pt x="85" y="148"/>
                </a:lnTo>
                <a:lnTo>
                  <a:pt x="86" y="146"/>
                </a:lnTo>
                <a:lnTo>
                  <a:pt x="89" y="146"/>
                </a:lnTo>
                <a:lnTo>
                  <a:pt x="97" y="150"/>
                </a:lnTo>
                <a:close/>
                <a:moveTo>
                  <a:pt x="82" y="147"/>
                </a:moveTo>
                <a:lnTo>
                  <a:pt x="82" y="147"/>
                </a:lnTo>
                <a:lnTo>
                  <a:pt x="79" y="147"/>
                </a:lnTo>
                <a:lnTo>
                  <a:pt x="76" y="144"/>
                </a:lnTo>
                <a:lnTo>
                  <a:pt x="80" y="143"/>
                </a:lnTo>
                <a:lnTo>
                  <a:pt x="82" y="144"/>
                </a:lnTo>
                <a:lnTo>
                  <a:pt x="83" y="145"/>
                </a:lnTo>
                <a:lnTo>
                  <a:pt x="83" y="146"/>
                </a:lnTo>
                <a:lnTo>
                  <a:pt x="82" y="147"/>
                </a:lnTo>
                <a:close/>
                <a:moveTo>
                  <a:pt x="109" y="146"/>
                </a:moveTo>
                <a:lnTo>
                  <a:pt x="109" y="146"/>
                </a:lnTo>
                <a:lnTo>
                  <a:pt x="107" y="147"/>
                </a:lnTo>
                <a:lnTo>
                  <a:pt x="99" y="143"/>
                </a:lnTo>
                <a:lnTo>
                  <a:pt x="96" y="142"/>
                </a:lnTo>
                <a:lnTo>
                  <a:pt x="92" y="139"/>
                </a:lnTo>
                <a:lnTo>
                  <a:pt x="103" y="143"/>
                </a:lnTo>
                <a:lnTo>
                  <a:pt x="109" y="146"/>
                </a:lnTo>
                <a:close/>
                <a:moveTo>
                  <a:pt x="131" y="143"/>
                </a:moveTo>
                <a:lnTo>
                  <a:pt x="131" y="143"/>
                </a:lnTo>
                <a:lnTo>
                  <a:pt x="130" y="143"/>
                </a:lnTo>
                <a:lnTo>
                  <a:pt x="124" y="142"/>
                </a:lnTo>
                <a:lnTo>
                  <a:pt x="122" y="140"/>
                </a:lnTo>
                <a:lnTo>
                  <a:pt x="121" y="138"/>
                </a:lnTo>
                <a:lnTo>
                  <a:pt x="122" y="137"/>
                </a:lnTo>
                <a:lnTo>
                  <a:pt x="125" y="136"/>
                </a:lnTo>
                <a:lnTo>
                  <a:pt x="129" y="137"/>
                </a:lnTo>
                <a:lnTo>
                  <a:pt x="132" y="139"/>
                </a:lnTo>
                <a:lnTo>
                  <a:pt x="132" y="141"/>
                </a:lnTo>
                <a:lnTo>
                  <a:pt x="131" y="143"/>
                </a:lnTo>
                <a:close/>
                <a:moveTo>
                  <a:pt x="4" y="112"/>
                </a:moveTo>
                <a:lnTo>
                  <a:pt x="4" y="112"/>
                </a:lnTo>
                <a:lnTo>
                  <a:pt x="3" y="114"/>
                </a:lnTo>
                <a:lnTo>
                  <a:pt x="0" y="113"/>
                </a:lnTo>
                <a:lnTo>
                  <a:pt x="0" y="113"/>
                </a:lnTo>
                <a:lnTo>
                  <a:pt x="0" y="108"/>
                </a:lnTo>
                <a:lnTo>
                  <a:pt x="2" y="107"/>
                </a:lnTo>
                <a:lnTo>
                  <a:pt x="4" y="109"/>
                </a:lnTo>
                <a:lnTo>
                  <a:pt x="4" y="112"/>
                </a:lnTo>
                <a:close/>
                <a:moveTo>
                  <a:pt x="720" y="13"/>
                </a:moveTo>
                <a:lnTo>
                  <a:pt x="720" y="13"/>
                </a:lnTo>
                <a:lnTo>
                  <a:pt x="721" y="14"/>
                </a:lnTo>
                <a:lnTo>
                  <a:pt x="723" y="14"/>
                </a:lnTo>
                <a:lnTo>
                  <a:pt x="726" y="12"/>
                </a:lnTo>
                <a:lnTo>
                  <a:pt x="728" y="11"/>
                </a:lnTo>
                <a:lnTo>
                  <a:pt x="729" y="11"/>
                </a:lnTo>
                <a:lnTo>
                  <a:pt x="735" y="10"/>
                </a:lnTo>
                <a:lnTo>
                  <a:pt x="737" y="11"/>
                </a:lnTo>
                <a:lnTo>
                  <a:pt x="738" y="12"/>
                </a:lnTo>
                <a:lnTo>
                  <a:pt x="741" y="13"/>
                </a:lnTo>
                <a:lnTo>
                  <a:pt x="744" y="13"/>
                </a:lnTo>
                <a:lnTo>
                  <a:pt x="748" y="11"/>
                </a:lnTo>
                <a:lnTo>
                  <a:pt x="750" y="10"/>
                </a:lnTo>
                <a:lnTo>
                  <a:pt x="751" y="9"/>
                </a:lnTo>
                <a:lnTo>
                  <a:pt x="751" y="8"/>
                </a:lnTo>
                <a:lnTo>
                  <a:pt x="751" y="7"/>
                </a:lnTo>
                <a:lnTo>
                  <a:pt x="752" y="7"/>
                </a:lnTo>
                <a:lnTo>
                  <a:pt x="754" y="7"/>
                </a:lnTo>
                <a:lnTo>
                  <a:pt x="756" y="8"/>
                </a:lnTo>
                <a:lnTo>
                  <a:pt x="761" y="8"/>
                </a:lnTo>
                <a:lnTo>
                  <a:pt x="762" y="7"/>
                </a:lnTo>
                <a:lnTo>
                  <a:pt x="764" y="8"/>
                </a:lnTo>
                <a:lnTo>
                  <a:pt x="766" y="9"/>
                </a:lnTo>
                <a:lnTo>
                  <a:pt x="769" y="8"/>
                </a:lnTo>
                <a:lnTo>
                  <a:pt x="770" y="9"/>
                </a:lnTo>
                <a:lnTo>
                  <a:pt x="771" y="11"/>
                </a:lnTo>
                <a:lnTo>
                  <a:pt x="771" y="15"/>
                </a:lnTo>
                <a:lnTo>
                  <a:pt x="771" y="18"/>
                </a:lnTo>
                <a:lnTo>
                  <a:pt x="771" y="19"/>
                </a:lnTo>
                <a:lnTo>
                  <a:pt x="773" y="20"/>
                </a:lnTo>
                <a:lnTo>
                  <a:pt x="776" y="20"/>
                </a:lnTo>
                <a:lnTo>
                  <a:pt x="778" y="21"/>
                </a:lnTo>
                <a:lnTo>
                  <a:pt x="780" y="22"/>
                </a:lnTo>
                <a:lnTo>
                  <a:pt x="781" y="24"/>
                </a:lnTo>
                <a:lnTo>
                  <a:pt x="781" y="25"/>
                </a:lnTo>
                <a:lnTo>
                  <a:pt x="780" y="26"/>
                </a:lnTo>
                <a:lnTo>
                  <a:pt x="779" y="28"/>
                </a:lnTo>
                <a:lnTo>
                  <a:pt x="775" y="32"/>
                </a:lnTo>
                <a:lnTo>
                  <a:pt x="770" y="35"/>
                </a:lnTo>
                <a:lnTo>
                  <a:pt x="767" y="38"/>
                </a:lnTo>
                <a:lnTo>
                  <a:pt x="764" y="43"/>
                </a:lnTo>
                <a:lnTo>
                  <a:pt x="761" y="45"/>
                </a:lnTo>
                <a:lnTo>
                  <a:pt x="759" y="46"/>
                </a:lnTo>
                <a:lnTo>
                  <a:pt x="759" y="47"/>
                </a:lnTo>
                <a:lnTo>
                  <a:pt x="761" y="52"/>
                </a:lnTo>
                <a:lnTo>
                  <a:pt x="762" y="56"/>
                </a:lnTo>
                <a:lnTo>
                  <a:pt x="763" y="61"/>
                </a:lnTo>
                <a:lnTo>
                  <a:pt x="762" y="63"/>
                </a:lnTo>
                <a:lnTo>
                  <a:pt x="762" y="68"/>
                </a:lnTo>
                <a:lnTo>
                  <a:pt x="761" y="70"/>
                </a:lnTo>
                <a:lnTo>
                  <a:pt x="762" y="71"/>
                </a:lnTo>
                <a:lnTo>
                  <a:pt x="762" y="73"/>
                </a:lnTo>
                <a:lnTo>
                  <a:pt x="763" y="74"/>
                </a:lnTo>
                <a:lnTo>
                  <a:pt x="761" y="76"/>
                </a:lnTo>
                <a:lnTo>
                  <a:pt x="758" y="78"/>
                </a:lnTo>
                <a:lnTo>
                  <a:pt x="756" y="80"/>
                </a:lnTo>
                <a:lnTo>
                  <a:pt x="756" y="81"/>
                </a:lnTo>
                <a:lnTo>
                  <a:pt x="756" y="82"/>
                </a:lnTo>
                <a:lnTo>
                  <a:pt x="759" y="86"/>
                </a:lnTo>
                <a:lnTo>
                  <a:pt x="760" y="87"/>
                </a:lnTo>
                <a:lnTo>
                  <a:pt x="760" y="91"/>
                </a:lnTo>
                <a:lnTo>
                  <a:pt x="758" y="96"/>
                </a:lnTo>
                <a:lnTo>
                  <a:pt x="756" y="100"/>
                </a:lnTo>
                <a:lnTo>
                  <a:pt x="755" y="100"/>
                </a:lnTo>
                <a:lnTo>
                  <a:pt x="753" y="101"/>
                </a:lnTo>
                <a:lnTo>
                  <a:pt x="743" y="101"/>
                </a:lnTo>
                <a:lnTo>
                  <a:pt x="740" y="102"/>
                </a:lnTo>
                <a:lnTo>
                  <a:pt x="741" y="102"/>
                </a:lnTo>
                <a:lnTo>
                  <a:pt x="743" y="107"/>
                </a:lnTo>
                <a:lnTo>
                  <a:pt x="746" y="109"/>
                </a:lnTo>
                <a:lnTo>
                  <a:pt x="746" y="110"/>
                </a:lnTo>
                <a:lnTo>
                  <a:pt x="747" y="115"/>
                </a:lnTo>
                <a:lnTo>
                  <a:pt x="752" y="123"/>
                </a:lnTo>
                <a:lnTo>
                  <a:pt x="756" y="124"/>
                </a:lnTo>
                <a:lnTo>
                  <a:pt x="757" y="126"/>
                </a:lnTo>
                <a:lnTo>
                  <a:pt x="757" y="129"/>
                </a:lnTo>
                <a:lnTo>
                  <a:pt x="755" y="132"/>
                </a:lnTo>
                <a:lnTo>
                  <a:pt x="753" y="135"/>
                </a:lnTo>
                <a:lnTo>
                  <a:pt x="750" y="137"/>
                </a:lnTo>
                <a:lnTo>
                  <a:pt x="748" y="140"/>
                </a:lnTo>
                <a:lnTo>
                  <a:pt x="748" y="142"/>
                </a:lnTo>
                <a:lnTo>
                  <a:pt x="747" y="146"/>
                </a:lnTo>
                <a:lnTo>
                  <a:pt x="746" y="148"/>
                </a:lnTo>
                <a:lnTo>
                  <a:pt x="746" y="150"/>
                </a:lnTo>
                <a:lnTo>
                  <a:pt x="754" y="161"/>
                </a:lnTo>
                <a:lnTo>
                  <a:pt x="758" y="160"/>
                </a:lnTo>
                <a:lnTo>
                  <a:pt x="758" y="161"/>
                </a:lnTo>
                <a:lnTo>
                  <a:pt x="757" y="163"/>
                </a:lnTo>
                <a:lnTo>
                  <a:pt x="756" y="166"/>
                </a:lnTo>
                <a:lnTo>
                  <a:pt x="755" y="167"/>
                </a:lnTo>
                <a:lnTo>
                  <a:pt x="751" y="168"/>
                </a:lnTo>
                <a:lnTo>
                  <a:pt x="748" y="172"/>
                </a:lnTo>
                <a:lnTo>
                  <a:pt x="745" y="176"/>
                </a:lnTo>
                <a:lnTo>
                  <a:pt x="743" y="179"/>
                </a:lnTo>
                <a:lnTo>
                  <a:pt x="741" y="184"/>
                </a:lnTo>
                <a:lnTo>
                  <a:pt x="741" y="187"/>
                </a:lnTo>
                <a:lnTo>
                  <a:pt x="742" y="190"/>
                </a:lnTo>
                <a:lnTo>
                  <a:pt x="744" y="200"/>
                </a:lnTo>
                <a:lnTo>
                  <a:pt x="741" y="201"/>
                </a:lnTo>
                <a:lnTo>
                  <a:pt x="731" y="207"/>
                </a:lnTo>
                <a:lnTo>
                  <a:pt x="728" y="207"/>
                </a:lnTo>
                <a:lnTo>
                  <a:pt x="721" y="204"/>
                </a:lnTo>
                <a:lnTo>
                  <a:pt x="711" y="203"/>
                </a:lnTo>
                <a:lnTo>
                  <a:pt x="707" y="202"/>
                </a:lnTo>
                <a:lnTo>
                  <a:pt x="703" y="204"/>
                </a:lnTo>
                <a:lnTo>
                  <a:pt x="699" y="204"/>
                </a:lnTo>
                <a:lnTo>
                  <a:pt x="696" y="206"/>
                </a:lnTo>
                <a:lnTo>
                  <a:pt x="695" y="206"/>
                </a:lnTo>
                <a:lnTo>
                  <a:pt x="697" y="201"/>
                </a:lnTo>
                <a:lnTo>
                  <a:pt x="700" y="190"/>
                </a:lnTo>
                <a:lnTo>
                  <a:pt x="700" y="184"/>
                </a:lnTo>
                <a:lnTo>
                  <a:pt x="701" y="178"/>
                </a:lnTo>
                <a:lnTo>
                  <a:pt x="700" y="173"/>
                </a:lnTo>
                <a:lnTo>
                  <a:pt x="698" y="170"/>
                </a:lnTo>
                <a:lnTo>
                  <a:pt x="701" y="161"/>
                </a:lnTo>
                <a:lnTo>
                  <a:pt x="700" y="156"/>
                </a:lnTo>
                <a:lnTo>
                  <a:pt x="698" y="150"/>
                </a:lnTo>
                <a:lnTo>
                  <a:pt x="705" y="151"/>
                </a:lnTo>
                <a:lnTo>
                  <a:pt x="703" y="149"/>
                </a:lnTo>
                <a:lnTo>
                  <a:pt x="701" y="147"/>
                </a:lnTo>
                <a:lnTo>
                  <a:pt x="699" y="148"/>
                </a:lnTo>
                <a:lnTo>
                  <a:pt x="697" y="148"/>
                </a:lnTo>
                <a:lnTo>
                  <a:pt x="692" y="150"/>
                </a:lnTo>
                <a:lnTo>
                  <a:pt x="689" y="151"/>
                </a:lnTo>
                <a:lnTo>
                  <a:pt x="688" y="150"/>
                </a:lnTo>
                <a:lnTo>
                  <a:pt x="688" y="147"/>
                </a:lnTo>
                <a:lnTo>
                  <a:pt x="687" y="142"/>
                </a:lnTo>
                <a:lnTo>
                  <a:pt x="689" y="141"/>
                </a:lnTo>
                <a:lnTo>
                  <a:pt x="692" y="140"/>
                </a:lnTo>
                <a:lnTo>
                  <a:pt x="694" y="138"/>
                </a:lnTo>
                <a:lnTo>
                  <a:pt x="695" y="136"/>
                </a:lnTo>
                <a:lnTo>
                  <a:pt x="694" y="132"/>
                </a:lnTo>
                <a:lnTo>
                  <a:pt x="696" y="128"/>
                </a:lnTo>
                <a:lnTo>
                  <a:pt x="701" y="125"/>
                </a:lnTo>
                <a:lnTo>
                  <a:pt x="699" y="126"/>
                </a:lnTo>
                <a:lnTo>
                  <a:pt x="696" y="128"/>
                </a:lnTo>
                <a:lnTo>
                  <a:pt x="692" y="135"/>
                </a:lnTo>
                <a:lnTo>
                  <a:pt x="690" y="139"/>
                </a:lnTo>
                <a:lnTo>
                  <a:pt x="687" y="140"/>
                </a:lnTo>
                <a:lnTo>
                  <a:pt x="683" y="140"/>
                </a:lnTo>
                <a:lnTo>
                  <a:pt x="682" y="140"/>
                </a:lnTo>
                <a:lnTo>
                  <a:pt x="680" y="139"/>
                </a:lnTo>
                <a:lnTo>
                  <a:pt x="680" y="136"/>
                </a:lnTo>
                <a:lnTo>
                  <a:pt x="680" y="134"/>
                </a:lnTo>
                <a:lnTo>
                  <a:pt x="681" y="130"/>
                </a:lnTo>
                <a:lnTo>
                  <a:pt x="682" y="124"/>
                </a:lnTo>
                <a:lnTo>
                  <a:pt x="683" y="118"/>
                </a:lnTo>
                <a:lnTo>
                  <a:pt x="683" y="117"/>
                </a:lnTo>
                <a:lnTo>
                  <a:pt x="683" y="115"/>
                </a:lnTo>
                <a:lnTo>
                  <a:pt x="685" y="113"/>
                </a:lnTo>
                <a:lnTo>
                  <a:pt x="687" y="111"/>
                </a:lnTo>
                <a:lnTo>
                  <a:pt x="690" y="107"/>
                </a:lnTo>
                <a:lnTo>
                  <a:pt x="694" y="95"/>
                </a:lnTo>
                <a:lnTo>
                  <a:pt x="700" y="83"/>
                </a:lnTo>
                <a:lnTo>
                  <a:pt x="699" y="82"/>
                </a:lnTo>
                <a:lnTo>
                  <a:pt x="698" y="81"/>
                </a:lnTo>
                <a:lnTo>
                  <a:pt x="699" y="78"/>
                </a:lnTo>
                <a:lnTo>
                  <a:pt x="702" y="63"/>
                </a:lnTo>
                <a:lnTo>
                  <a:pt x="703" y="62"/>
                </a:lnTo>
                <a:lnTo>
                  <a:pt x="704" y="57"/>
                </a:lnTo>
                <a:lnTo>
                  <a:pt x="705" y="51"/>
                </a:lnTo>
                <a:lnTo>
                  <a:pt x="705" y="46"/>
                </a:lnTo>
                <a:lnTo>
                  <a:pt x="705" y="44"/>
                </a:lnTo>
                <a:lnTo>
                  <a:pt x="705" y="41"/>
                </a:lnTo>
                <a:lnTo>
                  <a:pt x="703" y="35"/>
                </a:lnTo>
                <a:lnTo>
                  <a:pt x="701" y="24"/>
                </a:lnTo>
                <a:lnTo>
                  <a:pt x="700" y="20"/>
                </a:lnTo>
                <a:lnTo>
                  <a:pt x="702" y="18"/>
                </a:lnTo>
                <a:lnTo>
                  <a:pt x="699" y="18"/>
                </a:lnTo>
                <a:lnTo>
                  <a:pt x="698" y="16"/>
                </a:lnTo>
                <a:lnTo>
                  <a:pt x="698" y="13"/>
                </a:lnTo>
                <a:lnTo>
                  <a:pt x="701" y="8"/>
                </a:lnTo>
                <a:lnTo>
                  <a:pt x="704" y="5"/>
                </a:lnTo>
                <a:lnTo>
                  <a:pt x="707" y="4"/>
                </a:lnTo>
                <a:lnTo>
                  <a:pt x="709" y="3"/>
                </a:lnTo>
                <a:lnTo>
                  <a:pt x="716" y="1"/>
                </a:lnTo>
                <a:lnTo>
                  <a:pt x="717" y="0"/>
                </a:lnTo>
                <a:lnTo>
                  <a:pt x="719" y="0"/>
                </a:lnTo>
                <a:lnTo>
                  <a:pt x="719" y="1"/>
                </a:lnTo>
                <a:lnTo>
                  <a:pt x="720" y="3"/>
                </a:lnTo>
                <a:lnTo>
                  <a:pt x="721" y="4"/>
                </a:lnTo>
                <a:lnTo>
                  <a:pt x="722" y="5"/>
                </a:lnTo>
                <a:lnTo>
                  <a:pt x="719" y="9"/>
                </a:lnTo>
                <a:lnTo>
                  <a:pt x="719" y="10"/>
                </a:lnTo>
                <a:lnTo>
                  <a:pt x="720" y="13"/>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1240" name="Romania">
            <a:extLst>
              <a:ext uri="{FF2B5EF4-FFF2-40B4-BE49-F238E27FC236}">
                <a16:creationId xmlns:a16="http://schemas.microsoft.com/office/drawing/2014/main" id="{72AB1E55-69F5-4B50-A201-0E6C8FC072A9}"/>
              </a:ext>
            </a:extLst>
          </p:cNvPr>
          <p:cNvSpPr>
            <a:spLocks/>
          </p:cNvSpPr>
          <p:nvPr/>
        </p:nvSpPr>
        <p:spPr bwMode="auto">
          <a:xfrm>
            <a:off x="6426159" y="3188981"/>
            <a:ext cx="283465" cy="174583"/>
          </a:xfrm>
          <a:custGeom>
            <a:avLst/>
            <a:gdLst>
              <a:gd name="T0" fmla="*/ 266 w 295"/>
              <a:gd name="T1" fmla="*/ 138 h 206"/>
              <a:gd name="T2" fmla="*/ 267 w 295"/>
              <a:gd name="T3" fmla="*/ 135 h 206"/>
              <a:gd name="T4" fmla="*/ 286 w 295"/>
              <a:gd name="T5" fmla="*/ 130 h 206"/>
              <a:gd name="T6" fmla="*/ 295 w 295"/>
              <a:gd name="T7" fmla="*/ 142 h 206"/>
              <a:gd name="T8" fmla="*/ 276 w 295"/>
              <a:gd name="T9" fmla="*/ 157 h 206"/>
              <a:gd name="T10" fmla="*/ 271 w 295"/>
              <a:gd name="T11" fmla="*/ 150 h 206"/>
              <a:gd name="T12" fmla="*/ 269 w 295"/>
              <a:gd name="T13" fmla="*/ 164 h 206"/>
              <a:gd name="T14" fmla="*/ 264 w 295"/>
              <a:gd name="T15" fmla="*/ 176 h 206"/>
              <a:gd name="T16" fmla="*/ 255 w 295"/>
              <a:gd name="T17" fmla="*/ 203 h 206"/>
              <a:gd name="T18" fmla="*/ 239 w 295"/>
              <a:gd name="T19" fmla="*/ 192 h 206"/>
              <a:gd name="T20" fmla="*/ 224 w 295"/>
              <a:gd name="T21" fmla="*/ 191 h 206"/>
              <a:gd name="T22" fmla="*/ 187 w 295"/>
              <a:gd name="T23" fmla="*/ 192 h 206"/>
              <a:gd name="T24" fmla="*/ 154 w 295"/>
              <a:gd name="T25" fmla="*/ 205 h 206"/>
              <a:gd name="T26" fmla="*/ 103 w 295"/>
              <a:gd name="T27" fmla="*/ 198 h 206"/>
              <a:gd name="T28" fmla="*/ 82 w 295"/>
              <a:gd name="T29" fmla="*/ 194 h 206"/>
              <a:gd name="T30" fmla="*/ 85 w 295"/>
              <a:gd name="T31" fmla="*/ 186 h 206"/>
              <a:gd name="T32" fmla="*/ 75 w 295"/>
              <a:gd name="T33" fmla="*/ 178 h 206"/>
              <a:gd name="T34" fmla="*/ 72 w 295"/>
              <a:gd name="T35" fmla="*/ 168 h 206"/>
              <a:gd name="T36" fmla="*/ 75 w 295"/>
              <a:gd name="T37" fmla="*/ 164 h 206"/>
              <a:gd name="T38" fmla="*/ 56 w 295"/>
              <a:gd name="T39" fmla="*/ 165 h 206"/>
              <a:gd name="T40" fmla="*/ 40 w 295"/>
              <a:gd name="T41" fmla="*/ 157 h 206"/>
              <a:gd name="T42" fmla="*/ 40 w 295"/>
              <a:gd name="T43" fmla="*/ 153 h 206"/>
              <a:gd name="T44" fmla="*/ 36 w 295"/>
              <a:gd name="T45" fmla="*/ 149 h 206"/>
              <a:gd name="T46" fmla="*/ 37 w 295"/>
              <a:gd name="T47" fmla="*/ 147 h 206"/>
              <a:gd name="T48" fmla="*/ 38 w 295"/>
              <a:gd name="T49" fmla="*/ 141 h 206"/>
              <a:gd name="T50" fmla="*/ 27 w 295"/>
              <a:gd name="T51" fmla="*/ 135 h 206"/>
              <a:gd name="T52" fmla="*/ 17 w 295"/>
              <a:gd name="T53" fmla="*/ 127 h 206"/>
              <a:gd name="T54" fmla="*/ 17 w 295"/>
              <a:gd name="T55" fmla="*/ 119 h 206"/>
              <a:gd name="T56" fmla="*/ 15 w 295"/>
              <a:gd name="T57" fmla="*/ 116 h 206"/>
              <a:gd name="T58" fmla="*/ 6 w 295"/>
              <a:gd name="T59" fmla="*/ 107 h 206"/>
              <a:gd name="T60" fmla="*/ 9 w 295"/>
              <a:gd name="T61" fmla="*/ 96 h 206"/>
              <a:gd name="T62" fmla="*/ 16 w 295"/>
              <a:gd name="T63" fmla="*/ 94 h 206"/>
              <a:gd name="T64" fmla="*/ 29 w 295"/>
              <a:gd name="T65" fmla="*/ 90 h 206"/>
              <a:gd name="T66" fmla="*/ 32 w 295"/>
              <a:gd name="T67" fmla="*/ 82 h 206"/>
              <a:gd name="T68" fmla="*/ 39 w 295"/>
              <a:gd name="T69" fmla="*/ 72 h 206"/>
              <a:gd name="T70" fmla="*/ 44 w 295"/>
              <a:gd name="T71" fmla="*/ 58 h 206"/>
              <a:gd name="T72" fmla="*/ 52 w 295"/>
              <a:gd name="T73" fmla="*/ 44 h 206"/>
              <a:gd name="T74" fmla="*/ 59 w 295"/>
              <a:gd name="T75" fmla="*/ 32 h 206"/>
              <a:gd name="T76" fmla="*/ 68 w 295"/>
              <a:gd name="T77" fmla="*/ 24 h 206"/>
              <a:gd name="T78" fmla="*/ 82 w 295"/>
              <a:gd name="T79" fmla="*/ 16 h 206"/>
              <a:gd name="T80" fmla="*/ 91 w 295"/>
              <a:gd name="T81" fmla="*/ 9 h 206"/>
              <a:gd name="T82" fmla="*/ 108 w 295"/>
              <a:gd name="T83" fmla="*/ 13 h 206"/>
              <a:gd name="T84" fmla="*/ 123 w 295"/>
              <a:gd name="T85" fmla="*/ 17 h 206"/>
              <a:gd name="T86" fmla="*/ 138 w 295"/>
              <a:gd name="T87" fmla="*/ 18 h 206"/>
              <a:gd name="T88" fmla="*/ 154 w 295"/>
              <a:gd name="T89" fmla="*/ 21 h 206"/>
              <a:gd name="T90" fmla="*/ 187 w 295"/>
              <a:gd name="T91" fmla="*/ 10 h 206"/>
              <a:gd name="T92" fmla="*/ 199 w 295"/>
              <a:gd name="T93" fmla="*/ 1 h 206"/>
              <a:gd name="T94" fmla="*/ 211 w 295"/>
              <a:gd name="T95" fmla="*/ 8 h 206"/>
              <a:gd name="T96" fmla="*/ 220 w 295"/>
              <a:gd name="T97" fmla="*/ 26 h 206"/>
              <a:gd name="T98" fmla="*/ 230 w 295"/>
              <a:gd name="T99" fmla="*/ 43 h 206"/>
              <a:gd name="T100" fmla="*/ 241 w 295"/>
              <a:gd name="T101" fmla="*/ 57 h 206"/>
              <a:gd name="T102" fmla="*/ 249 w 295"/>
              <a:gd name="T103" fmla="*/ 81 h 206"/>
              <a:gd name="T104" fmla="*/ 246 w 295"/>
              <a:gd name="T105" fmla="*/ 109 h 206"/>
              <a:gd name="T106" fmla="*/ 246 w 295"/>
              <a:gd name="T107" fmla="*/ 12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95" h="206">
                <a:moveTo>
                  <a:pt x="249" y="128"/>
                </a:moveTo>
                <a:lnTo>
                  <a:pt x="249" y="128"/>
                </a:lnTo>
                <a:lnTo>
                  <a:pt x="252" y="133"/>
                </a:lnTo>
                <a:lnTo>
                  <a:pt x="256" y="135"/>
                </a:lnTo>
                <a:lnTo>
                  <a:pt x="266" y="138"/>
                </a:lnTo>
                <a:lnTo>
                  <a:pt x="267" y="138"/>
                </a:lnTo>
                <a:lnTo>
                  <a:pt x="267" y="137"/>
                </a:lnTo>
                <a:lnTo>
                  <a:pt x="266" y="136"/>
                </a:lnTo>
                <a:lnTo>
                  <a:pt x="266" y="136"/>
                </a:lnTo>
                <a:lnTo>
                  <a:pt x="267" y="135"/>
                </a:lnTo>
                <a:lnTo>
                  <a:pt x="268" y="135"/>
                </a:lnTo>
                <a:lnTo>
                  <a:pt x="270" y="135"/>
                </a:lnTo>
                <a:lnTo>
                  <a:pt x="274" y="134"/>
                </a:lnTo>
                <a:lnTo>
                  <a:pt x="280" y="130"/>
                </a:lnTo>
                <a:lnTo>
                  <a:pt x="286" y="130"/>
                </a:lnTo>
                <a:lnTo>
                  <a:pt x="291" y="132"/>
                </a:lnTo>
                <a:lnTo>
                  <a:pt x="294" y="134"/>
                </a:lnTo>
                <a:lnTo>
                  <a:pt x="295" y="137"/>
                </a:lnTo>
                <a:lnTo>
                  <a:pt x="295" y="140"/>
                </a:lnTo>
                <a:lnTo>
                  <a:pt x="295" y="142"/>
                </a:lnTo>
                <a:lnTo>
                  <a:pt x="293" y="149"/>
                </a:lnTo>
                <a:lnTo>
                  <a:pt x="292" y="152"/>
                </a:lnTo>
                <a:lnTo>
                  <a:pt x="291" y="155"/>
                </a:lnTo>
                <a:lnTo>
                  <a:pt x="275" y="159"/>
                </a:lnTo>
                <a:lnTo>
                  <a:pt x="276" y="157"/>
                </a:lnTo>
                <a:lnTo>
                  <a:pt x="276" y="154"/>
                </a:lnTo>
                <a:lnTo>
                  <a:pt x="275" y="151"/>
                </a:lnTo>
                <a:lnTo>
                  <a:pt x="276" y="149"/>
                </a:lnTo>
                <a:lnTo>
                  <a:pt x="273" y="149"/>
                </a:lnTo>
                <a:lnTo>
                  <a:pt x="271" y="150"/>
                </a:lnTo>
                <a:lnTo>
                  <a:pt x="270" y="152"/>
                </a:lnTo>
                <a:lnTo>
                  <a:pt x="271" y="157"/>
                </a:lnTo>
                <a:lnTo>
                  <a:pt x="269" y="159"/>
                </a:lnTo>
                <a:lnTo>
                  <a:pt x="269" y="161"/>
                </a:lnTo>
                <a:lnTo>
                  <a:pt x="269" y="164"/>
                </a:lnTo>
                <a:lnTo>
                  <a:pt x="268" y="166"/>
                </a:lnTo>
                <a:lnTo>
                  <a:pt x="267" y="167"/>
                </a:lnTo>
                <a:lnTo>
                  <a:pt x="270" y="167"/>
                </a:lnTo>
                <a:lnTo>
                  <a:pt x="269" y="170"/>
                </a:lnTo>
                <a:lnTo>
                  <a:pt x="264" y="176"/>
                </a:lnTo>
                <a:lnTo>
                  <a:pt x="262" y="179"/>
                </a:lnTo>
                <a:lnTo>
                  <a:pt x="263" y="192"/>
                </a:lnTo>
                <a:lnTo>
                  <a:pt x="261" y="201"/>
                </a:lnTo>
                <a:lnTo>
                  <a:pt x="261" y="203"/>
                </a:lnTo>
                <a:lnTo>
                  <a:pt x="255" y="203"/>
                </a:lnTo>
                <a:lnTo>
                  <a:pt x="254" y="203"/>
                </a:lnTo>
                <a:lnTo>
                  <a:pt x="249" y="202"/>
                </a:lnTo>
                <a:lnTo>
                  <a:pt x="244" y="199"/>
                </a:lnTo>
                <a:lnTo>
                  <a:pt x="241" y="195"/>
                </a:lnTo>
                <a:lnTo>
                  <a:pt x="239" y="192"/>
                </a:lnTo>
                <a:lnTo>
                  <a:pt x="234" y="194"/>
                </a:lnTo>
                <a:lnTo>
                  <a:pt x="233" y="193"/>
                </a:lnTo>
                <a:lnTo>
                  <a:pt x="232" y="192"/>
                </a:lnTo>
                <a:lnTo>
                  <a:pt x="229" y="191"/>
                </a:lnTo>
                <a:lnTo>
                  <a:pt x="224" y="191"/>
                </a:lnTo>
                <a:lnTo>
                  <a:pt x="215" y="185"/>
                </a:lnTo>
                <a:lnTo>
                  <a:pt x="214" y="185"/>
                </a:lnTo>
                <a:lnTo>
                  <a:pt x="206" y="185"/>
                </a:lnTo>
                <a:lnTo>
                  <a:pt x="195" y="188"/>
                </a:lnTo>
                <a:lnTo>
                  <a:pt x="187" y="192"/>
                </a:lnTo>
                <a:lnTo>
                  <a:pt x="178" y="197"/>
                </a:lnTo>
                <a:lnTo>
                  <a:pt x="174" y="202"/>
                </a:lnTo>
                <a:lnTo>
                  <a:pt x="170" y="204"/>
                </a:lnTo>
                <a:lnTo>
                  <a:pt x="164" y="206"/>
                </a:lnTo>
                <a:lnTo>
                  <a:pt x="154" y="205"/>
                </a:lnTo>
                <a:lnTo>
                  <a:pt x="143" y="203"/>
                </a:lnTo>
                <a:lnTo>
                  <a:pt x="131" y="201"/>
                </a:lnTo>
                <a:lnTo>
                  <a:pt x="125" y="202"/>
                </a:lnTo>
                <a:lnTo>
                  <a:pt x="116" y="201"/>
                </a:lnTo>
                <a:lnTo>
                  <a:pt x="103" y="198"/>
                </a:lnTo>
                <a:lnTo>
                  <a:pt x="93" y="197"/>
                </a:lnTo>
                <a:lnTo>
                  <a:pt x="84" y="199"/>
                </a:lnTo>
                <a:lnTo>
                  <a:pt x="82" y="198"/>
                </a:lnTo>
                <a:lnTo>
                  <a:pt x="82" y="196"/>
                </a:lnTo>
                <a:lnTo>
                  <a:pt x="82" y="194"/>
                </a:lnTo>
                <a:lnTo>
                  <a:pt x="84" y="192"/>
                </a:lnTo>
                <a:lnTo>
                  <a:pt x="86" y="191"/>
                </a:lnTo>
                <a:lnTo>
                  <a:pt x="87" y="190"/>
                </a:lnTo>
                <a:lnTo>
                  <a:pt x="87" y="188"/>
                </a:lnTo>
                <a:lnTo>
                  <a:pt x="85" y="186"/>
                </a:lnTo>
                <a:lnTo>
                  <a:pt x="79" y="183"/>
                </a:lnTo>
                <a:lnTo>
                  <a:pt x="77" y="182"/>
                </a:lnTo>
                <a:lnTo>
                  <a:pt x="77" y="181"/>
                </a:lnTo>
                <a:lnTo>
                  <a:pt x="76" y="179"/>
                </a:lnTo>
                <a:lnTo>
                  <a:pt x="75" y="178"/>
                </a:lnTo>
                <a:lnTo>
                  <a:pt x="73" y="177"/>
                </a:lnTo>
                <a:lnTo>
                  <a:pt x="72" y="175"/>
                </a:lnTo>
                <a:lnTo>
                  <a:pt x="71" y="173"/>
                </a:lnTo>
                <a:lnTo>
                  <a:pt x="71" y="171"/>
                </a:lnTo>
                <a:lnTo>
                  <a:pt x="72" y="168"/>
                </a:lnTo>
                <a:lnTo>
                  <a:pt x="74" y="167"/>
                </a:lnTo>
                <a:lnTo>
                  <a:pt x="77" y="168"/>
                </a:lnTo>
                <a:lnTo>
                  <a:pt x="78" y="167"/>
                </a:lnTo>
                <a:lnTo>
                  <a:pt x="78" y="166"/>
                </a:lnTo>
                <a:lnTo>
                  <a:pt x="75" y="164"/>
                </a:lnTo>
                <a:lnTo>
                  <a:pt x="71" y="161"/>
                </a:lnTo>
                <a:lnTo>
                  <a:pt x="66" y="162"/>
                </a:lnTo>
                <a:lnTo>
                  <a:pt x="61" y="167"/>
                </a:lnTo>
                <a:lnTo>
                  <a:pt x="58" y="168"/>
                </a:lnTo>
                <a:lnTo>
                  <a:pt x="56" y="165"/>
                </a:lnTo>
                <a:lnTo>
                  <a:pt x="52" y="163"/>
                </a:lnTo>
                <a:lnTo>
                  <a:pt x="47" y="162"/>
                </a:lnTo>
                <a:lnTo>
                  <a:pt x="44" y="161"/>
                </a:lnTo>
                <a:lnTo>
                  <a:pt x="43" y="159"/>
                </a:lnTo>
                <a:lnTo>
                  <a:pt x="40" y="157"/>
                </a:lnTo>
                <a:lnTo>
                  <a:pt x="35" y="156"/>
                </a:lnTo>
                <a:lnTo>
                  <a:pt x="35" y="154"/>
                </a:lnTo>
                <a:lnTo>
                  <a:pt x="36" y="154"/>
                </a:lnTo>
                <a:lnTo>
                  <a:pt x="38" y="154"/>
                </a:lnTo>
                <a:lnTo>
                  <a:pt x="40" y="153"/>
                </a:lnTo>
                <a:lnTo>
                  <a:pt x="41" y="153"/>
                </a:lnTo>
                <a:lnTo>
                  <a:pt x="41" y="152"/>
                </a:lnTo>
                <a:lnTo>
                  <a:pt x="39" y="151"/>
                </a:lnTo>
                <a:lnTo>
                  <a:pt x="37" y="150"/>
                </a:lnTo>
                <a:lnTo>
                  <a:pt x="36" y="149"/>
                </a:lnTo>
                <a:lnTo>
                  <a:pt x="35" y="149"/>
                </a:lnTo>
                <a:lnTo>
                  <a:pt x="35" y="148"/>
                </a:lnTo>
                <a:lnTo>
                  <a:pt x="36" y="147"/>
                </a:lnTo>
                <a:lnTo>
                  <a:pt x="36" y="147"/>
                </a:lnTo>
                <a:lnTo>
                  <a:pt x="37" y="147"/>
                </a:lnTo>
                <a:lnTo>
                  <a:pt x="37" y="145"/>
                </a:lnTo>
                <a:lnTo>
                  <a:pt x="39" y="143"/>
                </a:lnTo>
                <a:lnTo>
                  <a:pt x="39" y="143"/>
                </a:lnTo>
                <a:lnTo>
                  <a:pt x="39" y="142"/>
                </a:lnTo>
                <a:lnTo>
                  <a:pt x="38" y="141"/>
                </a:lnTo>
                <a:lnTo>
                  <a:pt x="37" y="140"/>
                </a:lnTo>
                <a:lnTo>
                  <a:pt x="36" y="139"/>
                </a:lnTo>
                <a:lnTo>
                  <a:pt x="31" y="138"/>
                </a:lnTo>
                <a:lnTo>
                  <a:pt x="29" y="135"/>
                </a:lnTo>
                <a:lnTo>
                  <a:pt x="27" y="135"/>
                </a:lnTo>
                <a:lnTo>
                  <a:pt x="25" y="134"/>
                </a:lnTo>
                <a:lnTo>
                  <a:pt x="22" y="132"/>
                </a:lnTo>
                <a:lnTo>
                  <a:pt x="20" y="129"/>
                </a:lnTo>
                <a:lnTo>
                  <a:pt x="18" y="128"/>
                </a:lnTo>
                <a:lnTo>
                  <a:pt x="17" y="127"/>
                </a:lnTo>
                <a:lnTo>
                  <a:pt x="17" y="126"/>
                </a:lnTo>
                <a:lnTo>
                  <a:pt x="17" y="125"/>
                </a:lnTo>
                <a:lnTo>
                  <a:pt x="17" y="125"/>
                </a:lnTo>
                <a:lnTo>
                  <a:pt x="17" y="122"/>
                </a:lnTo>
                <a:lnTo>
                  <a:pt x="17" y="119"/>
                </a:lnTo>
                <a:lnTo>
                  <a:pt x="17" y="116"/>
                </a:lnTo>
                <a:lnTo>
                  <a:pt x="17" y="115"/>
                </a:lnTo>
                <a:lnTo>
                  <a:pt x="16" y="115"/>
                </a:lnTo>
                <a:lnTo>
                  <a:pt x="16" y="115"/>
                </a:lnTo>
                <a:lnTo>
                  <a:pt x="15" y="116"/>
                </a:lnTo>
                <a:lnTo>
                  <a:pt x="15" y="116"/>
                </a:lnTo>
                <a:lnTo>
                  <a:pt x="13" y="114"/>
                </a:lnTo>
                <a:lnTo>
                  <a:pt x="11" y="110"/>
                </a:lnTo>
                <a:lnTo>
                  <a:pt x="9" y="108"/>
                </a:lnTo>
                <a:lnTo>
                  <a:pt x="6" y="107"/>
                </a:lnTo>
                <a:lnTo>
                  <a:pt x="4" y="105"/>
                </a:lnTo>
                <a:lnTo>
                  <a:pt x="2" y="102"/>
                </a:lnTo>
                <a:lnTo>
                  <a:pt x="0" y="99"/>
                </a:lnTo>
                <a:lnTo>
                  <a:pt x="2" y="98"/>
                </a:lnTo>
                <a:lnTo>
                  <a:pt x="9" y="96"/>
                </a:lnTo>
                <a:lnTo>
                  <a:pt x="12" y="98"/>
                </a:lnTo>
                <a:lnTo>
                  <a:pt x="13" y="97"/>
                </a:lnTo>
                <a:lnTo>
                  <a:pt x="15" y="96"/>
                </a:lnTo>
                <a:lnTo>
                  <a:pt x="16" y="95"/>
                </a:lnTo>
                <a:lnTo>
                  <a:pt x="16" y="94"/>
                </a:lnTo>
                <a:lnTo>
                  <a:pt x="16" y="93"/>
                </a:lnTo>
                <a:lnTo>
                  <a:pt x="19" y="92"/>
                </a:lnTo>
                <a:lnTo>
                  <a:pt x="25" y="93"/>
                </a:lnTo>
                <a:lnTo>
                  <a:pt x="28" y="91"/>
                </a:lnTo>
                <a:lnTo>
                  <a:pt x="29" y="90"/>
                </a:lnTo>
                <a:lnTo>
                  <a:pt x="29" y="88"/>
                </a:lnTo>
                <a:lnTo>
                  <a:pt x="30" y="86"/>
                </a:lnTo>
                <a:lnTo>
                  <a:pt x="32" y="85"/>
                </a:lnTo>
                <a:lnTo>
                  <a:pt x="32" y="84"/>
                </a:lnTo>
                <a:lnTo>
                  <a:pt x="32" y="82"/>
                </a:lnTo>
                <a:lnTo>
                  <a:pt x="33" y="78"/>
                </a:lnTo>
                <a:lnTo>
                  <a:pt x="34" y="77"/>
                </a:lnTo>
                <a:lnTo>
                  <a:pt x="35" y="76"/>
                </a:lnTo>
                <a:lnTo>
                  <a:pt x="37" y="75"/>
                </a:lnTo>
                <a:lnTo>
                  <a:pt x="39" y="72"/>
                </a:lnTo>
                <a:lnTo>
                  <a:pt x="39" y="70"/>
                </a:lnTo>
                <a:lnTo>
                  <a:pt x="39" y="68"/>
                </a:lnTo>
                <a:lnTo>
                  <a:pt x="42" y="64"/>
                </a:lnTo>
                <a:lnTo>
                  <a:pt x="44" y="60"/>
                </a:lnTo>
                <a:lnTo>
                  <a:pt x="44" y="58"/>
                </a:lnTo>
                <a:lnTo>
                  <a:pt x="45" y="57"/>
                </a:lnTo>
                <a:lnTo>
                  <a:pt x="47" y="55"/>
                </a:lnTo>
                <a:lnTo>
                  <a:pt x="48" y="52"/>
                </a:lnTo>
                <a:lnTo>
                  <a:pt x="51" y="45"/>
                </a:lnTo>
                <a:lnTo>
                  <a:pt x="52" y="44"/>
                </a:lnTo>
                <a:lnTo>
                  <a:pt x="54" y="42"/>
                </a:lnTo>
                <a:lnTo>
                  <a:pt x="55" y="41"/>
                </a:lnTo>
                <a:lnTo>
                  <a:pt x="55" y="36"/>
                </a:lnTo>
                <a:lnTo>
                  <a:pt x="56" y="34"/>
                </a:lnTo>
                <a:lnTo>
                  <a:pt x="59" y="32"/>
                </a:lnTo>
                <a:lnTo>
                  <a:pt x="61" y="30"/>
                </a:lnTo>
                <a:lnTo>
                  <a:pt x="63" y="27"/>
                </a:lnTo>
                <a:lnTo>
                  <a:pt x="64" y="25"/>
                </a:lnTo>
                <a:lnTo>
                  <a:pt x="66" y="25"/>
                </a:lnTo>
                <a:lnTo>
                  <a:pt x="68" y="24"/>
                </a:lnTo>
                <a:lnTo>
                  <a:pt x="70" y="23"/>
                </a:lnTo>
                <a:lnTo>
                  <a:pt x="73" y="24"/>
                </a:lnTo>
                <a:lnTo>
                  <a:pt x="74" y="24"/>
                </a:lnTo>
                <a:lnTo>
                  <a:pt x="76" y="22"/>
                </a:lnTo>
                <a:lnTo>
                  <a:pt x="82" y="16"/>
                </a:lnTo>
                <a:lnTo>
                  <a:pt x="82" y="15"/>
                </a:lnTo>
                <a:lnTo>
                  <a:pt x="84" y="14"/>
                </a:lnTo>
                <a:lnTo>
                  <a:pt x="88" y="12"/>
                </a:lnTo>
                <a:lnTo>
                  <a:pt x="89" y="10"/>
                </a:lnTo>
                <a:lnTo>
                  <a:pt x="91" y="9"/>
                </a:lnTo>
                <a:lnTo>
                  <a:pt x="93" y="9"/>
                </a:lnTo>
                <a:lnTo>
                  <a:pt x="99" y="13"/>
                </a:lnTo>
                <a:lnTo>
                  <a:pt x="106" y="13"/>
                </a:lnTo>
                <a:lnTo>
                  <a:pt x="107" y="13"/>
                </a:lnTo>
                <a:lnTo>
                  <a:pt x="108" y="13"/>
                </a:lnTo>
                <a:lnTo>
                  <a:pt x="108" y="13"/>
                </a:lnTo>
                <a:lnTo>
                  <a:pt x="118" y="16"/>
                </a:lnTo>
                <a:lnTo>
                  <a:pt x="119" y="15"/>
                </a:lnTo>
                <a:lnTo>
                  <a:pt x="119" y="15"/>
                </a:lnTo>
                <a:lnTo>
                  <a:pt x="123" y="17"/>
                </a:lnTo>
                <a:lnTo>
                  <a:pt x="126" y="17"/>
                </a:lnTo>
                <a:lnTo>
                  <a:pt x="129" y="16"/>
                </a:lnTo>
                <a:lnTo>
                  <a:pt x="133" y="15"/>
                </a:lnTo>
                <a:lnTo>
                  <a:pt x="136" y="16"/>
                </a:lnTo>
                <a:lnTo>
                  <a:pt x="138" y="18"/>
                </a:lnTo>
                <a:lnTo>
                  <a:pt x="144" y="24"/>
                </a:lnTo>
                <a:lnTo>
                  <a:pt x="145" y="26"/>
                </a:lnTo>
                <a:lnTo>
                  <a:pt x="148" y="25"/>
                </a:lnTo>
                <a:lnTo>
                  <a:pt x="151" y="24"/>
                </a:lnTo>
                <a:lnTo>
                  <a:pt x="154" y="21"/>
                </a:lnTo>
                <a:lnTo>
                  <a:pt x="163" y="17"/>
                </a:lnTo>
                <a:lnTo>
                  <a:pt x="170" y="16"/>
                </a:lnTo>
                <a:lnTo>
                  <a:pt x="177" y="14"/>
                </a:lnTo>
                <a:lnTo>
                  <a:pt x="185" y="13"/>
                </a:lnTo>
                <a:lnTo>
                  <a:pt x="187" y="10"/>
                </a:lnTo>
                <a:lnTo>
                  <a:pt x="189" y="7"/>
                </a:lnTo>
                <a:lnTo>
                  <a:pt x="189" y="3"/>
                </a:lnTo>
                <a:lnTo>
                  <a:pt x="194" y="2"/>
                </a:lnTo>
                <a:lnTo>
                  <a:pt x="198" y="1"/>
                </a:lnTo>
                <a:lnTo>
                  <a:pt x="199" y="1"/>
                </a:lnTo>
                <a:lnTo>
                  <a:pt x="202" y="0"/>
                </a:lnTo>
                <a:lnTo>
                  <a:pt x="204" y="1"/>
                </a:lnTo>
                <a:lnTo>
                  <a:pt x="208" y="3"/>
                </a:lnTo>
                <a:lnTo>
                  <a:pt x="210" y="5"/>
                </a:lnTo>
                <a:lnTo>
                  <a:pt x="211" y="8"/>
                </a:lnTo>
                <a:lnTo>
                  <a:pt x="214" y="11"/>
                </a:lnTo>
                <a:lnTo>
                  <a:pt x="216" y="15"/>
                </a:lnTo>
                <a:lnTo>
                  <a:pt x="218" y="20"/>
                </a:lnTo>
                <a:lnTo>
                  <a:pt x="219" y="23"/>
                </a:lnTo>
                <a:lnTo>
                  <a:pt x="220" y="26"/>
                </a:lnTo>
                <a:lnTo>
                  <a:pt x="222" y="29"/>
                </a:lnTo>
                <a:lnTo>
                  <a:pt x="225" y="33"/>
                </a:lnTo>
                <a:lnTo>
                  <a:pt x="226" y="34"/>
                </a:lnTo>
                <a:lnTo>
                  <a:pt x="227" y="37"/>
                </a:lnTo>
                <a:lnTo>
                  <a:pt x="230" y="43"/>
                </a:lnTo>
                <a:lnTo>
                  <a:pt x="233" y="46"/>
                </a:lnTo>
                <a:lnTo>
                  <a:pt x="235" y="48"/>
                </a:lnTo>
                <a:lnTo>
                  <a:pt x="236" y="51"/>
                </a:lnTo>
                <a:lnTo>
                  <a:pt x="238" y="53"/>
                </a:lnTo>
                <a:lnTo>
                  <a:pt x="241" y="57"/>
                </a:lnTo>
                <a:lnTo>
                  <a:pt x="244" y="60"/>
                </a:lnTo>
                <a:lnTo>
                  <a:pt x="247" y="68"/>
                </a:lnTo>
                <a:lnTo>
                  <a:pt x="249" y="72"/>
                </a:lnTo>
                <a:lnTo>
                  <a:pt x="250" y="75"/>
                </a:lnTo>
                <a:lnTo>
                  <a:pt x="249" y="81"/>
                </a:lnTo>
                <a:lnTo>
                  <a:pt x="250" y="84"/>
                </a:lnTo>
                <a:lnTo>
                  <a:pt x="248" y="88"/>
                </a:lnTo>
                <a:lnTo>
                  <a:pt x="246" y="98"/>
                </a:lnTo>
                <a:lnTo>
                  <a:pt x="245" y="105"/>
                </a:lnTo>
                <a:lnTo>
                  <a:pt x="246" y="109"/>
                </a:lnTo>
                <a:lnTo>
                  <a:pt x="246" y="112"/>
                </a:lnTo>
                <a:lnTo>
                  <a:pt x="246" y="113"/>
                </a:lnTo>
                <a:lnTo>
                  <a:pt x="247" y="117"/>
                </a:lnTo>
                <a:lnTo>
                  <a:pt x="247" y="120"/>
                </a:lnTo>
                <a:lnTo>
                  <a:pt x="246" y="120"/>
                </a:lnTo>
                <a:lnTo>
                  <a:pt x="245" y="121"/>
                </a:lnTo>
                <a:lnTo>
                  <a:pt x="245" y="122"/>
                </a:lnTo>
                <a:lnTo>
                  <a:pt x="246" y="123"/>
                </a:lnTo>
                <a:lnTo>
                  <a:pt x="247" y="126"/>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1241" name="Serbia">
            <a:extLst>
              <a:ext uri="{FF2B5EF4-FFF2-40B4-BE49-F238E27FC236}">
                <a16:creationId xmlns:a16="http://schemas.microsoft.com/office/drawing/2014/main" id="{7D03BE2B-2C9C-423D-BE5F-A6E3788CE256}"/>
              </a:ext>
            </a:extLst>
          </p:cNvPr>
          <p:cNvSpPr>
            <a:spLocks/>
          </p:cNvSpPr>
          <p:nvPr/>
        </p:nvSpPr>
        <p:spPr bwMode="auto">
          <a:xfrm>
            <a:off x="6383752" y="3271367"/>
            <a:ext cx="124992" cy="145158"/>
          </a:xfrm>
          <a:custGeom>
            <a:avLst/>
            <a:gdLst>
              <a:gd name="T0" fmla="*/ 41 w 129"/>
              <a:gd name="T1" fmla="*/ 2 h 171"/>
              <a:gd name="T2" fmla="*/ 49 w 129"/>
              <a:gd name="T3" fmla="*/ 11 h 171"/>
              <a:gd name="T4" fmla="*/ 58 w 129"/>
              <a:gd name="T5" fmla="*/ 20 h 171"/>
              <a:gd name="T6" fmla="*/ 60 w 129"/>
              <a:gd name="T7" fmla="*/ 23 h 171"/>
              <a:gd name="T8" fmla="*/ 60 w 129"/>
              <a:gd name="T9" fmla="*/ 31 h 171"/>
              <a:gd name="T10" fmla="*/ 70 w 129"/>
              <a:gd name="T11" fmla="*/ 39 h 171"/>
              <a:gd name="T12" fmla="*/ 81 w 129"/>
              <a:gd name="T13" fmla="*/ 45 h 171"/>
              <a:gd name="T14" fmla="*/ 80 w 129"/>
              <a:gd name="T15" fmla="*/ 51 h 171"/>
              <a:gd name="T16" fmla="*/ 79 w 129"/>
              <a:gd name="T17" fmla="*/ 53 h 171"/>
              <a:gd name="T18" fmla="*/ 83 w 129"/>
              <a:gd name="T19" fmla="*/ 57 h 171"/>
              <a:gd name="T20" fmla="*/ 83 w 129"/>
              <a:gd name="T21" fmla="*/ 61 h 171"/>
              <a:gd name="T22" fmla="*/ 99 w 129"/>
              <a:gd name="T23" fmla="*/ 69 h 171"/>
              <a:gd name="T24" fmla="*/ 118 w 129"/>
              <a:gd name="T25" fmla="*/ 68 h 171"/>
              <a:gd name="T26" fmla="*/ 115 w 129"/>
              <a:gd name="T27" fmla="*/ 72 h 171"/>
              <a:gd name="T28" fmla="*/ 118 w 129"/>
              <a:gd name="T29" fmla="*/ 82 h 171"/>
              <a:gd name="T30" fmla="*/ 118 w 129"/>
              <a:gd name="T31" fmla="*/ 87 h 171"/>
              <a:gd name="T32" fmla="*/ 111 w 129"/>
              <a:gd name="T33" fmla="*/ 97 h 171"/>
              <a:gd name="T34" fmla="*/ 112 w 129"/>
              <a:gd name="T35" fmla="*/ 110 h 171"/>
              <a:gd name="T36" fmla="*/ 122 w 129"/>
              <a:gd name="T37" fmla="*/ 124 h 171"/>
              <a:gd name="T38" fmla="*/ 128 w 129"/>
              <a:gd name="T39" fmla="*/ 135 h 171"/>
              <a:gd name="T40" fmla="*/ 116 w 129"/>
              <a:gd name="T41" fmla="*/ 144 h 171"/>
              <a:gd name="T42" fmla="*/ 113 w 129"/>
              <a:gd name="T43" fmla="*/ 151 h 171"/>
              <a:gd name="T44" fmla="*/ 114 w 129"/>
              <a:gd name="T45" fmla="*/ 162 h 171"/>
              <a:gd name="T46" fmla="*/ 107 w 129"/>
              <a:gd name="T47" fmla="*/ 166 h 171"/>
              <a:gd name="T48" fmla="*/ 95 w 129"/>
              <a:gd name="T49" fmla="*/ 167 h 171"/>
              <a:gd name="T50" fmla="*/ 85 w 129"/>
              <a:gd name="T51" fmla="*/ 170 h 171"/>
              <a:gd name="T52" fmla="*/ 86 w 129"/>
              <a:gd name="T53" fmla="*/ 163 h 171"/>
              <a:gd name="T54" fmla="*/ 88 w 129"/>
              <a:gd name="T55" fmla="*/ 152 h 171"/>
              <a:gd name="T56" fmla="*/ 74 w 129"/>
              <a:gd name="T57" fmla="*/ 140 h 171"/>
              <a:gd name="T58" fmla="*/ 62 w 129"/>
              <a:gd name="T59" fmla="*/ 131 h 171"/>
              <a:gd name="T60" fmla="*/ 58 w 129"/>
              <a:gd name="T61" fmla="*/ 129 h 171"/>
              <a:gd name="T62" fmla="*/ 56 w 129"/>
              <a:gd name="T63" fmla="*/ 136 h 171"/>
              <a:gd name="T64" fmla="*/ 50 w 129"/>
              <a:gd name="T65" fmla="*/ 145 h 171"/>
              <a:gd name="T66" fmla="*/ 41 w 129"/>
              <a:gd name="T67" fmla="*/ 140 h 171"/>
              <a:gd name="T68" fmla="*/ 24 w 129"/>
              <a:gd name="T69" fmla="*/ 131 h 171"/>
              <a:gd name="T70" fmla="*/ 11 w 129"/>
              <a:gd name="T71" fmla="*/ 118 h 171"/>
              <a:gd name="T72" fmla="*/ 16 w 129"/>
              <a:gd name="T73" fmla="*/ 113 h 171"/>
              <a:gd name="T74" fmla="*/ 20 w 129"/>
              <a:gd name="T75" fmla="*/ 109 h 171"/>
              <a:gd name="T76" fmla="*/ 14 w 129"/>
              <a:gd name="T77" fmla="*/ 96 h 171"/>
              <a:gd name="T78" fmla="*/ 23 w 129"/>
              <a:gd name="T79" fmla="*/ 94 h 171"/>
              <a:gd name="T80" fmla="*/ 9 w 129"/>
              <a:gd name="T81" fmla="*/ 83 h 171"/>
              <a:gd name="T82" fmla="*/ 9 w 129"/>
              <a:gd name="T83" fmla="*/ 73 h 171"/>
              <a:gd name="T84" fmla="*/ 15 w 129"/>
              <a:gd name="T85" fmla="*/ 57 h 171"/>
              <a:gd name="T86" fmla="*/ 5 w 129"/>
              <a:gd name="T87" fmla="*/ 58 h 171"/>
              <a:gd name="T88" fmla="*/ 7 w 129"/>
              <a:gd name="T89" fmla="*/ 55 h 171"/>
              <a:gd name="T90" fmla="*/ 9 w 129"/>
              <a:gd name="T91" fmla="*/ 44 h 171"/>
              <a:gd name="T92" fmla="*/ 17 w 129"/>
              <a:gd name="T93" fmla="*/ 43 h 171"/>
              <a:gd name="T94" fmla="*/ 8 w 129"/>
              <a:gd name="T95" fmla="*/ 37 h 171"/>
              <a:gd name="T96" fmla="*/ 6 w 129"/>
              <a:gd name="T97" fmla="*/ 29 h 171"/>
              <a:gd name="T98" fmla="*/ 0 w 129"/>
              <a:gd name="T99" fmla="*/ 15 h 171"/>
              <a:gd name="T100" fmla="*/ 5 w 129"/>
              <a:gd name="T101" fmla="*/ 10 h 171"/>
              <a:gd name="T102" fmla="*/ 11 w 129"/>
              <a:gd name="T103" fmla="*/ 9 h 171"/>
              <a:gd name="T104" fmla="*/ 19 w 129"/>
              <a:gd name="T105" fmla="*/ 4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9" h="171">
                <a:moveTo>
                  <a:pt x="27" y="1"/>
                </a:moveTo>
                <a:lnTo>
                  <a:pt x="27" y="1"/>
                </a:lnTo>
                <a:lnTo>
                  <a:pt x="31" y="1"/>
                </a:lnTo>
                <a:lnTo>
                  <a:pt x="34" y="1"/>
                </a:lnTo>
                <a:lnTo>
                  <a:pt x="41" y="2"/>
                </a:lnTo>
                <a:lnTo>
                  <a:pt x="42" y="2"/>
                </a:lnTo>
                <a:lnTo>
                  <a:pt x="43" y="3"/>
                </a:lnTo>
                <a:lnTo>
                  <a:pt x="45" y="6"/>
                </a:lnTo>
                <a:lnTo>
                  <a:pt x="47" y="9"/>
                </a:lnTo>
                <a:lnTo>
                  <a:pt x="49" y="11"/>
                </a:lnTo>
                <a:lnTo>
                  <a:pt x="52" y="12"/>
                </a:lnTo>
                <a:lnTo>
                  <a:pt x="54" y="14"/>
                </a:lnTo>
                <a:lnTo>
                  <a:pt x="56" y="18"/>
                </a:lnTo>
                <a:lnTo>
                  <a:pt x="58" y="20"/>
                </a:lnTo>
                <a:lnTo>
                  <a:pt x="58" y="20"/>
                </a:lnTo>
                <a:lnTo>
                  <a:pt x="59" y="19"/>
                </a:lnTo>
                <a:lnTo>
                  <a:pt x="59" y="19"/>
                </a:lnTo>
                <a:lnTo>
                  <a:pt x="60" y="19"/>
                </a:lnTo>
                <a:lnTo>
                  <a:pt x="60" y="20"/>
                </a:lnTo>
                <a:lnTo>
                  <a:pt x="60" y="23"/>
                </a:lnTo>
                <a:lnTo>
                  <a:pt x="60" y="26"/>
                </a:lnTo>
                <a:lnTo>
                  <a:pt x="60" y="29"/>
                </a:lnTo>
                <a:lnTo>
                  <a:pt x="60" y="29"/>
                </a:lnTo>
                <a:lnTo>
                  <a:pt x="60" y="30"/>
                </a:lnTo>
                <a:lnTo>
                  <a:pt x="60" y="31"/>
                </a:lnTo>
                <a:lnTo>
                  <a:pt x="61" y="32"/>
                </a:lnTo>
                <a:lnTo>
                  <a:pt x="63" y="33"/>
                </a:lnTo>
                <a:lnTo>
                  <a:pt x="65" y="36"/>
                </a:lnTo>
                <a:lnTo>
                  <a:pt x="68" y="38"/>
                </a:lnTo>
                <a:lnTo>
                  <a:pt x="70" y="39"/>
                </a:lnTo>
                <a:lnTo>
                  <a:pt x="72" y="39"/>
                </a:lnTo>
                <a:lnTo>
                  <a:pt x="74" y="42"/>
                </a:lnTo>
                <a:lnTo>
                  <a:pt x="79" y="43"/>
                </a:lnTo>
                <a:lnTo>
                  <a:pt x="80" y="44"/>
                </a:lnTo>
                <a:lnTo>
                  <a:pt x="81" y="45"/>
                </a:lnTo>
                <a:lnTo>
                  <a:pt x="82" y="46"/>
                </a:lnTo>
                <a:lnTo>
                  <a:pt x="82" y="47"/>
                </a:lnTo>
                <a:lnTo>
                  <a:pt x="82" y="47"/>
                </a:lnTo>
                <a:lnTo>
                  <a:pt x="80" y="49"/>
                </a:lnTo>
                <a:lnTo>
                  <a:pt x="80" y="51"/>
                </a:lnTo>
                <a:lnTo>
                  <a:pt x="79" y="51"/>
                </a:lnTo>
                <a:lnTo>
                  <a:pt x="79" y="51"/>
                </a:lnTo>
                <a:lnTo>
                  <a:pt x="78" y="52"/>
                </a:lnTo>
                <a:lnTo>
                  <a:pt x="78" y="53"/>
                </a:lnTo>
                <a:lnTo>
                  <a:pt x="79" y="53"/>
                </a:lnTo>
                <a:lnTo>
                  <a:pt x="80" y="54"/>
                </a:lnTo>
                <a:lnTo>
                  <a:pt x="82" y="55"/>
                </a:lnTo>
                <a:lnTo>
                  <a:pt x="84" y="56"/>
                </a:lnTo>
                <a:lnTo>
                  <a:pt x="84" y="57"/>
                </a:lnTo>
                <a:lnTo>
                  <a:pt x="83" y="57"/>
                </a:lnTo>
                <a:lnTo>
                  <a:pt x="81" y="58"/>
                </a:lnTo>
                <a:lnTo>
                  <a:pt x="79" y="58"/>
                </a:lnTo>
                <a:lnTo>
                  <a:pt x="78" y="58"/>
                </a:lnTo>
                <a:lnTo>
                  <a:pt x="78" y="60"/>
                </a:lnTo>
                <a:lnTo>
                  <a:pt x="83" y="61"/>
                </a:lnTo>
                <a:lnTo>
                  <a:pt x="86" y="63"/>
                </a:lnTo>
                <a:lnTo>
                  <a:pt x="87" y="65"/>
                </a:lnTo>
                <a:lnTo>
                  <a:pt x="90" y="66"/>
                </a:lnTo>
                <a:lnTo>
                  <a:pt x="95" y="67"/>
                </a:lnTo>
                <a:lnTo>
                  <a:pt x="99" y="69"/>
                </a:lnTo>
                <a:lnTo>
                  <a:pt x="101" y="72"/>
                </a:lnTo>
                <a:lnTo>
                  <a:pt x="104" y="71"/>
                </a:lnTo>
                <a:lnTo>
                  <a:pt x="109" y="66"/>
                </a:lnTo>
                <a:lnTo>
                  <a:pt x="114" y="65"/>
                </a:lnTo>
                <a:lnTo>
                  <a:pt x="118" y="68"/>
                </a:lnTo>
                <a:lnTo>
                  <a:pt x="121" y="70"/>
                </a:lnTo>
                <a:lnTo>
                  <a:pt x="121" y="71"/>
                </a:lnTo>
                <a:lnTo>
                  <a:pt x="120" y="72"/>
                </a:lnTo>
                <a:lnTo>
                  <a:pt x="117" y="71"/>
                </a:lnTo>
                <a:lnTo>
                  <a:pt x="115" y="72"/>
                </a:lnTo>
                <a:lnTo>
                  <a:pt x="114" y="75"/>
                </a:lnTo>
                <a:lnTo>
                  <a:pt x="114" y="77"/>
                </a:lnTo>
                <a:lnTo>
                  <a:pt x="115" y="79"/>
                </a:lnTo>
                <a:lnTo>
                  <a:pt x="116" y="81"/>
                </a:lnTo>
                <a:lnTo>
                  <a:pt x="118" y="82"/>
                </a:lnTo>
                <a:lnTo>
                  <a:pt x="119" y="83"/>
                </a:lnTo>
                <a:lnTo>
                  <a:pt x="120" y="85"/>
                </a:lnTo>
                <a:lnTo>
                  <a:pt x="120" y="86"/>
                </a:lnTo>
                <a:lnTo>
                  <a:pt x="119" y="86"/>
                </a:lnTo>
                <a:lnTo>
                  <a:pt x="118" y="87"/>
                </a:lnTo>
                <a:lnTo>
                  <a:pt x="117" y="89"/>
                </a:lnTo>
                <a:lnTo>
                  <a:pt x="117" y="93"/>
                </a:lnTo>
                <a:lnTo>
                  <a:pt x="113" y="95"/>
                </a:lnTo>
                <a:lnTo>
                  <a:pt x="111" y="95"/>
                </a:lnTo>
                <a:lnTo>
                  <a:pt x="111" y="97"/>
                </a:lnTo>
                <a:lnTo>
                  <a:pt x="110" y="102"/>
                </a:lnTo>
                <a:lnTo>
                  <a:pt x="110" y="105"/>
                </a:lnTo>
                <a:lnTo>
                  <a:pt x="110" y="107"/>
                </a:lnTo>
                <a:lnTo>
                  <a:pt x="110" y="108"/>
                </a:lnTo>
                <a:lnTo>
                  <a:pt x="112" y="110"/>
                </a:lnTo>
                <a:lnTo>
                  <a:pt x="113" y="113"/>
                </a:lnTo>
                <a:lnTo>
                  <a:pt x="114" y="117"/>
                </a:lnTo>
                <a:lnTo>
                  <a:pt x="115" y="119"/>
                </a:lnTo>
                <a:lnTo>
                  <a:pt x="120" y="122"/>
                </a:lnTo>
                <a:lnTo>
                  <a:pt x="122" y="124"/>
                </a:lnTo>
                <a:lnTo>
                  <a:pt x="124" y="126"/>
                </a:lnTo>
                <a:lnTo>
                  <a:pt x="125" y="128"/>
                </a:lnTo>
                <a:lnTo>
                  <a:pt x="129" y="131"/>
                </a:lnTo>
                <a:lnTo>
                  <a:pt x="128" y="133"/>
                </a:lnTo>
                <a:lnTo>
                  <a:pt x="128" y="135"/>
                </a:lnTo>
                <a:lnTo>
                  <a:pt x="127" y="135"/>
                </a:lnTo>
                <a:lnTo>
                  <a:pt x="125" y="138"/>
                </a:lnTo>
                <a:lnTo>
                  <a:pt x="123" y="139"/>
                </a:lnTo>
                <a:lnTo>
                  <a:pt x="120" y="144"/>
                </a:lnTo>
                <a:lnTo>
                  <a:pt x="116" y="144"/>
                </a:lnTo>
                <a:lnTo>
                  <a:pt x="114" y="144"/>
                </a:lnTo>
                <a:lnTo>
                  <a:pt x="113" y="145"/>
                </a:lnTo>
                <a:lnTo>
                  <a:pt x="112" y="147"/>
                </a:lnTo>
                <a:lnTo>
                  <a:pt x="113" y="149"/>
                </a:lnTo>
                <a:lnTo>
                  <a:pt x="113" y="151"/>
                </a:lnTo>
                <a:lnTo>
                  <a:pt x="112" y="154"/>
                </a:lnTo>
                <a:lnTo>
                  <a:pt x="113" y="158"/>
                </a:lnTo>
                <a:lnTo>
                  <a:pt x="115" y="160"/>
                </a:lnTo>
                <a:lnTo>
                  <a:pt x="115" y="161"/>
                </a:lnTo>
                <a:lnTo>
                  <a:pt x="114" y="162"/>
                </a:lnTo>
                <a:lnTo>
                  <a:pt x="112" y="166"/>
                </a:lnTo>
                <a:lnTo>
                  <a:pt x="111" y="167"/>
                </a:lnTo>
                <a:lnTo>
                  <a:pt x="109" y="168"/>
                </a:lnTo>
                <a:lnTo>
                  <a:pt x="108" y="167"/>
                </a:lnTo>
                <a:lnTo>
                  <a:pt x="107" y="166"/>
                </a:lnTo>
                <a:lnTo>
                  <a:pt x="106" y="166"/>
                </a:lnTo>
                <a:lnTo>
                  <a:pt x="103" y="167"/>
                </a:lnTo>
                <a:lnTo>
                  <a:pt x="100" y="168"/>
                </a:lnTo>
                <a:lnTo>
                  <a:pt x="97" y="167"/>
                </a:lnTo>
                <a:lnTo>
                  <a:pt x="95" y="167"/>
                </a:lnTo>
                <a:lnTo>
                  <a:pt x="94" y="168"/>
                </a:lnTo>
                <a:lnTo>
                  <a:pt x="92" y="168"/>
                </a:lnTo>
                <a:lnTo>
                  <a:pt x="90" y="170"/>
                </a:lnTo>
                <a:lnTo>
                  <a:pt x="86" y="171"/>
                </a:lnTo>
                <a:lnTo>
                  <a:pt x="85" y="170"/>
                </a:lnTo>
                <a:lnTo>
                  <a:pt x="84" y="169"/>
                </a:lnTo>
                <a:lnTo>
                  <a:pt x="83" y="167"/>
                </a:lnTo>
                <a:lnTo>
                  <a:pt x="83" y="166"/>
                </a:lnTo>
                <a:lnTo>
                  <a:pt x="86" y="165"/>
                </a:lnTo>
                <a:lnTo>
                  <a:pt x="86" y="163"/>
                </a:lnTo>
                <a:lnTo>
                  <a:pt x="90" y="156"/>
                </a:lnTo>
                <a:lnTo>
                  <a:pt x="90" y="153"/>
                </a:lnTo>
                <a:lnTo>
                  <a:pt x="90" y="153"/>
                </a:lnTo>
                <a:lnTo>
                  <a:pt x="90" y="152"/>
                </a:lnTo>
                <a:lnTo>
                  <a:pt x="88" y="152"/>
                </a:lnTo>
                <a:lnTo>
                  <a:pt x="79" y="149"/>
                </a:lnTo>
                <a:lnTo>
                  <a:pt x="80" y="146"/>
                </a:lnTo>
                <a:lnTo>
                  <a:pt x="77" y="144"/>
                </a:lnTo>
                <a:lnTo>
                  <a:pt x="74" y="142"/>
                </a:lnTo>
                <a:lnTo>
                  <a:pt x="74" y="140"/>
                </a:lnTo>
                <a:lnTo>
                  <a:pt x="71" y="137"/>
                </a:lnTo>
                <a:lnTo>
                  <a:pt x="69" y="135"/>
                </a:lnTo>
                <a:lnTo>
                  <a:pt x="66" y="134"/>
                </a:lnTo>
                <a:lnTo>
                  <a:pt x="64" y="132"/>
                </a:lnTo>
                <a:lnTo>
                  <a:pt x="62" y="131"/>
                </a:lnTo>
                <a:lnTo>
                  <a:pt x="61" y="130"/>
                </a:lnTo>
                <a:lnTo>
                  <a:pt x="61" y="129"/>
                </a:lnTo>
                <a:lnTo>
                  <a:pt x="61" y="128"/>
                </a:lnTo>
                <a:lnTo>
                  <a:pt x="60" y="128"/>
                </a:lnTo>
                <a:lnTo>
                  <a:pt x="58" y="129"/>
                </a:lnTo>
                <a:lnTo>
                  <a:pt x="55" y="130"/>
                </a:lnTo>
                <a:lnTo>
                  <a:pt x="55" y="131"/>
                </a:lnTo>
                <a:lnTo>
                  <a:pt x="56" y="133"/>
                </a:lnTo>
                <a:lnTo>
                  <a:pt x="56" y="134"/>
                </a:lnTo>
                <a:lnTo>
                  <a:pt x="56" y="136"/>
                </a:lnTo>
                <a:lnTo>
                  <a:pt x="55" y="137"/>
                </a:lnTo>
                <a:lnTo>
                  <a:pt x="51" y="141"/>
                </a:lnTo>
                <a:lnTo>
                  <a:pt x="50" y="142"/>
                </a:lnTo>
                <a:lnTo>
                  <a:pt x="51" y="144"/>
                </a:lnTo>
                <a:lnTo>
                  <a:pt x="50" y="145"/>
                </a:lnTo>
                <a:lnTo>
                  <a:pt x="47" y="146"/>
                </a:lnTo>
                <a:lnTo>
                  <a:pt x="47" y="145"/>
                </a:lnTo>
                <a:lnTo>
                  <a:pt x="46" y="143"/>
                </a:lnTo>
                <a:lnTo>
                  <a:pt x="44" y="141"/>
                </a:lnTo>
                <a:lnTo>
                  <a:pt x="41" y="140"/>
                </a:lnTo>
                <a:lnTo>
                  <a:pt x="34" y="135"/>
                </a:lnTo>
                <a:lnTo>
                  <a:pt x="31" y="135"/>
                </a:lnTo>
                <a:lnTo>
                  <a:pt x="29" y="134"/>
                </a:lnTo>
                <a:lnTo>
                  <a:pt x="26" y="132"/>
                </a:lnTo>
                <a:lnTo>
                  <a:pt x="24" y="131"/>
                </a:lnTo>
                <a:lnTo>
                  <a:pt x="22" y="130"/>
                </a:lnTo>
                <a:lnTo>
                  <a:pt x="18" y="124"/>
                </a:lnTo>
                <a:lnTo>
                  <a:pt x="14" y="121"/>
                </a:lnTo>
                <a:lnTo>
                  <a:pt x="11" y="119"/>
                </a:lnTo>
                <a:lnTo>
                  <a:pt x="11" y="118"/>
                </a:lnTo>
                <a:lnTo>
                  <a:pt x="11" y="116"/>
                </a:lnTo>
                <a:lnTo>
                  <a:pt x="11" y="116"/>
                </a:lnTo>
                <a:lnTo>
                  <a:pt x="13" y="114"/>
                </a:lnTo>
                <a:lnTo>
                  <a:pt x="14" y="113"/>
                </a:lnTo>
                <a:lnTo>
                  <a:pt x="16" y="113"/>
                </a:lnTo>
                <a:lnTo>
                  <a:pt x="17" y="114"/>
                </a:lnTo>
                <a:lnTo>
                  <a:pt x="19" y="115"/>
                </a:lnTo>
                <a:lnTo>
                  <a:pt x="20" y="113"/>
                </a:lnTo>
                <a:lnTo>
                  <a:pt x="20" y="111"/>
                </a:lnTo>
                <a:lnTo>
                  <a:pt x="20" y="109"/>
                </a:lnTo>
                <a:lnTo>
                  <a:pt x="16" y="103"/>
                </a:lnTo>
                <a:lnTo>
                  <a:pt x="13" y="98"/>
                </a:lnTo>
                <a:lnTo>
                  <a:pt x="12" y="97"/>
                </a:lnTo>
                <a:lnTo>
                  <a:pt x="13" y="96"/>
                </a:lnTo>
                <a:lnTo>
                  <a:pt x="14" y="96"/>
                </a:lnTo>
                <a:lnTo>
                  <a:pt x="15" y="96"/>
                </a:lnTo>
                <a:lnTo>
                  <a:pt x="19" y="97"/>
                </a:lnTo>
                <a:lnTo>
                  <a:pt x="22" y="96"/>
                </a:lnTo>
                <a:lnTo>
                  <a:pt x="23" y="95"/>
                </a:lnTo>
                <a:lnTo>
                  <a:pt x="23" y="94"/>
                </a:lnTo>
                <a:lnTo>
                  <a:pt x="22" y="93"/>
                </a:lnTo>
                <a:lnTo>
                  <a:pt x="18" y="89"/>
                </a:lnTo>
                <a:lnTo>
                  <a:pt x="15" y="86"/>
                </a:lnTo>
                <a:lnTo>
                  <a:pt x="12" y="84"/>
                </a:lnTo>
                <a:lnTo>
                  <a:pt x="9" y="83"/>
                </a:lnTo>
                <a:lnTo>
                  <a:pt x="9" y="82"/>
                </a:lnTo>
                <a:lnTo>
                  <a:pt x="8" y="80"/>
                </a:lnTo>
                <a:lnTo>
                  <a:pt x="9" y="78"/>
                </a:lnTo>
                <a:lnTo>
                  <a:pt x="9" y="75"/>
                </a:lnTo>
                <a:lnTo>
                  <a:pt x="9" y="73"/>
                </a:lnTo>
                <a:lnTo>
                  <a:pt x="12" y="69"/>
                </a:lnTo>
                <a:lnTo>
                  <a:pt x="14" y="66"/>
                </a:lnTo>
                <a:lnTo>
                  <a:pt x="15" y="62"/>
                </a:lnTo>
                <a:lnTo>
                  <a:pt x="16" y="58"/>
                </a:lnTo>
                <a:lnTo>
                  <a:pt x="15" y="57"/>
                </a:lnTo>
                <a:lnTo>
                  <a:pt x="14" y="57"/>
                </a:lnTo>
                <a:lnTo>
                  <a:pt x="12" y="56"/>
                </a:lnTo>
                <a:lnTo>
                  <a:pt x="9" y="57"/>
                </a:lnTo>
                <a:lnTo>
                  <a:pt x="6" y="58"/>
                </a:lnTo>
                <a:lnTo>
                  <a:pt x="5" y="58"/>
                </a:lnTo>
                <a:lnTo>
                  <a:pt x="4" y="56"/>
                </a:lnTo>
                <a:lnTo>
                  <a:pt x="5" y="56"/>
                </a:lnTo>
                <a:lnTo>
                  <a:pt x="6" y="56"/>
                </a:lnTo>
                <a:lnTo>
                  <a:pt x="6" y="56"/>
                </a:lnTo>
                <a:lnTo>
                  <a:pt x="7" y="55"/>
                </a:lnTo>
                <a:lnTo>
                  <a:pt x="8" y="53"/>
                </a:lnTo>
                <a:lnTo>
                  <a:pt x="7" y="46"/>
                </a:lnTo>
                <a:lnTo>
                  <a:pt x="9" y="46"/>
                </a:lnTo>
                <a:lnTo>
                  <a:pt x="9" y="45"/>
                </a:lnTo>
                <a:lnTo>
                  <a:pt x="9" y="44"/>
                </a:lnTo>
                <a:lnTo>
                  <a:pt x="11" y="45"/>
                </a:lnTo>
                <a:lnTo>
                  <a:pt x="14" y="45"/>
                </a:lnTo>
                <a:lnTo>
                  <a:pt x="17" y="45"/>
                </a:lnTo>
                <a:lnTo>
                  <a:pt x="17" y="44"/>
                </a:lnTo>
                <a:lnTo>
                  <a:pt x="17" y="43"/>
                </a:lnTo>
                <a:lnTo>
                  <a:pt x="17" y="42"/>
                </a:lnTo>
                <a:lnTo>
                  <a:pt x="16" y="41"/>
                </a:lnTo>
                <a:lnTo>
                  <a:pt x="15" y="40"/>
                </a:lnTo>
                <a:lnTo>
                  <a:pt x="13" y="40"/>
                </a:lnTo>
                <a:lnTo>
                  <a:pt x="8" y="37"/>
                </a:lnTo>
                <a:lnTo>
                  <a:pt x="5" y="35"/>
                </a:lnTo>
                <a:lnTo>
                  <a:pt x="5" y="32"/>
                </a:lnTo>
                <a:lnTo>
                  <a:pt x="6" y="30"/>
                </a:lnTo>
                <a:lnTo>
                  <a:pt x="7" y="29"/>
                </a:lnTo>
                <a:lnTo>
                  <a:pt x="6" y="29"/>
                </a:lnTo>
                <a:lnTo>
                  <a:pt x="3" y="28"/>
                </a:lnTo>
                <a:lnTo>
                  <a:pt x="2" y="26"/>
                </a:lnTo>
                <a:lnTo>
                  <a:pt x="3" y="23"/>
                </a:lnTo>
                <a:lnTo>
                  <a:pt x="1" y="18"/>
                </a:lnTo>
                <a:lnTo>
                  <a:pt x="0" y="15"/>
                </a:lnTo>
                <a:lnTo>
                  <a:pt x="1" y="14"/>
                </a:lnTo>
                <a:lnTo>
                  <a:pt x="2" y="12"/>
                </a:lnTo>
                <a:lnTo>
                  <a:pt x="2" y="11"/>
                </a:lnTo>
                <a:lnTo>
                  <a:pt x="2" y="11"/>
                </a:lnTo>
                <a:lnTo>
                  <a:pt x="5" y="10"/>
                </a:lnTo>
                <a:lnTo>
                  <a:pt x="6" y="9"/>
                </a:lnTo>
                <a:lnTo>
                  <a:pt x="7" y="7"/>
                </a:lnTo>
                <a:lnTo>
                  <a:pt x="7" y="7"/>
                </a:lnTo>
                <a:lnTo>
                  <a:pt x="9" y="8"/>
                </a:lnTo>
                <a:lnTo>
                  <a:pt x="11" y="9"/>
                </a:lnTo>
                <a:lnTo>
                  <a:pt x="13" y="8"/>
                </a:lnTo>
                <a:lnTo>
                  <a:pt x="15" y="7"/>
                </a:lnTo>
                <a:lnTo>
                  <a:pt x="17" y="6"/>
                </a:lnTo>
                <a:lnTo>
                  <a:pt x="18" y="5"/>
                </a:lnTo>
                <a:lnTo>
                  <a:pt x="19" y="4"/>
                </a:lnTo>
                <a:lnTo>
                  <a:pt x="21" y="1"/>
                </a:lnTo>
                <a:lnTo>
                  <a:pt x="24" y="0"/>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1221" name="Finland">
            <a:extLst>
              <a:ext uri="{FF2B5EF4-FFF2-40B4-BE49-F238E27FC236}">
                <a16:creationId xmlns:a16="http://schemas.microsoft.com/office/drawing/2014/main" id="{410935B7-AB8E-418F-91C5-E9AF579B3FFB}"/>
              </a:ext>
            </a:extLst>
          </p:cNvPr>
          <p:cNvSpPr>
            <a:spLocks noEditPoints="1"/>
          </p:cNvSpPr>
          <p:nvPr/>
        </p:nvSpPr>
        <p:spPr bwMode="auto">
          <a:xfrm>
            <a:off x="6439551" y="2173010"/>
            <a:ext cx="306375" cy="500036"/>
          </a:xfrm>
          <a:custGeom>
            <a:avLst/>
            <a:gdLst>
              <a:gd name="T0" fmla="*/ 253 w 340"/>
              <a:gd name="T1" fmla="*/ 108 h 764"/>
              <a:gd name="T2" fmla="*/ 272 w 340"/>
              <a:gd name="T3" fmla="*/ 175 h 764"/>
              <a:gd name="T4" fmla="*/ 269 w 340"/>
              <a:gd name="T5" fmla="*/ 254 h 764"/>
              <a:gd name="T6" fmla="*/ 280 w 340"/>
              <a:gd name="T7" fmla="*/ 312 h 764"/>
              <a:gd name="T8" fmla="*/ 294 w 340"/>
              <a:gd name="T9" fmla="*/ 365 h 764"/>
              <a:gd name="T10" fmla="*/ 281 w 340"/>
              <a:gd name="T11" fmla="*/ 397 h 764"/>
              <a:gd name="T12" fmla="*/ 280 w 340"/>
              <a:gd name="T13" fmla="*/ 417 h 764"/>
              <a:gd name="T14" fmla="*/ 292 w 340"/>
              <a:gd name="T15" fmla="*/ 450 h 764"/>
              <a:gd name="T16" fmla="*/ 306 w 340"/>
              <a:gd name="T17" fmla="*/ 491 h 764"/>
              <a:gd name="T18" fmla="*/ 331 w 340"/>
              <a:gd name="T19" fmla="*/ 547 h 764"/>
              <a:gd name="T20" fmla="*/ 330 w 340"/>
              <a:gd name="T21" fmla="*/ 592 h 764"/>
              <a:gd name="T22" fmla="*/ 277 w 340"/>
              <a:gd name="T23" fmla="*/ 661 h 764"/>
              <a:gd name="T24" fmla="*/ 224 w 340"/>
              <a:gd name="T25" fmla="*/ 719 h 764"/>
              <a:gd name="T26" fmla="*/ 190 w 340"/>
              <a:gd name="T27" fmla="*/ 724 h 764"/>
              <a:gd name="T28" fmla="*/ 182 w 340"/>
              <a:gd name="T29" fmla="*/ 724 h 764"/>
              <a:gd name="T30" fmla="*/ 163 w 340"/>
              <a:gd name="T31" fmla="*/ 733 h 764"/>
              <a:gd name="T32" fmla="*/ 132 w 340"/>
              <a:gd name="T33" fmla="*/ 743 h 764"/>
              <a:gd name="T34" fmla="*/ 84 w 340"/>
              <a:gd name="T35" fmla="*/ 758 h 764"/>
              <a:gd name="T36" fmla="*/ 77 w 340"/>
              <a:gd name="T37" fmla="*/ 750 h 764"/>
              <a:gd name="T38" fmla="*/ 63 w 340"/>
              <a:gd name="T39" fmla="*/ 751 h 764"/>
              <a:gd name="T40" fmla="*/ 62 w 340"/>
              <a:gd name="T41" fmla="*/ 739 h 764"/>
              <a:gd name="T42" fmla="*/ 41 w 340"/>
              <a:gd name="T43" fmla="*/ 722 h 764"/>
              <a:gd name="T44" fmla="*/ 25 w 340"/>
              <a:gd name="T45" fmla="*/ 705 h 764"/>
              <a:gd name="T46" fmla="*/ 28 w 340"/>
              <a:gd name="T47" fmla="*/ 658 h 764"/>
              <a:gd name="T48" fmla="*/ 29 w 340"/>
              <a:gd name="T49" fmla="*/ 646 h 764"/>
              <a:gd name="T50" fmla="*/ 17 w 340"/>
              <a:gd name="T51" fmla="*/ 597 h 764"/>
              <a:gd name="T52" fmla="*/ 30 w 340"/>
              <a:gd name="T53" fmla="*/ 549 h 764"/>
              <a:gd name="T54" fmla="*/ 51 w 340"/>
              <a:gd name="T55" fmla="*/ 527 h 764"/>
              <a:gd name="T56" fmla="*/ 75 w 340"/>
              <a:gd name="T57" fmla="*/ 500 h 764"/>
              <a:gd name="T58" fmla="*/ 114 w 340"/>
              <a:gd name="T59" fmla="*/ 450 h 764"/>
              <a:gd name="T60" fmla="*/ 146 w 340"/>
              <a:gd name="T61" fmla="*/ 425 h 764"/>
              <a:gd name="T62" fmla="*/ 146 w 340"/>
              <a:gd name="T63" fmla="*/ 389 h 764"/>
              <a:gd name="T64" fmla="*/ 124 w 340"/>
              <a:gd name="T65" fmla="*/ 351 h 764"/>
              <a:gd name="T66" fmla="*/ 97 w 340"/>
              <a:gd name="T67" fmla="*/ 323 h 764"/>
              <a:gd name="T68" fmla="*/ 102 w 340"/>
              <a:gd name="T69" fmla="*/ 285 h 764"/>
              <a:gd name="T70" fmla="*/ 94 w 340"/>
              <a:gd name="T71" fmla="*/ 247 h 764"/>
              <a:gd name="T72" fmla="*/ 88 w 340"/>
              <a:gd name="T73" fmla="*/ 225 h 764"/>
              <a:gd name="T74" fmla="*/ 94 w 340"/>
              <a:gd name="T75" fmla="*/ 186 h 764"/>
              <a:gd name="T76" fmla="*/ 67 w 340"/>
              <a:gd name="T77" fmla="*/ 147 h 764"/>
              <a:gd name="T78" fmla="*/ 20 w 340"/>
              <a:gd name="T79" fmla="*/ 114 h 764"/>
              <a:gd name="T80" fmla="*/ 14 w 340"/>
              <a:gd name="T81" fmla="*/ 92 h 764"/>
              <a:gd name="T82" fmla="*/ 31 w 340"/>
              <a:gd name="T83" fmla="*/ 72 h 764"/>
              <a:gd name="T84" fmla="*/ 77 w 340"/>
              <a:gd name="T85" fmla="*/ 123 h 764"/>
              <a:gd name="T86" fmla="*/ 116 w 340"/>
              <a:gd name="T87" fmla="*/ 120 h 764"/>
              <a:gd name="T88" fmla="*/ 152 w 340"/>
              <a:gd name="T89" fmla="*/ 106 h 764"/>
              <a:gd name="T90" fmla="*/ 168 w 340"/>
              <a:gd name="T91" fmla="*/ 38 h 764"/>
              <a:gd name="T92" fmla="*/ 203 w 340"/>
              <a:gd name="T93" fmla="*/ 15 h 764"/>
              <a:gd name="T94" fmla="*/ 255 w 340"/>
              <a:gd name="T95" fmla="*/ 31 h 764"/>
              <a:gd name="T96" fmla="*/ 260 w 340"/>
              <a:gd name="T97" fmla="*/ 93 h 764"/>
              <a:gd name="T98" fmla="*/ 137 w 340"/>
              <a:gd name="T99" fmla="*/ 412 h 764"/>
              <a:gd name="T100" fmla="*/ 25 w 340"/>
              <a:gd name="T101" fmla="*/ 543 h 764"/>
              <a:gd name="T102" fmla="*/ 19 w 340"/>
              <a:gd name="T103" fmla="*/ 539 h 764"/>
              <a:gd name="T104" fmla="*/ 19 w 340"/>
              <a:gd name="T105" fmla="*/ 714 h 764"/>
              <a:gd name="T106" fmla="*/ 38 w 340"/>
              <a:gd name="T107" fmla="*/ 727 h 764"/>
              <a:gd name="T108" fmla="*/ 49 w 340"/>
              <a:gd name="T109" fmla="*/ 730 h 764"/>
              <a:gd name="T110" fmla="*/ 50 w 340"/>
              <a:gd name="T111" fmla="*/ 741 h 764"/>
              <a:gd name="T112" fmla="*/ 35 w 340"/>
              <a:gd name="T113" fmla="*/ 746 h 764"/>
              <a:gd name="T114" fmla="*/ 27 w 340"/>
              <a:gd name="T115" fmla="*/ 745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0" h="764">
                <a:moveTo>
                  <a:pt x="260" y="93"/>
                </a:moveTo>
                <a:lnTo>
                  <a:pt x="260" y="93"/>
                </a:lnTo>
                <a:lnTo>
                  <a:pt x="258" y="94"/>
                </a:lnTo>
                <a:lnTo>
                  <a:pt x="252" y="99"/>
                </a:lnTo>
                <a:lnTo>
                  <a:pt x="248" y="101"/>
                </a:lnTo>
                <a:lnTo>
                  <a:pt x="243" y="103"/>
                </a:lnTo>
                <a:lnTo>
                  <a:pt x="244" y="106"/>
                </a:lnTo>
                <a:lnTo>
                  <a:pt x="252" y="107"/>
                </a:lnTo>
                <a:lnTo>
                  <a:pt x="253" y="108"/>
                </a:lnTo>
                <a:lnTo>
                  <a:pt x="254" y="109"/>
                </a:lnTo>
                <a:lnTo>
                  <a:pt x="254" y="111"/>
                </a:lnTo>
                <a:lnTo>
                  <a:pt x="254" y="115"/>
                </a:lnTo>
                <a:lnTo>
                  <a:pt x="245" y="135"/>
                </a:lnTo>
                <a:lnTo>
                  <a:pt x="245" y="139"/>
                </a:lnTo>
                <a:lnTo>
                  <a:pt x="248" y="151"/>
                </a:lnTo>
                <a:lnTo>
                  <a:pt x="252" y="164"/>
                </a:lnTo>
                <a:lnTo>
                  <a:pt x="263" y="170"/>
                </a:lnTo>
                <a:lnTo>
                  <a:pt x="272" y="175"/>
                </a:lnTo>
                <a:lnTo>
                  <a:pt x="278" y="186"/>
                </a:lnTo>
                <a:lnTo>
                  <a:pt x="287" y="200"/>
                </a:lnTo>
                <a:lnTo>
                  <a:pt x="292" y="206"/>
                </a:lnTo>
                <a:lnTo>
                  <a:pt x="292" y="208"/>
                </a:lnTo>
                <a:lnTo>
                  <a:pt x="291" y="217"/>
                </a:lnTo>
                <a:lnTo>
                  <a:pt x="285" y="227"/>
                </a:lnTo>
                <a:lnTo>
                  <a:pt x="279" y="236"/>
                </a:lnTo>
                <a:lnTo>
                  <a:pt x="274" y="245"/>
                </a:lnTo>
                <a:lnTo>
                  <a:pt x="269" y="254"/>
                </a:lnTo>
                <a:lnTo>
                  <a:pt x="264" y="264"/>
                </a:lnTo>
                <a:lnTo>
                  <a:pt x="264" y="267"/>
                </a:lnTo>
                <a:lnTo>
                  <a:pt x="264" y="270"/>
                </a:lnTo>
                <a:lnTo>
                  <a:pt x="264" y="274"/>
                </a:lnTo>
                <a:lnTo>
                  <a:pt x="271" y="286"/>
                </a:lnTo>
                <a:lnTo>
                  <a:pt x="273" y="292"/>
                </a:lnTo>
                <a:lnTo>
                  <a:pt x="276" y="299"/>
                </a:lnTo>
                <a:lnTo>
                  <a:pt x="278" y="306"/>
                </a:lnTo>
                <a:lnTo>
                  <a:pt x="280" y="312"/>
                </a:lnTo>
                <a:lnTo>
                  <a:pt x="282" y="318"/>
                </a:lnTo>
                <a:lnTo>
                  <a:pt x="284" y="322"/>
                </a:lnTo>
                <a:lnTo>
                  <a:pt x="287" y="326"/>
                </a:lnTo>
                <a:lnTo>
                  <a:pt x="290" y="333"/>
                </a:lnTo>
                <a:lnTo>
                  <a:pt x="291" y="338"/>
                </a:lnTo>
                <a:lnTo>
                  <a:pt x="295" y="356"/>
                </a:lnTo>
                <a:lnTo>
                  <a:pt x="296" y="361"/>
                </a:lnTo>
                <a:lnTo>
                  <a:pt x="296" y="364"/>
                </a:lnTo>
                <a:lnTo>
                  <a:pt x="294" y="365"/>
                </a:lnTo>
                <a:lnTo>
                  <a:pt x="289" y="365"/>
                </a:lnTo>
                <a:lnTo>
                  <a:pt x="284" y="367"/>
                </a:lnTo>
                <a:lnTo>
                  <a:pt x="284" y="368"/>
                </a:lnTo>
                <a:lnTo>
                  <a:pt x="287" y="372"/>
                </a:lnTo>
                <a:lnTo>
                  <a:pt x="284" y="380"/>
                </a:lnTo>
                <a:lnTo>
                  <a:pt x="284" y="390"/>
                </a:lnTo>
                <a:lnTo>
                  <a:pt x="281" y="395"/>
                </a:lnTo>
                <a:lnTo>
                  <a:pt x="280" y="396"/>
                </a:lnTo>
                <a:lnTo>
                  <a:pt x="281" y="397"/>
                </a:lnTo>
                <a:lnTo>
                  <a:pt x="281" y="398"/>
                </a:lnTo>
                <a:lnTo>
                  <a:pt x="287" y="400"/>
                </a:lnTo>
                <a:lnTo>
                  <a:pt x="287" y="401"/>
                </a:lnTo>
                <a:lnTo>
                  <a:pt x="287" y="404"/>
                </a:lnTo>
                <a:lnTo>
                  <a:pt x="287" y="407"/>
                </a:lnTo>
                <a:lnTo>
                  <a:pt x="284" y="409"/>
                </a:lnTo>
                <a:lnTo>
                  <a:pt x="281" y="412"/>
                </a:lnTo>
                <a:lnTo>
                  <a:pt x="280" y="415"/>
                </a:lnTo>
                <a:lnTo>
                  <a:pt x="280" y="417"/>
                </a:lnTo>
                <a:lnTo>
                  <a:pt x="281" y="421"/>
                </a:lnTo>
                <a:lnTo>
                  <a:pt x="283" y="426"/>
                </a:lnTo>
                <a:lnTo>
                  <a:pt x="286" y="429"/>
                </a:lnTo>
                <a:lnTo>
                  <a:pt x="295" y="432"/>
                </a:lnTo>
                <a:lnTo>
                  <a:pt x="296" y="434"/>
                </a:lnTo>
                <a:lnTo>
                  <a:pt x="297" y="438"/>
                </a:lnTo>
                <a:lnTo>
                  <a:pt x="296" y="441"/>
                </a:lnTo>
                <a:lnTo>
                  <a:pt x="292" y="447"/>
                </a:lnTo>
                <a:lnTo>
                  <a:pt x="292" y="450"/>
                </a:lnTo>
                <a:lnTo>
                  <a:pt x="294" y="455"/>
                </a:lnTo>
                <a:lnTo>
                  <a:pt x="296" y="461"/>
                </a:lnTo>
                <a:lnTo>
                  <a:pt x="305" y="467"/>
                </a:lnTo>
                <a:lnTo>
                  <a:pt x="308" y="470"/>
                </a:lnTo>
                <a:lnTo>
                  <a:pt x="309" y="473"/>
                </a:lnTo>
                <a:lnTo>
                  <a:pt x="309" y="477"/>
                </a:lnTo>
                <a:lnTo>
                  <a:pt x="309" y="482"/>
                </a:lnTo>
                <a:lnTo>
                  <a:pt x="308" y="486"/>
                </a:lnTo>
                <a:lnTo>
                  <a:pt x="306" y="491"/>
                </a:lnTo>
                <a:lnTo>
                  <a:pt x="299" y="501"/>
                </a:lnTo>
                <a:lnTo>
                  <a:pt x="293" y="505"/>
                </a:lnTo>
                <a:lnTo>
                  <a:pt x="292" y="506"/>
                </a:lnTo>
                <a:lnTo>
                  <a:pt x="294" y="509"/>
                </a:lnTo>
                <a:lnTo>
                  <a:pt x="306" y="522"/>
                </a:lnTo>
                <a:lnTo>
                  <a:pt x="313" y="528"/>
                </a:lnTo>
                <a:lnTo>
                  <a:pt x="323" y="536"/>
                </a:lnTo>
                <a:lnTo>
                  <a:pt x="329" y="543"/>
                </a:lnTo>
                <a:lnTo>
                  <a:pt x="331" y="547"/>
                </a:lnTo>
                <a:lnTo>
                  <a:pt x="334" y="552"/>
                </a:lnTo>
                <a:lnTo>
                  <a:pt x="337" y="556"/>
                </a:lnTo>
                <a:lnTo>
                  <a:pt x="340" y="560"/>
                </a:lnTo>
                <a:lnTo>
                  <a:pt x="340" y="562"/>
                </a:lnTo>
                <a:lnTo>
                  <a:pt x="340" y="565"/>
                </a:lnTo>
                <a:lnTo>
                  <a:pt x="337" y="572"/>
                </a:lnTo>
                <a:lnTo>
                  <a:pt x="336" y="578"/>
                </a:lnTo>
                <a:lnTo>
                  <a:pt x="333" y="586"/>
                </a:lnTo>
                <a:lnTo>
                  <a:pt x="330" y="592"/>
                </a:lnTo>
                <a:lnTo>
                  <a:pt x="322" y="603"/>
                </a:lnTo>
                <a:lnTo>
                  <a:pt x="310" y="616"/>
                </a:lnTo>
                <a:lnTo>
                  <a:pt x="308" y="620"/>
                </a:lnTo>
                <a:lnTo>
                  <a:pt x="302" y="627"/>
                </a:lnTo>
                <a:lnTo>
                  <a:pt x="293" y="640"/>
                </a:lnTo>
                <a:lnTo>
                  <a:pt x="291" y="643"/>
                </a:lnTo>
                <a:lnTo>
                  <a:pt x="283" y="654"/>
                </a:lnTo>
                <a:lnTo>
                  <a:pt x="280" y="658"/>
                </a:lnTo>
                <a:lnTo>
                  <a:pt x="277" y="661"/>
                </a:lnTo>
                <a:lnTo>
                  <a:pt x="269" y="671"/>
                </a:lnTo>
                <a:lnTo>
                  <a:pt x="261" y="679"/>
                </a:lnTo>
                <a:lnTo>
                  <a:pt x="253" y="686"/>
                </a:lnTo>
                <a:lnTo>
                  <a:pt x="251" y="690"/>
                </a:lnTo>
                <a:lnTo>
                  <a:pt x="248" y="692"/>
                </a:lnTo>
                <a:lnTo>
                  <a:pt x="244" y="695"/>
                </a:lnTo>
                <a:lnTo>
                  <a:pt x="243" y="696"/>
                </a:lnTo>
                <a:lnTo>
                  <a:pt x="235" y="706"/>
                </a:lnTo>
                <a:lnTo>
                  <a:pt x="224" y="719"/>
                </a:lnTo>
                <a:lnTo>
                  <a:pt x="223" y="719"/>
                </a:lnTo>
                <a:lnTo>
                  <a:pt x="220" y="722"/>
                </a:lnTo>
                <a:lnTo>
                  <a:pt x="215" y="722"/>
                </a:lnTo>
                <a:lnTo>
                  <a:pt x="213" y="724"/>
                </a:lnTo>
                <a:lnTo>
                  <a:pt x="207" y="719"/>
                </a:lnTo>
                <a:lnTo>
                  <a:pt x="205" y="719"/>
                </a:lnTo>
                <a:lnTo>
                  <a:pt x="201" y="720"/>
                </a:lnTo>
                <a:lnTo>
                  <a:pt x="198" y="723"/>
                </a:lnTo>
                <a:lnTo>
                  <a:pt x="190" y="724"/>
                </a:lnTo>
                <a:lnTo>
                  <a:pt x="187" y="726"/>
                </a:lnTo>
                <a:lnTo>
                  <a:pt x="185" y="727"/>
                </a:lnTo>
                <a:lnTo>
                  <a:pt x="184" y="723"/>
                </a:lnTo>
                <a:lnTo>
                  <a:pt x="185" y="719"/>
                </a:lnTo>
                <a:lnTo>
                  <a:pt x="187" y="716"/>
                </a:lnTo>
                <a:lnTo>
                  <a:pt x="187" y="713"/>
                </a:lnTo>
                <a:lnTo>
                  <a:pt x="186" y="714"/>
                </a:lnTo>
                <a:lnTo>
                  <a:pt x="183" y="718"/>
                </a:lnTo>
                <a:lnTo>
                  <a:pt x="182" y="724"/>
                </a:lnTo>
                <a:lnTo>
                  <a:pt x="180" y="726"/>
                </a:lnTo>
                <a:lnTo>
                  <a:pt x="174" y="727"/>
                </a:lnTo>
                <a:lnTo>
                  <a:pt x="169" y="723"/>
                </a:lnTo>
                <a:lnTo>
                  <a:pt x="166" y="723"/>
                </a:lnTo>
                <a:lnTo>
                  <a:pt x="168" y="726"/>
                </a:lnTo>
                <a:lnTo>
                  <a:pt x="169" y="730"/>
                </a:lnTo>
                <a:lnTo>
                  <a:pt x="169" y="732"/>
                </a:lnTo>
                <a:lnTo>
                  <a:pt x="166" y="731"/>
                </a:lnTo>
                <a:lnTo>
                  <a:pt x="163" y="733"/>
                </a:lnTo>
                <a:lnTo>
                  <a:pt x="160" y="736"/>
                </a:lnTo>
                <a:lnTo>
                  <a:pt x="159" y="736"/>
                </a:lnTo>
                <a:lnTo>
                  <a:pt x="157" y="732"/>
                </a:lnTo>
                <a:lnTo>
                  <a:pt x="154" y="734"/>
                </a:lnTo>
                <a:lnTo>
                  <a:pt x="151" y="737"/>
                </a:lnTo>
                <a:lnTo>
                  <a:pt x="145" y="737"/>
                </a:lnTo>
                <a:lnTo>
                  <a:pt x="142" y="741"/>
                </a:lnTo>
                <a:lnTo>
                  <a:pt x="135" y="743"/>
                </a:lnTo>
                <a:lnTo>
                  <a:pt x="132" y="743"/>
                </a:lnTo>
                <a:lnTo>
                  <a:pt x="124" y="746"/>
                </a:lnTo>
                <a:lnTo>
                  <a:pt x="122" y="750"/>
                </a:lnTo>
                <a:lnTo>
                  <a:pt x="119" y="752"/>
                </a:lnTo>
                <a:lnTo>
                  <a:pt x="116" y="750"/>
                </a:lnTo>
                <a:lnTo>
                  <a:pt x="106" y="752"/>
                </a:lnTo>
                <a:lnTo>
                  <a:pt x="97" y="755"/>
                </a:lnTo>
                <a:lnTo>
                  <a:pt x="93" y="755"/>
                </a:lnTo>
                <a:lnTo>
                  <a:pt x="89" y="754"/>
                </a:lnTo>
                <a:lnTo>
                  <a:pt x="84" y="758"/>
                </a:lnTo>
                <a:lnTo>
                  <a:pt x="80" y="763"/>
                </a:lnTo>
                <a:lnTo>
                  <a:pt x="75" y="764"/>
                </a:lnTo>
                <a:lnTo>
                  <a:pt x="73" y="764"/>
                </a:lnTo>
                <a:lnTo>
                  <a:pt x="75" y="761"/>
                </a:lnTo>
                <a:lnTo>
                  <a:pt x="78" y="758"/>
                </a:lnTo>
                <a:lnTo>
                  <a:pt x="80" y="755"/>
                </a:lnTo>
                <a:lnTo>
                  <a:pt x="81" y="752"/>
                </a:lnTo>
                <a:lnTo>
                  <a:pt x="79" y="750"/>
                </a:lnTo>
                <a:lnTo>
                  <a:pt x="77" y="750"/>
                </a:lnTo>
                <a:lnTo>
                  <a:pt x="74" y="747"/>
                </a:lnTo>
                <a:lnTo>
                  <a:pt x="72" y="740"/>
                </a:lnTo>
                <a:lnTo>
                  <a:pt x="70" y="739"/>
                </a:lnTo>
                <a:lnTo>
                  <a:pt x="69" y="741"/>
                </a:lnTo>
                <a:lnTo>
                  <a:pt x="69" y="747"/>
                </a:lnTo>
                <a:lnTo>
                  <a:pt x="68" y="748"/>
                </a:lnTo>
                <a:lnTo>
                  <a:pt x="67" y="749"/>
                </a:lnTo>
                <a:lnTo>
                  <a:pt x="65" y="751"/>
                </a:lnTo>
                <a:lnTo>
                  <a:pt x="63" y="751"/>
                </a:lnTo>
                <a:lnTo>
                  <a:pt x="58" y="751"/>
                </a:lnTo>
                <a:lnTo>
                  <a:pt x="57" y="748"/>
                </a:lnTo>
                <a:lnTo>
                  <a:pt x="57" y="747"/>
                </a:lnTo>
                <a:lnTo>
                  <a:pt x="58" y="744"/>
                </a:lnTo>
                <a:lnTo>
                  <a:pt x="57" y="743"/>
                </a:lnTo>
                <a:lnTo>
                  <a:pt x="58" y="740"/>
                </a:lnTo>
                <a:lnTo>
                  <a:pt x="59" y="740"/>
                </a:lnTo>
                <a:lnTo>
                  <a:pt x="61" y="740"/>
                </a:lnTo>
                <a:lnTo>
                  <a:pt x="62" y="739"/>
                </a:lnTo>
                <a:lnTo>
                  <a:pt x="61" y="737"/>
                </a:lnTo>
                <a:lnTo>
                  <a:pt x="59" y="737"/>
                </a:lnTo>
                <a:lnTo>
                  <a:pt x="59" y="735"/>
                </a:lnTo>
                <a:lnTo>
                  <a:pt x="61" y="730"/>
                </a:lnTo>
                <a:lnTo>
                  <a:pt x="61" y="729"/>
                </a:lnTo>
                <a:lnTo>
                  <a:pt x="61" y="729"/>
                </a:lnTo>
                <a:lnTo>
                  <a:pt x="59" y="729"/>
                </a:lnTo>
                <a:lnTo>
                  <a:pt x="51" y="728"/>
                </a:lnTo>
                <a:lnTo>
                  <a:pt x="41" y="722"/>
                </a:lnTo>
                <a:lnTo>
                  <a:pt x="39" y="721"/>
                </a:lnTo>
                <a:lnTo>
                  <a:pt x="37" y="716"/>
                </a:lnTo>
                <a:lnTo>
                  <a:pt x="35" y="716"/>
                </a:lnTo>
                <a:lnTo>
                  <a:pt x="31" y="720"/>
                </a:lnTo>
                <a:lnTo>
                  <a:pt x="28" y="717"/>
                </a:lnTo>
                <a:lnTo>
                  <a:pt x="26" y="715"/>
                </a:lnTo>
                <a:lnTo>
                  <a:pt x="25" y="713"/>
                </a:lnTo>
                <a:lnTo>
                  <a:pt x="25" y="709"/>
                </a:lnTo>
                <a:lnTo>
                  <a:pt x="25" y="705"/>
                </a:lnTo>
                <a:lnTo>
                  <a:pt x="24" y="699"/>
                </a:lnTo>
                <a:lnTo>
                  <a:pt x="23" y="692"/>
                </a:lnTo>
                <a:lnTo>
                  <a:pt x="24" y="686"/>
                </a:lnTo>
                <a:lnTo>
                  <a:pt x="26" y="682"/>
                </a:lnTo>
                <a:lnTo>
                  <a:pt x="27" y="679"/>
                </a:lnTo>
                <a:lnTo>
                  <a:pt x="28" y="672"/>
                </a:lnTo>
                <a:lnTo>
                  <a:pt x="28" y="663"/>
                </a:lnTo>
                <a:lnTo>
                  <a:pt x="28" y="660"/>
                </a:lnTo>
                <a:lnTo>
                  <a:pt x="28" y="658"/>
                </a:lnTo>
                <a:lnTo>
                  <a:pt x="30" y="658"/>
                </a:lnTo>
                <a:lnTo>
                  <a:pt x="29" y="657"/>
                </a:lnTo>
                <a:lnTo>
                  <a:pt x="28" y="656"/>
                </a:lnTo>
                <a:lnTo>
                  <a:pt x="28" y="654"/>
                </a:lnTo>
                <a:lnTo>
                  <a:pt x="28" y="653"/>
                </a:lnTo>
                <a:lnTo>
                  <a:pt x="30" y="653"/>
                </a:lnTo>
                <a:lnTo>
                  <a:pt x="31" y="652"/>
                </a:lnTo>
                <a:lnTo>
                  <a:pt x="31" y="651"/>
                </a:lnTo>
                <a:lnTo>
                  <a:pt x="29" y="646"/>
                </a:lnTo>
                <a:lnTo>
                  <a:pt x="29" y="644"/>
                </a:lnTo>
                <a:lnTo>
                  <a:pt x="27" y="637"/>
                </a:lnTo>
                <a:lnTo>
                  <a:pt x="24" y="630"/>
                </a:lnTo>
                <a:lnTo>
                  <a:pt x="20" y="625"/>
                </a:lnTo>
                <a:lnTo>
                  <a:pt x="21" y="617"/>
                </a:lnTo>
                <a:lnTo>
                  <a:pt x="23" y="610"/>
                </a:lnTo>
                <a:lnTo>
                  <a:pt x="23" y="606"/>
                </a:lnTo>
                <a:lnTo>
                  <a:pt x="22" y="602"/>
                </a:lnTo>
                <a:lnTo>
                  <a:pt x="17" y="597"/>
                </a:lnTo>
                <a:lnTo>
                  <a:pt x="16" y="590"/>
                </a:lnTo>
                <a:lnTo>
                  <a:pt x="15" y="583"/>
                </a:lnTo>
                <a:lnTo>
                  <a:pt x="16" y="578"/>
                </a:lnTo>
                <a:lnTo>
                  <a:pt x="16" y="575"/>
                </a:lnTo>
                <a:lnTo>
                  <a:pt x="18" y="571"/>
                </a:lnTo>
                <a:lnTo>
                  <a:pt x="26" y="560"/>
                </a:lnTo>
                <a:lnTo>
                  <a:pt x="27" y="555"/>
                </a:lnTo>
                <a:lnTo>
                  <a:pt x="32" y="554"/>
                </a:lnTo>
                <a:lnTo>
                  <a:pt x="30" y="549"/>
                </a:lnTo>
                <a:lnTo>
                  <a:pt x="29" y="546"/>
                </a:lnTo>
                <a:lnTo>
                  <a:pt x="29" y="543"/>
                </a:lnTo>
                <a:lnTo>
                  <a:pt x="37" y="541"/>
                </a:lnTo>
                <a:lnTo>
                  <a:pt x="40" y="543"/>
                </a:lnTo>
                <a:lnTo>
                  <a:pt x="47" y="540"/>
                </a:lnTo>
                <a:lnTo>
                  <a:pt x="53" y="536"/>
                </a:lnTo>
                <a:lnTo>
                  <a:pt x="53" y="533"/>
                </a:lnTo>
                <a:lnTo>
                  <a:pt x="52" y="531"/>
                </a:lnTo>
                <a:lnTo>
                  <a:pt x="51" y="527"/>
                </a:lnTo>
                <a:lnTo>
                  <a:pt x="52" y="526"/>
                </a:lnTo>
                <a:lnTo>
                  <a:pt x="54" y="526"/>
                </a:lnTo>
                <a:lnTo>
                  <a:pt x="53" y="524"/>
                </a:lnTo>
                <a:lnTo>
                  <a:pt x="53" y="522"/>
                </a:lnTo>
                <a:lnTo>
                  <a:pt x="56" y="523"/>
                </a:lnTo>
                <a:lnTo>
                  <a:pt x="60" y="517"/>
                </a:lnTo>
                <a:lnTo>
                  <a:pt x="60" y="512"/>
                </a:lnTo>
                <a:lnTo>
                  <a:pt x="67" y="510"/>
                </a:lnTo>
                <a:lnTo>
                  <a:pt x="75" y="500"/>
                </a:lnTo>
                <a:lnTo>
                  <a:pt x="78" y="497"/>
                </a:lnTo>
                <a:lnTo>
                  <a:pt x="82" y="495"/>
                </a:lnTo>
                <a:lnTo>
                  <a:pt x="90" y="485"/>
                </a:lnTo>
                <a:lnTo>
                  <a:pt x="93" y="484"/>
                </a:lnTo>
                <a:lnTo>
                  <a:pt x="95" y="478"/>
                </a:lnTo>
                <a:lnTo>
                  <a:pt x="101" y="469"/>
                </a:lnTo>
                <a:lnTo>
                  <a:pt x="103" y="468"/>
                </a:lnTo>
                <a:lnTo>
                  <a:pt x="106" y="460"/>
                </a:lnTo>
                <a:lnTo>
                  <a:pt x="114" y="450"/>
                </a:lnTo>
                <a:lnTo>
                  <a:pt x="119" y="438"/>
                </a:lnTo>
                <a:lnTo>
                  <a:pt x="122" y="434"/>
                </a:lnTo>
                <a:lnTo>
                  <a:pt x="123" y="429"/>
                </a:lnTo>
                <a:lnTo>
                  <a:pt x="126" y="429"/>
                </a:lnTo>
                <a:lnTo>
                  <a:pt x="129" y="426"/>
                </a:lnTo>
                <a:lnTo>
                  <a:pt x="135" y="423"/>
                </a:lnTo>
                <a:lnTo>
                  <a:pt x="141" y="424"/>
                </a:lnTo>
                <a:lnTo>
                  <a:pt x="143" y="426"/>
                </a:lnTo>
                <a:lnTo>
                  <a:pt x="146" y="425"/>
                </a:lnTo>
                <a:lnTo>
                  <a:pt x="145" y="421"/>
                </a:lnTo>
                <a:lnTo>
                  <a:pt x="144" y="419"/>
                </a:lnTo>
                <a:lnTo>
                  <a:pt x="145" y="416"/>
                </a:lnTo>
                <a:lnTo>
                  <a:pt x="148" y="414"/>
                </a:lnTo>
                <a:lnTo>
                  <a:pt x="148" y="410"/>
                </a:lnTo>
                <a:lnTo>
                  <a:pt x="147" y="408"/>
                </a:lnTo>
                <a:lnTo>
                  <a:pt x="145" y="404"/>
                </a:lnTo>
                <a:lnTo>
                  <a:pt x="146" y="397"/>
                </a:lnTo>
                <a:lnTo>
                  <a:pt x="146" y="389"/>
                </a:lnTo>
                <a:lnTo>
                  <a:pt x="148" y="379"/>
                </a:lnTo>
                <a:lnTo>
                  <a:pt x="144" y="374"/>
                </a:lnTo>
                <a:lnTo>
                  <a:pt x="132" y="366"/>
                </a:lnTo>
                <a:lnTo>
                  <a:pt x="129" y="366"/>
                </a:lnTo>
                <a:lnTo>
                  <a:pt x="127" y="365"/>
                </a:lnTo>
                <a:lnTo>
                  <a:pt x="124" y="358"/>
                </a:lnTo>
                <a:lnTo>
                  <a:pt x="125" y="353"/>
                </a:lnTo>
                <a:lnTo>
                  <a:pt x="125" y="351"/>
                </a:lnTo>
                <a:lnTo>
                  <a:pt x="124" y="351"/>
                </a:lnTo>
                <a:lnTo>
                  <a:pt x="122" y="353"/>
                </a:lnTo>
                <a:lnTo>
                  <a:pt x="118" y="357"/>
                </a:lnTo>
                <a:lnTo>
                  <a:pt x="113" y="354"/>
                </a:lnTo>
                <a:lnTo>
                  <a:pt x="110" y="355"/>
                </a:lnTo>
                <a:lnTo>
                  <a:pt x="107" y="341"/>
                </a:lnTo>
                <a:lnTo>
                  <a:pt x="105" y="335"/>
                </a:lnTo>
                <a:lnTo>
                  <a:pt x="103" y="328"/>
                </a:lnTo>
                <a:lnTo>
                  <a:pt x="98" y="325"/>
                </a:lnTo>
                <a:lnTo>
                  <a:pt x="97" y="323"/>
                </a:lnTo>
                <a:lnTo>
                  <a:pt x="96" y="320"/>
                </a:lnTo>
                <a:lnTo>
                  <a:pt x="96" y="316"/>
                </a:lnTo>
                <a:lnTo>
                  <a:pt x="95" y="310"/>
                </a:lnTo>
                <a:lnTo>
                  <a:pt x="96" y="306"/>
                </a:lnTo>
                <a:lnTo>
                  <a:pt x="96" y="303"/>
                </a:lnTo>
                <a:lnTo>
                  <a:pt x="98" y="301"/>
                </a:lnTo>
                <a:lnTo>
                  <a:pt x="101" y="295"/>
                </a:lnTo>
                <a:lnTo>
                  <a:pt x="102" y="291"/>
                </a:lnTo>
                <a:lnTo>
                  <a:pt x="102" y="285"/>
                </a:lnTo>
                <a:lnTo>
                  <a:pt x="104" y="279"/>
                </a:lnTo>
                <a:lnTo>
                  <a:pt x="105" y="277"/>
                </a:lnTo>
                <a:lnTo>
                  <a:pt x="105" y="275"/>
                </a:lnTo>
                <a:lnTo>
                  <a:pt x="104" y="271"/>
                </a:lnTo>
                <a:lnTo>
                  <a:pt x="101" y="267"/>
                </a:lnTo>
                <a:lnTo>
                  <a:pt x="98" y="261"/>
                </a:lnTo>
                <a:lnTo>
                  <a:pt x="95" y="256"/>
                </a:lnTo>
                <a:lnTo>
                  <a:pt x="94" y="251"/>
                </a:lnTo>
                <a:lnTo>
                  <a:pt x="94" y="247"/>
                </a:lnTo>
                <a:lnTo>
                  <a:pt x="94" y="243"/>
                </a:lnTo>
                <a:lnTo>
                  <a:pt x="95" y="240"/>
                </a:lnTo>
                <a:lnTo>
                  <a:pt x="98" y="237"/>
                </a:lnTo>
                <a:lnTo>
                  <a:pt x="98" y="235"/>
                </a:lnTo>
                <a:lnTo>
                  <a:pt x="97" y="228"/>
                </a:lnTo>
                <a:lnTo>
                  <a:pt x="95" y="226"/>
                </a:lnTo>
                <a:lnTo>
                  <a:pt x="91" y="226"/>
                </a:lnTo>
                <a:lnTo>
                  <a:pt x="89" y="225"/>
                </a:lnTo>
                <a:lnTo>
                  <a:pt x="88" y="225"/>
                </a:lnTo>
                <a:lnTo>
                  <a:pt x="88" y="223"/>
                </a:lnTo>
                <a:lnTo>
                  <a:pt x="89" y="220"/>
                </a:lnTo>
                <a:lnTo>
                  <a:pt x="90" y="216"/>
                </a:lnTo>
                <a:lnTo>
                  <a:pt x="91" y="214"/>
                </a:lnTo>
                <a:lnTo>
                  <a:pt x="91" y="212"/>
                </a:lnTo>
                <a:lnTo>
                  <a:pt x="90" y="205"/>
                </a:lnTo>
                <a:lnTo>
                  <a:pt x="89" y="197"/>
                </a:lnTo>
                <a:lnTo>
                  <a:pt x="90" y="191"/>
                </a:lnTo>
                <a:lnTo>
                  <a:pt x="94" y="186"/>
                </a:lnTo>
                <a:lnTo>
                  <a:pt x="94" y="184"/>
                </a:lnTo>
                <a:lnTo>
                  <a:pt x="89" y="179"/>
                </a:lnTo>
                <a:lnTo>
                  <a:pt x="85" y="173"/>
                </a:lnTo>
                <a:lnTo>
                  <a:pt x="84" y="169"/>
                </a:lnTo>
                <a:lnTo>
                  <a:pt x="80" y="169"/>
                </a:lnTo>
                <a:lnTo>
                  <a:pt x="77" y="159"/>
                </a:lnTo>
                <a:lnTo>
                  <a:pt x="74" y="154"/>
                </a:lnTo>
                <a:lnTo>
                  <a:pt x="70" y="149"/>
                </a:lnTo>
                <a:lnTo>
                  <a:pt x="67" y="147"/>
                </a:lnTo>
                <a:lnTo>
                  <a:pt x="54" y="141"/>
                </a:lnTo>
                <a:lnTo>
                  <a:pt x="49" y="140"/>
                </a:lnTo>
                <a:lnTo>
                  <a:pt x="43" y="136"/>
                </a:lnTo>
                <a:lnTo>
                  <a:pt x="38" y="132"/>
                </a:lnTo>
                <a:lnTo>
                  <a:pt x="35" y="129"/>
                </a:lnTo>
                <a:lnTo>
                  <a:pt x="31" y="125"/>
                </a:lnTo>
                <a:lnTo>
                  <a:pt x="26" y="122"/>
                </a:lnTo>
                <a:lnTo>
                  <a:pt x="25" y="119"/>
                </a:lnTo>
                <a:lnTo>
                  <a:pt x="20" y="114"/>
                </a:lnTo>
                <a:lnTo>
                  <a:pt x="18" y="110"/>
                </a:lnTo>
                <a:lnTo>
                  <a:pt x="9" y="103"/>
                </a:lnTo>
                <a:lnTo>
                  <a:pt x="9" y="101"/>
                </a:lnTo>
                <a:lnTo>
                  <a:pt x="9" y="98"/>
                </a:lnTo>
                <a:lnTo>
                  <a:pt x="9" y="97"/>
                </a:lnTo>
                <a:lnTo>
                  <a:pt x="0" y="92"/>
                </a:lnTo>
                <a:lnTo>
                  <a:pt x="2" y="89"/>
                </a:lnTo>
                <a:lnTo>
                  <a:pt x="8" y="89"/>
                </a:lnTo>
                <a:lnTo>
                  <a:pt x="14" y="92"/>
                </a:lnTo>
                <a:lnTo>
                  <a:pt x="15" y="90"/>
                </a:lnTo>
                <a:lnTo>
                  <a:pt x="16" y="88"/>
                </a:lnTo>
                <a:lnTo>
                  <a:pt x="14" y="79"/>
                </a:lnTo>
                <a:lnTo>
                  <a:pt x="14" y="77"/>
                </a:lnTo>
                <a:lnTo>
                  <a:pt x="16" y="74"/>
                </a:lnTo>
                <a:lnTo>
                  <a:pt x="20" y="71"/>
                </a:lnTo>
                <a:lnTo>
                  <a:pt x="26" y="71"/>
                </a:lnTo>
                <a:lnTo>
                  <a:pt x="30" y="71"/>
                </a:lnTo>
                <a:lnTo>
                  <a:pt x="31" y="72"/>
                </a:lnTo>
                <a:lnTo>
                  <a:pt x="37" y="82"/>
                </a:lnTo>
                <a:lnTo>
                  <a:pt x="43" y="92"/>
                </a:lnTo>
                <a:lnTo>
                  <a:pt x="46" y="96"/>
                </a:lnTo>
                <a:lnTo>
                  <a:pt x="52" y="108"/>
                </a:lnTo>
                <a:lnTo>
                  <a:pt x="55" y="115"/>
                </a:lnTo>
                <a:lnTo>
                  <a:pt x="56" y="119"/>
                </a:lnTo>
                <a:lnTo>
                  <a:pt x="59" y="119"/>
                </a:lnTo>
                <a:lnTo>
                  <a:pt x="68" y="122"/>
                </a:lnTo>
                <a:lnTo>
                  <a:pt x="77" y="123"/>
                </a:lnTo>
                <a:lnTo>
                  <a:pt x="79" y="126"/>
                </a:lnTo>
                <a:lnTo>
                  <a:pt x="84" y="126"/>
                </a:lnTo>
                <a:lnTo>
                  <a:pt x="89" y="123"/>
                </a:lnTo>
                <a:lnTo>
                  <a:pt x="96" y="120"/>
                </a:lnTo>
                <a:lnTo>
                  <a:pt x="98" y="116"/>
                </a:lnTo>
                <a:lnTo>
                  <a:pt x="101" y="112"/>
                </a:lnTo>
                <a:lnTo>
                  <a:pt x="105" y="113"/>
                </a:lnTo>
                <a:lnTo>
                  <a:pt x="110" y="116"/>
                </a:lnTo>
                <a:lnTo>
                  <a:pt x="116" y="120"/>
                </a:lnTo>
                <a:lnTo>
                  <a:pt x="121" y="122"/>
                </a:lnTo>
                <a:lnTo>
                  <a:pt x="127" y="125"/>
                </a:lnTo>
                <a:lnTo>
                  <a:pt x="131" y="129"/>
                </a:lnTo>
                <a:lnTo>
                  <a:pt x="135" y="130"/>
                </a:lnTo>
                <a:lnTo>
                  <a:pt x="139" y="126"/>
                </a:lnTo>
                <a:lnTo>
                  <a:pt x="142" y="116"/>
                </a:lnTo>
                <a:lnTo>
                  <a:pt x="144" y="111"/>
                </a:lnTo>
                <a:lnTo>
                  <a:pt x="148" y="107"/>
                </a:lnTo>
                <a:lnTo>
                  <a:pt x="152" y="106"/>
                </a:lnTo>
                <a:lnTo>
                  <a:pt x="155" y="105"/>
                </a:lnTo>
                <a:lnTo>
                  <a:pt x="157" y="102"/>
                </a:lnTo>
                <a:lnTo>
                  <a:pt x="160" y="96"/>
                </a:lnTo>
                <a:lnTo>
                  <a:pt x="161" y="89"/>
                </a:lnTo>
                <a:lnTo>
                  <a:pt x="160" y="75"/>
                </a:lnTo>
                <a:lnTo>
                  <a:pt x="161" y="71"/>
                </a:lnTo>
                <a:lnTo>
                  <a:pt x="163" y="63"/>
                </a:lnTo>
                <a:lnTo>
                  <a:pt x="167" y="43"/>
                </a:lnTo>
                <a:lnTo>
                  <a:pt x="168" y="38"/>
                </a:lnTo>
                <a:lnTo>
                  <a:pt x="170" y="34"/>
                </a:lnTo>
                <a:lnTo>
                  <a:pt x="173" y="32"/>
                </a:lnTo>
                <a:lnTo>
                  <a:pt x="177" y="26"/>
                </a:lnTo>
                <a:lnTo>
                  <a:pt x="184" y="14"/>
                </a:lnTo>
                <a:lnTo>
                  <a:pt x="186" y="13"/>
                </a:lnTo>
                <a:lnTo>
                  <a:pt x="191" y="12"/>
                </a:lnTo>
                <a:lnTo>
                  <a:pt x="197" y="13"/>
                </a:lnTo>
                <a:lnTo>
                  <a:pt x="202" y="15"/>
                </a:lnTo>
                <a:lnTo>
                  <a:pt x="203" y="15"/>
                </a:lnTo>
                <a:lnTo>
                  <a:pt x="205" y="14"/>
                </a:lnTo>
                <a:lnTo>
                  <a:pt x="210" y="10"/>
                </a:lnTo>
                <a:lnTo>
                  <a:pt x="217" y="2"/>
                </a:lnTo>
                <a:lnTo>
                  <a:pt x="222" y="0"/>
                </a:lnTo>
                <a:lnTo>
                  <a:pt x="227" y="1"/>
                </a:lnTo>
                <a:lnTo>
                  <a:pt x="232" y="9"/>
                </a:lnTo>
                <a:lnTo>
                  <a:pt x="239" y="18"/>
                </a:lnTo>
                <a:lnTo>
                  <a:pt x="243" y="22"/>
                </a:lnTo>
                <a:lnTo>
                  <a:pt x="255" y="31"/>
                </a:lnTo>
                <a:lnTo>
                  <a:pt x="266" y="36"/>
                </a:lnTo>
                <a:lnTo>
                  <a:pt x="272" y="54"/>
                </a:lnTo>
                <a:lnTo>
                  <a:pt x="269" y="61"/>
                </a:lnTo>
                <a:lnTo>
                  <a:pt x="267" y="63"/>
                </a:lnTo>
                <a:lnTo>
                  <a:pt x="262" y="70"/>
                </a:lnTo>
                <a:lnTo>
                  <a:pt x="257" y="80"/>
                </a:lnTo>
                <a:lnTo>
                  <a:pt x="256" y="85"/>
                </a:lnTo>
                <a:lnTo>
                  <a:pt x="258" y="90"/>
                </a:lnTo>
                <a:lnTo>
                  <a:pt x="260" y="93"/>
                </a:lnTo>
                <a:close/>
                <a:moveTo>
                  <a:pt x="132" y="416"/>
                </a:moveTo>
                <a:lnTo>
                  <a:pt x="132" y="416"/>
                </a:lnTo>
                <a:lnTo>
                  <a:pt x="127" y="418"/>
                </a:lnTo>
                <a:lnTo>
                  <a:pt x="124" y="416"/>
                </a:lnTo>
                <a:lnTo>
                  <a:pt x="124" y="412"/>
                </a:lnTo>
                <a:lnTo>
                  <a:pt x="126" y="409"/>
                </a:lnTo>
                <a:lnTo>
                  <a:pt x="130" y="408"/>
                </a:lnTo>
                <a:lnTo>
                  <a:pt x="136" y="411"/>
                </a:lnTo>
                <a:lnTo>
                  <a:pt x="137" y="412"/>
                </a:lnTo>
                <a:lnTo>
                  <a:pt x="133" y="413"/>
                </a:lnTo>
                <a:lnTo>
                  <a:pt x="132" y="416"/>
                </a:lnTo>
                <a:close/>
                <a:moveTo>
                  <a:pt x="19" y="540"/>
                </a:moveTo>
                <a:lnTo>
                  <a:pt x="19" y="540"/>
                </a:lnTo>
                <a:lnTo>
                  <a:pt x="19" y="542"/>
                </a:lnTo>
                <a:lnTo>
                  <a:pt x="21" y="541"/>
                </a:lnTo>
                <a:lnTo>
                  <a:pt x="23" y="539"/>
                </a:lnTo>
                <a:lnTo>
                  <a:pt x="25" y="540"/>
                </a:lnTo>
                <a:lnTo>
                  <a:pt x="25" y="543"/>
                </a:lnTo>
                <a:lnTo>
                  <a:pt x="24" y="543"/>
                </a:lnTo>
                <a:lnTo>
                  <a:pt x="23" y="543"/>
                </a:lnTo>
                <a:lnTo>
                  <a:pt x="22" y="545"/>
                </a:lnTo>
                <a:lnTo>
                  <a:pt x="22" y="546"/>
                </a:lnTo>
                <a:lnTo>
                  <a:pt x="20" y="546"/>
                </a:lnTo>
                <a:lnTo>
                  <a:pt x="17" y="543"/>
                </a:lnTo>
                <a:lnTo>
                  <a:pt x="15" y="538"/>
                </a:lnTo>
                <a:lnTo>
                  <a:pt x="19" y="538"/>
                </a:lnTo>
                <a:lnTo>
                  <a:pt x="19" y="539"/>
                </a:lnTo>
                <a:lnTo>
                  <a:pt x="19" y="540"/>
                </a:lnTo>
                <a:close/>
                <a:moveTo>
                  <a:pt x="26" y="720"/>
                </a:moveTo>
                <a:lnTo>
                  <a:pt x="26" y="720"/>
                </a:lnTo>
                <a:lnTo>
                  <a:pt x="26" y="723"/>
                </a:lnTo>
                <a:lnTo>
                  <a:pt x="23" y="722"/>
                </a:lnTo>
                <a:lnTo>
                  <a:pt x="21" y="723"/>
                </a:lnTo>
                <a:lnTo>
                  <a:pt x="20" y="720"/>
                </a:lnTo>
                <a:lnTo>
                  <a:pt x="19" y="715"/>
                </a:lnTo>
                <a:lnTo>
                  <a:pt x="19" y="714"/>
                </a:lnTo>
                <a:lnTo>
                  <a:pt x="20" y="713"/>
                </a:lnTo>
                <a:lnTo>
                  <a:pt x="21" y="715"/>
                </a:lnTo>
                <a:lnTo>
                  <a:pt x="26" y="720"/>
                </a:lnTo>
                <a:close/>
                <a:moveTo>
                  <a:pt x="43" y="732"/>
                </a:moveTo>
                <a:lnTo>
                  <a:pt x="43" y="732"/>
                </a:lnTo>
                <a:lnTo>
                  <a:pt x="41" y="732"/>
                </a:lnTo>
                <a:lnTo>
                  <a:pt x="37" y="729"/>
                </a:lnTo>
                <a:lnTo>
                  <a:pt x="37" y="728"/>
                </a:lnTo>
                <a:lnTo>
                  <a:pt x="38" y="727"/>
                </a:lnTo>
                <a:lnTo>
                  <a:pt x="37" y="725"/>
                </a:lnTo>
                <a:lnTo>
                  <a:pt x="38" y="723"/>
                </a:lnTo>
                <a:lnTo>
                  <a:pt x="40" y="725"/>
                </a:lnTo>
                <a:lnTo>
                  <a:pt x="42" y="728"/>
                </a:lnTo>
                <a:lnTo>
                  <a:pt x="40" y="728"/>
                </a:lnTo>
                <a:lnTo>
                  <a:pt x="43" y="731"/>
                </a:lnTo>
                <a:lnTo>
                  <a:pt x="43" y="732"/>
                </a:lnTo>
                <a:close/>
                <a:moveTo>
                  <a:pt x="49" y="730"/>
                </a:moveTo>
                <a:lnTo>
                  <a:pt x="49" y="730"/>
                </a:lnTo>
                <a:lnTo>
                  <a:pt x="53" y="731"/>
                </a:lnTo>
                <a:lnTo>
                  <a:pt x="54" y="731"/>
                </a:lnTo>
                <a:lnTo>
                  <a:pt x="56" y="734"/>
                </a:lnTo>
                <a:lnTo>
                  <a:pt x="53" y="736"/>
                </a:lnTo>
                <a:lnTo>
                  <a:pt x="53" y="739"/>
                </a:lnTo>
                <a:lnTo>
                  <a:pt x="54" y="740"/>
                </a:lnTo>
                <a:lnTo>
                  <a:pt x="54" y="743"/>
                </a:lnTo>
                <a:lnTo>
                  <a:pt x="51" y="743"/>
                </a:lnTo>
                <a:lnTo>
                  <a:pt x="50" y="741"/>
                </a:lnTo>
                <a:lnTo>
                  <a:pt x="49" y="738"/>
                </a:lnTo>
                <a:lnTo>
                  <a:pt x="48" y="736"/>
                </a:lnTo>
                <a:lnTo>
                  <a:pt x="46" y="735"/>
                </a:lnTo>
                <a:lnTo>
                  <a:pt x="46" y="733"/>
                </a:lnTo>
                <a:lnTo>
                  <a:pt x="47" y="731"/>
                </a:lnTo>
                <a:lnTo>
                  <a:pt x="49" y="730"/>
                </a:lnTo>
                <a:close/>
                <a:moveTo>
                  <a:pt x="38" y="744"/>
                </a:moveTo>
                <a:lnTo>
                  <a:pt x="38" y="744"/>
                </a:lnTo>
                <a:lnTo>
                  <a:pt x="35" y="746"/>
                </a:lnTo>
                <a:lnTo>
                  <a:pt x="34" y="746"/>
                </a:lnTo>
                <a:lnTo>
                  <a:pt x="34" y="742"/>
                </a:lnTo>
                <a:lnTo>
                  <a:pt x="36" y="740"/>
                </a:lnTo>
                <a:lnTo>
                  <a:pt x="39" y="740"/>
                </a:lnTo>
                <a:lnTo>
                  <a:pt x="38" y="744"/>
                </a:lnTo>
                <a:close/>
                <a:moveTo>
                  <a:pt x="32" y="746"/>
                </a:moveTo>
                <a:lnTo>
                  <a:pt x="32" y="746"/>
                </a:lnTo>
                <a:lnTo>
                  <a:pt x="29" y="747"/>
                </a:lnTo>
                <a:lnTo>
                  <a:pt x="27" y="745"/>
                </a:lnTo>
                <a:lnTo>
                  <a:pt x="28" y="744"/>
                </a:lnTo>
                <a:lnTo>
                  <a:pt x="30" y="742"/>
                </a:lnTo>
                <a:lnTo>
                  <a:pt x="32" y="742"/>
                </a:lnTo>
                <a:lnTo>
                  <a:pt x="32" y="744"/>
                </a:lnTo>
                <a:lnTo>
                  <a:pt x="32" y="746"/>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1237" name="Norway">
            <a:extLst>
              <a:ext uri="{FF2B5EF4-FFF2-40B4-BE49-F238E27FC236}">
                <a16:creationId xmlns:a16="http://schemas.microsoft.com/office/drawing/2014/main" id="{ECBE2434-6902-4384-BCA9-1F082A1D9877}"/>
              </a:ext>
            </a:extLst>
          </p:cNvPr>
          <p:cNvSpPr>
            <a:spLocks noEditPoints="1"/>
          </p:cNvSpPr>
          <p:nvPr/>
        </p:nvSpPr>
        <p:spPr bwMode="auto">
          <a:xfrm>
            <a:off x="5995620" y="2106338"/>
            <a:ext cx="735717" cy="637926"/>
          </a:xfrm>
          <a:custGeom>
            <a:avLst/>
            <a:gdLst>
              <a:gd name="T0" fmla="*/ 810 w 816"/>
              <a:gd name="T1" fmla="*/ 150 h 974"/>
              <a:gd name="T2" fmla="*/ 760 w 816"/>
              <a:gd name="T3" fmla="*/ 164 h 974"/>
              <a:gd name="T4" fmla="*/ 660 w 816"/>
              <a:gd name="T5" fmla="*/ 144 h 974"/>
              <a:gd name="T6" fmla="*/ 582 w 816"/>
              <a:gd name="T7" fmla="*/ 224 h 974"/>
              <a:gd name="T8" fmla="*/ 495 w 816"/>
              <a:gd name="T9" fmla="*/ 190 h 974"/>
              <a:gd name="T10" fmla="*/ 416 w 816"/>
              <a:gd name="T11" fmla="*/ 242 h 974"/>
              <a:gd name="T12" fmla="*/ 335 w 816"/>
              <a:gd name="T13" fmla="*/ 398 h 974"/>
              <a:gd name="T14" fmla="*/ 291 w 816"/>
              <a:gd name="T15" fmla="*/ 576 h 974"/>
              <a:gd name="T16" fmla="*/ 228 w 816"/>
              <a:gd name="T17" fmla="*/ 681 h 974"/>
              <a:gd name="T18" fmla="*/ 242 w 816"/>
              <a:gd name="T19" fmla="*/ 820 h 974"/>
              <a:gd name="T20" fmla="*/ 205 w 816"/>
              <a:gd name="T21" fmla="*/ 913 h 974"/>
              <a:gd name="T22" fmla="*/ 168 w 816"/>
              <a:gd name="T23" fmla="*/ 913 h 974"/>
              <a:gd name="T24" fmla="*/ 101 w 816"/>
              <a:gd name="T25" fmla="*/ 966 h 974"/>
              <a:gd name="T26" fmla="*/ 39 w 816"/>
              <a:gd name="T27" fmla="*/ 953 h 974"/>
              <a:gd name="T28" fmla="*/ 43 w 816"/>
              <a:gd name="T29" fmla="*/ 889 h 974"/>
              <a:gd name="T30" fmla="*/ 33 w 816"/>
              <a:gd name="T31" fmla="*/ 870 h 974"/>
              <a:gd name="T32" fmla="*/ 67 w 816"/>
              <a:gd name="T33" fmla="*/ 824 h 974"/>
              <a:gd name="T34" fmla="*/ 11 w 816"/>
              <a:gd name="T35" fmla="*/ 851 h 974"/>
              <a:gd name="T36" fmla="*/ 9 w 816"/>
              <a:gd name="T37" fmla="*/ 786 h 974"/>
              <a:gd name="T38" fmla="*/ 77 w 816"/>
              <a:gd name="T39" fmla="*/ 772 h 974"/>
              <a:gd name="T40" fmla="*/ 17 w 816"/>
              <a:gd name="T41" fmla="*/ 759 h 974"/>
              <a:gd name="T42" fmla="*/ 11 w 816"/>
              <a:gd name="T43" fmla="*/ 715 h 974"/>
              <a:gd name="T44" fmla="*/ 46 w 816"/>
              <a:gd name="T45" fmla="*/ 686 h 974"/>
              <a:gd name="T46" fmla="*/ 62 w 816"/>
              <a:gd name="T47" fmla="*/ 672 h 974"/>
              <a:gd name="T48" fmla="*/ 115 w 816"/>
              <a:gd name="T49" fmla="*/ 629 h 974"/>
              <a:gd name="T50" fmla="*/ 173 w 816"/>
              <a:gd name="T51" fmla="*/ 625 h 974"/>
              <a:gd name="T52" fmla="*/ 192 w 816"/>
              <a:gd name="T53" fmla="*/ 595 h 974"/>
              <a:gd name="T54" fmla="*/ 203 w 816"/>
              <a:gd name="T55" fmla="*/ 539 h 974"/>
              <a:gd name="T56" fmla="*/ 228 w 816"/>
              <a:gd name="T57" fmla="*/ 495 h 974"/>
              <a:gd name="T58" fmla="*/ 259 w 816"/>
              <a:gd name="T59" fmla="*/ 423 h 974"/>
              <a:gd name="T60" fmla="*/ 311 w 816"/>
              <a:gd name="T61" fmla="*/ 347 h 974"/>
              <a:gd name="T62" fmla="*/ 329 w 816"/>
              <a:gd name="T63" fmla="*/ 319 h 974"/>
              <a:gd name="T64" fmla="*/ 344 w 816"/>
              <a:gd name="T65" fmla="*/ 266 h 974"/>
              <a:gd name="T66" fmla="*/ 398 w 816"/>
              <a:gd name="T67" fmla="*/ 243 h 974"/>
              <a:gd name="T68" fmla="*/ 423 w 816"/>
              <a:gd name="T69" fmla="*/ 157 h 974"/>
              <a:gd name="T70" fmla="*/ 473 w 816"/>
              <a:gd name="T71" fmla="*/ 123 h 974"/>
              <a:gd name="T72" fmla="*/ 504 w 816"/>
              <a:gd name="T73" fmla="*/ 115 h 974"/>
              <a:gd name="T74" fmla="*/ 558 w 816"/>
              <a:gd name="T75" fmla="*/ 73 h 974"/>
              <a:gd name="T76" fmla="*/ 619 w 816"/>
              <a:gd name="T77" fmla="*/ 14 h 974"/>
              <a:gd name="T78" fmla="*/ 643 w 816"/>
              <a:gd name="T79" fmla="*/ 85 h 974"/>
              <a:gd name="T80" fmla="*/ 699 w 816"/>
              <a:gd name="T81" fmla="*/ 19 h 974"/>
              <a:gd name="T82" fmla="*/ 738 w 816"/>
              <a:gd name="T83" fmla="*/ 50 h 974"/>
              <a:gd name="T84" fmla="*/ 794 w 816"/>
              <a:gd name="T85" fmla="*/ 96 h 974"/>
              <a:gd name="T86" fmla="*/ 581 w 816"/>
              <a:gd name="T87" fmla="*/ 31 h 974"/>
              <a:gd name="T88" fmla="*/ 566 w 816"/>
              <a:gd name="T89" fmla="*/ 41 h 974"/>
              <a:gd name="T90" fmla="*/ 578 w 816"/>
              <a:gd name="T91" fmla="*/ 76 h 974"/>
              <a:gd name="T92" fmla="*/ 476 w 816"/>
              <a:gd name="T93" fmla="*/ 95 h 974"/>
              <a:gd name="T94" fmla="*/ 443 w 816"/>
              <a:gd name="T95" fmla="*/ 129 h 974"/>
              <a:gd name="T96" fmla="*/ 437 w 816"/>
              <a:gd name="T97" fmla="*/ 111 h 974"/>
              <a:gd name="T98" fmla="*/ 499 w 816"/>
              <a:gd name="T99" fmla="*/ 88 h 974"/>
              <a:gd name="T100" fmla="*/ 410 w 816"/>
              <a:gd name="T101" fmla="*/ 167 h 974"/>
              <a:gd name="T102" fmla="*/ 387 w 816"/>
              <a:gd name="T103" fmla="*/ 154 h 974"/>
              <a:gd name="T104" fmla="*/ 360 w 816"/>
              <a:gd name="T105" fmla="*/ 233 h 974"/>
              <a:gd name="T106" fmla="*/ 321 w 816"/>
              <a:gd name="T107" fmla="*/ 244 h 974"/>
              <a:gd name="T108" fmla="*/ 324 w 816"/>
              <a:gd name="T109" fmla="*/ 201 h 974"/>
              <a:gd name="T110" fmla="*/ 319 w 816"/>
              <a:gd name="T111" fmla="*/ 205 h 974"/>
              <a:gd name="T112" fmla="*/ 263 w 816"/>
              <a:gd name="T113" fmla="*/ 281 h 974"/>
              <a:gd name="T114" fmla="*/ 235 w 816"/>
              <a:gd name="T115" fmla="*/ 438 h 974"/>
              <a:gd name="T116" fmla="*/ 221 w 816"/>
              <a:gd name="T117" fmla="*/ 471 h 974"/>
              <a:gd name="T118" fmla="*/ 114 w 816"/>
              <a:gd name="T119" fmla="*/ 607 h 974"/>
              <a:gd name="T120" fmla="*/ 1 w 816"/>
              <a:gd name="T121" fmla="*/ 779 h 9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16" h="974">
                <a:moveTo>
                  <a:pt x="648" y="0"/>
                </a:moveTo>
                <a:lnTo>
                  <a:pt x="648" y="0"/>
                </a:lnTo>
                <a:lnTo>
                  <a:pt x="656" y="4"/>
                </a:lnTo>
                <a:lnTo>
                  <a:pt x="659" y="4"/>
                </a:lnTo>
                <a:lnTo>
                  <a:pt x="663" y="11"/>
                </a:lnTo>
                <a:lnTo>
                  <a:pt x="665" y="10"/>
                </a:lnTo>
                <a:lnTo>
                  <a:pt x="665" y="14"/>
                </a:lnTo>
                <a:lnTo>
                  <a:pt x="661" y="16"/>
                </a:lnTo>
                <a:lnTo>
                  <a:pt x="654" y="17"/>
                </a:lnTo>
                <a:lnTo>
                  <a:pt x="653" y="18"/>
                </a:lnTo>
                <a:lnTo>
                  <a:pt x="648" y="18"/>
                </a:lnTo>
                <a:lnTo>
                  <a:pt x="645" y="12"/>
                </a:lnTo>
                <a:lnTo>
                  <a:pt x="640" y="11"/>
                </a:lnTo>
                <a:lnTo>
                  <a:pt x="640" y="9"/>
                </a:lnTo>
                <a:lnTo>
                  <a:pt x="643" y="4"/>
                </a:lnTo>
                <a:lnTo>
                  <a:pt x="648" y="0"/>
                </a:lnTo>
                <a:close/>
                <a:moveTo>
                  <a:pt x="813" y="127"/>
                </a:moveTo>
                <a:lnTo>
                  <a:pt x="813" y="127"/>
                </a:lnTo>
                <a:lnTo>
                  <a:pt x="814" y="139"/>
                </a:lnTo>
                <a:lnTo>
                  <a:pt x="814" y="143"/>
                </a:lnTo>
                <a:lnTo>
                  <a:pt x="814" y="147"/>
                </a:lnTo>
                <a:lnTo>
                  <a:pt x="812" y="149"/>
                </a:lnTo>
                <a:lnTo>
                  <a:pt x="810" y="150"/>
                </a:lnTo>
                <a:lnTo>
                  <a:pt x="805" y="149"/>
                </a:lnTo>
                <a:lnTo>
                  <a:pt x="797" y="145"/>
                </a:lnTo>
                <a:lnTo>
                  <a:pt x="793" y="140"/>
                </a:lnTo>
                <a:lnTo>
                  <a:pt x="791" y="140"/>
                </a:lnTo>
                <a:lnTo>
                  <a:pt x="791" y="141"/>
                </a:lnTo>
                <a:lnTo>
                  <a:pt x="792" y="145"/>
                </a:lnTo>
                <a:lnTo>
                  <a:pt x="791" y="148"/>
                </a:lnTo>
                <a:lnTo>
                  <a:pt x="791" y="152"/>
                </a:lnTo>
                <a:lnTo>
                  <a:pt x="790" y="155"/>
                </a:lnTo>
                <a:lnTo>
                  <a:pt x="788" y="158"/>
                </a:lnTo>
                <a:lnTo>
                  <a:pt x="785" y="162"/>
                </a:lnTo>
                <a:lnTo>
                  <a:pt x="780" y="164"/>
                </a:lnTo>
                <a:lnTo>
                  <a:pt x="767" y="170"/>
                </a:lnTo>
                <a:lnTo>
                  <a:pt x="765" y="172"/>
                </a:lnTo>
                <a:lnTo>
                  <a:pt x="761" y="188"/>
                </a:lnTo>
                <a:lnTo>
                  <a:pt x="760" y="190"/>
                </a:lnTo>
                <a:lnTo>
                  <a:pt x="758" y="192"/>
                </a:lnTo>
                <a:lnTo>
                  <a:pt x="753" y="194"/>
                </a:lnTo>
                <a:lnTo>
                  <a:pt x="751" y="191"/>
                </a:lnTo>
                <a:lnTo>
                  <a:pt x="749" y="186"/>
                </a:lnTo>
                <a:lnTo>
                  <a:pt x="750" y="181"/>
                </a:lnTo>
                <a:lnTo>
                  <a:pt x="755" y="171"/>
                </a:lnTo>
                <a:lnTo>
                  <a:pt x="760" y="164"/>
                </a:lnTo>
                <a:lnTo>
                  <a:pt x="762" y="162"/>
                </a:lnTo>
                <a:lnTo>
                  <a:pt x="765" y="155"/>
                </a:lnTo>
                <a:lnTo>
                  <a:pt x="759" y="137"/>
                </a:lnTo>
                <a:lnTo>
                  <a:pt x="748" y="131"/>
                </a:lnTo>
                <a:lnTo>
                  <a:pt x="736" y="123"/>
                </a:lnTo>
                <a:lnTo>
                  <a:pt x="732" y="119"/>
                </a:lnTo>
                <a:lnTo>
                  <a:pt x="725" y="110"/>
                </a:lnTo>
                <a:lnTo>
                  <a:pt x="720" y="102"/>
                </a:lnTo>
                <a:lnTo>
                  <a:pt x="715" y="101"/>
                </a:lnTo>
                <a:lnTo>
                  <a:pt x="711" y="103"/>
                </a:lnTo>
                <a:lnTo>
                  <a:pt x="703" y="111"/>
                </a:lnTo>
                <a:lnTo>
                  <a:pt x="699" y="115"/>
                </a:lnTo>
                <a:lnTo>
                  <a:pt x="696" y="116"/>
                </a:lnTo>
                <a:lnTo>
                  <a:pt x="695" y="116"/>
                </a:lnTo>
                <a:lnTo>
                  <a:pt x="690" y="114"/>
                </a:lnTo>
                <a:lnTo>
                  <a:pt x="684" y="113"/>
                </a:lnTo>
                <a:lnTo>
                  <a:pt x="679" y="114"/>
                </a:lnTo>
                <a:lnTo>
                  <a:pt x="677" y="115"/>
                </a:lnTo>
                <a:lnTo>
                  <a:pt x="671" y="127"/>
                </a:lnTo>
                <a:lnTo>
                  <a:pt x="666" y="133"/>
                </a:lnTo>
                <a:lnTo>
                  <a:pt x="663" y="135"/>
                </a:lnTo>
                <a:lnTo>
                  <a:pt x="661" y="139"/>
                </a:lnTo>
                <a:lnTo>
                  <a:pt x="660" y="144"/>
                </a:lnTo>
                <a:lnTo>
                  <a:pt x="656" y="164"/>
                </a:lnTo>
                <a:lnTo>
                  <a:pt x="654" y="171"/>
                </a:lnTo>
                <a:lnTo>
                  <a:pt x="653" y="176"/>
                </a:lnTo>
                <a:lnTo>
                  <a:pt x="654" y="190"/>
                </a:lnTo>
                <a:lnTo>
                  <a:pt x="653" y="197"/>
                </a:lnTo>
                <a:lnTo>
                  <a:pt x="650" y="203"/>
                </a:lnTo>
                <a:lnTo>
                  <a:pt x="648" y="206"/>
                </a:lnTo>
                <a:lnTo>
                  <a:pt x="645" y="207"/>
                </a:lnTo>
                <a:lnTo>
                  <a:pt x="641" y="208"/>
                </a:lnTo>
                <a:lnTo>
                  <a:pt x="637" y="212"/>
                </a:lnTo>
                <a:lnTo>
                  <a:pt x="635" y="216"/>
                </a:lnTo>
                <a:lnTo>
                  <a:pt x="632" y="227"/>
                </a:lnTo>
                <a:lnTo>
                  <a:pt x="628" y="231"/>
                </a:lnTo>
                <a:lnTo>
                  <a:pt x="624" y="230"/>
                </a:lnTo>
                <a:lnTo>
                  <a:pt x="620" y="226"/>
                </a:lnTo>
                <a:lnTo>
                  <a:pt x="614" y="223"/>
                </a:lnTo>
                <a:lnTo>
                  <a:pt x="609" y="221"/>
                </a:lnTo>
                <a:lnTo>
                  <a:pt x="603" y="217"/>
                </a:lnTo>
                <a:lnTo>
                  <a:pt x="598" y="214"/>
                </a:lnTo>
                <a:lnTo>
                  <a:pt x="594" y="213"/>
                </a:lnTo>
                <a:lnTo>
                  <a:pt x="591" y="217"/>
                </a:lnTo>
                <a:lnTo>
                  <a:pt x="589" y="221"/>
                </a:lnTo>
                <a:lnTo>
                  <a:pt x="582" y="224"/>
                </a:lnTo>
                <a:lnTo>
                  <a:pt x="577" y="226"/>
                </a:lnTo>
                <a:lnTo>
                  <a:pt x="572" y="227"/>
                </a:lnTo>
                <a:lnTo>
                  <a:pt x="570" y="224"/>
                </a:lnTo>
                <a:lnTo>
                  <a:pt x="561" y="222"/>
                </a:lnTo>
                <a:lnTo>
                  <a:pt x="552" y="220"/>
                </a:lnTo>
                <a:lnTo>
                  <a:pt x="549" y="220"/>
                </a:lnTo>
                <a:lnTo>
                  <a:pt x="548" y="215"/>
                </a:lnTo>
                <a:lnTo>
                  <a:pt x="546" y="209"/>
                </a:lnTo>
                <a:lnTo>
                  <a:pt x="539" y="197"/>
                </a:lnTo>
                <a:lnTo>
                  <a:pt x="536" y="193"/>
                </a:lnTo>
                <a:lnTo>
                  <a:pt x="531" y="183"/>
                </a:lnTo>
                <a:lnTo>
                  <a:pt x="524" y="172"/>
                </a:lnTo>
                <a:lnTo>
                  <a:pt x="523" y="172"/>
                </a:lnTo>
                <a:lnTo>
                  <a:pt x="519" y="172"/>
                </a:lnTo>
                <a:lnTo>
                  <a:pt x="513" y="172"/>
                </a:lnTo>
                <a:lnTo>
                  <a:pt x="509" y="174"/>
                </a:lnTo>
                <a:lnTo>
                  <a:pt x="507" y="177"/>
                </a:lnTo>
                <a:lnTo>
                  <a:pt x="507" y="180"/>
                </a:lnTo>
                <a:lnTo>
                  <a:pt x="509" y="189"/>
                </a:lnTo>
                <a:lnTo>
                  <a:pt x="508" y="191"/>
                </a:lnTo>
                <a:lnTo>
                  <a:pt x="507" y="192"/>
                </a:lnTo>
                <a:lnTo>
                  <a:pt x="502" y="190"/>
                </a:lnTo>
                <a:lnTo>
                  <a:pt x="495" y="190"/>
                </a:lnTo>
                <a:lnTo>
                  <a:pt x="493" y="193"/>
                </a:lnTo>
                <a:lnTo>
                  <a:pt x="489" y="193"/>
                </a:lnTo>
                <a:lnTo>
                  <a:pt x="477" y="194"/>
                </a:lnTo>
                <a:lnTo>
                  <a:pt x="483" y="202"/>
                </a:lnTo>
                <a:lnTo>
                  <a:pt x="484" y="205"/>
                </a:lnTo>
                <a:lnTo>
                  <a:pt x="485" y="209"/>
                </a:lnTo>
                <a:lnTo>
                  <a:pt x="484" y="217"/>
                </a:lnTo>
                <a:lnTo>
                  <a:pt x="481" y="224"/>
                </a:lnTo>
                <a:lnTo>
                  <a:pt x="478" y="230"/>
                </a:lnTo>
                <a:lnTo>
                  <a:pt x="473" y="236"/>
                </a:lnTo>
                <a:lnTo>
                  <a:pt x="481" y="241"/>
                </a:lnTo>
                <a:lnTo>
                  <a:pt x="476" y="248"/>
                </a:lnTo>
                <a:lnTo>
                  <a:pt x="473" y="251"/>
                </a:lnTo>
                <a:lnTo>
                  <a:pt x="470" y="251"/>
                </a:lnTo>
                <a:lnTo>
                  <a:pt x="464" y="248"/>
                </a:lnTo>
                <a:lnTo>
                  <a:pt x="451" y="242"/>
                </a:lnTo>
                <a:lnTo>
                  <a:pt x="444" y="240"/>
                </a:lnTo>
                <a:lnTo>
                  <a:pt x="438" y="239"/>
                </a:lnTo>
                <a:lnTo>
                  <a:pt x="435" y="239"/>
                </a:lnTo>
                <a:lnTo>
                  <a:pt x="423" y="234"/>
                </a:lnTo>
                <a:lnTo>
                  <a:pt x="421" y="234"/>
                </a:lnTo>
                <a:lnTo>
                  <a:pt x="416" y="237"/>
                </a:lnTo>
                <a:lnTo>
                  <a:pt x="416" y="242"/>
                </a:lnTo>
                <a:lnTo>
                  <a:pt x="416" y="255"/>
                </a:lnTo>
                <a:lnTo>
                  <a:pt x="417" y="264"/>
                </a:lnTo>
                <a:lnTo>
                  <a:pt x="415" y="270"/>
                </a:lnTo>
                <a:lnTo>
                  <a:pt x="414" y="274"/>
                </a:lnTo>
                <a:lnTo>
                  <a:pt x="409" y="284"/>
                </a:lnTo>
                <a:lnTo>
                  <a:pt x="398" y="277"/>
                </a:lnTo>
                <a:lnTo>
                  <a:pt x="390" y="272"/>
                </a:lnTo>
                <a:lnTo>
                  <a:pt x="386" y="279"/>
                </a:lnTo>
                <a:lnTo>
                  <a:pt x="373" y="290"/>
                </a:lnTo>
                <a:lnTo>
                  <a:pt x="367" y="312"/>
                </a:lnTo>
                <a:lnTo>
                  <a:pt x="367" y="313"/>
                </a:lnTo>
                <a:lnTo>
                  <a:pt x="363" y="318"/>
                </a:lnTo>
                <a:lnTo>
                  <a:pt x="359" y="321"/>
                </a:lnTo>
                <a:lnTo>
                  <a:pt x="355" y="322"/>
                </a:lnTo>
                <a:lnTo>
                  <a:pt x="353" y="328"/>
                </a:lnTo>
                <a:lnTo>
                  <a:pt x="358" y="338"/>
                </a:lnTo>
                <a:lnTo>
                  <a:pt x="360" y="342"/>
                </a:lnTo>
                <a:lnTo>
                  <a:pt x="363" y="350"/>
                </a:lnTo>
                <a:lnTo>
                  <a:pt x="362" y="355"/>
                </a:lnTo>
                <a:lnTo>
                  <a:pt x="362" y="358"/>
                </a:lnTo>
                <a:lnTo>
                  <a:pt x="356" y="364"/>
                </a:lnTo>
                <a:lnTo>
                  <a:pt x="345" y="381"/>
                </a:lnTo>
                <a:lnTo>
                  <a:pt x="335" y="398"/>
                </a:lnTo>
                <a:lnTo>
                  <a:pt x="331" y="403"/>
                </a:lnTo>
                <a:lnTo>
                  <a:pt x="333" y="417"/>
                </a:lnTo>
                <a:lnTo>
                  <a:pt x="330" y="421"/>
                </a:lnTo>
                <a:lnTo>
                  <a:pt x="323" y="426"/>
                </a:lnTo>
                <a:lnTo>
                  <a:pt x="319" y="428"/>
                </a:lnTo>
                <a:lnTo>
                  <a:pt x="315" y="429"/>
                </a:lnTo>
                <a:lnTo>
                  <a:pt x="304" y="431"/>
                </a:lnTo>
                <a:lnTo>
                  <a:pt x="306" y="446"/>
                </a:lnTo>
                <a:lnTo>
                  <a:pt x="307" y="453"/>
                </a:lnTo>
                <a:lnTo>
                  <a:pt x="306" y="457"/>
                </a:lnTo>
                <a:lnTo>
                  <a:pt x="305" y="460"/>
                </a:lnTo>
                <a:lnTo>
                  <a:pt x="304" y="468"/>
                </a:lnTo>
                <a:lnTo>
                  <a:pt x="302" y="494"/>
                </a:lnTo>
                <a:lnTo>
                  <a:pt x="300" y="496"/>
                </a:lnTo>
                <a:lnTo>
                  <a:pt x="298" y="503"/>
                </a:lnTo>
                <a:lnTo>
                  <a:pt x="290" y="520"/>
                </a:lnTo>
                <a:lnTo>
                  <a:pt x="284" y="531"/>
                </a:lnTo>
                <a:lnTo>
                  <a:pt x="276" y="546"/>
                </a:lnTo>
                <a:lnTo>
                  <a:pt x="283" y="551"/>
                </a:lnTo>
                <a:lnTo>
                  <a:pt x="289" y="555"/>
                </a:lnTo>
                <a:lnTo>
                  <a:pt x="290" y="560"/>
                </a:lnTo>
                <a:lnTo>
                  <a:pt x="291" y="570"/>
                </a:lnTo>
                <a:lnTo>
                  <a:pt x="291" y="576"/>
                </a:lnTo>
                <a:lnTo>
                  <a:pt x="289" y="581"/>
                </a:lnTo>
                <a:lnTo>
                  <a:pt x="287" y="585"/>
                </a:lnTo>
                <a:lnTo>
                  <a:pt x="285" y="587"/>
                </a:lnTo>
                <a:lnTo>
                  <a:pt x="276" y="585"/>
                </a:lnTo>
                <a:lnTo>
                  <a:pt x="265" y="583"/>
                </a:lnTo>
                <a:lnTo>
                  <a:pt x="262" y="583"/>
                </a:lnTo>
                <a:lnTo>
                  <a:pt x="255" y="585"/>
                </a:lnTo>
                <a:lnTo>
                  <a:pt x="249" y="588"/>
                </a:lnTo>
                <a:lnTo>
                  <a:pt x="246" y="591"/>
                </a:lnTo>
                <a:lnTo>
                  <a:pt x="245" y="592"/>
                </a:lnTo>
                <a:lnTo>
                  <a:pt x="241" y="599"/>
                </a:lnTo>
                <a:lnTo>
                  <a:pt x="234" y="611"/>
                </a:lnTo>
                <a:lnTo>
                  <a:pt x="230" y="617"/>
                </a:lnTo>
                <a:lnTo>
                  <a:pt x="231" y="624"/>
                </a:lnTo>
                <a:lnTo>
                  <a:pt x="224" y="638"/>
                </a:lnTo>
                <a:lnTo>
                  <a:pt x="229" y="652"/>
                </a:lnTo>
                <a:lnTo>
                  <a:pt x="229" y="652"/>
                </a:lnTo>
                <a:lnTo>
                  <a:pt x="231" y="658"/>
                </a:lnTo>
                <a:lnTo>
                  <a:pt x="229" y="662"/>
                </a:lnTo>
                <a:lnTo>
                  <a:pt x="228" y="664"/>
                </a:lnTo>
                <a:lnTo>
                  <a:pt x="228" y="670"/>
                </a:lnTo>
                <a:lnTo>
                  <a:pt x="229" y="677"/>
                </a:lnTo>
                <a:lnTo>
                  <a:pt x="228" y="681"/>
                </a:lnTo>
                <a:lnTo>
                  <a:pt x="228" y="686"/>
                </a:lnTo>
                <a:lnTo>
                  <a:pt x="234" y="706"/>
                </a:lnTo>
                <a:lnTo>
                  <a:pt x="234" y="711"/>
                </a:lnTo>
                <a:lnTo>
                  <a:pt x="233" y="714"/>
                </a:lnTo>
                <a:lnTo>
                  <a:pt x="232" y="727"/>
                </a:lnTo>
                <a:lnTo>
                  <a:pt x="229" y="744"/>
                </a:lnTo>
                <a:lnTo>
                  <a:pt x="233" y="748"/>
                </a:lnTo>
                <a:lnTo>
                  <a:pt x="240" y="754"/>
                </a:lnTo>
                <a:lnTo>
                  <a:pt x="243" y="756"/>
                </a:lnTo>
                <a:lnTo>
                  <a:pt x="248" y="762"/>
                </a:lnTo>
                <a:lnTo>
                  <a:pt x="252" y="768"/>
                </a:lnTo>
                <a:lnTo>
                  <a:pt x="251" y="772"/>
                </a:lnTo>
                <a:lnTo>
                  <a:pt x="250" y="776"/>
                </a:lnTo>
                <a:lnTo>
                  <a:pt x="249" y="780"/>
                </a:lnTo>
                <a:lnTo>
                  <a:pt x="247" y="784"/>
                </a:lnTo>
                <a:lnTo>
                  <a:pt x="246" y="787"/>
                </a:lnTo>
                <a:lnTo>
                  <a:pt x="246" y="788"/>
                </a:lnTo>
                <a:lnTo>
                  <a:pt x="239" y="788"/>
                </a:lnTo>
                <a:lnTo>
                  <a:pt x="235" y="789"/>
                </a:lnTo>
                <a:lnTo>
                  <a:pt x="234" y="791"/>
                </a:lnTo>
                <a:lnTo>
                  <a:pt x="234" y="798"/>
                </a:lnTo>
                <a:lnTo>
                  <a:pt x="238" y="811"/>
                </a:lnTo>
                <a:lnTo>
                  <a:pt x="242" y="820"/>
                </a:lnTo>
                <a:lnTo>
                  <a:pt x="243" y="826"/>
                </a:lnTo>
                <a:lnTo>
                  <a:pt x="242" y="832"/>
                </a:lnTo>
                <a:lnTo>
                  <a:pt x="240" y="835"/>
                </a:lnTo>
                <a:lnTo>
                  <a:pt x="240" y="839"/>
                </a:lnTo>
                <a:lnTo>
                  <a:pt x="240" y="847"/>
                </a:lnTo>
                <a:lnTo>
                  <a:pt x="237" y="851"/>
                </a:lnTo>
                <a:lnTo>
                  <a:pt x="233" y="856"/>
                </a:lnTo>
                <a:lnTo>
                  <a:pt x="230" y="859"/>
                </a:lnTo>
                <a:lnTo>
                  <a:pt x="227" y="860"/>
                </a:lnTo>
                <a:lnTo>
                  <a:pt x="224" y="861"/>
                </a:lnTo>
                <a:lnTo>
                  <a:pt x="222" y="862"/>
                </a:lnTo>
                <a:lnTo>
                  <a:pt x="221" y="867"/>
                </a:lnTo>
                <a:lnTo>
                  <a:pt x="219" y="873"/>
                </a:lnTo>
                <a:lnTo>
                  <a:pt x="214" y="879"/>
                </a:lnTo>
                <a:lnTo>
                  <a:pt x="215" y="881"/>
                </a:lnTo>
                <a:lnTo>
                  <a:pt x="216" y="889"/>
                </a:lnTo>
                <a:lnTo>
                  <a:pt x="218" y="898"/>
                </a:lnTo>
                <a:lnTo>
                  <a:pt x="217" y="906"/>
                </a:lnTo>
                <a:lnTo>
                  <a:pt x="215" y="914"/>
                </a:lnTo>
                <a:lnTo>
                  <a:pt x="213" y="920"/>
                </a:lnTo>
                <a:lnTo>
                  <a:pt x="210" y="922"/>
                </a:lnTo>
                <a:lnTo>
                  <a:pt x="208" y="921"/>
                </a:lnTo>
                <a:lnTo>
                  <a:pt x="205" y="913"/>
                </a:lnTo>
                <a:lnTo>
                  <a:pt x="205" y="911"/>
                </a:lnTo>
                <a:lnTo>
                  <a:pt x="205" y="909"/>
                </a:lnTo>
                <a:lnTo>
                  <a:pt x="197" y="907"/>
                </a:lnTo>
                <a:lnTo>
                  <a:pt x="196" y="907"/>
                </a:lnTo>
                <a:lnTo>
                  <a:pt x="193" y="905"/>
                </a:lnTo>
                <a:lnTo>
                  <a:pt x="191" y="905"/>
                </a:lnTo>
                <a:lnTo>
                  <a:pt x="188" y="904"/>
                </a:lnTo>
                <a:lnTo>
                  <a:pt x="185" y="897"/>
                </a:lnTo>
                <a:lnTo>
                  <a:pt x="182" y="892"/>
                </a:lnTo>
                <a:lnTo>
                  <a:pt x="182" y="889"/>
                </a:lnTo>
                <a:lnTo>
                  <a:pt x="182" y="878"/>
                </a:lnTo>
                <a:lnTo>
                  <a:pt x="181" y="874"/>
                </a:lnTo>
                <a:lnTo>
                  <a:pt x="181" y="869"/>
                </a:lnTo>
                <a:lnTo>
                  <a:pt x="179" y="873"/>
                </a:lnTo>
                <a:lnTo>
                  <a:pt x="180" y="879"/>
                </a:lnTo>
                <a:lnTo>
                  <a:pt x="177" y="882"/>
                </a:lnTo>
                <a:lnTo>
                  <a:pt x="174" y="884"/>
                </a:lnTo>
                <a:lnTo>
                  <a:pt x="175" y="887"/>
                </a:lnTo>
                <a:lnTo>
                  <a:pt x="176" y="888"/>
                </a:lnTo>
                <a:lnTo>
                  <a:pt x="176" y="892"/>
                </a:lnTo>
                <a:lnTo>
                  <a:pt x="175" y="898"/>
                </a:lnTo>
                <a:lnTo>
                  <a:pt x="170" y="911"/>
                </a:lnTo>
                <a:lnTo>
                  <a:pt x="168" y="913"/>
                </a:lnTo>
                <a:lnTo>
                  <a:pt x="168" y="915"/>
                </a:lnTo>
                <a:lnTo>
                  <a:pt x="165" y="913"/>
                </a:lnTo>
                <a:lnTo>
                  <a:pt x="161" y="917"/>
                </a:lnTo>
                <a:lnTo>
                  <a:pt x="157" y="918"/>
                </a:lnTo>
                <a:lnTo>
                  <a:pt x="156" y="914"/>
                </a:lnTo>
                <a:lnTo>
                  <a:pt x="151" y="908"/>
                </a:lnTo>
                <a:lnTo>
                  <a:pt x="148" y="908"/>
                </a:lnTo>
                <a:lnTo>
                  <a:pt x="150" y="911"/>
                </a:lnTo>
                <a:lnTo>
                  <a:pt x="153" y="915"/>
                </a:lnTo>
                <a:lnTo>
                  <a:pt x="151" y="917"/>
                </a:lnTo>
                <a:lnTo>
                  <a:pt x="150" y="918"/>
                </a:lnTo>
                <a:lnTo>
                  <a:pt x="148" y="919"/>
                </a:lnTo>
                <a:lnTo>
                  <a:pt x="140" y="924"/>
                </a:lnTo>
                <a:lnTo>
                  <a:pt x="143" y="927"/>
                </a:lnTo>
                <a:lnTo>
                  <a:pt x="141" y="930"/>
                </a:lnTo>
                <a:lnTo>
                  <a:pt x="138" y="931"/>
                </a:lnTo>
                <a:lnTo>
                  <a:pt x="137" y="933"/>
                </a:lnTo>
                <a:lnTo>
                  <a:pt x="136" y="935"/>
                </a:lnTo>
                <a:lnTo>
                  <a:pt x="129" y="941"/>
                </a:lnTo>
                <a:lnTo>
                  <a:pt x="116" y="957"/>
                </a:lnTo>
                <a:lnTo>
                  <a:pt x="109" y="962"/>
                </a:lnTo>
                <a:lnTo>
                  <a:pt x="105" y="966"/>
                </a:lnTo>
                <a:lnTo>
                  <a:pt x="101" y="966"/>
                </a:lnTo>
                <a:lnTo>
                  <a:pt x="96" y="970"/>
                </a:lnTo>
                <a:lnTo>
                  <a:pt x="83" y="974"/>
                </a:lnTo>
                <a:lnTo>
                  <a:pt x="74" y="972"/>
                </a:lnTo>
                <a:lnTo>
                  <a:pt x="69" y="973"/>
                </a:lnTo>
                <a:lnTo>
                  <a:pt x="65" y="971"/>
                </a:lnTo>
                <a:lnTo>
                  <a:pt x="65" y="969"/>
                </a:lnTo>
                <a:lnTo>
                  <a:pt x="65" y="968"/>
                </a:lnTo>
                <a:lnTo>
                  <a:pt x="66" y="966"/>
                </a:lnTo>
                <a:lnTo>
                  <a:pt x="65" y="966"/>
                </a:lnTo>
                <a:lnTo>
                  <a:pt x="62" y="966"/>
                </a:lnTo>
                <a:lnTo>
                  <a:pt x="61" y="967"/>
                </a:lnTo>
                <a:lnTo>
                  <a:pt x="61" y="970"/>
                </a:lnTo>
                <a:lnTo>
                  <a:pt x="60" y="971"/>
                </a:lnTo>
                <a:lnTo>
                  <a:pt x="56" y="969"/>
                </a:lnTo>
                <a:lnTo>
                  <a:pt x="55" y="968"/>
                </a:lnTo>
                <a:lnTo>
                  <a:pt x="56" y="964"/>
                </a:lnTo>
                <a:lnTo>
                  <a:pt x="59" y="962"/>
                </a:lnTo>
                <a:lnTo>
                  <a:pt x="58" y="961"/>
                </a:lnTo>
                <a:lnTo>
                  <a:pt x="58" y="959"/>
                </a:lnTo>
                <a:lnTo>
                  <a:pt x="56" y="959"/>
                </a:lnTo>
                <a:lnTo>
                  <a:pt x="53" y="960"/>
                </a:lnTo>
                <a:lnTo>
                  <a:pt x="49" y="959"/>
                </a:lnTo>
                <a:lnTo>
                  <a:pt x="39" y="953"/>
                </a:lnTo>
                <a:lnTo>
                  <a:pt x="37" y="949"/>
                </a:lnTo>
                <a:lnTo>
                  <a:pt x="28" y="944"/>
                </a:lnTo>
                <a:lnTo>
                  <a:pt x="24" y="938"/>
                </a:lnTo>
                <a:lnTo>
                  <a:pt x="22" y="932"/>
                </a:lnTo>
                <a:lnTo>
                  <a:pt x="22" y="926"/>
                </a:lnTo>
                <a:lnTo>
                  <a:pt x="23" y="917"/>
                </a:lnTo>
                <a:lnTo>
                  <a:pt x="25" y="914"/>
                </a:lnTo>
                <a:lnTo>
                  <a:pt x="33" y="918"/>
                </a:lnTo>
                <a:lnTo>
                  <a:pt x="40" y="923"/>
                </a:lnTo>
                <a:lnTo>
                  <a:pt x="41" y="923"/>
                </a:lnTo>
                <a:lnTo>
                  <a:pt x="44" y="919"/>
                </a:lnTo>
                <a:lnTo>
                  <a:pt x="49" y="915"/>
                </a:lnTo>
                <a:lnTo>
                  <a:pt x="47" y="914"/>
                </a:lnTo>
                <a:lnTo>
                  <a:pt x="40" y="918"/>
                </a:lnTo>
                <a:lnTo>
                  <a:pt x="38" y="916"/>
                </a:lnTo>
                <a:lnTo>
                  <a:pt x="34" y="912"/>
                </a:lnTo>
                <a:lnTo>
                  <a:pt x="34" y="909"/>
                </a:lnTo>
                <a:lnTo>
                  <a:pt x="36" y="907"/>
                </a:lnTo>
                <a:lnTo>
                  <a:pt x="36" y="904"/>
                </a:lnTo>
                <a:lnTo>
                  <a:pt x="35" y="901"/>
                </a:lnTo>
                <a:lnTo>
                  <a:pt x="36" y="897"/>
                </a:lnTo>
                <a:lnTo>
                  <a:pt x="39" y="893"/>
                </a:lnTo>
                <a:lnTo>
                  <a:pt x="43" y="889"/>
                </a:lnTo>
                <a:lnTo>
                  <a:pt x="47" y="884"/>
                </a:lnTo>
                <a:lnTo>
                  <a:pt x="50" y="882"/>
                </a:lnTo>
                <a:lnTo>
                  <a:pt x="50" y="881"/>
                </a:lnTo>
                <a:lnTo>
                  <a:pt x="46" y="883"/>
                </a:lnTo>
                <a:lnTo>
                  <a:pt x="42" y="885"/>
                </a:lnTo>
                <a:lnTo>
                  <a:pt x="38" y="890"/>
                </a:lnTo>
                <a:lnTo>
                  <a:pt x="32" y="894"/>
                </a:lnTo>
                <a:lnTo>
                  <a:pt x="28" y="895"/>
                </a:lnTo>
                <a:lnTo>
                  <a:pt x="27" y="896"/>
                </a:lnTo>
                <a:lnTo>
                  <a:pt x="24" y="898"/>
                </a:lnTo>
                <a:lnTo>
                  <a:pt x="21" y="903"/>
                </a:lnTo>
                <a:lnTo>
                  <a:pt x="17" y="905"/>
                </a:lnTo>
                <a:lnTo>
                  <a:pt x="11" y="905"/>
                </a:lnTo>
                <a:lnTo>
                  <a:pt x="10" y="901"/>
                </a:lnTo>
                <a:lnTo>
                  <a:pt x="12" y="888"/>
                </a:lnTo>
                <a:lnTo>
                  <a:pt x="14" y="881"/>
                </a:lnTo>
                <a:lnTo>
                  <a:pt x="16" y="876"/>
                </a:lnTo>
                <a:lnTo>
                  <a:pt x="19" y="875"/>
                </a:lnTo>
                <a:lnTo>
                  <a:pt x="21" y="872"/>
                </a:lnTo>
                <a:lnTo>
                  <a:pt x="23" y="872"/>
                </a:lnTo>
                <a:lnTo>
                  <a:pt x="24" y="873"/>
                </a:lnTo>
                <a:lnTo>
                  <a:pt x="30" y="875"/>
                </a:lnTo>
                <a:lnTo>
                  <a:pt x="33" y="870"/>
                </a:lnTo>
                <a:lnTo>
                  <a:pt x="37" y="870"/>
                </a:lnTo>
                <a:lnTo>
                  <a:pt x="44" y="865"/>
                </a:lnTo>
                <a:lnTo>
                  <a:pt x="44" y="864"/>
                </a:lnTo>
                <a:lnTo>
                  <a:pt x="39" y="865"/>
                </a:lnTo>
                <a:lnTo>
                  <a:pt x="36" y="866"/>
                </a:lnTo>
                <a:lnTo>
                  <a:pt x="32" y="867"/>
                </a:lnTo>
                <a:lnTo>
                  <a:pt x="30" y="866"/>
                </a:lnTo>
                <a:lnTo>
                  <a:pt x="29" y="862"/>
                </a:lnTo>
                <a:lnTo>
                  <a:pt x="30" y="859"/>
                </a:lnTo>
                <a:lnTo>
                  <a:pt x="37" y="852"/>
                </a:lnTo>
                <a:lnTo>
                  <a:pt x="39" y="849"/>
                </a:lnTo>
                <a:lnTo>
                  <a:pt x="41" y="846"/>
                </a:lnTo>
                <a:lnTo>
                  <a:pt x="41" y="844"/>
                </a:lnTo>
                <a:lnTo>
                  <a:pt x="42" y="839"/>
                </a:lnTo>
                <a:lnTo>
                  <a:pt x="48" y="832"/>
                </a:lnTo>
                <a:lnTo>
                  <a:pt x="53" y="828"/>
                </a:lnTo>
                <a:lnTo>
                  <a:pt x="55" y="831"/>
                </a:lnTo>
                <a:lnTo>
                  <a:pt x="54" y="841"/>
                </a:lnTo>
                <a:lnTo>
                  <a:pt x="54" y="844"/>
                </a:lnTo>
                <a:lnTo>
                  <a:pt x="58" y="831"/>
                </a:lnTo>
                <a:lnTo>
                  <a:pt x="60" y="828"/>
                </a:lnTo>
                <a:lnTo>
                  <a:pt x="62" y="825"/>
                </a:lnTo>
                <a:lnTo>
                  <a:pt x="67" y="824"/>
                </a:lnTo>
                <a:lnTo>
                  <a:pt x="68" y="822"/>
                </a:lnTo>
                <a:lnTo>
                  <a:pt x="62" y="822"/>
                </a:lnTo>
                <a:lnTo>
                  <a:pt x="48" y="828"/>
                </a:lnTo>
                <a:lnTo>
                  <a:pt x="42" y="832"/>
                </a:lnTo>
                <a:lnTo>
                  <a:pt x="40" y="836"/>
                </a:lnTo>
                <a:lnTo>
                  <a:pt x="36" y="841"/>
                </a:lnTo>
                <a:lnTo>
                  <a:pt x="34" y="844"/>
                </a:lnTo>
                <a:lnTo>
                  <a:pt x="33" y="850"/>
                </a:lnTo>
                <a:lnTo>
                  <a:pt x="31" y="852"/>
                </a:lnTo>
                <a:lnTo>
                  <a:pt x="28" y="853"/>
                </a:lnTo>
                <a:lnTo>
                  <a:pt x="23" y="860"/>
                </a:lnTo>
                <a:lnTo>
                  <a:pt x="21" y="865"/>
                </a:lnTo>
                <a:lnTo>
                  <a:pt x="17" y="869"/>
                </a:lnTo>
                <a:lnTo>
                  <a:pt x="14" y="872"/>
                </a:lnTo>
                <a:lnTo>
                  <a:pt x="13" y="873"/>
                </a:lnTo>
                <a:lnTo>
                  <a:pt x="12" y="876"/>
                </a:lnTo>
                <a:lnTo>
                  <a:pt x="11" y="876"/>
                </a:lnTo>
                <a:lnTo>
                  <a:pt x="9" y="874"/>
                </a:lnTo>
                <a:lnTo>
                  <a:pt x="9" y="870"/>
                </a:lnTo>
                <a:lnTo>
                  <a:pt x="10" y="864"/>
                </a:lnTo>
                <a:lnTo>
                  <a:pt x="12" y="860"/>
                </a:lnTo>
                <a:lnTo>
                  <a:pt x="13" y="855"/>
                </a:lnTo>
                <a:lnTo>
                  <a:pt x="11" y="851"/>
                </a:lnTo>
                <a:lnTo>
                  <a:pt x="12" y="848"/>
                </a:lnTo>
                <a:lnTo>
                  <a:pt x="14" y="848"/>
                </a:lnTo>
                <a:lnTo>
                  <a:pt x="18" y="850"/>
                </a:lnTo>
                <a:lnTo>
                  <a:pt x="21" y="850"/>
                </a:lnTo>
                <a:lnTo>
                  <a:pt x="28" y="846"/>
                </a:lnTo>
                <a:lnTo>
                  <a:pt x="27" y="844"/>
                </a:lnTo>
                <a:lnTo>
                  <a:pt x="24" y="844"/>
                </a:lnTo>
                <a:lnTo>
                  <a:pt x="19" y="844"/>
                </a:lnTo>
                <a:lnTo>
                  <a:pt x="15" y="841"/>
                </a:lnTo>
                <a:lnTo>
                  <a:pt x="12" y="835"/>
                </a:lnTo>
                <a:lnTo>
                  <a:pt x="10" y="826"/>
                </a:lnTo>
                <a:lnTo>
                  <a:pt x="11" y="823"/>
                </a:lnTo>
                <a:lnTo>
                  <a:pt x="23" y="815"/>
                </a:lnTo>
                <a:lnTo>
                  <a:pt x="26" y="811"/>
                </a:lnTo>
                <a:lnTo>
                  <a:pt x="24" y="810"/>
                </a:lnTo>
                <a:lnTo>
                  <a:pt x="20" y="815"/>
                </a:lnTo>
                <a:lnTo>
                  <a:pt x="14" y="818"/>
                </a:lnTo>
                <a:lnTo>
                  <a:pt x="10" y="814"/>
                </a:lnTo>
                <a:lnTo>
                  <a:pt x="8" y="809"/>
                </a:lnTo>
                <a:lnTo>
                  <a:pt x="6" y="800"/>
                </a:lnTo>
                <a:lnTo>
                  <a:pt x="7" y="795"/>
                </a:lnTo>
                <a:lnTo>
                  <a:pt x="6" y="788"/>
                </a:lnTo>
                <a:lnTo>
                  <a:pt x="9" y="786"/>
                </a:lnTo>
                <a:lnTo>
                  <a:pt x="12" y="787"/>
                </a:lnTo>
                <a:lnTo>
                  <a:pt x="15" y="788"/>
                </a:lnTo>
                <a:lnTo>
                  <a:pt x="22" y="787"/>
                </a:lnTo>
                <a:lnTo>
                  <a:pt x="37" y="783"/>
                </a:lnTo>
                <a:lnTo>
                  <a:pt x="46" y="785"/>
                </a:lnTo>
                <a:lnTo>
                  <a:pt x="50" y="785"/>
                </a:lnTo>
                <a:lnTo>
                  <a:pt x="56" y="782"/>
                </a:lnTo>
                <a:lnTo>
                  <a:pt x="61" y="781"/>
                </a:lnTo>
                <a:lnTo>
                  <a:pt x="65" y="784"/>
                </a:lnTo>
                <a:lnTo>
                  <a:pt x="68" y="787"/>
                </a:lnTo>
                <a:lnTo>
                  <a:pt x="68" y="791"/>
                </a:lnTo>
                <a:lnTo>
                  <a:pt x="70" y="794"/>
                </a:lnTo>
                <a:lnTo>
                  <a:pt x="71" y="793"/>
                </a:lnTo>
                <a:lnTo>
                  <a:pt x="70" y="790"/>
                </a:lnTo>
                <a:lnTo>
                  <a:pt x="70" y="785"/>
                </a:lnTo>
                <a:lnTo>
                  <a:pt x="85" y="779"/>
                </a:lnTo>
                <a:lnTo>
                  <a:pt x="87" y="777"/>
                </a:lnTo>
                <a:lnTo>
                  <a:pt x="81" y="776"/>
                </a:lnTo>
                <a:lnTo>
                  <a:pt x="79" y="771"/>
                </a:lnTo>
                <a:lnTo>
                  <a:pt x="83" y="764"/>
                </a:lnTo>
                <a:lnTo>
                  <a:pt x="82" y="763"/>
                </a:lnTo>
                <a:lnTo>
                  <a:pt x="79" y="767"/>
                </a:lnTo>
                <a:lnTo>
                  <a:pt x="77" y="772"/>
                </a:lnTo>
                <a:lnTo>
                  <a:pt x="78" y="777"/>
                </a:lnTo>
                <a:lnTo>
                  <a:pt x="77" y="779"/>
                </a:lnTo>
                <a:lnTo>
                  <a:pt x="74" y="780"/>
                </a:lnTo>
                <a:lnTo>
                  <a:pt x="67" y="780"/>
                </a:lnTo>
                <a:lnTo>
                  <a:pt x="62" y="778"/>
                </a:lnTo>
                <a:lnTo>
                  <a:pt x="58" y="777"/>
                </a:lnTo>
                <a:lnTo>
                  <a:pt x="56" y="776"/>
                </a:lnTo>
                <a:lnTo>
                  <a:pt x="57" y="773"/>
                </a:lnTo>
                <a:lnTo>
                  <a:pt x="56" y="772"/>
                </a:lnTo>
                <a:lnTo>
                  <a:pt x="54" y="775"/>
                </a:lnTo>
                <a:lnTo>
                  <a:pt x="53" y="781"/>
                </a:lnTo>
                <a:lnTo>
                  <a:pt x="49" y="782"/>
                </a:lnTo>
                <a:lnTo>
                  <a:pt x="40" y="780"/>
                </a:lnTo>
                <a:lnTo>
                  <a:pt x="26" y="781"/>
                </a:lnTo>
                <a:lnTo>
                  <a:pt x="20" y="784"/>
                </a:lnTo>
                <a:lnTo>
                  <a:pt x="16" y="784"/>
                </a:lnTo>
                <a:lnTo>
                  <a:pt x="9" y="779"/>
                </a:lnTo>
                <a:lnTo>
                  <a:pt x="7" y="774"/>
                </a:lnTo>
                <a:lnTo>
                  <a:pt x="6" y="766"/>
                </a:lnTo>
                <a:lnTo>
                  <a:pt x="6" y="763"/>
                </a:lnTo>
                <a:lnTo>
                  <a:pt x="11" y="761"/>
                </a:lnTo>
                <a:lnTo>
                  <a:pt x="14" y="761"/>
                </a:lnTo>
                <a:lnTo>
                  <a:pt x="17" y="759"/>
                </a:lnTo>
                <a:lnTo>
                  <a:pt x="14" y="758"/>
                </a:lnTo>
                <a:lnTo>
                  <a:pt x="11" y="755"/>
                </a:lnTo>
                <a:lnTo>
                  <a:pt x="9" y="750"/>
                </a:lnTo>
                <a:lnTo>
                  <a:pt x="6" y="749"/>
                </a:lnTo>
                <a:lnTo>
                  <a:pt x="4" y="744"/>
                </a:lnTo>
                <a:lnTo>
                  <a:pt x="3" y="738"/>
                </a:lnTo>
                <a:lnTo>
                  <a:pt x="4" y="733"/>
                </a:lnTo>
                <a:lnTo>
                  <a:pt x="6" y="732"/>
                </a:lnTo>
                <a:lnTo>
                  <a:pt x="10" y="733"/>
                </a:lnTo>
                <a:lnTo>
                  <a:pt x="21" y="732"/>
                </a:lnTo>
                <a:lnTo>
                  <a:pt x="31" y="737"/>
                </a:lnTo>
                <a:lnTo>
                  <a:pt x="38" y="739"/>
                </a:lnTo>
                <a:lnTo>
                  <a:pt x="52" y="738"/>
                </a:lnTo>
                <a:lnTo>
                  <a:pt x="60" y="734"/>
                </a:lnTo>
                <a:lnTo>
                  <a:pt x="58" y="733"/>
                </a:lnTo>
                <a:lnTo>
                  <a:pt x="50" y="735"/>
                </a:lnTo>
                <a:lnTo>
                  <a:pt x="41" y="735"/>
                </a:lnTo>
                <a:lnTo>
                  <a:pt x="27" y="730"/>
                </a:lnTo>
                <a:lnTo>
                  <a:pt x="21" y="729"/>
                </a:lnTo>
                <a:lnTo>
                  <a:pt x="14" y="730"/>
                </a:lnTo>
                <a:lnTo>
                  <a:pt x="11" y="728"/>
                </a:lnTo>
                <a:lnTo>
                  <a:pt x="9" y="724"/>
                </a:lnTo>
                <a:lnTo>
                  <a:pt x="11" y="715"/>
                </a:lnTo>
                <a:lnTo>
                  <a:pt x="14" y="713"/>
                </a:lnTo>
                <a:lnTo>
                  <a:pt x="15" y="715"/>
                </a:lnTo>
                <a:lnTo>
                  <a:pt x="17" y="715"/>
                </a:lnTo>
                <a:lnTo>
                  <a:pt x="19" y="712"/>
                </a:lnTo>
                <a:lnTo>
                  <a:pt x="21" y="709"/>
                </a:lnTo>
                <a:lnTo>
                  <a:pt x="23" y="705"/>
                </a:lnTo>
                <a:lnTo>
                  <a:pt x="28" y="700"/>
                </a:lnTo>
                <a:lnTo>
                  <a:pt x="31" y="700"/>
                </a:lnTo>
                <a:lnTo>
                  <a:pt x="34" y="698"/>
                </a:lnTo>
                <a:lnTo>
                  <a:pt x="37" y="698"/>
                </a:lnTo>
                <a:lnTo>
                  <a:pt x="38" y="700"/>
                </a:lnTo>
                <a:lnTo>
                  <a:pt x="40" y="702"/>
                </a:lnTo>
                <a:lnTo>
                  <a:pt x="44" y="702"/>
                </a:lnTo>
                <a:lnTo>
                  <a:pt x="55" y="698"/>
                </a:lnTo>
                <a:lnTo>
                  <a:pt x="57" y="697"/>
                </a:lnTo>
                <a:lnTo>
                  <a:pt x="59" y="694"/>
                </a:lnTo>
                <a:lnTo>
                  <a:pt x="51" y="695"/>
                </a:lnTo>
                <a:lnTo>
                  <a:pt x="45" y="698"/>
                </a:lnTo>
                <a:lnTo>
                  <a:pt x="41" y="698"/>
                </a:lnTo>
                <a:lnTo>
                  <a:pt x="41" y="695"/>
                </a:lnTo>
                <a:lnTo>
                  <a:pt x="42" y="693"/>
                </a:lnTo>
                <a:lnTo>
                  <a:pt x="45" y="691"/>
                </a:lnTo>
                <a:lnTo>
                  <a:pt x="46" y="686"/>
                </a:lnTo>
                <a:lnTo>
                  <a:pt x="48" y="684"/>
                </a:lnTo>
                <a:lnTo>
                  <a:pt x="51" y="685"/>
                </a:lnTo>
                <a:lnTo>
                  <a:pt x="56" y="684"/>
                </a:lnTo>
                <a:lnTo>
                  <a:pt x="60" y="683"/>
                </a:lnTo>
                <a:lnTo>
                  <a:pt x="67" y="683"/>
                </a:lnTo>
                <a:lnTo>
                  <a:pt x="77" y="685"/>
                </a:lnTo>
                <a:lnTo>
                  <a:pt x="84" y="689"/>
                </a:lnTo>
                <a:lnTo>
                  <a:pt x="86" y="689"/>
                </a:lnTo>
                <a:lnTo>
                  <a:pt x="89" y="688"/>
                </a:lnTo>
                <a:lnTo>
                  <a:pt x="90" y="686"/>
                </a:lnTo>
                <a:lnTo>
                  <a:pt x="85" y="684"/>
                </a:lnTo>
                <a:lnTo>
                  <a:pt x="85" y="682"/>
                </a:lnTo>
                <a:lnTo>
                  <a:pt x="85" y="680"/>
                </a:lnTo>
                <a:lnTo>
                  <a:pt x="93" y="677"/>
                </a:lnTo>
                <a:lnTo>
                  <a:pt x="103" y="676"/>
                </a:lnTo>
                <a:lnTo>
                  <a:pt x="101" y="674"/>
                </a:lnTo>
                <a:lnTo>
                  <a:pt x="81" y="678"/>
                </a:lnTo>
                <a:lnTo>
                  <a:pt x="76" y="675"/>
                </a:lnTo>
                <a:lnTo>
                  <a:pt x="72" y="675"/>
                </a:lnTo>
                <a:lnTo>
                  <a:pt x="69" y="676"/>
                </a:lnTo>
                <a:lnTo>
                  <a:pt x="62" y="678"/>
                </a:lnTo>
                <a:lnTo>
                  <a:pt x="60" y="677"/>
                </a:lnTo>
                <a:lnTo>
                  <a:pt x="62" y="672"/>
                </a:lnTo>
                <a:lnTo>
                  <a:pt x="66" y="665"/>
                </a:lnTo>
                <a:lnTo>
                  <a:pt x="67" y="663"/>
                </a:lnTo>
                <a:lnTo>
                  <a:pt x="69" y="661"/>
                </a:lnTo>
                <a:lnTo>
                  <a:pt x="81" y="656"/>
                </a:lnTo>
                <a:lnTo>
                  <a:pt x="86" y="651"/>
                </a:lnTo>
                <a:lnTo>
                  <a:pt x="89" y="650"/>
                </a:lnTo>
                <a:lnTo>
                  <a:pt x="91" y="651"/>
                </a:lnTo>
                <a:lnTo>
                  <a:pt x="95" y="650"/>
                </a:lnTo>
                <a:lnTo>
                  <a:pt x="103" y="652"/>
                </a:lnTo>
                <a:lnTo>
                  <a:pt x="106" y="658"/>
                </a:lnTo>
                <a:lnTo>
                  <a:pt x="109" y="660"/>
                </a:lnTo>
                <a:lnTo>
                  <a:pt x="119" y="668"/>
                </a:lnTo>
                <a:lnTo>
                  <a:pt x="119" y="666"/>
                </a:lnTo>
                <a:lnTo>
                  <a:pt x="110" y="655"/>
                </a:lnTo>
                <a:lnTo>
                  <a:pt x="107" y="652"/>
                </a:lnTo>
                <a:lnTo>
                  <a:pt x="104" y="647"/>
                </a:lnTo>
                <a:lnTo>
                  <a:pt x="105" y="642"/>
                </a:lnTo>
                <a:lnTo>
                  <a:pt x="108" y="638"/>
                </a:lnTo>
                <a:lnTo>
                  <a:pt x="118" y="636"/>
                </a:lnTo>
                <a:lnTo>
                  <a:pt x="119" y="634"/>
                </a:lnTo>
                <a:lnTo>
                  <a:pt x="120" y="631"/>
                </a:lnTo>
                <a:lnTo>
                  <a:pt x="118" y="628"/>
                </a:lnTo>
                <a:lnTo>
                  <a:pt x="115" y="629"/>
                </a:lnTo>
                <a:lnTo>
                  <a:pt x="112" y="627"/>
                </a:lnTo>
                <a:lnTo>
                  <a:pt x="111" y="623"/>
                </a:lnTo>
                <a:lnTo>
                  <a:pt x="112" y="621"/>
                </a:lnTo>
                <a:lnTo>
                  <a:pt x="118" y="616"/>
                </a:lnTo>
                <a:lnTo>
                  <a:pt x="121" y="615"/>
                </a:lnTo>
                <a:lnTo>
                  <a:pt x="126" y="613"/>
                </a:lnTo>
                <a:lnTo>
                  <a:pt x="135" y="617"/>
                </a:lnTo>
                <a:lnTo>
                  <a:pt x="136" y="619"/>
                </a:lnTo>
                <a:lnTo>
                  <a:pt x="133" y="623"/>
                </a:lnTo>
                <a:lnTo>
                  <a:pt x="133" y="626"/>
                </a:lnTo>
                <a:lnTo>
                  <a:pt x="136" y="626"/>
                </a:lnTo>
                <a:lnTo>
                  <a:pt x="141" y="618"/>
                </a:lnTo>
                <a:lnTo>
                  <a:pt x="147" y="617"/>
                </a:lnTo>
                <a:lnTo>
                  <a:pt x="150" y="616"/>
                </a:lnTo>
                <a:lnTo>
                  <a:pt x="153" y="615"/>
                </a:lnTo>
                <a:lnTo>
                  <a:pt x="157" y="622"/>
                </a:lnTo>
                <a:lnTo>
                  <a:pt x="159" y="624"/>
                </a:lnTo>
                <a:lnTo>
                  <a:pt x="160" y="625"/>
                </a:lnTo>
                <a:lnTo>
                  <a:pt x="161" y="631"/>
                </a:lnTo>
                <a:lnTo>
                  <a:pt x="163" y="631"/>
                </a:lnTo>
                <a:lnTo>
                  <a:pt x="164" y="628"/>
                </a:lnTo>
                <a:lnTo>
                  <a:pt x="168" y="626"/>
                </a:lnTo>
                <a:lnTo>
                  <a:pt x="173" y="625"/>
                </a:lnTo>
                <a:lnTo>
                  <a:pt x="180" y="627"/>
                </a:lnTo>
                <a:lnTo>
                  <a:pt x="184" y="626"/>
                </a:lnTo>
                <a:lnTo>
                  <a:pt x="186" y="626"/>
                </a:lnTo>
                <a:lnTo>
                  <a:pt x="184" y="621"/>
                </a:lnTo>
                <a:lnTo>
                  <a:pt x="183" y="619"/>
                </a:lnTo>
                <a:lnTo>
                  <a:pt x="185" y="615"/>
                </a:lnTo>
                <a:lnTo>
                  <a:pt x="186" y="613"/>
                </a:lnTo>
                <a:lnTo>
                  <a:pt x="192" y="609"/>
                </a:lnTo>
                <a:lnTo>
                  <a:pt x="197" y="608"/>
                </a:lnTo>
                <a:lnTo>
                  <a:pt x="200" y="605"/>
                </a:lnTo>
                <a:lnTo>
                  <a:pt x="205" y="602"/>
                </a:lnTo>
                <a:lnTo>
                  <a:pt x="204" y="600"/>
                </a:lnTo>
                <a:lnTo>
                  <a:pt x="203" y="597"/>
                </a:lnTo>
                <a:lnTo>
                  <a:pt x="200" y="597"/>
                </a:lnTo>
                <a:lnTo>
                  <a:pt x="199" y="595"/>
                </a:lnTo>
                <a:lnTo>
                  <a:pt x="202" y="592"/>
                </a:lnTo>
                <a:lnTo>
                  <a:pt x="207" y="588"/>
                </a:lnTo>
                <a:lnTo>
                  <a:pt x="206" y="586"/>
                </a:lnTo>
                <a:lnTo>
                  <a:pt x="203" y="585"/>
                </a:lnTo>
                <a:lnTo>
                  <a:pt x="200" y="586"/>
                </a:lnTo>
                <a:lnTo>
                  <a:pt x="195" y="589"/>
                </a:lnTo>
                <a:lnTo>
                  <a:pt x="190" y="594"/>
                </a:lnTo>
                <a:lnTo>
                  <a:pt x="192" y="595"/>
                </a:lnTo>
                <a:lnTo>
                  <a:pt x="195" y="599"/>
                </a:lnTo>
                <a:lnTo>
                  <a:pt x="191" y="604"/>
                </a:lnTo>
                <a:lnTo>
                  <a:pt x="173" y="618"/>
                </a:lnTo>
                <a:lnTo>
                  <a:pt x="164" y="622"/>
                </a:lnTo>
                <a:lnTo>
                  <a:pt x="160" y="622"/>
                </a:lnTo>
                <a:lnTo>
                  <a:pt x="159" y="618"/>
                </a:lnTo>
                <a:lnTo>
                  <a:pt x="157" y="615"/>
                </a:lnTo>
                <a:lnTo>
                  <a:pt x="155" y="609"/>
                </a:lnTo>
                <a:lnTo>
                  <a:pt x="151" y="609"/>
                </a:lnTo>
                <a:lnTo>
                  <a:pt x="149" y="611"/>
                </a:lnTo>
                <a:lnTo>
                  <a:pt x="148" y="609"/>
                </a:lnTo>
                <a:lnTo>
                  <a:pt x="150" y="603"/>
                </a:lnTo>
                <a:lnTo>
                  <a:pt x="153" y="598"/>
                </a:lnTo>
                <a:lnTo>
                  <a:pt x="158" y="594"/>
                </a:lnTo>
                <a:lnTo>
                  <a:pt x="160" y="589"/>
                </a:lnTo>
                <a:lnTo>
                  <a:pt x="162" y="582"/>
                </a:lnTo>
                <a:lnTo>
                  <a:pt x="169" y="575"/>
                </a:lnTo>
                <a:lnTo>
                  <a:pt x="180" y="558"/>
                </a:lnTo>
                <a:lnTo>
                  <a:pt x="188" y="553"/>
                </a:lnTo>
                <a:lnTo>
                  <a:pt x="191" y="547"/>
                </a:lnTo>
                <a:lnTo>
                  <a:pt x="196" y="544"/>
                </a:lnTo>
                <a:lnTo>
                  <a:pt x="200" y="539"/>
                </a:lnTo>
                <a:lnTo>
                  <a:pt x="203" y="539"/>
                </a:lnTo>
                <a:lnTo>
                  <a:pt x="209" y="535"/>
                </a:lnTo>
                <a:lnTo>
                  <a:pt x="213" y="529"/>
                </a:lnTo>
                <a:lnTo>
                  <a:pt x="211" y="529"/>
                </a:lnTo>
                <a:lnTo>
                  <a:pt x="205" y="532"/>
                </a:lnTo>
                <a:lnTo>
                  <a:pt x="202" y="534"/>
                </a:lnTo>
                <a:lnTo>
                  <a:pt x="203" y="528"/>
                </a:lnTo>
                <a:lnTo>
                  <a:pt x="204" y="523"/>
                </a:lnTo>
                <a:lnTo>
                  <a:pt x="208" y="518"/>
                </a:lnTo>
                <a:lnTo>
                  <a:pt x="229" y="503"/>
                </a:lnTo>
                <a:lnTo>
                  <a:pt x="231" y="505"/>
                </a:lnTo>
                <a:lnTo>
                  <a:pt x="234" y="509"/>
                </a:lnTo>
                <a:lnTo>
                  <a:pt x="240" y="508"/>
                </a:lnTo>
                <a:lnTo>
                  <a:pt x="247" y="500"/>
                </a:lnTo>
                <a:lnTo>
                  <a:pt x="253" y="491"/>
                </a:lnTo>
                <a:lnTo>
                  <a:pt x="250" y="492"/>
                </a:lnTo>
                <a:lnTo>
                  <a:pt x="247" y="496"/>
                </a:lnTo>
                <a:lnTo>
                  <a:pt x="240" y="501"/>
                </a:lnTo>
                <a:lnTo>
                  <a:pt x="237" y="502"/>
                </a:lnTo>
                <a:lnTo>
                  <a:pt x="236" y="501"/>
                </a:lnTo>
                <a:lnTo>
                  <a:pt x="235" y="498"/>
                </a:lnTo>
                <a:lnTo>
                  <a:pt x="232" y="497"/>
                </a:lnTo>
                <a:lnTo>
                  <a:pt x="231" y="498"/>
                </a:lnTo>
                <a:lnTo>
                  <a:pt x="228" y="495"/>
                </a:lnTo>
                <a:lnTo>
                  <a:pt x="228" y="489"/>
                </a:lnTo>
                <a:lnTo>
                  <a:pt x="231" y="480"/>
                </a:lnTo>
                <a:lnTo>
                  <a:pt x="233" y="473"/>
                </a:lnTo>
                <a:lnTo>
                  <a:pt x="235" y="469"/>
                </a:lnTo>
                <a:lnTo>
                  <a:pt x="244" y="455"/>
                </a:lnTo>
                <a:lnTo>
                  <a:pt x="246" y="448"/>
                </a:lnTo>
                <a:lnTo>
                  <a:pt x="250" y="444"/>
                </a:lnTo>
                <a:lnTo>
                  <a:pt x="255" y="445"/>
                </a:lnTo>
                <a:lnTo>
                  <a:pt x="257" y="444"/>
                </a:lnTo>
                <a:lnTo>
                  <a:pt x="255" y="439"/>
                </a:lnTo>
                <a:lnTo>
                  <a:pt x="249" y="435"/>
                </a:lnTo>
                <a:lnTo>
                  <a:pt x="249" y="433"/>
                </a:lnTo>
                <a:lnTo>
                  <a:pt x="268" y="427"/>
                </a:lnTo>
                <a:lnTo>
                  <a:pt x="276" y="427"/>
                </a:lnTo>
                <a:lnTo>
                  <a:pt x="279" y="424"/>
                </a:lnTo>
                <a:lnTo>
                  <a:pt x="284" y="422"/>
                </a:lnTo>
                <a:lnTo>
                  <a:pt x="288" y="418"/>
                </a:lnTo>
                <a:lnTo>
                  <a:pt x="286" y="416"/>
                </a:lnTo>
                <a:lnTo>
                  <a:pt x="277" y="420"/>
                </a:lnTo>
                <a:lnTo>
                  <a:pt x="271" y="421"/>
                </a:lnTo>
                <a:lnTo>
                  <a:pt x="268" y="421"/>
                </a:lnTo>
                <a:lnTo>
                  <a:pt x="266" y="422"/>
                </a:lnTo>
                <a:lnTo>
                  <a:pt x="259" y="423"/>
                </a:lnTo>
                <a:lnTo>
                  <a:pt x="258" y="407"/>
                </a:lnTo>
                <a:lnTo>
                  <a:pt x="259" y="399"/>
                </a:lnTo>
                <a:lnTo>
                  <a:pt x="261" y="399"/>
                </a:lnTo>
                <a:lnTo>
                  <a:pt x="262" y="391"/>
                </a:lnTo>
                <a:lnTo>
                  <a:pt x="265" y="386"/>
                </a:lnTo>
                <a:lnTo>
                  <a:pt x="270" y="385"/>
                </a:lnTo>
                <a:lnTo>
                  <a:pt x="272" y="383"/>
                </a:lnTo>
                <a:lnTo>
                  <a:pt x="275" y="379"/>
                </a:lnTo>
                <a:lnTo>
                  <a:pt x="280" y="380"/>
                </a:lnTo>
                <a:lnTo>
                  <a:pt x="285" y="379"/>
                </a:lnTo>
                <a:lnTo>
                  <a:pt x="284" y="377"/>
                </a:lnTo>
                <a:lnTo>
                  <a:pt x="277" y="374"/>
                </a:lnTo>
                <a:lnTo>
                  <a:pt x="276" y="370"/>
                </a:lnTo>
                <a:lnTo>
                  <a:pt x="278" y="367"/>
                </a:lnTo>
                <a:lnTo>
                  <a:pt x="281" y="366"/>
                </a:lnTo>
                <a:lnTo>
                  <a:pt x="283" y="365"/>
                </a:lnTo>
                <a:lnTo>
                  <a:pt x="287" y="357"/>
                </a:lnTo>
                <a:lnTo>
                  <a:pt x="290" y="353"/>
                </a:lnTo>
                <a:lnTo>
                  <a:pt x="293" y="354"/>
                </a:lnTo>
                <a:lnTo>
                  <a:pt x="297" y="350"/>
                </a:lnTo>
                <a:lnTo>
                  <a:pt x="301" y="351"/>
                </a:lnTo>
                <a:lnTo>
                  <a:pt x="305" y="349"/>
                </a:lnTo>
                <a:lnTo>
                  <a:pt x="311" y="347"/>
                </a:lnTo>
                <a:lnTo>
                  <a:pt x="331" y="346"/>
                </a:lnTo>
                <a:lnTo>
                  <a:pt x="331" y="343"/>
                </a:lnTo>
                <a:lnTo>
                  <a:pt x="327" y="342"/>
                </a:lnTo>
                <a:lnTo>
                  <a:pt x="312" y="341"/>
                </a:lnTo>
                <a:lnTo>
                  <a:pt x="305" y="341"/>
                </a:lnTo>
                <a:lnTo>
                  <a:pt x="302" y="342"/>
                </a:lnTo>
                <a:lnTo>
                  <a:pt x="300" y="341"/>
                </a:lnTo>
                <a:lnTo>
                  <a:pt x="301" y="339"/>
                </a:lnTo>
                <a:lnTo>
                  <a:pt x="303" y="335"/>
                </a:lnTo>
                <a:lnTo>
                  <a:pt x="305" y="331"/>
                </a:lnTo>
                <a:lnTo>
                  <a:pt x="310" y="322"/>
                </a:lnTo>
                <a:lnTo>
                  <a:pt x="317" y="316"/>
                </a:lnTo>
                <a:lnTo>
                  <a:pt x="322" y="318"/>
                </a:lnTo>
                <a:lnTo>
                  <a:pt x="327" y="324"/>
                </a:lnTo>
                <a:lnTo>
                  <a:pt x="331" y="324"/>
                </a:lnTo>
                <a:lnTo>
                  <a:pt x="332" y="326"/>
                </a:lnTo>
                <a:lnTo>
                  <a:pt x="335" y="334"/>
                </a:lnTo>
                <a:lnTo>
                  <a:pt x="336" y="334"/>
                </a:lnTo>
                <a:lnTo>
                  <a:pt x="336" y="327"/>
                </a:lnTo>
                <a:lnTo>
                  <a:pt x="339" y="320"/>
                </a:lnTo>
                <a:lnTo>
                  <a:pt x="338" y="319"/>
                </a:lnTo>
                <a:lnTo>
                  <a:pt x="333" y="321"/>
                </a:lnTo>
                <a:lnTo>
                  <a:pt x="329" y="319"/>
                </a:lnTo>
                <a:lnTo>
                  <a:pt x="326" y="314"/>
                </a:lnTo>
                <a:lnTo>
                  <a:pt x="325" y="310"/>
                </a:lnTo>
                <a:lnTo>
                  <a:pt x="327" y="305"/>
                </a:lnTo>
                <a:lnTo>
                  <a:pt x="329" y="303"/>
                </a:lnTo>
                <a:lnTo>
                  <a:pt x="327" y="300"/>
                </a:lnTo>
                <a:lnTo>
                  <a:pt x="319" y="307"/>
                </a:lnTo>
                <a:lnTo>
                  <a:pt x="313" y="309"/>
                </a:lnTo>
                <a:lnTo>
                  <a:pt x="311" y="308"/>
                </a:lnTo>
                <a:lnTo>
                  <a:pt x="312" y="302"/>
                </a:lnTo>
                <a:lnTo>
                  <a:pt x="312" y="297"/>
                </a:lnTo>
                <a:lnTo>
                  <a:pt x="319" y="285"/>
                </a:lnTo>
                <a:lnTo>
                  <a:pt x="322" y="283"/>
                </a:lnTo>
                <a:lnTo>
                  <a:pt x="326" y="284"/>
                </a:lnTo>
                <a:lnTo>
                  <a:pt x="330" y="288"/>
                </a:lnTo>
                <a:lnTo>
                  <a:pt x="334" y="287"/>
                </a:lnTo>
                <a:lnTo>
                  <a:pt x="337" y="285"/>
                </a:lnTo>
                <a:lnTo>
                  <a:pt x="337" y="282"/>
                </a:lnTo>
                <a:lnTo>
                  <a:pt x="329" y="281"/>
                </a:lnTo>
                <a:lnTo>
                  <a:pt x="327" y="278"/>
                </a:lnTo>
                <a:lnTo>
                  <a:pt x="328" y="275"/>
                </a:lnTo>
                <a:lnTo>
                  <a:pt x="333" y="272"/>
                </a:lnTo>
                <a:lnTo>
                  <a:pt x="338" y="267"/>
                </a:lnTo>
                <a:lnTo>
                  <a:pt x="344" y="266"/>
                </a:lnTo>
                <a:lnTo>
                  <a:pt x="349" y="262"/>
                </a:lnTo>
                <a:lnTo>
                  <a:pt x="350" y="263"/>
                </a:lnTo>
                <a:lnTo>
                  <a:pt x="351" y="264"/>
                </a:lnTo>
                <a:lnTo>
                  <a:pt x="353" y="279"/>
                </a:lnTo>
                <a:lnTo>
                  <a:pt x="357" y="290"/>
                </a:lnTo>
                <a:lnTo>
                  <a:pt x="359" y="291"/>
                </a:lnTo>
                <a:lnTo>
                  <a:pt x="357" y="281"/>
                </a:lnTo>
                <a:lnTo>
                  <a:pt x="359" y="278"/>
                </a:lnTo>
                <a:lnTo>
                  <a:pt x="361" y="276"/>
                </a:lnTo>
                <a:lnTo>
                  <a:pt x="361" y="273"/>
                </a:lnTo>
                <a:lnTo>
                  <a:pt x="359" y="273"/>
                </a:lnTo>
                <a:lnTo>
                  <a:pt x="357" y="269"/>
                </a:lnTo>
                <a:lnTo>
                  <a:pt x="354" y="257"/>
                </a:lnTo>
                <a:lnTo>
                  <a:pt x="355" y="255"/>
                </a:lnTo>
                <a:lnTo>
                  <a:pt x="361" y="248"/>
                </a:lnTo>
                <a:lnTo>
                  <a:pt x="368" y="247"/>
                </a:lnTo>
                <a:lnTo>
                  <a:pt x="376" y="251"/>
                </a:lnTo>
                <a:lnTo>
                  <a:pt x="379" y="251"/>
                </a:lnTo>
                <a:lnTo>
                  <a:pt x="383" y="250"/>
                </a:lnTo>
                <a:lnTo>
                  <a:pt x="391" y="247"/>
                </a:lnTo>
                <a:lnTo>
                  <a:pt x="395" y="245"/>
                </a:lnTo>
                <a:lnTo>
                  <a:pt x="397" y="245"/>
                </a:lnTo>
                <a:lnTo>
                  <a:pt x="398" y="243"/>
                </a:lnTo>
                <a:lnTo>
                  <a:pt x="396" y="242"/>
                </a:lnTo>
                <a:lnTo>
                  <a:pt x="395" y="241"/>
                </a:lnTo>
                <a:lnTo>
                  <a:pt x="393" y="241"/>
                </a:lnTo>
                <a:lnTo>
                  <a:pt x="387" y="242"/>
                </a:lnTo>
                <a:lnTo>
                  <a:pt x="367" y="242"/>
                </a:lnTo>
                <a:lnTo>
                  <a:pt x="365" y="240"/>
                </a:lnTo>
                <a:lnTo>
                  <a:pt x="365" y="236"/>
                </a:lnTo>
                <a:lnTo>
                  <a:pt x="367" y="231"/>
                </a:lnTo>
                <a:lnTo>
                  <a:pt x="369" y="228"/>
                </a:lnTo>
                <a:lnTo>
                  <a:pt x="377" y="223"/>
                </a:lnTo>
                <a:lnTo>
                  <a:pt x="384" y="223"/>
                </a:lnTo>
                <a:lnTo>
                  <a:pt x="392" y="213"/>
                </a:lnTo>
                <a:lnTo>
                  <a:pt x="396" y="207"/>
                </a:lnTo>
                <a:lnTo>
                  <a:pt x="397" y="196"/>
                </a:lnTo>
                <a:lnTo>
                  <a:pt x="402" y="187"/>
                </a:lnTo>
                <a:lnTo>
                  <a:pt x="415" y="182"/>
                </a:lnTo>
                <a:lnTo>
                  <a:pt x="415" y="180"/>
                </a:lnTo>
                <a:lnTo>
                  <a:pt x="414" y="176"/>
                </a:lnTo>
                <a:lnTo>
                  <a:pt x="414" y="168"/>
                </a:lnTo>
                <a:lnTo>
                  <a:pt x="417" y="158"/>
                </a:lnTo>
                <a:lnTo>
                  <a:pt x="420" y="155"/>
                </a:lnTo>
                <a:lnTo>
                  <a:pt x="421" y="154"/>
                </a:lnTo>
                <a:lnTo>
                  <a:pt x="423" y="157"/>
                </a:lnTo>
                <a:lnTo>
                  <a:pt x="426" y="164"/>
                </a:lnTo>
                <a:lnTo>
                  <a:pt x="432" y="168"/>
                </a:lnTo>
                <a:lnTo>
                  <a:pt x="438" y="168"/>
                </a:lnTo>
                <a:lnTo>
                  <a:pt x="440" y="167"/>
                </a:lnTo>
                <a:lnTo>
                  <a:pt x="435" y="163"/>
                </a:lnTo>
                <a:lnTo>
                  <a:pt x="431" y="158"/>
                </a:lnTo>
                <a:lnTo>
                  <a:pt x="431" y="153"/>
                </a:lnTo>
                <a:lnTo>
                  <a:pt x="432" y="150"/>
                </a:lnTo>
                <a:lnTo>
                  <a:pt x="435" y="151"/>
                </a:lnTo>
                <a:lnTo>
                  <a:pt x="439" y="150"/>
                </a:lnTo>
                <a:lnTo>
                  <a:pt x="442" y="147"/>
                </a:lnTo>
                <a:lnTo>
                  <a:pt x="443" y="144"/>
                </a:lnTo>
                <a:lnTo>
                  <a:pt x="443" y="141"/>
                </a:lnTo>
                <a:lnTo>
                  <a:pt x="444" y="138"/>
                </a:lnTo>
                <a:lnTo>
                  <a:pt x="449" y="130"/>
                </a:lnTo>
                <a:lnTo>
                  <a:pt x="464" y="125"/>
                </a:lnTo>
                <a:lnTo>
                  <a:pt x="465" y="127"/>
                </a:lnTo>
                <a:lnTo>
                  <a:pt x="464" y="142"/>
                </a:lnTo>
                <a:lnTo>
                  <a:pt x="463" y="152"/>
                </a:lnTo>
                <a:lnTo>
                  <a:pt x="463" y="159"/>
                </a:lnTo>
                <a:lnTo>
                  <a:pt x="466" y="152"/>
                </a:lnTo>
                <a:lnTo>
                  <a:pt x="470" y="132"/>
                </a:lnTo>
                <a:lnTo>
                  <a:pt x="473" y="123"/>
                </a:lnTo>
                <a:lnTo>
                  <a:pt x="476" y="118"/>
                </a:lnTo>
                <a:lnTo>
                  <a:pt x="478" y="116"/>
                </a:lnTo>
                <a:lnTo>
                  <a:pt x="481" y="114"/>
                </a:lnTo>
                <a:lnTo>
                  <a:pt x="484" y="112"/>
                </a:lnTo>
                <a:lnTo>
                  <a:pt x="485" y="114"/>
                </a:lnTo>
                <a:lnTo>
                  <a:pt x="486" y="119"/>
                </a:lnTo>
                <a:lnTo>
                  <a:pt x="484" y="136"/>
                </a:lnTo>
                <a:lnTo>
                  <a:pt x="484" y="142"/>
                </a:lnTo>
                <a:lnTo>
                  <a:pt x="482" y="149"/>
                </a:lnTo>
                <a:lnTo>
                  <a:pt x="475" y="165"/>
                </a:lnTo>
                <a:lnTo>
                  <a:pt x="475" y="167"/>
                </a:lnTo>
                <a:lnTo>
                  <a:pt x="477" y="166"/>
                </a:lnTo>
                <a:lnTo>
                  <a:pt x="480" y="164"/>
                </a:lnTo>
                <a:lnTo>
                  <a:pt x="489" y="148"/>
                </a:lnTo>
                <a:lnTo>
                  <a:pt x="497" y="150"/>
                </a:lnTo>
                <a:lnTo>
                  <a:pt x="497" y="149"/>
                </a:lnTo>
                <a:lnTo>
                  <a:pt x="494" y="145"/>
                </a:lnTo>
                <a:lnTo>
                  <a:pt x="491" y="140"/>
                </a:lnTo>
                <a:lnTo>
                  <a:pt x="490" y="135"/>
                </a:lnTo>
                <a:lnTo>
                  <a:pt x="491" y="121"/>
                </a:lnTo>
                <a:lnTo>
                  <a:pt x="493" y="115"/>
                </a:lnTo>
                <a:lnTo>
                  <a:pt x="500" y="115"/>
                </a:lnTo>
                <a:lnTo>
                  <a:pt x="504" y="115"/>
                </a:lnTo>
                <a:lnTo>
                  <a:pt x="506" y="117"/>
                </a:lnTo>
                <a:lnTo>
                  <a:pt x="510" y="117"/>
                </a:lnTo>
                <a:lnTo>
                  <a:pt x="513" y="107"/>
                </a:lnTo>
                <a:lnTo>
                  <a:pt x="518" y="106"/>
                </a:lnTo>
                <a:lnTo>
                  <a:pt x="523" y="113"/>
                </a:lnTo>
                <a:lnTo>
                  <a:pt x="529" y="117"/>
                </a:lnTo>
                <a:lnTo>
                  <a:pt x="534" y="124"/>
                </a:lnTo>
                <a:lnTo>
                  <a:pt x="535" y="122"/>
                </a:lnTo>
                <a:lnTo>
                  <a:pt x="533" y="107"/>
                </a:lnTo>
                <a:lnTo>
                  <a:pt x="530" y="101"/>
                </a:lnTo>
                <a:lnTo>
                  <a:pt x="524" y="98"/>
                </a:lnTo>
                <a:lnTo>
                  <a:pt x="517" y="91"/>
                </a:lnTo>
                <a:lnTo>
                  <a:pt x="516" y="88"/>
                </a:lnTo>
                <a:lnTo>
                  <a:pt x="516" y="86"/>
                </a:lnTo>
                <a:lnTo>
                  <a:pt x="522" y="83"/>
                </a:lnTo>
                <a:lnTo>
                  <a:pt x="529" y="86"/>
                </a:lnTo>
                <a:lnTo>
                  <a:pt x="536" y="80"/>
                </a:lnTo>
                <a:lnTo>
                  <a:pt x="538" y="82"/>
                </a:lnTo>
                <a:lnTo>
                  <a:pt x="543" y="79"/>
                </a:lnTo>
                <a:lnTo>
                  <a:pt x="546" y="83"/>
                </a:lnTo>
                <a:lnTo>
                  <a:pt x="548" y="82"/>
                </a:lnTo>
                <a:lnTo>
                  <a:pt x="549" y="76"/>
                </a:lnTo>
                <a:lnTo>
                  <a:pt x="558" y="73"/>
                </a:lnTo>
                <a:lnTo>
                  <a:pt x="563" y="76"/>
                </a:lnTo>
                <a:lnTo>
                  <a:pt x="565" y="79"/>
                </a:lnTo>
                <a:lnTo>
                  <a:pt x="567" y="85"/>
                </a:lnTo>
                <a:lnTo>
                  <a:pt x="569" y="98"/>
                </a:lnTo>
                <a:lnTo>
                  <a:pt x="573" y="104"/>
                </a:lnTo>
                <a:lnTo>
                  <a:pt x="575" y="108"/>
                </a:lnTo>
                <a:lnTo>
                  <a:pt x="578" y="109"/>
                </a:lnTo>
                <a:lnTo>
                  <a:pt x="580" y="105"/>
                </a:lnTo>
                <a:lnTo>
                  <a:pt x="577" y="101"/>
                </a:lnTo>
                <a:lnTo>
                  <a:pt x="576" y="98"/>
                </a:lnTo>
                <a:lnTo>
                  <a:pt x="578" y="88"/>
                </a:lnTo>
                <a:lnTo>
                  <a:pt x="579" y="84"/>
                </a:lnTo>
                <a:lnTo>
                  <a:pt x="588" y="70"/>
                </a:lnTo>
                <a:lnTo>
                  <a:pt x="595" y="63"/>
                </a:lnTo>
                <a:lnTo>
                  <a:pt x="600" y="62"/>
                </a:lnTo>
                <a:lnTo>
                  <a:pt x="607" y="46"/>
                </a:lnTo>
                <a:lnTo>
                  <a:pt x="610" y="43"/>
                </a:lnTo>
                <a:lnTo>
                  <a:pt x="612" y="42"/>
                </a:lnTo>
                <a:lnTo>
                  <a:pt x="611" y="38"/>
                </a:lnTo>
                <a:lnTo>
                  <a:pt x="607" y="35"/>
                </a:lnTo>
                <a:lnTo>
                  <a:pt x="607" y="30"/>
                </a:lnTo>
                <a:lnTo>
                  <a:pt x="612" y="24"/>
                </a:lnTo>
                <a:lnTo>
                  <a:pt x="619" y="14"/>
                </a:lnTo>
                <a:lnTo>
                  <a:pt x="622" y="13"/>
                </a:lnTo>
                <a:lnTo>
                  <a:pt x="624" y="16"/>
                </a:lnTo>
                <a:lnTo>
                  <a:pt x="631" y="20"/>
                </a:lnTo>
                <a:lnTo>
                  <a:pt x="635" y="26"/>
                </a:lnTo>
                <a:lnTo>
                  <a:pt x="638" y="29"/>
                </a:lnTo>
                <a:lnTo>
                  <a:pt x="640" y="28"/>
                </a:lnTo>
                <a:lnTo>
                  <a:pt x="641" y="24"/>
                </a:lnTo>
                <a:lnTo>
                  <a:pt x="643" y="22"/>
                </a:lnTo>
                <a:lnTo>
                  <a:pt x="648" y="23"/>
                </a:lnTo>
                <a:lnTo>
                  <a:pt x="650" y="26"/>
                </a:lnTo>
                <a:lnTo>
                  <a:pt x="652" y="26"/>
                </a:lnTo>
                <a:lnTo>
                  <a:pt x="654" y="28"/>
                </a:lnTo>
                <a:lnTo>
                  <a:pt x="654" y="31"/>
                </a:lnTo>
                <a:lnTo>
                  <a:pt x="650" y="35"/>
                </a:lnTo>
                <a:lnTo>
                  <a:pt x="644" y="45"/>
                </a:lnTo>
                <a:lnTo>
                  <a:pt x="638" y="56"/>
                </a:lnTo>
                <a:lnTo>
                  <a:pt x="636" y="62"/>
                </a:lnTo>
                <a:lnTo>
                  <a:pt x="634" y="77"/>
                </a:lnTo>
                <a:lnTo>
                  <a:pt x="630" y="87"/>
                </a:lnTo>
                <a:lnTo>
                  <a:pt x="629" y="94"/>
                </a:lnTo>
                <a:lnTo>
                  <a:pt x="631" y="97"/>
                </a:lnTo>
                <a:lnTo>
                  <a:pt x="636" y="95"/>
                </a:lnTo>
                <a:lnTo>
                  <a:pt x="643" y="85"/>
                </a:lnTo>
                <a:lnTo>
                  <a:pt x="644" y="76"/>
                </a:lnTo>
                <a:lnTo>
                  <a:pt x="661" y="49"/>
                </a:lnTo>
                <a:lnTo>
                  <a:pt x="668" y="34"/>
                </a:lnTo>
                <a:lnTo>
                  <a:pt x="677" y="22"/>
                </a:lnTo>
                <a:lnTo>
                  <a:pt x="682" y="19"/>
                </a:lnTo>
                <a:lnTo>
                  <a:pt x="684" y="28"/>
                </a:lnTo>
                <a:lnTo>
                  <a:pt x="682" y="38"/>
                </a:lnTo>
                <a:lnTo>
                  <a:pt x="678" y="45"/>
                </a:lnTo>
                <a:lnTo>
                  <a:pt x="681" y="48"/>
                </a:lnTo>
                <a:lnTo>
                  <a:pt x="680" y="56"/>
                </a:lnTo>
                <a:lnTo>
                  <a:pt x="680" y="61"/>
                </a:lnTo>
                <a:lnTo>
                  <a:pt x="679" y="65"/>
                </a:lnTo>
                <a:lnTo>
                  <a:pt x="679" y="69"/>
                </a:lnTo>
                <a:lnTo>
                  <a:pt x="682" y="68"/>
                </a:lnTo>
                <a:lnTo>
                  <a:pt x="692" y="60"/>
                </a:lnTo>
                <a:lnTo>
                  <a:pt x="694" y="51"/>
                </a:lnTo>
                <a:lnTo>
                  <a:pt x="697" y="44"/>
                </a:lnTo>
                <a:lnTo>
                  <a:pt x="698" y="38"/>
                </a:lnTo>
                <a:lnTo>
                  <a:pt x="702" y="32"/>
                </a:lnTo>
                <a:lnTo>
                  <a:pt x="709" y="32"/>
                </a:lnTo>
                <a:lnTo>
                  <a:pt x="709" y="30"/>
                </a:lnTo>
                <a:lnTo>
                  <a:pt x="700" y="22"/>
                </a:lnTo>
                <a:lnTo>
                  <a:pt x="699" y="19"/>
                </a:lnTo>
                <a:lnTo>
                  <a:pt x="702" y="14"/>
                </a:lnTo>
                <a:lnTo>
                  <a:pt x="711" y="5"/>
                </a:lnTo>
                <a:lnTo>
                  <a:pt x="715" y="6"/>
                </a:lnTo>
                <a:lnTo>
                  <a:pt x="717" y="8"/>
                </a:lnTo>
                <a:lnTo>
                  <a:pt x="728" y="10"/>
                </a:lnTo>
                <a:lnTo>
                  <a:pt x="736" y="16"/>
                </a:lnTo>
                <a:lnTo>
                  <a:pt x="735" y="26"/>
                </a:lnTo>
                <a:lnTo>
                  <a:pt x="733" y="30"/>
                </a:lnTo>
                <a:lnTo>
                  <a:pt x="732" y="33"/>
                </a:lnTo>
                <a:lnTo>
                  <a:pt x="722" y="41"/>
                </a:lnTo>
                <a:lnTo>
                  <a:pt x="720" y="44"/>
                </a:lnTo>
                <a:lnTo>
                  <a:pt x="723" y="46"/>
                </a:lnTo>
                <a:lnTo>
                  <a:pt x="730" y="42"/>
                </a:lnTo>
                <a:lnTo>
                  <a:pt x="732" y="45"/>
                </a:lnTo>
                <a:lnTo>
                  <a:pt x="730" y="54"/>
                </a:lnTo>
                <a:lnTo>
                  <a:pt x="729" y="67"/>
                </a:lnTo>
                <a:lnTo>
                  <a:pt x="728" y="74"/>
                </a:lnTo>
                <a:lnTo>
                  <a:pt x="728" y="81"/>
                </a:lnTo>
                <a:lnTo>
                  <a:pt x="729" y="84"/>
                </a:lnTo>
                <a:lnTo>
                  <a:pt x="732" y="70"/>
                </a:lnTo>
                <a:lnTo>
                  <a:pt x="733" y="66"/>
                </a:lnTo>
                <a:lnTo>
                  <a:pt x="737" y="61"/>
                </a:lnTo>
                <a:lnTo>
                  <a:pt x="738" y="50"/>
                </a:lnTo>
                <a:lnTo>
                  <a:pt x="742" y="37"/>
                </a:lnTo>
                <a:lnTo>
                  <a:pt x="747" y="29"/>
                </a:lnTo>
                <a:lnTo>
                  <a:pt x="749" y="27"/>
                </a:lnTo>
                <a:lnTo>
                  <a:pt x="758" y="27"/>
                </a:lnTo>
                <a:lnTo>
                  <a:pt x="761" y="30"/>
                </a:lnTo>
                <a:lnTo>
                  <a:pt x="764" y="36"/>
                </a:lnTo>
                <a:lnTo>
                  <a:pt x="767" y="39"/>
                </a:lnTo>
                <a:lnTo>
                  <a:pt x="774" y="42"/>
                </a:lnTo>
                <a:lnTo>
                  <a:pt x="777" y="45"/>
                </a:lnTo>
                <a:lnTo>
                  <a:pt x="777" y="47"/>
                </a:lnTo>
                <a:lnTo>
                  <a:pt x="779" y="48"/>
                </a:lnTo>
                <a:lnTo>
                  <a:pt x="784" y="43"/>
                </a:lnTo>
                <a:lnTo>
                  <a:pt x="788" y="42"/>
                </a:lnTo>
                <a:lnTo>
                  <a:pt x="793" y="50"/>
                </a:lnTo>
                <a:lnTo>
                  <a:pt x="792" y="55"/>
                </a:lnTo>
                <a:lnTo>
                  <a:pt x="792" y="57"/>
                </a:lnTo>
                <a:lnTo>
                  <a:pt x="799" y="57"/>
                </a:lnTo>
                <a:lnTo>
                  <a:pt x="804" y="59"/>
                </a:lnTo>
                <a:lnTo>
                  <a:pt x="815" y="70"/>
                </a:lnTo>
                <a:lnTo>
                  <a:pt x="816" y="76"/>
                </a:lnTo>
                <a:lnTo>
                  <a:pt x="815" y="82"/>
                </a:lnTo>
                <a:lnTo>
                  <a:pt x="800" y="89"/>
                </a:lnTo>
                <a:lnTo>
                  <a:pt x="794" y="96"/>
                </a:lnTo>
                <a:lnTo>
                  <a:pt x="783" y="98"/>
                </a:lnTo>
                <a:lnTo>
                  <a:pt x="748" y="94"/>
                </a:lnTo>
                <a:lnTo>
                  <a:pt x="748" y="99"/>
                </a:lnTo>
                <a:lnTo>
                  <a:pt x="773" y="109"/>
                </a:lnTo>
                <a:lnTo>
                  <a:pt x="775" y="112"/>
                </a:lnTo>
                <a:lnTo>
                  <a:pt x="774" y="119"/>
                </a:lnTo>
                <a:lnTo>
                  <a:pt x="774" y="124"/>
                </a:lnTo>
                <a:lnTo>
                  <a:pt x="774" y="127"/>
                </a:lnTo>
                <a:lnTo>
                  <a:pt x="776" y="130"/>
                </a:lnTo>
                <a:lnTo>
                  <a:pt x="779" y="132"/>
                </a:lnTo>
                <a:lnTo>
                  <a:pt x="785" y="131"/>
                </a:lnTo>
                <a:lnTo>
                  <a:pt x="788" y="133"/>
                </a:lnTo>
                <a:lnTo>
                  <a:pt x="790" y="130"/>
                </a:lnTo>
                <a:lnTo>
                  <a:pt x="791" y="122"/>
                </a:lnTo>
                <a:lnTo>
                  <a:pt x="793" y="120"/>
                </a:lnTo>
                <a:lnTo>
                  <a:pt x="796" y="122"/>
                </a:lnTo>
                <a:lnTo>
                  <a:pt x="798" y="131"/>
                </a:lnTo>
                <a:lnTo>
                  <a:pt x="799" y="132"/>
                </a:lnTo>
                <a:lnTo>
                  <a:pt x="801" y="126"/>
                </a:lnTo>
                <a:lnTo>
                  <a:pt x="804" y="126"/>
                </a:lnTo>
                <a:lnTo>
                  <a:pt x="808" y="126"/>
                </a:lnTo>
                <a:lnTo>
                  <a:pt x="813" y="127"/>
                </a:lnTo>
                <a:close/>
                <a:moveTo>
                  <a:pt x="581" y="31"/>
                </a:moveTo>
                <a:lnTo>
                  <a:pt x="581" y="31"/>
                </a:lnTo>
                <a:lnTo>
                  <a:pt x="580" y="34"/>
                </a:lnTo>
                <a:lnTo>
                  <a:pt x="579" y="37"/>
                </a:lnTo>
                <a:lnTo>
                  <a:pt x="577" y="40"/>
                </a:lnTo>
                <a:lnTo>
                  <a:pt x="569" y="52"/>
                </a:lnTo>
                <a:lnTo>
                  <a:pt x="565" y="54"/>
                </a:lnTo>
                <a:lnTo>
                  <a:pt x="564" y="56"/>
                </a:lnTo>
                <a:lnTo>
                  <a:pt x="562" y="57"/>
                </a:lnTo>
                <a:lnTo>
                  <a:pt x="557" y="56"/>
                </a:lnTo>
                <a:lnTo>
                  <a:pt x="555" y="58"/>
                </a:lnTo>
                <a:lnTo>
                  <a:pt x="554" y="60"/>
                </a:lnTo>
                <a:lnTo>
                  <a:pt x="550" y="60"/>
                </a:lnTo>
                <a:lnTo>
                  <a:pt x="547" y="60"/>
                </a:lnTo>
                <a:lnTo>
                  <a:pt x="541" y="55"/>
                </a:lnTo>
                <a:lnTo>
                  <a:pt x="538" y="50"/>
                </a:lnTo>
                <a:lnTo>
                  <a:pt x="536" y="46"/>
                </a:lnTo>
                <a:lnTo>
                  <a:pt x="541" y="46"/>
                </a:lnTo>
                <a:lnTo>
                  <a:pt x="543" y="45"/>
                </a:lnTo>
                <a:lnTo>
                  <a:pt x="547" y="46"/>
                </a:lnTo>
                <a:lnTo>
                  <a:pt x="549" y="42"/>
                </a:lnTo>
                <a:lnTo>
                  <a:pt x="554" y="43"/>
                </a:lnTo>
                <a:lnTo>
                  <a:pt x="563" y="40"/>
                </a:lnTo>
                <a:lnTo>
                  <a:pt x="566" y="41"/>
                </a:lnTo>
                <a:lnTo>
                  <a:pt x="574" y="31"/>
                </a:lnTo>
                <a:lnTo>
                  <a:pt x="576" y="32"/>
                </a:lnTo>
                <a:lnTo>
                  <a:pt x="580" y="29"/>
                </a:lnTo>
                <a:lnTo>
                  <a:pt x="581" y="31"/>
                </a:lnTo>
                <a:close/>
                <a:moveTo>
                  <a:pt x="599" y="55"/>
                </a:moveTo>
                <a:lnTo>
                  <a:pt x="599" y="55"/>
                </a:lnTo>
                <a:lnTo>
                  <a:pt x="593" y="58"/>
                </a:lnTo>
                <a:lnTo>
                  <a:pt x="590" y="55"/>
                </a:lnTo>
                <a:lnTo>
                  <a:pt x="588" y="52"/>
                </a:lnTo>
                <a:lnTo>
                  <a:pt x="588" y="45"/>
                </a:lnTo>
                <a:lnTo>
                  <a:pt x="589" y="40"/>
                </a:lnTo>
                <a:lnTo>
                  <a:pt x="592" y="38"/>
                </a:lnTo>
                <a:lnTo>
                  <a:pt x="593" y="39"/>
                </a:lnTo>
                <a:lnTo>
                  <a:pt x="594" y="41"/>
                </a:lnTo>
                <a:lnTo>
                  <a:pt x="597" y="42"/>
                </a:lnTo>
                <a:lnTo>
                  <a:pt x="601" y="47"/>
                </a:lnTo>
                <a:lnTo>
                  <a:pt x="599" y="55"/>
                </a:lnTo>
                <a:close/>
                <a:moveTo>
                  <a:pt x="587" y="56"/>
                </a:moveTo>
                <a:lnTo>
                  <a:pt x="587" y="56"/>
                </a:lnTo>
                <a:lnTo>
                  <a:pt x="587" y="61"/>
                </a:lnTo>
                <a:lnTo>
                  <a:pt x="587" y="64"/>
                </a:lnTo>
                <a:lnTo>
                  <a:pt x="584" y="70"/>
                </a:lnTo>
                <a:lnTo>
                  <a:pt x="578" y="76"/>
                </a:lnTo>
                <a:lnTo>
                  <a:pt x="578" y="78"/>
                </a:lnTo>
                <a:lnTo>
                  <a:pt x="576" y="80"/>
                </a:lnTo>
                <a:lnTo>
                  <a:pt x="572" y="81"/>
                </a:lnTo>
                <a:lnTo>
                  <a:pt x="570" y="80"/>
                </a:lnTo>
                <a:lnTo>
                  <a:pt x="571" y="74"/>
                </a:lnTo>
                <a:lnTo>
                  <a:pt x="570" y="72"/>
                </a:lnTo>
                <a:lnTo>
                  <a:pt x="568" y="75"/>
                </a:lnTo>
                <a:lnTo>
                  <a:pt x="565" y="72"/>
                </a:lnTo>
                <a:lnTo>
                  <a:pt x="565" y="69"/>
                </a:lnTo>
                <a:lnTo>
                  <a:pt x="565" y="66"/>
                </a:lnTo>
                <a:lnTo>
                  <a:pt x="568" y="62"/>
                </a:lnTo>
                <a:lnTo>
                  <a:pt x="572" y="60"/>
                </a:lnTo>
                <a:lnTo>
                  <a:pt x="575" y="61"/>
                </a:lnTo>
                <a:lnTo>
                  <a:pt x="584" y="50"/>
                </a:lnTo>
                <a:lnTo>
                  <a:pt x="585" y="52"/>
                </a:lnTo>
                <a:lnTo>
                  <a:pt x="587" y="56"/>
                </a:lnTo>
                <a:close/>
                <a:moveTo>
                  <a:pt x="467" y="87"/>
                </a:moveTo>
                <a:lnTo>
                  <a:pt x="467" y="87"/>
                </a:lnTo>
                <a:lnTo>
                  <a:pt x="468" y="88"/>
                </a:lnTo>
                <a:lnTo>
                  <a:pt x="470" y="88"/>
                </a:lnTo>
                <a:lnTo>
                  <a:pt x="471" y="89"/>
                </a:lnTo>
                <a:lnTo>
                  <a:pt x="474" y="93"/>
                </a:lnTo>
                <a:lnTo>
                  <a:pt x="476" y="95"/>
                </a:lnTo>
                <a:lnTo>
                  <a:pt x="477" y="98"/>
                </a:lnTo>
                <a:lnTo>
                  <a:pt x="474" y="100"/>
                </a:lnTo>
                <a:lnTo>
                  <a:pt x="471" y="101"/>
                </a:lnTo>
                <a:lnTo>
                  <a:pt x="467" y="100"/>
                </a:lnTo>
                <a:lnTo>
                  <a:pt x="466" y="97"/>
                </a:lnTo>
                <a:lnTo>
                  <a:pt x="465" y="92"/>
                </a:lnTo>
                <a:lnTo>
                  <a:pt x="462" y="87"/>
                </a:lnTo>
                <a:lnTo>
                  <a:pt x="461" y="83"/>
                </a:lnTo>
                <a:lnTo>
                  <a:pt x="464" y="82"/>
                </a:lnTo>
                <a:lnTo>
                  <a:pt x="467" y="87"/>
                </a:lnTo>
                <a:close/>
                <a:moveTo>
                  <a:pt x="451" y="101"/>
                </a:moveTo>
                <a:lnTo>
                  <a:pt x="451" y="101"/>
                </a:lnTo>
                <a:lnTo>
                  <a:pt x="453" y="106"/>
                </a:lnTo>
                <a:lnTo>
                  <a:pt x="456" y="106"/>
                </a:lnTo>
                <a:lnTo>
                  <a:pt x="457" y="104"/>
                </a:lnTo>
                <a:lnTo>
                  <a:pt x="458" y="103"/>
                </a:lnTo>
                <a:lnTo>
                  <a:pt x="462" y="105"/>
                </a:lnTo>
                <a:lnTo>
                  <a:pt x="461" y="110"/>
                </a:lnTo>
                <a:lnTo>
                  <a:pt x="456" y="115"/>
                </a:lnTo>
                <a:lnTo>
                  <a:pt x="453" y="123"/>
                </a:lnTo>
                <a:lnTo>
                  <a:pt x="449" y="125"/>
                </a:lnTo>
                <a:lnTo>
                  <a:pt x="447" y="124"/>
                </a:lnTo>
                <a:lnTo>
                  <a:pt x="443" y="129"/>
                </a:lnTo>
                <a:lnTo>
                  <a:pt x="440" y="134"/>
                </a:lnTo>
                <a:lnTo>
                  <a:pt x="437" y="140"/>
                </a:lnTo>
                <a:lnTo>
                  <a:pt x="436" y="143"/>
                </a:lnTo>
                <a:lnTo>
                  <a:pt x="436" y="145"/>
                </a:lnTo>
                <a:lnTo>
                  <a:pt x="424" y="147"/>
                </a:lnTo>
                <a:lnTo>
                  <a:pt x="420" y="149"/>
                </a:lnTo>
                <a:lnTo>
                  <a:pt x="415" y="147"/>
                </a:lnTo>
                <a:lnTo>
                  <a:pt x="413" y="143"/>
                </a:lnTo>
                <a:lnTo>
                  <a:pt x="414" y="141"/>
                </a:lnTo>
                <a:lnTo>
                  <a:pt x="419" y="140"/>
                </a:lnTo>
                <a:lnTo>
                  <a:pt x="419" y="136"/>
                </a:lnTo>
                <a:lnTo>
                  <a:pt x="420" y="134"/>
                </a:lnTo>
                <a:lnTo>
                  <a:pt x="421" y="133"/>
                </a:lnTo>
                <a:lnTo>
                  <a:pt x="422" y="128"/>
                </a:lnTo>
                <a:lnTo>
                  <a:pt x="424" y="127"/>
                </a:lnTo>
                <a:lnTo>
                  <a:pt x="427" y="128"/>
                </a:lnTo>
                <a:lnTo>
                  <a:pt x="430" y="125"/>
                </a:lnTo>
                <a:lnTo>
                  <a:pt x="431" y="124"/>
                </a:lnTo>
                <a:lnTo>
                  <a:pt x="432" y="127"/>
                </a:lnTo>
                <a:lnTo>
                  <a:pt x="433" y="123"/>
                </a:lnTo>
                <a:lnTo>
                  <a:pt x="432" y="119"/>
                </a:lnTo>
                <a:lnTo>
                  <a:pt x="433" y="117"/>
                </a:lnTo>
                <a:lnTo>
                  <a:pt x="437" y="111"/>
                </a:lnTo>
                <a:lnTo>
                  <a:pt x="439" y="106"/>
                </a:lnTo>
                <a:lnTo>
                  <a:pt x="442" y="103"/>
                </a:lnTo>
                <a:lnTo>
                  <a:pt x="444" y="104"/>
                </a:lnTo>
                <a:lnTo>
                  <a:pt x="445" y="99"/>
                </a:lnTo>
                <a:lnTo>
                  <a:pt x="444" y="95"/>
                </a:lnTo>
                <a:lnTo>
                  <a:pt x="444" y="92"/>
                </a:lnTo>
                <a:lnTo>
                  <a:pt x="447" y="85"/>
                </a:lnTo>
                <a:lnTo>
                  <a:pt x="449" y="84"/>
                </a:lnTo>
                <a:lnTo>
                  <a:pt x="450" y="91"/>
                </a:lnTo>
                <a:lnTo>
                  <a:pt x="451" y="101"/>
                </a:lnTo>
                <a:close/>
                <a:moveTo>
                  <a:pt x="498" y="99"/>
                </a:moveTo>
                <a:lnTo>
                  <a:pt x="498" y="99"/>
                </a:lnTo>
                <a:lnTo>
                  <a:pt x="496" y="101"/>
                </a:lnTo>
                <a:lnTo>
                  <a:pt x="494" y="102"/>
                </a:lnTo>
                <a:lnTo>
                  <a:pt x="492" y="101"/>
                </a:lnTo>
                <a:lnTo>
                  <a:pt x="490" y="100"/>
                </a:lnTo>
                <a:lnTo>
                  <a:pt x="488" y="100"/>
                </a:lnTo>
                <a:lnTo>
                  <a:pt x="486" y="96"/>
                </a:lnTo>
                <a:lnTo>
                  <a:pt x="487" y="93"/>
                </a:lnTo>
                <a:lnTo>
                  <a:pt x="489" y="89"/>
                </a:lnTo>
                <a:lnTo>
                  <a:pt x="494" y="86"/>
                </a:lnTo>
                <a:lnTo>
                  <a:pt x="498" y="87"/>
                </a:lnTo>
                <a:lnTo>
                  <a:pt x="499" y="88"/>
                </a:lnTo>
                <a:lnTo>
                  <a:pt x="498" y="99"/>
                </a:lnTo>
                <a:close/>
                <a:moveTo>
                  <a:pt x="784" y="126"/>
                </a:moveTo>
                <a:lnTo>
                  <a:pt x="784" y="126"/>
                </a:lnTo>
                <a:lnTo>
                  <a:pt x="778" y="128"/>
                </a:lnTo>
                <a:lnTo>
                  <a:pt x="778" y="126"/>
                </a:lnTo>
                <a:lnTo>
                  <a:pt x="779" y="123"/>
                </a:lnTo>
                <a:lnTo>
                  <a:pt x="780" y="116"/>
                </a:lnTo>
                <a:lnTo>
                  <a:pt x="783" y="116"/>
                </a:lnTo>
                <a:lnTo>
                  <a:pt x="785" y="119"/>
                </a:lnTo>
                <a:lnTo>
                  <a:pt x="787" y="122"/>
                </a:lnTo>
                <a:lnTo>
                  <a:pt x="784" y="126"/>
                </a:lnTo>
                <a:close/>
                <a:moveTo>
                  <a:pt x="396" y="144"/>
                </a:moveTo>
                <a:lnTo>
                  <a:pt x="396" y="144"/>
                </a:lnTo>
                <a:lnTo>
                  <a:pt x="400" y="149"/>
                </a:lnTo>
                <a:lnTo>
                  <a:pt x="401" y="147"/>
                </a:lnTo>
                <a:lnTo>
                  <a:pt x="405" y="147"/>
                </a:lnTo>
                <a:lnTo>
                  <a:pt x="407" y="148"/>
                </a:lnTo>
                <a:lnTo>
                  <a:pt x="409" y="152"/>
                </a:lnTo>
                <a:lnTo>
                  <a:pt x="412" y="152"/>
                </a:lnTo>
                <a:lnTo>
                  <a:pt x="413" y="156"/>
                </a:lnTo>
                <a:lnTo>
                  <a:pt x="414" y="161"/>
                </a:lnTo>
                <a:lnTo>
                  <a:pt x="412" y="165"/>
                </a:lnTo>
                <a:lnTo>
                  <a:pt x="410" y="167"/>
                </a:lnTo>
                <a:lnTo>
                  <a:pt x="409" y="172"/>
                </a:lnTo>
                <a:lnTo>
                  <a:pt x="410" y="179"/>
                </a:lnTo>
                <a:lnTo>
                  <a:pt x="404" y="181"/>
                </a:lnTo>
                <a:lnTo>
                  <a:pt x="398" y="182"/>
                </a:lnTo>
                <a:lnTo>
                  <a:pt x="395" y="179"/>
                </a:lnTo>
                <a:lnTo>
                  <a:pt x="390" y="185"/>
                </a:lnTo>
                <a:lnTo>
                  <a:pt x="385" y="194"/>
                </a:lnTo>
                <a:lnTo>
                  <a:pt x="383" y="195"/>
                </a:lnTo>
                <a:lnTo>
                  <a:pt x="383" y="192"/>
                </a:lnTo>
                <a:lnTo>
                  <a:pt x="379" y="190"/>
                </a:lnTo>
                <a:lnTo>
                  <a:pt x="374" y="190"/>
                </a:lnTo>
                <a:lnTo>
                  <a:pt x="374" y="188"/>
                </a:lnTo>
                <a:lnTo>
                  <a:pt x="375" y="186"/>
                </a:lnTo>
                <a:lnTo>
                  <a:pt x="379" y="184"/>
                </a:lnTo>
                <a:lnTo>
                  <a:pt x="380" y="179"/>
                </a:lnTo>
                <a:lnTo>
                  <a:pt x="379" y="171"/>
                </a:lnTo>
                <a:lnTo>
                  <a:pt x="380" y="167"/>
                </a:lnTo>
                <a:lnTo>
                  <a:pt x="380" y="164"/>
                </a:lnTo>
                <a:lnTo>
                  <a:pt x="383" y="161"/>
                </a:lnTo>
                <a:lnTo>
                  <a:pt x="391" y="163"/>
                </a:lnTo>
                <a:lnTo>
                  <a:pt x="393" y="160"/>
                </a:lnTo>
                <a:lnTo>
                  <a:pt x="392" y="158"/>
                </a:lnTo>
                <a:lnTo>
                  <a:pt x="387" y="154"/>
                </a:lnTo>
                <a:lnTo>
                  <a:pt x="388" y="152"/>
                </a:lnTo>
                <a:lnTo>
                  <a:pt x="391" y="150"/>
                </a:lnTo>
                <a:lnTo>
                  <a:pt x="394" y="149"/>
                </a:lnTo>
                <a:lnTo>
                  <a:pt x="395" y="146"/>
                </a:lnTo>
                <a:lnTo>
                  <a:pt x="395" y="144"/>
                </a:lnTo>
                <a:lnTo>
                  <a:pt x="396" y="144"/>
                </a:lnTo>
                <a:close/>
                <a:moveTo>
                  <a:pt x="342" y="234"/>
                </a:moveTo>
                <a:lnTo>
                  <a:pt x="342" y="234"/>
                </a:lnTo>
                <a:lnTo>
                  <a:pt x="342" y="234"/>
                </a:lnTo>
                <a:lnTo>
                  <a:pt x="346" y="226"/>
                </a:lnTo>
                <a:lnTo>
                  <a:pt x="351" y="224"/>
                </a:lnTo>
                <a:lnTo>
                  <a:pt x="351" y="221"/>
                </a:lnTo>
                <a:lnTo>
                  <a:pt x="353" y="218"/>
                </a:lnTo>
                <a:lnTo>
                  <a:pt x="353" y="214"/>
                </a:lnTo>
                <a:lnTo>
                  <a:pt x="354" y="210"/>
                </a:lnTo>
                <a:lnTo>
                  <a:pt x="356" y="209"/>
                </a:lnTo>
                <a:lnTo>
                  <a:pt x="358" y="208"/>
                </a:lnTo>
                <a:lnTo>
                  <a:pt x="359" y="207"/>
                </a:lnTo>
                <a:lnTo>
                  <a:pt x="362" y="210"/>
                </a:lnTo>
                <a:lnTo>
                  <a:pt x="364" y="213"/>
                </a:lnTo>
                <a:lnTo>
                  <a:pt x="366" y="221"/>
                </a:lnTo>
                <a:lnTo>
                  <a:pt x="365" y="228"/>
                </a:lnTo>
                <a:lnTo>
                  <a:pt x="360" y="233"/>
                </a:lnTo>
                <a:lnTo>
                  <a:pt x="355" y="236"/>
                </a:lnTo>
                <a:lnTo>
                  <a:pt x="351" y="242"/>
                </a:lnTo>
                <a:lnTo>
                  <a:pt x="348" y="247"/>
                </a:lnTo>
                <a:lnTo>
                  <a:pt x="346" y="248"/>
                </a:lnTo>
                <a:lnTo>
                  <a:pt x="345" y="248"/>
                </a:lnTo>
                <a:lnTo>
                  <a:pt x="344" y="247"/>
                </a:lnTo>
                <a:lnTo>
                  <a:pt x="342" y="247"/>
                </a:lnTo>
                <a:lnTo>
                  <a:pt x="339" y="251"/>
                </a:lnTo>
                <a:lnTo>
                  <a:pt x="331" y="255"/>
                </a:lnTo>
                <a:lnTo>
                  <a:pt x="328" y="254"/>
                </a:lnTo>
                <a:lnTo>
                  <a:pt x="328" y="249"/>
                </a:lnTo>
                <a:lnTo>
                  <a:pt x="327" y="250"/>
                </a:lnTo>
                <a:lnTo>
                  <a:pt x="324" y="255"/>
                </a:lnTo>
                <a:lnTo>
                  <a:pt x="321" y="257"/>
                </a:lnTo>
                <a:lnTo>
                  <a:pt x="319" y="257"/>
                </a:lnTo>
                <a:lnTo>
                  <a:pt x="316" y="255"/>
                </a:lnTo>
                <a:lnTo>
                  <a:pt x="306" y="265"/>
                </a:lnTo>
                <a:lnTo>
                  <a:pt x="298" y="266"/>
                </a:lnTo>
                <a:lnTo>
                  <a:pt x="295" y="265"/>
                </a:lnTo>
                <a:lnTo>
                  <a:pt x="295" y="260"/>
                </a:lnTo>
                <a:lnTo>
                  <a:pt x="300" y="253"/>
                </a:lnTo>
                <a:lnTo>
                  <a:pt x="305" y="248"/>
                </a:lnTo>
                <a:lnTo>
                  <a:pt x="321" y="244"/>
                </a:lnTo>
                <a:lnTo>
                  <a:pt x="331" y="229"/>
                </a:lnTo>
                <a:lnTo>
                  <a:pt x="333" y="213"/>
                </a:lnTo>
                <a:lnTo>
                  <a:pt x="335" y="207"/>
                </a:lnTo>
                <a:lnTo>
                  <a:pt x="334" y="204"/>
                </a:lnTo>
                <a:lnTo>
                  <a:pt x="332" y="203"/>
                </a:lnTo>
                <a:lnTo>
                  <a:pt x="332" y="198"/>
                </a:lnTo>
                <a:lnTo>
                  <a:pt x="333" y="192"/>
                </a:lnTo>
                <a:lnTo>
                  <a:pt x="338" y="185"/>
                </a:lnTo>
                <a:lnTo>
                  <a:pt x="341" y="181"/>
                </a:lnTo>
                <a:lnTo>
                  <a:pt x="346" y="172"/>
                </a:lnTo>
                <a:lnTo>
                  <a:pt x="348" y="170"/>
                </a:lnTo>
                <a:lnTo>
                  <a:pt x="351" y="170"/>
                </a:lnTo>
                <a:lnTo>
                  <a:pt x="353" y="172"/>
                </a:lnTo>
                <a:lnTo>
                  <a:pt x="353" y="177"/>
                </a:lnTo>
                <a:lnTo>
                  <a:pt x="349" y="186"/>
                </a:lnTo>
                <a:lnTo>
                  <a:pt x="343" y="194"/>
                </a:lnTo>
                <a:lnTo>
                  <a:pt x="344" y="200"/>
                </a:lnTo>
                <a:lnTo>
                  <a:pt x="346" y="204"/>
                </a:lnTo>
                <a:lnTo>
                  <a:pt x="347" y="212"/>
                </a:lnTo>
                <a:lnTo>
                  <a:pt x="347" y="219"/>
                </a:lnTo>
                <a:lnTo>
                  <a:pt x="342" y="229"/>
                </a:lnTo>
                <a:lnTo>
                  <a:pt x="342" y="234"/>
                </a:lnTo>
                <a:close/>
                <a:moveTo>
                  <a:pt x="324" y="201"/>
                </a:moveTo>
                <a:lnTo>
                  <a:pt x="324" y="201"/>
                </a:lnTo>
                <a:lnTo>
                  <a:pt x="328" y="210"/>
                </a:lnTo>
                <a:lnTo>
                  <a:pt x="330" y="215"/>
                </a:lnTo>
                <a:lnTo>
                  <a:pt x="329" y="224"/>
                </a:lnTo>
                <a:lnTo>
                  <a:pt x="325" y="229"/>
                </a:lnTo>
                <a:lnTo>
                  <a:pt x="319" y="230"/>
                </a:lnTo>
                <a:lnTo>
                  <a:pt x="314" y="230"/>
                </a:lnTo>
                <a:lnTo>
                  <a:pt x="312" y="227"/>
                </a:lnTo>
                <a:lnTo>
                  <a:pt x="311" y="225"/>
                </a:lnTo>
                <a:lnTo>
                  <a:pt x="310" y="224"/>
                </a:lnTo>
                <a:lnTo>
                  <a:pt x="306" y="227"/>
                </a:lnTo>
                <a:lnTo>
                  <a:pt x="303" y="228"/>
                </a:lnTo>
                <a:lnTo>
                  <a:pt x="299" y="225"/>
                </a:lnTo>
                <a:lnTo>
                  <a:pt x="298" y="221"/>
                </a:lnTo>
                <a:lnTo>
                  <a:pt x="302" y="216"/>
                </a:lnTo>
                <a:lnTo>
                  <a:pt x="304" y="212"/>
                </a:lnTo>
                <a:lnTo>
                  <a:pt x="308" y="212"/>
                </a:lnTo>
                <a:lnTo>
                  <a:pt x="309" y="213"/>
                </a:lnTo>
                <a:lnTo>
                  <a:pt x="312" y="214"/>
                </a:lnTo>
                <a:lnTo>
                  <a:pt x="313" y="209"/>
                </a:lnTo>
                <a:lnTo>
                  <a:pt x="313" y="206"/>
                </a:lnTo>
                <a:lnTo>
                  <a:pt x="314" y="204"/>
                </a:lnTo>
                <a:lnTo>
                  <a:pt x="319" y="205"/>
                </a:lnTo>
                <a:lnTo>
                  <a:pt x="319" y="196"/>
                </a:lnTo>
                <a:lnTo>
                  <a:pt x="321" y="195"/>
                </a:lnTo>
                <a:lnTo>
                  <a:pt x="322" y="196"/>
                </a:lnTo>
                <a:lnTo>
                  <a:pt x="323" y="198"/>
                </a:lnTo>
                <a:lnTo>
                  <a:pt x="324" y="201"/>
                </a:lnTo>
                <a:close/>
                <a:moveTo>
                  <a:pt x="283" y="259"/>
                </a:moveTo>
                <a:lnTo>
                  <a:pt x="283" y="259"/>
                </a:lnTo>
                <a:lnTo>
                  <a:pt x="285" y="260"/>
                </a:lnTo>
                <a:lnTo>
                  <a:pt x="289" y="260"/>
                </a:lnTo>
                <a:lnTo>
                  <a:pt x="290" y="260"/>
                </a:lnTo>
                <a:lnTo>
                  <a:pt x="290" y="263"/>
                </a:lnTo>
                <a:lnTo>
                  <a:pt x="288" y="265"/>
                </a:lnTo>
                <a:lnTo>
                  <a:pt x="283" y="267"/>
                </a:lnTo>
                <a:lnTo>
                  <a:pt x="281" y="271"/>
                </a:lnTo>
                <a:lnTo>
                  <a:pt x="280" y="272"/>
                </a:lnTo>
                <a:lnTo>
                  <a:pt x="276" y="272"/>
                </a:lnTo>
                <a:lnTo>
                  <a:pt x="274" y="273"/>
                </a:lnTo>
                <a:lnTo>
                  <a:pt x="271" y="277"/>
                </a:lnTo>
                <a:lnTo>
                  <a:pt x="269" y="274"/>
                </a:lnTo>
                <a:lnTo>
                  <a:pt x="268" y="276"/>
                </a:lnTo>
                <a:lnTo>
                  <a:pt x="268" y="279"/>
                </a:lnTo>
                <a:lnTo>
                  <a:pt x="266" y="280"/>
                </a:lnTo>
                <a:lnTo>
                  <a:pt x="263" y="281"/>
                </a:lnTo>
                <a:lnTo>
                  <a:pt x="262" y="274"/>
                </a:lnTo>
                <a:lnTo>
                  <a:pt x="264" y="271"/>
                </a:lnTo>
                <a:lnTo>
                  <a:pt x="265" y="268"/>
                </a:lnTo>
                <a:lnTo>
                  <a:pt x="267" y="267"/>
                </a:lnTo>
                <a:lnTo>
                  <a:pt x="269" y="267"/>
                </a:lnTo>
                <a:lnTo>
                  <a:pt x="272" y="260"/>
                </a:lnTo>
                <a:lnTo>
                  <a:pt x="277" y="258"/>
                </a:lnTo>
                <a:lnTo>
                  <a:pt x="280" y="258"/>
                </a:lnTo>
                <a:lnTo>
                  <a:pt x="283" y="259"/>
                </a:lnTo>
                <a:close/>
                <a:moveTo>
                  <a:pt x="255" y="292"/>
                </a:moveTo>
                <a:lnTo>
                  <a:pt x="255" y="292"/>
                </a:lnTo>
                <a:lnTo>
                  <a:pt x="250" y="296"/>
                </a:lnTo>
                <a:lnTo>
                  <a:pt x="252" y="288"/>
                </a:lnTo>
                <a:lnTo>
                  <a:pt x="254" y="280"/>
                </a:lnTo>
                <a:lnTo>
                  <a:pt x="258" y="275"/>
                </a:lnTo>
                <a:lnTo>
                  <a:pt x="259" y="277"/>
                </a:lnTo>
                <a:lnTo>
                  <a:pt x="259" y="281"/>
                </a:lnTo>
                <a:lnTo>
                  <a:pt x="259" y="285"/>
                </a:lnTo>
                <a:lnTo>
                  <a:pt x="258" y="287"/>
                </a:lnTo>
                <a:lnTo>
                  <a:pt x="255" y="292"/>
                </a:lnTo>
                <a:close/>
                <a:moveTo>
                  <a:pt x="237" y="437"/>
                </a:moveTo>
                <a:lnTo>
                  <a:pt x="237" y="437"/>
                </a:lnTo>
                <a:lnTo>
                  <a:pt x="235" y="438"/>
                </a:lnTo>
                <a:lnTo>
                  <a:pt x="235" y="434"/>
                </a:lnTo>
                <a:lnTo>
                  <a:pt x="237" y="431"/>
                </a:lnTo>
                <a:lnTo>
                  <a:pt x="238" y="429"/>
                </a:lnTo>
                <a:lnTo>
                  <a:pt x="239" y="426"/>
                </a:lnTo>
                <a:lnTo>
                  <a:pt x="241" y="424"/>
                </a:lnTo>
                <a:lnTo>
                  <a:pt x="244" y="427"/>
                </a:lnTo>
                <a:lnTo>
                  <a:pt x="244" y="431"/>
                </a:lnTo>
                <a:lnTo>
                  <a:pt x="242" y="435"/>
                </a:lnTo>
                <a:lnTo>
                  <a:pt x="237" y="437"/>
                </a:lnTo>
                <a:close/>
                <a:moveTo>
                  <a:pt x="240" y="448"/>
                </a:moveTo>
                <a:lnTo>
                  <a:pt x="240" y="448"/>
                </a:lnTo>
                <a:lnTo>
                  <a:pt x="238" y="448"/>
                </a:lnTo>
                <a:lnTo>
                  <a:pt x="238" y="445"/>
                </a:lnTo>
                <a:lnTo>
                  <a:pt x="239" y="442"/>
                </a:lnTo>
                <a:lnTo>
                  <a:pt x="241" y="441"/>
                </a:lnTo>
                <a:lnTo>
                  <a:pt x="244" y="440"/>
                </a:lnTo>
                <a:lnTo>
                  <a:pt x="248" y="440"/>
                </a:lnTo>
                <a:lnTo>
                  <a:pt x="249" y="441"/>
                </a:lnTo>
                <a:lnTo>
                  <a:pt x="247" y="443"/>
                </a:lnTo>
                <a:lnTo>
                  <a:pt x="240" y="448"/>
                </a:lnTo>
                <a:close/>
                <a:moveTo>
                  <a:pt x="223" y="469"/>
                </a:moveTo>
                <a:lnTo>
                  <a:pt x="223" y="469"/>
                </a:lnTo>
                <a:lnTo>
                  <a:pt x="221" y="471"/>
                </a:lnTo>
                <a:lnTo>
                  <a:pt x="217" y="471"/>
                </a:lnTo>
                <a:lnTo>
                  <a:pt x="217" y="469"/>
                </a:lnTo>
                <a:lnTo>
                  <a:pt x="218" y="465"/>
                </a:lnTo>
                <a:lnTo>
                  <a:pt x="220" y="463"/>
                </a:lnTo>
                <a:lnTo>
                  <a:pt x="223" y="463"/>
                </a:lnTo>
                <a:lnTo>
                  <a:pt x="224" y="465"/>
                </a:lnTo>
                <a:lnTo>
                  <a:pt x="223" y="469"/>
                </a:lnTo>
                <a:close/>
                <a:moveTo>
                  <a:pt x="200" y="526"/>
                </a:moveTo>
                <a:lnTo>
                  <a:pt x="200" y="526"/>
                </a:lnTo>
                <a:lnTo>
                  <a:pt x="199" y="528"/>
                </a:lnTo>
                <a:lnTo>
                  <a:pt x="195" y="526"/>
                </a:lnTo>
                <a:lnTo>
                  <a:pt x="188" y="527"/>
                </a:lnTo>
                <a:lnTo>
                  <a:pt x="185" y="525"/>
                </a:lnTo>
                <a:lnTo>
                  <a:pt x="187" y="521"/>
                </a:lnTo>
                <a:lnTo>
                  <a:pt x="194" y="517"/>
                </a:lnTo>
                <a:lnTo>
                  <a:pt x="197" y="518"/>
                </a:lnTo>
                <a:lnTo>
                  <a:pt x="201" y="523"/>
                </a:lnTo>
                <a:lnTo>
                  <a:pt x="200" y="526"/>
                </a:lnTo>
                <a:close/>
                <a:moveTo>
                  <a:pt x="114" y="612"/>
                </a:moveTo>
                <a:lnTo>
                  <a:pt x="114" y="612"/>
                </a:lnTo>
                <a:lnTo>
                  <a:pt x="111" y="612"/>
                </a:lnTo>
                <a:lnTo>
                  <a:pt x="109" y="610"/>
                </a:lnTo>
                <a:lnTo>
                  <a:pt x="114" y="607"/>
                </a:lnTo>
                <a:lnTo>
                  <a:pt x="122" y="604"/>
                </a:lnTo>
                <a:lnTo>
                  <a:pt x="122" y="602"/>
                </a:lnTo>
                <a:lnTo>
                  <a:pt x="123" y="602"/>
                </a:lnTo>
                <a:lnTo>
                  <a:pt x="125" y="604"/>
                </a:lnTo>
                <a:lnTo>
                  <a:pt x="125" y="608"/>
                </a:lnTo>
                <a:lnTo>
                  <a:pt x="124" y="609"/>
                </a:lnTo>
                <a:lnTo>
                  <a:pt x="114" y="612"/>
                </a:lnTo>
                <a:close/>
                <a:moveTo>
                  <a:pt x="103" y="635"/>
                </a:moveTo>
                <a:lnTo>
                  <a:pt x="103" y="635"/>
                </a:lnTo>
                <a:lnTo>
                  <a:pt x="100" y="635"/>
                </a:lnTo>
                <a:lnTo>
                  <a:pt x="96" y="634"/>
                </a:lnTo>
                <a:lnTo>
                  <a:pt x="94" y="631"/>
                </a:lnTo>
                <a:lnTo>
                  <a:pt x="93" y="629"/>
                </a:lnTo>
                <a:lnTo>
                  <a:pt x="98" y="627"/>
                </a:lnTo>
                <a:lnTo>
                  <a:pt x="102" y="625"/>
                </a:lnTo>
                <a:lnTo>
                  <a:pt x="104" y="628"/>
                </a:lnTo>
                <a:lnTo>
                  <a:pt x="104" y="633"/>
                </a:lnTo>
                <a:lnTo>
                  <a:pt x="103" y="635"/>
                </a:lnTo>
                <a:close/>
                <a:moveTo>
                  <a:pt x="5" y="785"/>
                </a:moveTo>
                <a:lnTo>
                  <a:pt x="5" y="785"/>
                </a:lnTo>
                <a:lnTo>
                  <a:pt x="2" y="786"/>
                </a:lnTo>
                <a:lnTo>
                  <a:pt x="0" y="785"/>
                </a:lnTo>
                <a:lnTo>
                  <a:pt x="1" y="779"/>
                </a:lnTo>
                <a:lnTo>
                  <a:pt x="2" y="778"/>
                </a:lnTo>
                <a:lnTo>
                  <a:pt x="3" y="778"/>
                </a:lnTo>
                <a:lnTo>
                  <a:pt x="5" y="781"/>
                </a:lnTo>
                <a:lnTo>
                  <a:pt x="5" y="785"/>
                </a:lnTo>
                <a:close/>
                <a:moveTo>
                  <a:pt x="9" y="835"/>
                </a:moveTo>
                <a:lnTo>
                  <a:pt x="9" y="835"/>
                </a:lnTo>
                <a:lnTo>
                  <a:pt x="9" y="842"/>
                </a:lnTo>
                <a:lnTo>
                  <a:pt x="6" y="842"/>
                </a:lnTo>
                <a:lnTo>
                  <a:pt x="5" y="839"/>
                </a:lnTo>
                <a:lnTo>
                  <a:pt x="4" y="837"/>
                </a:lnTo>
                <a:lnTo>
                  <a:pt x="4" y="833"/>
                </a:lnTo>
                <a:lnTo>
                  <a:pt x="4" y="828"/>
                </a:lnTo>
                <a:lnTo>
                  <a:pt x="5" y="826"/>
                </a:lnTo>
                <a:lnTo>
                  <a:pt x="6" y="826"/>
                </a:lnTo>
                <a:lnTo>
                  <a:pt x="8" y="830"/>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1242" name="Sweden">
            <a:extLst>
              <a:ext uri="{FF2B5EF4-FFF2-40B4-BE49-F238E27FC236}">
                <a16:creationId xmlns:a16="http://schemas.microsoft.com/office/drawing/2014/main" id="{B4169B69-5572-4B4F-A96B-55BCFF11DD84}"/>
              </a:ext>
            </a:extLst>
          </p:cNvPr>
          <p:cNvSpPr>
            <a:spLocks noEditPoints="1"/>
          </p:cNvSpPr>
          <p:nvPr/>
        </p:nvSpPr>
        <p:spPr bwMode="auto">
          <a:xfrm>
            <a:off x="6174859" y="2232105"/>
            <a:ext cx="364732" cy="610652"/>
          </a:xfrm>
          <a:custGeom>
            <a:avLst/>
            <a:gdLst>
              <a:gd name="T0" fmla="*/ 367 w 405"/>
              <a:gd name="T1" fmla="*/ 264 h 932"/>
              <a:gd name="T2" fmla="*/ 346 w 405"/>
              <a:gd name="T3" fmla="*/ 276 h 932"/>
              <a:gd name="T4" fmla="*/ 335 w 405"/>
              <a:gd name="T5" fmla="*/ 290 h 932"/>
              <a:gd name="T6" fmla="*/ 325 w 405"/>
              <a:gd name="T7" fmla="*/ 304 h 932"/>
              <a:gd name="T8" fmla="*/ 313 w 405"/>
              <a:gd name="T9" fmla="*/ 332 h 932"/>
              <a:gd name="T10" fmla="*/ 308 w 405"/>
              <a:gd name="T11" fmla="*/ 382 h 932"/>
              <a:gd name="T12" fmla="*/ 263 w 405"/>
              <a:gd name="T13" fmla="*/ 431 h 932"/>
              <a:gd name="T14" fmla="*/ 240 w 405"/>
              <a:gd name="T15" fmla="*/ 450 h 932"/>
              <a:gd name="T16" fmla="*/ 223 w 405"/>
              <a:gd name="T17" fmla="*/ 465 h 932"/>
              <a:gd name="T18" fmla="*/ 216 w 405"/>
              <a:gd name="T19" fmla="*/ 476 h 932"/>
              <a:gd name="T20" fmla="*/ 214 w 405"/>
              <a:gd name="T21" fmla="*/ 490 h 932"/>
              <a:gd name="T22" fmla="*/ 194 w 405"/>
              <a:gd name="T23" fmla="*/ 504 h 932"/>
              <a:gd name="T24" fmla="*/ 195 w 405"/>
              <a:gd name="T25" fmla="*/ 550 h 932"/>
              <a:gd name="T26" fmla="*/ 188 w 405"/>
              <a:gd name="T27" fmla="*/ 578 h 932"/>
              <a:gd name="T28" fmla="*/ 200 w 405"/>
              <a:gd name="T29" fmla="*/ 621 h 932"/>
              <a:gd name="T30" fmla="*/ 226 w 405"/>
              <a:gd name="T31" fmla="*/ 640 h 932"/>
              <a:gd name="T32" fmla="*/ 241 w 405"/>
              <a:gd name="T33" fmla="*/ 677 h 932"/>
              <a:gd name="T34" fmla="*/ 208 w 405"/>
              <a:gd name="T35" fmla="*/ 699 h 932"/>
              <a:gd name="T36" fmla="*/ 184 w 405"/>
              <a:gd name="T37" fmla="*/ 688 h 932"/>
              <a:gd name="T38" fmla="*/ 170 w 405"/>
              <a:gd name="T39" fmla="*/ 695 h 932"/>
              <a:gd name="T40" fmla="*/ 213 w 405"/>
              <a:gd name="T41" fmla="*/ 702 h 932"/>
              <a:gd name="T42" fmla="*/ 229 w 405"/>
              <a:gd name="T43" fmla="*/ 705 h 932"/>
              <a:gd name="T44" fmla="*/ 196 w 405"/>
              <a:gd name="T45" fmla="*/ 731 h 932"/>
              <a:gd name="T46" fmla="*/ 172 w 405"/>
              <a:gd name="T47" fmla="*/ 746 h 932"/>
              <a:gd name="T48" fmla="*/ 168 w 405"/>
              <a:gd name="T49" fmla="*/ 793 h 932"/>
              <a:gd name="T50" fmla="*/ 165 w 405"/>
              <a:gd name="T51" fmla="*/ 844 h 932"/>
              <a:gd name="T52" fmla="*/ 136 w 405"/>
              <a:gd name="T53" fmla="*/ 886 h 932"/>
              <a:gd name="T54" fmla="*/ 97 w 405"/>
              <a:gd name="T55" fmla="*/ 902 h 932"/>
              <a:gd name="T56" fmla="*/ 56 w 405"/>
              <a:gd name="T57" fmla="*/ 925 h 932"/>
              <a:gd name="T58" fmla="*/ 42 w 405"/>
              <a:gd name="T59" fmla="*/ 880 h 932"/>
              <a:gd name="T60" fmla="*/ 54 w 405"/>
              <a:gd name="T61" fmla="*/ 862 h 932"/>
              <a:gd name="T62" fmla="*/ 22 w 405"/>
              <a:gd name="T63" fmla="*/ 801 h 932"/>
              <a:gd name="T64" fmla="*/ 3 w 405"/>
              <a:gd name="T65" fmla="*/ 754 h 932"/>
              <a:gd name="T66" fmla="*/ 12 w 405"/>
              <a:gd name="T67" fmla="*/ 729 h 932"/>
              <a:gd name="T68" fmla="*/ 24 w 405"/>
              <a:gd name="T69" fmla="*/ 669 h 932"/>
              <a:gd name="T70" fmla="*/ 45 w 405"/>
              <a:gd name="T71" fmla="*/ 633 h 932"/>
              <a:gd name="T72" fmla="*/ 50 w 405"/>
              <a:gd name="T73" fmla="*/ 587 h 932"/>
              <a:gd name="T74" fmla="*/ 35 w 405"/>
              <a:gd name="T75" fmla="*/ 521 h 932"/>
              <a:gd name="T76" fmla="*/ 31 w 405"/>
              <a:gd name="T77" fmla="*/ 459 h 932"/>
              <a:gd name="T78" fmla="*/ 57 w 405"/>
              <a:gd name="T79" fmla="*/ 392 h 932"/>
              <a:gd name="T80" fmla="*/ 91 w 405"/>
              <a:gd name="T81" fmla="*/ 362 h 932"/>
              <a:gd name="T82" fmla="*/ 108 w 405"/>
              <a:gd name="T83" fmla="*/ 264 h 932"/>
              <a:gd name="T84" fmla="*/ 137 w 405"/>
              <a:gd name="T85" fmla="*/ 205 h 932"/>
              <a:gd name="T86" fmla="*/ 160 w 405"/>
              <a:gd name="T87" fmla="*/ 128 h 932"/>
              <a:gd name="T88" fmla="*/ 217 w 405"/>
              <a:gd name="T89" fmla="*/ 77 h 932"/>
              <a:gd name="T90" fmla="*/ 253 w 405"/>
              <a:gd name="T91" fmla="*/ 49 h 932"/>
              <a:gd name="T92" fmla="*/ 286 w 405"/>
              <a:gd name="T93" fmla="*/ 16 h 932"/>
              <a:gd name="T94" fmla="*/ 313 w 405"/>
              <a:gd name="T95" fmla="*/ 18 h 932"/>
              <a:gd name="T96" fmla="*/ 362 w 405"/>
              <a:gd name="T97" fmla="*/ 55 h 932"/>
              <a:gd name="T98" fmla="*/ 385 w 405"/>
              <a:gd name="T99" fmla="*/ 99 h 932"/>
              <a:gd name="T100" fmla="*/ 386 w 405"/>
              <a:gd name="T101" fmla="*/ 133 h 932"/>
              <a:gd name="T102" fmla="*/ 393 w 405"/>
              <a:gd name="T103" fmla="*/ 169 h 932"/>
              <a:gd name="T104" fmla="*/ 391 w 405"/>
              <a:gd name="T105" fmla="*/ 211 h 932"/>
              <a:gd name="T106" fmla="*/ 405 w 405"/>
              <a:gd name="T107" fmla="*/ 263 h 932"/>
              <a:gd name="T108" fmla="*/ 233 w 405"/>
              <a:gd name="T109" fmla="*/ 692 h 932"/>
              <a:gd name="T110" fmla="*/ 226 w 405"/>
              <a:gd name="T111" fmla="*/ 720 h 932"/>
              <a:gd name="T112" fmla="*/ 247 w 405"/>
              <a:gd name="T113" fmla="*/ 791 h 932"/>
              <a:gd name="T114" fmla="*/ 237 w 405"/>
              <a:gd name="T115" fmla="*/ 821 h 932"/>
              <a:gd name="T116" fmla="*/ 220 w 405"/>
              <a:gd name="T117" fmla="*/ 832 h 932"/>
              <a:gd name="T118" fmla="*/ 236 w 405"/>
              <a:gd name="T119" fmla="*/ 790 h 932"/>
              <a:gd name="T120" fmla="*/ 164 w 405"/>
              <a:gd name="T121" fmla="*/ 879 h 932"/>
              <a:gd name="T122" fmla="*/ 185 w 405"/>
              <a:gd name="T123" fmla="*/ 821 h 9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5" h="932">
                <a:moveTo>
                  <a:pt x="405" y="263"/>
                </a:moveTo>
                <a:lnTo>
                  <a:pt x="405" y="263"/>
                </a:lnTo>
                <a:lnTo>
                  <a:pt x="397" y="264"/>
                </a:lnTo>
                <a:lnTo>
                  <a:pt x="391" y="261"/>
                </a:lnTo>
                <a:lnTo>
                  <a:pt x="388" y="263"/>
                </a:lnTo>
                <a:lnTo>
                  <a:pt x="382" y="263"/>
                </a:lnTo>
                <a:lnTo>
                  <a:pt x="376" y="264"/>
                </a:lnTo>
                <a:lnTo>
                  <a:pt x="374" y="267"/>
                </a:lnTo>
                <a:lnTo>
                  <a:pt x="373" y="268"/>
                </a:lnTo>
                <a:lnTo>
                  <a:pt x="367" y="264"/>
                </a:lnTo>
                <a:lnTo>
                  <a:pt x="361" y="258"/>
                </a:lnTo>
                <a:lnTo>
                  <a:pt x="357" y="262"/>
                </a:lnTo>
                <a:lnTo>
                  <a:pt x="355" y="263"/>
                </a:lnTo>
                <a:lnTo>
                  <a:pt x="353" y="259"/>
                </a:lnTo>
                <a:lnTo>
                  <a:pt x="351" y="258"/>
                </a:lnTo>
                <a:lnTo>
                  <a:pt x="350" y="260"/>
                </a:lnTo>
                <a:lnTo>
                  <a:pt x="349" y="264"/>
                </a:lnTo>
                <a:lnTo>
                  <a:pt x="347" y="267"/>
                </a:lnTo>
                <a:lnTo>
                  <a:pt x="347" y="269"/>
                </a:lnTo>
                <a:lnTo>
                  <a:pt x="346" y="276"/>
                </a:lnTo>
                <a:lnTo>
                  <a:pt x="346" y="278"/>
                </a:lnTo>
                <a:lnTo>
                  <a:pt x="341" y="277"/>
                </a:lnTo>
                <a:lnTo>
                  <a:pt x="341" y="279"/>
                </a:lnTo>
                <a:lnTo>
                  <a:pt x="342" y="280"/>
                </a:lnTo>
                <a:lnTo>
                  <a:pt x="343" y="282"/>
                </a:lnTo>
                <a:lnTo>
                  <a:pt x="341" y="283"/>
                </a:lnTo>
                <a:lnTo>
                  <a:pt x="336" y="283"/>
                </a:lnTo>
                <a:lnTo>
                  <a:pt x="335" y="285"/>
                </a:lnTo>
                <a:lnTo>
                  <a:pt x="337" y="288"/>
                </a:lnTo>
                <a:lnTo>
                  <a:pt x="335" y="290"/>
                </a:lnTo>
                <a:lnTo>
                  <a:pt x="334" y="291"/>
                </a:lnTo>
                <a:lnTo>
                  <a:pt x="328" y="293"/>
                </a:lnTo>
                <a:lnTo>
                  <a:pt x="325" y="293"/>
                </a:lnTo>
                <a:lnTo>
                  <a:pt x="324" y="294"/>
                </a:lnTo>
                <a:lnTo>
                  <a:pt x="323" y="296"/>
                </a:lnTo>
                <a:lnTo>
                  <a:pt x="324" y="298"/>
                </a:lnTo>
                <a:lnTo>
                  <a:pt x="326" y="299"/>
                </a:lnTo>
                <a:lnTo>
                  <a:pt x="326" y="301"/>
                </a:lnTo>
                <a:lnTo>
                  <a:pt x="326" y="303"/>
                </a:lnTo>
                <a:lnTo>
                  <a:pt x="325" y="304"/>
                </a:lnTo>
                <a:lnTo>
                  <a:pt x="321" y="299"/>
                </a:lnTo>
                <a:lnTo>
                  <a:pt x="320" y="299"/>
                </a:lnTo>
                <a:lnTo>
                  <a:pt x="321" y="302"/>
                </a:lnTo>
                <a:lnTo>
                  <a:pt x="323" y="305"/>
                </a:lnTo>
                <a:lnTo>
                  <a:pt x="324" y="308"/>
                </a:lnTo>
                <a:lnTo>
                  <a:pt x="325" y="311"/>
                </a:lnTo>
                <a:lnTo>
                  <a:pt x="325" y="314"/>
                </a:lnTo>
                <a:lnTo>
                  <a:pt x="320" y="322"/>
                </a:lnTo>
                <a:lnTo>
                  <a:pt x="316" y="327"/>
                </a:lnTo>
                <a:lnTo>
                  <a:pt x="313" y="332"/>
                </a:lnTo>
                <a:lnTo>
                  <a:pt x="311" y="337"/>
                </a:lnTo>
                <a:lnTo>
                  <a:pt x="313" y="339"/>
                </a:lnTo>
                <a:lnTo>
                  <a:pt x="316" y="343"/>
                </a:lnTo>
                <a:lnTo>
                  <a:pt x="317" y="350"/>
                </a:lnTo>
                <a:lnTo>
                  <a:pt x="319" y="356"/>
                </a:lnTo>
                <a:lnTo>
                  <a:pt x="323" y="362"/>
                </a:lnTo>
                <a:lnTo>
                  <a:pt x="322" y="365"/>
                </a:lnTo>
                <a:lnTo>
                  <a:pt x="321" y="368"/>
                </a:lnTo>
                <a:lnTo>
                  <a:pt x="315" y="374"/>
                </a:lnTo>
                <a:lnTo>
                  <a:pt x="308" y="382"/>
                </a:lnTo>
                <a:lnTo>
                  <a:pt x="300" y="405"/>
                </a:lnTo>
                <a:lnTo>
                  <a:pt x="297" y="407"/>
                </a:lnTo>
                <a:lnTo>
                  <a:pt x="290" y="411"/>
                </a:lnTo>
                <a:lnTo>
                  <a:pt x="287" y="415"/>
                </a:lnTo>
                <a:lnTo>
                  <a:pt x="282" y="419"/>
                </a:lnTo>
                <a:lnTo>
                  <a:pt x="273" y="423"/>
                </a:lnTo>
                <a:lnTo>
                  <a:pt x="269" y="428"/>
                </a:lnTo>
                <a:lnTo>
                  <a:pt x="267" y="433"/>
                </a:lnTo>
                <a:lnTo>
                  <a:pt x="265" y="433"/>
                </a:lnTo>
                <a:lnTo>
                  <a:pt x="263" y="431"/>
                </a:lnTo>
                <a:lnTo>
                  <a:pt x="260" y="430"/>
                </a:lnTo>
                <a:lnTo>
                  <a:pt x="260" y="433"/>
                </a:lnTo>
                <a:lnTo>
                  <a:pt x="260" y="436"/>
                </a:lnTo>
                <a:lnTo>
                  <a:pt x="256" y="432"/>
                </a:lnTo>
                <a:lnTo>
                  <a:pt x="254" y="435"/>
                </a:lnTo>
                <a:lnTo>
                  <a:pt x="252" y="441"/>
                </a:lnTo>
                <a:lnTo>
                  <a:pt x="246" y="449"/>
                </a:lnTo>
                <a:lnTo>
                  <a:pt x="239" y="447"/>
                </a:lnTo>
                <a:lnTo>
                  <a:pt x="238" y="449"/>
                </a:lnTo>
                <a:lnTo>
                  <a:pt x="240" y="450"/>
                </a:lnTo>
                <a:lnTo>
                  <a:pt x="240" y="451"/>
                </a:lnTo>
                <a:lnTo>
                  <a:pt x="239" y="451"/>
                </a:lnTo>
                <a:lnTo>
                  <a:pt x="237" y="451"/>
                </a:lnTo>
                <a:lnTo>
                  <a:pt x="234" y="453"/>
                </a:lnTo>
                <a:lnTo>
                  <a:pt x="232" y="453"/>
                </a:lnTo>
                <a:lnTo>
                  <a:pt x="231" y="456"/>
                </a:lnTo>
                <a:lnTo>
                  <a:pt x="230" y="461"/>
                </a:lnTo>
                <a:lnTo>
                  <a:pt x="226" y="462"/>
                </a:lnTo>
                <a:lnTo>
                  <a:pt x="224" y="463"/>
                </a:lnTo>
                <a:lnTo>
                  <a:pt x="223" y="465"/>
                </a:lnTo>
                <a:lnTo>
                  <a:pt x="229" y="466"/>
                </a:lnTo>
                <a:lnTo>
                  <a:pt x="229" y="468"/>
                </a:lnTo>
                <a:lnTo>
                  <a:pt x="228" y="470"/>
                </a:lnTo>
                <a:lnTo>
                  <a:pt x="228" y="472"/>
                </a:lnTo>
                <a:lnTo>
                  <a:pt x="221" y="475"/>
                </a:lnTo>
                <a:lnTo>
                  <a:pt x="220" y="478"/>
                </a:lnTo>
                <a:lnTo>
                  <a:pt x="219" y="479"/>
                </a:lnTo>
                <a:lnTo>
                  <a:pt x="216" y="479"/>
                </a:lnTo>
                <a:lnTo>
                  <a:pt x="216" y="478"/>
                </a:lnTo>
                <a:lnTo>
                  <a:pt x="216" y="476"/>
                </a:lnTo>
                <a:lnTo>
                  <a:pt x="212" y="476"/>
                </a:lnTo>
                <a:lnTo>
                  <a:pt x="211" y="473"/>
                </a:lnTo>
                <a:lnTo>
                  <a:pt x="210" y="474"/>
                </a:lnTo>
                <a:lnTo>
                  <a:pt x="210" y="477"/>
                </a:lnTo>
                <a:lnTo>
                  <a:pt x="211" y="480"/>
                </a:lnTo>
                <a:lnTo>
                  <a:pt x="213" y="484"/>
                </a:lnTo>
                <a:lnTo>
                  <a:pt x="212" y="487"/>
                </a:lnTo>
                <a:lnTo>
                  <a:pt x="210" y="488"/>
                </a:lnTo>
                <a:lnTo>
                  <a:pt x="211" y="490"/>
                </a:lnTo>
                <a:lnTo>
                  <a:pt x="214" y="490"/>
                </a:lnTo>
                <a:lnTo>
                  <a:pt x="215" y="492"/>
                </a:lnTo>
                <a:lnTo>
                  <a:pt x="212" y="494"/>
                </a:lnTo>
                <a:lnTo>
                  <a:pt x="208" y="499"/>
                </a:lnTo>
                <a:lnTo>
                  <a:pt x="205" y="499"/>
                </a:lnTo>
                <a:lnTo>
                  <a:pt x="202" y="502"/>
                </a:lnTo>
                <a:lnTo>
                  <a:pt x="200" y="502"/>
                </a:lnTo>
                <a:lnTo>
                  <a:pt x="198" y="500"/>
                </a:lnTo>
                <a:lnTo>
                  <a:pt x="195" y="498"/>
                </a:lnTo>
                <a:lnTo>
                  <a:pt x="194" y="502"/>
                </a:lnTo>
                <a:lnTo>
                  <a:pt x="194" y="504"/>
                </a:lnTo>
                <a:lnTo>
                  <a:pt x="196" y="510"/>
                </a:lnTo>
                <a:lnTo>
                  <a:pt x="199" y="515"/>
                </a:lnTo>
                <a:lnTo>
                  <a:pt x="202" y="517"/>
                </a:lnTo>
                <a:lnTo>
                  <a:pt x="200" y="518"/>
                </a:lnTo>
                <a:lnTo>
                  <a:pt x="198" y="521"/>
                </a:lnTo>
                <a:lnTo>
                  <a:pt x="196" y="531"/>
                </a:lnTo>
                <a:lnTo>
                  <a:pt x="195" y="535"/>
                </a:lnTo>
                <a:lnTo>
                  <a:pt x="194" y="541"/>
                </a:lnTo>
                <a:lnTo>
                  <a:pt x="195" y="547"/>
                </a:lnTo>
                <a:lnTo>
                  <a:pt x="195" y="550"/>
                </a:lnTo>
                <a:lnTo>
                  <a:pt x="197" y="553"/>
                </a:lnTo>
                <a:lnTo>
                  <a:pt x="193" y="553"/>
                </a:lnTo>
                <a:lnTo>
                  <a:pt x="188" y="551"/>
                </a:lnTo>
                <a:lnTo>
                  <a:pt x="189" y="555"/>
                </a:lnTo>
                <a:lnTo>
                  <a:pt x="186" y="560"/>
                </a:lnTo>
                <a:lnTo>
                  <a:pt x="187" y="565"/>
                </a:lnTo>
                <a:lnTo>
                  <a:pt x="187" y="568"/>
                </a:lnTo>
                <a:lnTo>
                  <a:pt x="187" y="573"/>
                </a:lnTo>
                <a:lnTo>
                  <a:pt x="188" y="575"/>
                </a:lnTo>
                <a:lnTo>
                  <a:pt x="188" y="578"/>
                </a:lnTo>
                <a:lnTo>
                  <a:pt x="187" y="580"/>
                </a:lnTo>
                <a:lnTo>
                  <a:pt x="188" y="582"/>
                </a:lnTo>
                <a:lnTo>
                  <a:pt x="188" y="588"/>
                </a:lnTo>
                <a:lnTo>
                  <a:pt x="189" y="599"/>
                </a:lnTo>
                <a:lnTo>
                  <a:pt x="189" y="601"/>
                </a:lnTo>
                <a:lnTo>
                  <a:pt x="191" y="610"/>
                </a:lnTo>
                <a:lnTo>
                  <a:pt x="190" y="613"/>
                </a:lnTo>
                <a:lnTo>
                  <a:pt x="190" y="617"/>
                </a:lnTo>
                <a:lnTo>
                  <a:pt x="193" y="621"/>
                </a:lnTo>
                <a:lnTo>
                  <a:pt x="200" y="621"/>
                </a:lnTo>
                <a:lnTo>
                  <a:pt x="201" y="621"/>
                </a:lnTo>
                <a:lnTo>
                  <a:pt x="202" y="624"/>
                </a:lnTo>
                <a:lnTo>
                  <a:pt x="203" y="627"/>
                </a:lnTo>
                <a:lnTo>
                  <a:pt x="205" y="627"/>
                </a:lnTo>
                <a:lnTo>
                  <a:pt x="209" y="624"/>
                </a:lnTo>
                <a:lnTo>
                  <a:pt x="212" y="624"/>
                </a:lnTo>
                <a:lnTo>
                  <a:pt x="214" y="629"/>
                </a:lnTo>
                <a:lnTo>
                  <a:pt x="218" y="635"/>
                </a:lnTo>
                <a:lnTo>
                  <a:pt x="221" y="638"/>
                </a:lnTo>
                <a:lnTo>
                  <a:pt x="226" y="640"/>
                </a:lnTo>
                <a:lnTo>
                  <a:pt x="231" y="645"/>
                </a:lnTo>
                <a:lnTo>
                  <a:pt x="230" y="651"/>
                </a:lnTo>
                <a:lnTo>
                  <a:pt x="232" y="654"/>
                </a:lnTo>
                <a:lnTo>
                  <a:pt x="238" y="656"/>
                </a:lnTo>
                <a:lnTo>
                  <a:pt x="240" y="659"/>
                </a:lnTo>
                <a:lnTo>
                  <a:pt x="241" y="662"/>
                </a:lnTo>
                <a:lnTo>
                  <a:pt x="242" y="665"/>
                </a:lnTo>
                <a:lnTo>
                  <a:pt x="244" y="672"/>
                </a:lnTo>
                <a:lnTo>
                  <a:pt x="244" y="676"/>
                </a:lnTo>
                <a:lnTo>
                  <a:pt x="241" y="677"/>
                </a:lnTo>
                <a:lnTo>
                  <a:pt x="236" y="682"/>
                </a:lnTo>
                <a:lnTo>
                  <a:pt x="233" y="686"/>
                </a:lnTo>
                <a:lnTo>
                  <a:pt x="231" y="688"/>
                </a:lnTo>
                <a:lnTo>
                  <a:pt x="226" y="692"/>
                </a:lnTo>
                <a:lnTo>
                  <a:pt x="224" y="693"/>
                </a:lnTo>
                <a:lnTo>
                  <a:pt x="222" y="696"/>
                </a:lnTo>
                <a:lnTo>
                  <a:pt x="220" y="697"/>
                </a:lnTo>
                <a:lnTo>
                  <a:pt x="218" y="696"/>
                </a:lnTo>
                <a:lnTo>
                  <a:pt x="212" y="700"/>
                </a:lnTo>
                <a:lnTo>
                  <a:pt x="208" y="699"/>
                </a:lnTo>
                <a:lnTo>
                  <a:pt x="206" y="697"/>
                </a:lnTo>
                <a:lnTo>
                  <a:pt x="207" y="689"/>
                </a:lnTo>
                <a:lnTo>
                  <a:pt x="207" y="686"/>
                </a:lnTo>
                <a:lnTo>
                  <a:pt x="206" y="684"/>
                </a:lnTo>
                <a:lnTo>
                  <a:pt x="203" y="686"/>
                </a:lnTo>
                <a:lnTo>
                  <a:pt x="204" y="689"/>
                </a:lnTo>
                <a:lnTo>
                  <a:pt x="199" y="689"/>
                </a:lnTo>
                <a:lnTo>
                  <a:pt x="194" y="687"/>
                </a:lnTo>
                <a:lnTo>
                  <a:pt x="194" y="692"/>
                </a:lnTo>
                <a:lnTo>
                  <a:pt x="184" y="688"/>
                </a:lnTo>
                <a:lnTo>
                  <a:pt x="181" y="689"/>
                </a:lnTo>
                <a:lnTo>
                  <a:pt x="177" y="686"/>
                </a:lnTo>
                <a:lnTo>
                  <a:pt x="174" y="689"/>
                </a:lnTo>
                <a:lnTo>
                  <a:pt x="171" y="688"/>
                </a:lnTo>
                <a:lnTo>
                  <a:pt x="169" y="685"/>
                </a:lnTo>
                <a:lnTo>
                  <a:pt x="166" y="691"/>
                </a:lnTo>
                <a:lnTo>
                  <a:pt x="159" y="692"/>
                </a:lnTo>
                <a:lnTo>
                  <a:pt x="152" y="693"/>
                </a:lnTo>
                <a:lnTo>
                  <a:pt x="156" y="695"/>
                </a:lnTo>
                <a:lnTo>
                  <a:pt x="170" y="695"/>
                </a:lnTo>
                <a:lnTo>
                  <a:pt x="174" y="696"/>
                </a:lnTo>
                <a:lnTo>
                  <a:pt x="179" y="695"/>
                </a:lnTo>
                <a:lnTo>
                  <a:pt x="184" y="700"/>
                </a:lnTo>
                <a:lnTo>
                  <a:pt x="188" y="701"/>
                </a:lnTo>
                <a:lnTo>
                  <a:pt x="192" y="706"/>
                </a:lnTo>
                <a:lnTo>
                  <a:pt x="194" y="704"/>
                </a:lnTo>
                <a:lnTo>
                  <a:pt x="197" y="705"/>
                </a:lnTo>
                <a:lnTo>
                  <a:pt x="200" y="706"/>
                </a:lnTo>
                <a:lnTo>
                  <a:pt x="209" y="706"/>
                </a:lnTo>
                <a:lnTo>
                  <a:pt x="213" y="702"/>
                </a:lnTo>
                <a:lnTo>
                  <a:pt x="217" y="703"/>
                </a:lnTo>
                <a:lnTo>
                  <a:pt x="220" y="702"/>
                </a:lnTo>
                <a:lnTo>
                  <a:pt x="222" y="700"/>
                </a:lnTo>
                <a:lnTo>
                  <a:pt x="224" y="699"/>
                </a:lnTo>
                <a:lnTo>
                  <a:pt x="226" y="700"/>
                </a:lnTo>
                <a:lnTo>
                  <a:pt x="228" y="698"/>
                </a:lnTo>
                <a:lnTo>
                  <a:pt x="229" y="697"/>
                </a:lnTo>
                <a:lnTo>
                  <a:pt x="231" y="698"/>
                </a:lnTo>
                <a:lnTo>
                  <a:pt x="233" y="702"/>
                </a:lnTo>
                <a:lnTo>
                  <a:pt x="229" y="705"/>
                </a:lnTo>
                <a:lnTo>
                  <a:pt x="226" y="705"/>
                </a:lnTo>
                <a:lnTo>
                  <a:pt x="225" y="711"/>
                </a:lnTo>
                <a:lnTo>
                  <a:pt x="223" y="714"/>
                </a:lnTo>
                <a:lnTo>
                  <a:pt x="222" y="716"/>
                </a:lnTo>
                <a:lnTo>
                  <a:pt x="216" y="719"/>
                </a:lnTo>
                <a:lnTo>
                  <a:pt x="213" y="722"/>
                </a:lnTo>
                <a:lnTo>
                  <a:pt x="208" y="725"/>
                </a:lnTo>
                <a:lnTo>
                  <a:pt x="206" y="724"/>
                </a:lnTo>
                <a:lnTo>
                  <a:pt x="203" y="727"/>
                </a:lnTo>
                <a:lnTo>
                  <a:pt x="196" y="731"/>
                </a:lnTo>
                <a:lnTo>
                  <a:pt x="193" y="736"/>
                </a:lnTo>
                <a:lnTo>
                  <a:pt x="185" y="740"/>
                </a:lnTo>
                <a:lnTo>
                  <a:pt x="181" y="743"/>
                </a:lnTo>
                <a:lnTo>
                  <a:pt x="171" y="743"/>
                </a:lnTo>
                <a:lnTo>
                  <a:pt x="161" y="743"/>
                </a:lnTo>
                <a:lnTo>
                  <a:pt x="158" y="744"/>
                </a:lnTo>
                <a:lnTo>
                  <a:pt x="161" y="745"/>
                </a:lnTo>
                <a:lnTo>
                  <a:pt x="163" y="746"/>
                </a:lnTo>
                <a:lnTo>
                  <a:pt x="166" y="746"/>
                </a:lnTo>
                <a:lnTo>
                  <a:pt x="172" y="746"/>
                </a:lnTo>
                <a:lnTo>
                  <a:pt x="176" y="747"/>
                </a:lnTo>
                <a:lnTo>
                  <a:pt x="180" y="753"/>
                </a:lnTo>
                <a:lnTo>
                  <a:pt x="177" y="755"/>
                </a:lnTo>
                <a:lnTo>
                  <a:pt x="171" y="756"/>
                </a:lnTo>
                <a:lnTo>
                  <a:pt x="173" y="764"/>
                </a:lnTo>
                <a:lnTo>
                  <a:pt x="175" y="769"/>
                </a:lnTo>
                <a:lnTo>
                  <a:pt x="173" y="772"/>
                </a:lnTo>
                <a:lnTo>
                  <a:pt x="173" y="787"/>
                </a:lnTo>
                <a:lnTo>
                  <a:pt x="170" y="787"/>
                </a:lnTo>
                <a:lnTo>
                  <a:pt x="168" y="793"/>
                </a:lnTo>
                <a:lnTo>
                  <a:pt x="169" y="796"/>
                </a:lnTo>
                <a:lnTo>
                  <a:pt x="169" y="803"/>
                </a:lnTo>
                <a:lnTo>
                  <a:pt x="170" y="807"/>
                </a:lnTo>
                <a:lnTo>
                  <a:pt x="171" y="811"/>
                </a:lnTo>
                <a:lnTo>
                  <a:pt x="171" y="815"/>
                </a:lnTo>
                <a:lnTo>
                  <a:pt x="166" y="825"/>
                </a:lnTo>
                <a:lnTo>
                  <a:pt x="166" y="829"/>
                </a:lnTo>
                <a:lnTo>
                  <a:pt x="167" y="832"/>
                </a:lnTo>
                <a:lnTo>
                  <a:pt x="167" y="836"/>
                </a:lnTo>
                <a:lnTo>
                  <a:pt x="165" y="844"/>
                </a:lnTo>
                <a:lnTo>
                  <a:pt x="164" y="851"/>
                </a:lnTo>
                <a:lnTo>
                  <a:pt x="162" y="856"/>
                </a:lnTo>
                <a:lnTo>
                  <a:pt x="158" y="863"/>
                </a:lnTo>
                <a:lnTo>
                  <a:pt x="156" y="868"/>
                </a:lnTo>
                <a:lnTo>
                  <a:pt x="151" y="884"/>
                </a:lnTo>
                <a:lnTo>
                  <a:pt x="149" y="887"/>
                </a:lnTo>
                <a:lnTo>
                  <a:pt x="146" y="889"/>
                </a:lnTo>
                <a:lnTo>
                  <a:pt x="142" y="887"/>
                </a:lnTo>
                <a:lnTo>
                  <a:pt x="139" y="886"/>
                </a:lnTo>
                <a:lnTo>
                  <a:pt x="136" y="886"/>
                </a:lnTo>
                <a:lnTo>
                  <a:pt x="130" y="888"/>
                </a:lnTo>
                <a:lnTo>
                  <a:pt x="121" y="887"/>
                </a:lnTo>
                <a:lnTo>
                  <a:pt x="113" y="887"/>
                </a:lnTo>
                <a:lnTo>
                  <a:pt x="111" y="889"/>
                </a:lnTo>
                <a:lnTo>
                  <a:pt x="112" y="894"/>
                </a:lnTo>
                <a:lnTo>
                  <a:pt x="109" y="895"/>
                </a:lnTo>
                <a:lnTo>
                  <a:pt x="106" y="893"/>
                </a:lnTo>
                <a:lnTo>
                  <a:pt x="103" y="895"/>
                </a:lnTo>
                <a:lnTo>
                  <a:pt x="101" y="898"/>
                </a:lnTo>
                <a:lnTo>
                  <a:pt x="97" y="902"/>
                </a:lnTo>
                <a:lnTo>
                  <a:pt x="95" y="905"/>
                </a:lnTo>
                <a:lnTo>
                  <a:pt x="95" y="911"/>
                </a:lnTo>
                <a:lnTo>
                  <a:pt x="97" y="916"/>
                </a:lnTo>
                <a:lnTo>
                  <a:pt x="99" y="922"/>
                </a:lnTo>
                <a:lnTo>
                  <a:pt x="94" y="930"/>
                </a:lnTo>
                <a:lnTo>
                  <a:pt x="91" y="930"/>
                </a:lnTo>
                <a:lnTo>
                  <a:pt x="83" y="928"/>
                </a:lnTo>
                <a:lnTo>
                  <a:pt x="67" y="932"/>
                </a:lnTo>
                <a:lnTo>
                  <a:pt x="54" y="929"/>
                </a:lnTo>
                <a:lnTo>
                  <a:pt x="56" y="925"/>
                </a:lnTo>
                <a:lnTo>
                  <a:pt x="56" y="922"/>
                </a:lnTo>
                <a:lnTo>
                  <a:pt x="56" y="918"/>
                </a:lnTo>
                <a:lnTo>
                  <a:pt x="57" y="913"/>
                </a:lnTo>
                <a:lnTo>
                  <a:pt x="57" y="910"/>
                </a:lnTo>
                <a:lnTo>
                  <a:pt x="56" y="907"/>
                </a:lnTo>
                <a:lnTo>
                  <a:pt x="52" y="903"/>
                </a:lnTo>
                <a:lnTo>
                  <a:pt x="45" y="889"/>
                </a:lnTo>
                <a:lnTo>
                  <a:pt x="42" y="882"/>
                </a:lnTo>
                <a:lnTo>
                  <a:pt x="41" y="880"/>
                </a:lnTo>
                <a:lnTo>
                  <a:pt x="42" y="880"/>
                </a:lnTo>
                <a:lnTo>
                  <a:pt x="48" y="883"/>
                </a:lnTo>
                <a:lnTo>
                  <a:pt x="50" y="883"/>
                </a:lnTo>
                <a:lnTo>
                  <a:pt x="51" y="881"/>
                </a:lnTo>
                <a:lnTo>
                  <a:pt x="49" y="877"/>
                </a:lnTo>
                <a:lnTo>
                  <a:pt x="48" y="875"/>
                </a:lnTo>
                <a:lnTo>
                  <a:pt x="47" y="872"/>
                </a:lnTo>
                <a:lnTo>
                  <a:pt x="50" y="871"/>
                </a:lnTo>
                <a:lnTo>
                  <a:pt x="53" y="871"/>
                </a:lnTo>
                <a:lnTo>
                  <a:pt x="55" y="867"/>
                </a:lnTo>
                <a:lnTo>
                  <a:pt x="54" y="862"/>
                </a:lnTo>
                <a:lnTo>
                  <a:pt x="51" y="860"/>
                </a:lnTo>
                <a:lnTo>
                  <a:pt x="49" y="859"/>
                </a:lnTo>
                <a:lnTo>
                  <a:pt x="44" y="850"/>
                </a:lnTo>
                <a:lnTo>
                  <a:pt x="39" y="845"/>
                </a:lnTo>
                <a:lnTo>
                  <a:pt x="31" y="827"/>
                </a:lnTo>
                <a:lnTo>
                  <a:pt x="28" y="814"/>
                </a:lnTo>
                <a:lnTo>
                  <a:pt x="25" y="815"/>
                </a:lnTo>
                <a:lnTo>
                  <a:pt x="24" y="810"/>
                </a:lnTo>
                <a:lnTo>
                  <a:pt x="23" y="805"/>
                </a:lnTo>
                <a:lnTo>
                  <a:pt x="22" y="801"/>
                </a:lnTo>
                <a:lnTo>
                  <a:pt x="18" y="798"/>
                </a:lnTo>
                <a:lnTo>
                  <a:pt x="18" y="796"/>
                </a:lnTo>
                <a:lnTo>
                  <a:pt x="17" y="783"/>
                </a:lnTo>
                <a:lnTo>
                  <a:pt x="12" y="782"/>
                </a:lnTo>
                <a:lnTo>
                  <a:pt x="9" y="775"/>
                </a:lnTo>
                <a:lnTo>
                  <a:pt x="8" y="762"/>
                </a:lnTo>
                <a:lnTo>
                  <a:pt x="5" y="759"/>
                </a:lnTo>
                <a:lnTo>
                  <a:pt x="3" y="760"/>
                </a:lnTo>
                <a:lnTo>
                  <a:pt x="3" y="757"/>
                </a:lnTo>
                <a:lnTo>
                  <a:pt x="3" y="754"/>
                </a:lnTo>
                <a:lnTo>
                  <a:pt x="2" y="742"/>
                </a:lnTo>
                <a:lnTo>
                  <a:pt x="2" y="730"/>
                </a:lnTo>
                <a:lnTo>
                  <a:pt x="0" y="727"/>
                </a:lnTo>
                <a:lnTo>
                  <a:pt x="0" y="723"/>
                </a:lnTo>
                <a:lnTo>
                  <a:pt x="0" y="720"/>
                </a:lnTo>
                <a:lnTo>
                  <a:pt x="1" y="718"/>
                </a:lnTo>
                <a:lnTo>
                  <a:pt x="4" y="717"/>
                </a:lnTo>
                <a:lnTo>
                  <a:pt x="7" y="720"/>
                </a:lnTo>
                <a:lnTo>
                  <a:pt x="10" y="728"/>
                </a:lnTo>
                <a:lnTo>
                  <a:pt x="12" y="729"/>
                </a:lnTo>
                <a:lnTo>
                  <a:pt x="15" y="727"/>
                </a:lnTo>
                <a:lnTo>
                  <a:pt x="17" y="721"/>
                </a:lnTo>
                <a:lnTo>
                  <a:pt x="18" y="713"/>
                </a:lnTo>
                <a:lnTo>
                  <a:pt x="20" y="705"/>
                </a:lnTo>
                <a:lnTo>
                  <a:pt x="18" y="696"/>
                </a:lnTo>
                <a:lnTo>
                  <a:pt x="16" y="688"/>
                </a:lnTo>
                <a:lnTo>
                  <a:pt x="16" y="686"/>
                </a:lnTo>
                <a:lnTo>
                  <a:pt x="21" y="680"/>
                </a:lnTo>
                <a:lnTo>
                  <a:pt x="23" y="674"/>
                </a:lnTo>
                <a:lnTo>
                  <a:pt x="24" y="669"/>
                </a:lnTo>
                <a:lnTo>
                  <a:pt x="26" y="668"/>
                </a:lnTo>
                <a:lnTo>
                  <a:pt x="28" y="667"/>
                </a:lnTo>
                <a:lnTo>
                  <a:pt x="31" y="666"/>
                </a:lnTo>
                <a:lnTo>
                  <a:pt x="35" y="663"/>
                </a:lnTo>
                <a:lnTo>
                  <a:pt x="39" y="658"/>
                </a:lnTo>
                <a:lnTo>
                  <a:pt x="41" y="654"/>
                </a:lnTo>
                <a:lnTo>
                  <a:pt x="42" y="646"/>
                </a:lnTo>
                <a:lnTo>
                  <a:pt x="42" y="642"/>
                </a:lnTo>
                <a:lnTo>
                  <a:pt x="43" y="639"/>
                </a:lnTo>
                <a:lnTo>
                  <a:pt x="45" y="633"/>
                </a:lnTo>
                <a:lnTo>
                  <a:pt x="43" y="627"/>
                </a:lnTo>
                <a:lnTo>
                  <a:pt x="40" y="618"/>
                </a:lnTo>
                <a:lnTo>
                  <a:pt x="36" y="605"/>
                </a:lnTo>
                <a:lnTo>
                  <a:pt x="35" y="598"/>
                </a:lnTo>
                <a:lnTo>
                  <a:pt x="37" y="596"/>
                </a:lnTo>
                <a:lnTo>
                  <a:pt x="41" y="595"/>
                </a:lnTo>
                <a:lnTo>
                  <a:pt x="47" y="595"/>
                </a:lnTo>
                <a:lnTo>
                  <a:pt x="48" y="594"/>
                </a:lnTo>
                <a:lnTo>
                  <a:pt x="49" y="591"/>
                </a:lnTo>
                <a:lnTo>
                  <a:pt x="50" y="587"/>
                </a:lnTo>
                <a:lnTo>
                  <a:pt x="52" y="583"/>
                </a:lnTo>
                <a:lnTo>
                  <a:pt x="53" y="579"/>
                </a:lnTo>
                <a:lnTo>
                  <a:pt x="54" y="575"/>
                </a:lnTo>
                <a:lnTo>
                  <a:pt x="50" y="569"/>
                </a:lnTo>
                <a:lnTo>
                  <a:pt x="45" y="563"/>
                </a:lnTo>
                <a:lnTo>
                  <a:pt x="41" y="561"/>
                </a:lnTo>
                <a:lnTo>
                  <a:pt x="35" y="555"/>
                </a:lnTo>
                <a:lnTo>
                  <a:pt x="31" y="551"/>
                </a:lnTo>
                <a:lnTo>
                  <a:pt x="33" y="534"/>
                </a:lnTo>
                <a:lnTo>
                  <a:pt x="35" y="521"/>
                </a:lnTo>
                <a:lnTo>
                  <a:pt x="36" y="518"/>
                </a:lnTo>
                <a:lnTo>
                  <a:pt x="36" y="513"/>
                </a:lnTo>
                <a:lnTo>
                  <a:pt x="30" y="493"/>
                </a:lnTo>
                <a:lnTo>
                  <a:pt x="30" y="488"/>
                </a:lnTo>
                <a:lnTo>
                  <a:pt x="31" y="484"/>
                </a:lnTo>
                <a:lnTo>
                  <a:pt x="30" y="477"/>
                </a:lnTo>
                <a:lnTo>
                  <a:pt x="30" y="471"/>
                </a:lnTo>
                <a:lnTo>
                  <a:pt x="31" y="469"/>
                </a:lnTo>
                <a:lnTo>
                  <a:pt x="33" y="465"/>
                </a:lnTo>
                <a:lnTo>
                  <a:pt x="31" y="459"/>
                </a:lnTo>
                <a:lnTo>
                  <a:pt x="31" y="459"/>
                </a:lnTo>
                <a:lnTo>
                  <a:pt x="26" y="445"/>
                </a:lnTo>
                <a:lnTo>
                  <a:pt x="33" y="431"/>
                </a:lnTo>
                <a:lnTo>
                  <a:pt x="32" y="424"/>
                </a:lnTo>
                <a:lnTo>
                  <a:pt x="36" y="418"/>
                </a:lnTo>
                <a:lnTo>
                  <a:pt x="43" y="406"/>
                </a:lnTo>
                <a:lnTo>
                  <a:pt x="47" y="399"/>
                </a:lnTo>
                <a:lnTo>
                  <a:pt x="48" y="398"/>
                </a:lnTo>
                <a:lnTo>
                  <a:pt x="51" y="395"/>
                </a:lnTo>
                <a:lnTo>
                  <a:pt x="57" y="392"/>
                </a:lnTo>
                <a:lnTo>
                  <a:pt x="64" y="390"/>
                </a:lnTo>
                <a:lnTo>
                  <a:pt x="67" y="390"/>
                </a:lnTo>
                <a:lnTo>
                  <a:pt x="78" y="392"/>
                </a:lnTo>
                <a:lnTo>
                  <a:pt x="87" y="394"/>
                </a:lnTo>
                <a:lnTo>
                  <a:pt x="89" y="392"/>
                </a:lnTo>
                <a:lnTo>
                  <a:pt x="91" y="388"/>
                </a:lnTo>
                <a:lnTo>
                  <a:pt x="93" y="383"/>
                </a:lnTo>
                <a:lnTo>
                  <a:pt x="93" y="377"/>
                </a:lnTo>
                <a:lnTo>
                  <a:pt x="92" y="368"/>
                </a:lnTo>
                <a:lnTo>
                  <a:pt x="91" y="362"/>
                </a:lnTo>
                <a:lnTo>
                  <a:pt x="85" y="358"/>
                </a:lnTo>
                <a:lnTo>
                  <a:pt x="78" y="354"/>
                </a:lnTo>
                <a:lnTo>
                  <a:pt x="86" y="338"/>
                </a:lnTo>
                <a:lnTo>
                  <a:pt x="92" y="327"/>
                </a:lnTo>
                <a:lnTo>
                  <a:pt x="100" y="310"/>
                </a:lnTo>
                <a:lnTo>
                  <a:pt x="102" y="303"/>
                </a:lnTo>
                <a:lnTo>
                  <a:pt x="103" y="301"/>
                </a:lnTo>
                <a:lnTo>
                  <a:pt x="106" y="275"/>
                </a:lnTo>
                <a:lnTo>
                  <a:pt x="107" y="267"/>
                </a:lnTo>
                <a:lnTo>
                  <a:pt x="108" y="264"/>
                </a:lnTo>
                <a:lnTo>
                  <a:pt x="108" y="260"/>
                </a:lnTo>
                <a:lnTo>
                  <a:pt x="108" y="253"/>
                </a:lnTo>
                <a:lnTo>
                  <a:pt x="105" y="238"/>
                </a:lnTo>
                <a:lnTo>
                  <a:pt x="117" y="236"/>
                </a:lnTo>
                <a:lnTo>
                  <a:pt x="121" y="235"/>
                </a:lnTo>
                <a:lnTo>
                  <a:pt x="125" y="233"/>
                </a:lnTo>
                <a:lnTo>
                  <a:pt x="131" y="228"/>
                </a:lnTo>
                <a:lnTo>
                  <a:pt x="135" y="224"/>
                </a:lnTo>
                <a:lnTo>
                  <a:pt x="133" y="210"/>
                </a:lnTo>
                <a:lnTo>
                  <a:pt x="137" y="205"/>
                </a:lnTo>
                <a:lnTo>
                  <a:pt x="147" y="188"/>
                </a:lnTo>
                <a:lnTo>
                  <a:pt x="158" y="171"/>
                </a:lnTo>
                <a:lnTo>
                  <a:pt x="163" y="165"/>
                </a:lnTo>
                <a:lnTo>
                  <a:pt x="164" y="162"/>
                </a:lnTo>
                <a:lnTo>
                  <a:pt x="164" y="157"/>
                </a:lnTo>
                <a:lnTo>
                  <a:pt x="162" y="149"/>
                </a:lnTo>
                <a:lnTo>
                  <a:pt x="160" y="145"/>
                </a:lnTo>
                <a:lnTo>
                  <a:pt x="155" y="135"/>
                </a:lnTo>
                <a:lnTo>
                  <a:pt x="157" y="129"/>
                </a:lnTo>
                <a:lnTo>
                  <a:pt x="160" y="128"/>
                </a:lnTo>
                <a:lnTo>
                  <a:pt x="165" y="125"/>
                </a:lnTo>
                <a:lnTo>
                  <a:pt x="169" y="120"/>
                </a:lnTo>
                <a:lnTo>
                  <a:pt x="169" y="119"/>
                </a:lnTo>
                <a:lnTo>
                  <a:pt x="175" y="97"/>
                </a:lnTo>
                <a:lnTo>
                  <a:pt x="187" y="86"/>
                </a:lnTo>
                <a:lnTo>
                  <a:pt x="192" y="80"/>
                </a:lnTo>
                <a:lnTo>
                  <a:pt x="200" y="84"/>
                </a:lnTo>
                <a:lnTo>
                  <a:pt x="211" y="91"/>
                </a:lnTo>
                <a:lnTo>
                  <a:pt x="216" y="81"/>
                </a:lnTo>
                <a:lnTo>
                  <a:pt x="217" y="77"/>
                </a:lnTo>
                <a:lnTo>
                  <a:pt x="219" y="71"/>
                </a:lnTo>
                <a:lnTo>
                  <a:pt x="218" y="62"/>
                </a:lnTo>
                <a:lnTo>
                  <a:pt x="218" y="49"/>
                </a:lnTo>
                <a:lnTo>
                  <a:pt x="218" y="44"/>
                </a:lnTo>
                <a:lnTo>
                  <a:pt x="223" y="41"/>
                </a:lnTo>
                <a:lnTo>
                  <a:pt x="225" y="41"/>
                </a:lnTo>
                <a:lnTo>
                  <a:pt x="237" y="46"/>
                </a:lnTo>
                <a:lnTo>
                  <a:pt x="240" y="46"/>
                </a:lnTo>
                <a:lnTo>
                  <a:pt x="246" y="47"/>
                </a:lnTo>
                <a:lnTo>
                  <a:pt x="253" y="49"/>
                </a:lnTo>
                <a:lnTo>
                  <a:pt x="266" y="55"/>
                </a:lnTo>
                <a:lnTo>
                  <a:pt x="272" y="58"/>
                </a:lnTo>
                <a:lnTo>
                  <a:pt x="275" y="58"/>
                </a:lnTo>
                <a:lnTo>
                  <a:pt x="277" y="55"/>
                </a:lnTo>
                <a:lnTo>
                  <a:pt x="283" y="48"/>
                </a:lnTo>
                <a:lnTo>
                  <a:pt x="275" y="43"/>
                </a:lnTo>
                <a:lnTo>
                  <a:pt x="280" y="37"/>
                </a:lnTo>
                <a:lnTo>
                  <a:pt x="283" y="31"/>
                </a:lnTo>
                <a:lnTo>
                  <a:pt x="286" y="24"/>
                </a:lnTo>
                <a:lnTo>
                  <a:pt x="286" y="16"/>
                </a:lnTo>
                <a:lnTo>
                  <a:pt x="286" y="12"/>
                </a:lnTo>
                <a:lnTo>
                  <a:pt x="284" y="9"/>
                </a:lnTo>
                <a:lnTo>
                  <a:pt x="279" y="1"/>
                </a:lnTo>
                <a:lnTo>
                  <a:pt x="291" y="0"/>
                </a:lnTo>
                <a:lnTo>
                  <a:pt x="295" y="0"/>
                </a:lnTo>
                <a:lnTo>
                  <a:pt x="304" y="5"/>
                </a:lnTo>
                <a:lnTo>
                  <a:pt x="304" y="6"/>
                </a:lnTo>
                <a:lnTo>
                  <a:pt x="304" y="9"/>
                </a:lnTo>
                <a:lnTo>
                  <a:pt x="304" y="11"/>
                </a:lnTo>
                <a:lnTo>
                  <a:pt x="313" y="18"/>
                </a:lnTo>
                <a:lnTo>
                  <a:pt x="315" y="22"/>
                </a:lnTo>
                <a:lnTo>
                  <a:pt x="320" y="27"/>
                </a:lnTo>
                <a:lnTo>
                  <a:pt x="321" y="30"/>
                </a:lnTo>
                <a:lnTo>
                  <a:pt x="326" y="33"/>
                </a:lnTo>
                <a:lnTo>
                  <a:pt x="329" y="37"/>
                </a:lnTo>
                <a:lnTo>
                  <a:pt x="333" y="40"/>
                </a:lnTo>
                <a:lnTo>
                  <a:pt x="338" y="44"/>
                </a:lnTo>
                <a:lnTo>
                  <a:pt x="344" y="48"/>
                </a:lnTo>
                <a:lnTo>
                  <a:pt x="349" y="49"/>
                </a:lnTo>
                <a:lnTo>
                  <a:pt x="362" y="55"/>
                </a:lnTo>
                <a:lnTo>
                  <a:pt x="365" y="57"/>
                </a:lnTo>
                <a:lnTo>
                  <a:pt x="368" y="62"/>
                </a:lnTo>
                <a:lnTo>
                  <a:pt x="372" y="67"/>
                </a:lnTo>
                <a:lnTo>
                  <a:pt x="375" y="77"/>
                </a:lnTo>
                <a:lnTo>
                  <a:pt x="379" y="77"/>
                </a:lnTo>
                <a:lnTo>
                  <a:pt x="380" y="81"/>
                </a:lnTo>
                <a:lnTo>
                  <a:pt x="384" y="87"/>
                </a:lnTo>
                <a:lnTo>
                  <a:pt x="389" y="92"/>
                </a:lnTo>
                <a:lnTo>
                  <a:pt x="389" y="94"/>
                </a:lnTo>
                <a:lnTo>
                  <a:pt x="385" y="99"/>
                </a:lnTo>
                <a:lnTo>
                  <a:pt x="384" y="105"/>
                </a:lnTo>
                <a:lnTo>
                  <a:pt x="385" y="113"/>
                </a:lnTo>
                <a:lnTo>
                  <a:pt x="386" y="120"/>
                </a:lnTo>
                <a:lnTo>
                  <a:pt x="386" y="122"/>
                </a:lnTo>
                <a:lnTo>
                  <a:pt x="385" y="124"/>
                </a:lnTo>
                <a:lnTo>
                  <a:pt x="384" y="128"/>
                </a:lnTo>
                <a:lnTo>
                  <a:pt x="383" y="131"/>
                </a:lnTo>
                <a:lnTo>
                  <a:pt x="383" y="133"/>
                </a:lnTo>
                <a:lnTo>
                  <a:pt x="384" y="133"/>
                </a:lnTo>
                <a:lnTo>
                  <a:pt x="386" y="133"/>
                </a:lnTo>
                <a:lnTo>
                  <a:pt x="390" y="134"/>
                </a:lnTo>
                <a:lnTo>
                  <a:pt x="392" y="136"/>
                </a:lnTo>
                <a:lnTo>
                  <a:pt x="393" y="143"/>
                </a:lnTo>
                <a:lnTo>
                  <a:pt x="393" y="145"/>
                </a:lnTo>
                <a:lnTo>
                  <a:pt x="390" y="148"/>
                </a:lnTo>
                <a:lnTo>
                  <a:pt x="389" y="151"/>
                </a:lnTo>
                <a:lnTo>
                  <a:pt x="389" y="155"/>
                </a:lnTo>
                <a:lnTo>
                  <a:pt x="389" y="159"/>
                </a:lnTo>
                <a:lnTo>
                  <a:pt x="390" y="164"/>
                </a:lnTo>
                <a:lnTo>
                  <a:pt x="393" y="169"/>
                </a:lnTo>
                <a:lnTo>
                  <a:pt x="396" y="175"/>
                </a:lnTo>
                <a:lnTo>
                  <a:pt x="399" y="179"/>
                </a:lnTo>
                <a:lnTo>
                  <a:pt x="400" y="182"/>
                </a:lnTo>
                <a:lnTo>
                  <a:pt x="400" y="185"/>
                </a:lnTo>
                <a:lnTo>
                  <a:pt x="398" y="187"/>
                </a:lnTo>
                <a:lnTo>
                  <a:pt x="397" y="193"/>
                </a:lnTo>
                <a:lnTo>
                  <a:pt x="397" y="199"/>
                </a:lnTo>
                <a:lnTo>
                  <a:pt x="396" y="203"/>
                </a:lnTo>
                <a:lnTo>
                  <a:pt x="393" y="209"/>
                </a:lnTo>
                <a:lnTo>
                  <a:pt x="391" y="211"/>
                </a:lnTo>
                <a:lnTo>
                  <a:pt x="390" y="213"/>
                </a:lnTo>
                <a:lnTo>
                  <a:pt x="390" y="218"/>
                </a:lnTo>
                <a:lnTo>
                  <a:pt x="391" y="224"/>
                </a:lnTo>
                <a:lnTo>
                  <a:pt x="391" y="228"/>
                </a:lnTo>
                <a:lnTo>
                  <a:pt x="392" y="231"/>
                </a:lnTo>
                <a:lnTo>
                  <a:pt x="393" y="233"/>
                </a:lnTo>
                <a:lnTo>
                  <a:pt x="398" y="236"/>
                </a:lnTo>
                <a:lnTo>
                  <a:pt x="400" y="243"/>
                </a:lnTo>
                <a:lnTo>
                  <a:pt x="402" y="249"/>
                </a:lnTo>
                <a:lnTo>
                  <a:pt x="405" y="263"/>
                </a:lnTo>
                <a:close/>
                <a:moveTo>
                  <a:pt x="232" y="694"/>
                </a:moveTo>
                <a:lnTo>
                  <a:pt x="232" y="694"/>
                </a:lnTo>
                <a:lnTo>
                  <a:pt x="231" y="696"/>
                </a:lnTo>
                <a:lnTo>
                  <a:pt x="230" y="693"/>
                </a:lnTo>
                <a:lnTo>
                  <a:pt x="231" y="693"/>
                </a:lnTo>
                <a:lnTo>
                  <a:pt x="231" y="690"/>
                </a:lnTo>
                <a:lnTo>
                  <a:pt x="233" y="689"/>
                </a:lnTo>
                <a:lnTo>
                  <a:pt x="235" y="690"/>
                </a:lnTo>
                <a:lnTo>
                  <a:pt x="235" y="690"/>
                </a:lnTo>
                <a:lnTo>
                  <a:pt x="233" y="692"/>
                </a:lnTo>
                <a:lnTo>
                  <a:pt x="232" y="694"/>
                </a:lnTo>
                <a:close/>
                <a:moveTo>
                  <a:pt x="226" y="720"/>
                </a:moveTo>
                <a:lnTo>
                  <a:pt x="226" y="720"/>
                </a:lnTo>
                <a:lnTo>
                  <a:pt x="225" y="721"/>
                </a:lnTo>
                <a:lnTo>
                  <a:pt x="224" y="721"/>
                </a:lnTo>
                <a:lnTo>
                  <a:pt x="225" y="718"/>
                </a:lnTo>
                <a:lnTo>
                  <a:pt x="226" y="717"/>
                </a:lnTo>
                <a:lnTo>
                  <a:pt x="228" y="716"/>
                </a:lnTo>
                <a:lnTo>
                  <a:pt x="229" y="716"/>
                </a:lnTo>
                <a:lnTo>
                  <a:pt x="226" y="720"/>
                </a:lnTo>
                <a:close/>
                <a:moveTo>
                  <a:pt x="249" y="786"/>
                </a:moveTo>
                <a:lnTo>
                  <a:pt x="249" y="786"/>
                </a:lnTo>
                <a:lnTo>
                  <a:pt x="249" y="790"/>
                </a:lnTo>
                <a:lnTo>
                  <a:pt x="247" y="790"/>
                </a:lnTo>
                <a:lnTo>
                  <a:pt x="246" y="787"/>
                </a:lnTo>
                <a:lnTo>
                  <a:pt x="249" y="783"/>
                </a:lnTo>
                <a:lnTo>
                  <a:pt x="253" y="783"/>
                </a:lnTo>
                <a:lnTo>
                  <a:pt x="255" y="784"/>
                </a:lnTo>
                <a:lnTo>
                  <a:pt x="249" y="786"/>
                </a:lnTo>
                <a:close/>
                <a:moveTo>
                  <a:pt x="247" y="791"/>
                </a:moveTo>
                <a:lnTo>
                  <a:pt x="247" y="791"/>
                </a:lnTo>
                <a:lnTo>
                  <a:pt x="244" y="793"/>
                </a:lnTo>
                <a:lnTo>
                  <a:pt x="243" y="797"/>
                </a:lnTo>
                <a:lnTo>
                  <a:pt x="241" y="798"/>
                </a:lnTo>
                <a:lnTo>
                  <a:pt x="239" y="799"/>
                </a:lnTo>
                <a:lnTo>
                  <a:pt x="238" y="812"/>
                </a:lnTo>
                <a:lnTo>
                  <a:pt x="242" y="817"/>
                </a:lnTo>
                <a:lnTo>
                  <a:pt x="240" y="818"/>
                </a:lnTo>
                <a:lnTo>
                  <a:pt x="238" y="819"/>
                </a:lnTo>
                <a:lnTo>
                  <a:pt x="237" y="821"/>
                </a:lnTo>
                <a:lnTo>
                  <a:pt x="235" y="826"/>
                </a:lnTo>
                <a:lnTo>
                  <a:pt x="230" y="828"/>
                </a:lnTo>
                <a:lnTo>
                  <a:pt x="228" y="830"/>
                </a:lnTo>
                <a:lnTo>
                  <a:pt x="225" y="835"/>
                </a:lnTo>
                <a:lnTo>
                  <a:pt x="224" y="841"/>
                </a:lnTo>
                <a:lnTo>
                  <a:pt x="221" y="844"/>
                </a:lnTo>
                <a:lnTo>
                  <a:pt x="218" y="844"/>
                </a:lnTo>
                <a:lnTo>
                  <a:pt x="220" y="839"/>
                </a:lnTo>
                <a:lnTo>
                  <a:pt x="222" y="835"/>
                </a:lnTo>
                <a:lnTo>
                  <a:pt x="220" y="832"/>
                </a:lnTo>
                <a:lnTo>
                  <a:pt x="219" y="828"/>
                </a:lnTo>
                <a:lnTo>
                  <a:pt x="217" y="824"/>
                </a:lnTo>
                <a:lnTo>
                  <a:pt x="218" y="820"/>
                </a:lnTo>
                <a:lnTo>
                  <a:pt x="217" y="814"/>
                </a:lnTo>
                <a:lnTo>
                  <a:pt x="218" y="808"/>
                </a:lnTo>
                <a:lnTo>
                  <a:pt x="220" y="805"/>
                </a:lnTo>
                <a:lnTo>
                  <a:pt x="222" y="802"/>
                </a:lnTo>
                <a:lnTo>
                  <a:pt x="226" y="796"/>
                </a:lnTo>
                <a:lnTo>
                  <a:pt x="230" y="792"/>
                </a:lnTo>
                <a:lnTo>
                  <a:pt x="236" y="790"/>
                </a:lnTo>
                <a:lnTo>
                  <a:pt x="239" y="792"/>
                </a:lnTo>
                <a:lnTo>
                  <a:pt x="240" y="788"/>
                </a:lnTo>
                <a:lnTo>
                  <a:pt x="242" y="787"/>
                </a:lnTo>
                <a:lnTo>
                  <a:pt x="243" y="788"/>
                </a:lnTo>
                <a:lnTo>
                  <a:pt x="247" y="791"/>
                </a:lnTo>
                <a:close/>
                <a:moveTo>
                  <a:pt x="168" y="880"/>
                </a:moveTo>
                <a:lnTo>
                  <a:pt x="168" y="880"/>
                </a:lnTo>
                <a:lnTo>
                  <a:pt x="166" y="883"/>
                </a:lnTo>
                <a:lnTo>
                  <a:pt x="165" y="883"/>
                </a:lnTo>
                <a:lnTo>
                  <a:pt x="164" y="879"/>
                </a:lnTo>
                <a:lnTo>
                  <a:pt x="163" y="869"/>
                </a:lnTo>
                <a:lnTo>
                  <a:pt x="164" y="864"/>
                </a:lnTo>
                <a:lnTo>
                  <a:pt x="171" y="847"/>
                </a:lnTo>
                <a:lnTo>
                  <a:pt x="174" y="845"/>
                </a:lnTo>
                <a:lnTo>
                  <a:pt x="178" y="835"/>
                </a:lnTo>
                <a:lnTo>
                  <a:pt x="179" y="830"/>
                </a:lnTo>
                <a:lnTo>
                  <a:pt x="181" y="825"/>
                </a:lnTo>
                <a:lnTo>
                  <a:pt x="182" y="821"/>
                </a:lnTo>
                <a:lnTo>
                  <a:pt x="183" y="820"/>
                </a:lnTo>
                <a:lnTo>
                  <a:pt x="185" y="821"/>
                </a:lnTo>
                <a:lnTo>
                  <a:pt x="186" y="821"/>
                </a:lnTo>
                <a:lnTo>
                  <a:pt x="184" y="824"/>
                </a:lnTo>
                <a:lnTo>
                  <a:pt x="184" y="827"/>
                </a:lnTo>
                <a:lnTo>
                  <a:pt x="184" y="828"/>
                </a:lnTo>
                <a:lnTo>
                  <a:pt x="179" y="841"/>
                </a:lnTo>
                <a:lnTo>
                  <a:pt x="177" y="849"/>
                </a:lnTo>
                <a:lnTo>
                  <a:pt x="175" y="851"/>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1243" name="Slovenia">
            <a:extLst>
              <a:ext uri="{FF2B5EF4-FFF2-40B4-BE49-F238E27FC236}">
                <a16:creationId xmlns:a16="http://schemas.microsoft.com/office/drawing/2014/main" id="{84B341AA-3595-4E88-91EB-0A8E138A5ACB}"/>
              </a:ext>
            </a:extLst>
          </p:cNvPr>
          <p:cNvSpPr>
            <a:spLocks/>
          </p:cNvSpPr>
          <p:nvPr/>
        </p:nvSpPr>
        <p:spPr bwMode="auto">
          <a:xfrm>
            <a:off x="6218583" y="3243904"/>
            <a:ext cx="95976" cy="54925"/>
          </a:xfrm>
          <a:custGeom>
            <a:avLst/>
            <a:gdLst>
              <a:gd name="T0" fmla="*/ 95 w 98"/>
              <a:gd name="T1" fmla="*/ 15 h 64"/>
              <a:gd name="T2" fmla="*/ 90 w 98"/>
              <a:gd name="T3" fmla="*/ 16 h 64"/>
              <a:gd name="T4" fmla="*/ 89 w 98"/>
              <a:gd name="T5" fmla="*/ 22 h 64"/>
              <a:gd name="T6" fmla="*/ 82 w 98"/>
              <a:gd name="T7" fmla="*/ 25 h 64"/>
              <a:gd name="T8" fmla="*/ 75 w 98"/>
              <a:gd name="T9" fmla="*/ 28 h 64"/>
              <a:gd name="T10" fmla="*/ 70 w 98"/>
              <a:gd name="T11" fmla="*/ 31 h 64"/>
              <a:gd name="T12" fmla="*/ 72 w 98"/>
              <a:gd name="T13" fmla="*/ 37 h 64"/>
              <a:gd name="T14" fmla="*/ 71 w 98"/>
              <a:gd name="T15" fmla="*/ 45 h 64"/>
              <a:gd name="T16" fmla="*/ 59 w 98"/>
              <a:gd name="T17" fmla="*/ 51 h 64"/>
              <a:gd name="T18" fmla="*/ 62 w 98"/>
              <a:gd name="T19" fmla="*/ 55 h 64"/>
              <a:gd name="T20" fmla="*/ 60 w 98"/>
              <a:gd name="T21" fmla="*/ 59 h 64"/>
              <a:gd name="T22" fmla="*/ 58 w 98"/>
              <a:gd name="T23" fmla="*/ 64 h 64"/>
              <a:gd name="T24" fmla="*/ 48 w 98"/>
              <a:gd name="T25" fmla="*/ 61 h 64"/>
              <a:gd name="T26" fmla="*/ 43 w 98"/>
              <a:gd name="T27" fmla="*/ 61 h 64"/>
              <a:gd name="T28" fmla="*/ 38 w 98"/>
              <a:gd name="T29" fmla="*/ 54 h 64"/>
              <a:gd name="T30" fmla="*/ 35 w 98"/>
              <a:gd name="T31" fmla="*/ 57 h 64"/>
              <a:gd name="T32" fmla="*/ 29 w 98"/>
              <a:gd name="T33" fmla="*/ 62 h 64"/>
              <a:gd name="T34" fmla="*/ 19 w 98"/>
              <a:gd name="T35" fmla="*/ 61 h 64"/>
              <a:gd name="T36" fmla="*/ 18 w 98"/>
              <a:gd name="T37" fmla="*/ 63 h 64"/>
              <a:gd name="T38" fmla="*/ 7 w 98"/>
              <a:gd name="T39" fmla="*/ 60 h 64"/>
              <a:gd name="T40" fmla="*/ 13 w 98"/>
              <a:gd name="T41" fmla="*/ 58 h 64"/>
              <a:gd name="T42" fmla="*/ 14 w 98"/>
              <a:gd name="T43" fmla="*/ 53 h 64"/>
              <a:gd name="T44" fmla="*/ 7 w 98"/>
              <a:gd name="T45" fmla="*/ 47 h 64"/>
              <a:gd name="T46" fmla="*/ 7 w 98"/>
              <a:gd name="T47" fmla="*/ 40 h 64"/>
              <a:gd name="T48" fmla="*/ 4 w 98"/>
              <a:gd name="T49" fmla="*/ 38 h 64"/>
              <a:gd name="T50" fmla="*/ 8 w 98"/>
              <a:gd name="T51" fmla="*/ 33 h 64"/>
              <a:gd name="T52" fmla="*/ 6 w 98"/>
              <a:gd name="T53" fmla="*/ 30 h 64"/>
              <a:gd name="T54" fmla="*/ 2 w 98"/>
              <a:gd name="T55" fmla="*/ 29 h 64"/>
              <a:gd name="T56" fmla="*/ 1 w 98"/>
              <a:gd name="T57" fmla="*/ 25 h 64"/>
              <a:gd name="T58" fmla="*/ 8 w 98"/>
              <a:gd name="T59" fmla="*/ 19 h 64"/>
              <a:gd name="T60" fmla="*/ 12 w 98"/>
              <a:gd name="T61" fmla="*/ 16 h 64"/>
              <a:gd name="T62" fmla="*/ 20 w 98"/>
              <a:gd name="T63" fmla="*/ 17 h 64"/>
              <a:gd name="T64" fmla="*/ 33 w 98"/>
              <a:gd name="T65" fmla="*/ 20 h 64"/>
              <a:gd name="T66" fmla="*/ 37 w 98"/>
              <a:gd name="T67" fmla="*/ 21 h 64"/>
              <a:gd name="T68" fmla="*/ 41 w 98"/>
              <a:gd name="T69" fmla="*/ 18 h 64"/>
              <a:gd name="T70" fmla="*/ 46 w 98"/>
              <a:gd name="T71" fmla="*/ 13 h 64"/>
              <a:gd name="T72" fmla="*/ 51 w 98"/>
              <a:gd name="T73" fmla="*/ 11 h 64"/>
              <a:gd name="T74" fmla="*/ 68 w 98"/>
              <a:gd name="T75" fmla="*/ 9 h 64"/>
              <a:gd name="T76" fmla="*/ 75 w 98"/>
              <a:gd name="T77" fmla="*/ 7 h 64"/>
              <a:gd name="T78" fmla="*/ 81 w 98"/>
              <a:gd name="T79" fmla="*/ 7 h 64"/>
              <a:gd name="T80" fmla="*/ 85 w 98"/>
              <a:gd name="T81" fmla="*/ 0 h 64"/>
              <a:gd name="T82" fmla="*/ 92 w 98"/>
              <a:gd name="T83" fmla="*/ 4 h 64"/>
              <a:gd name="T84" fmla="*/ 94 w 98"/>
              <a:gd name="T85" fmla="*/ 8 h 64"/>
              <a:gd name="T86" fmla="*/ 98 w 98"/>
              <a:gd name="T87" fmla="*/ 15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8" h="64">
                <a:moveTo>
                  <a:pt x="98" y="16"/>
                </a:moveTo>
                <a:lnTo>
                  <a:pt x="98" y="16"/>
                </a:lnTo>
                <a:lnTo>
                  <a:pt x="95" y="15"/>
                </a:lnTo>
                <a:lnTo>
                  <a:pt x="92" y="15"/>
                </a:lnTo>
                <a:lnTo>
                  <a:pt x="91" y="15"/>
                </a:lnTo>
                <a:lnTo>
                  <a:pt x="90" y="16"/>
                </a:lnTo>
                <a:lnTo>
                  <a:pt x="89" y="17"/>
                </a:lnTo>
                <a:lnTo>
                  <a:pt x="90" y="21"/>
                </a:lnTo>
                <a:lnTo>
                  <a:pt x="89" y="22"/>
                </a:lnTo>
                <a:lnTo>
                  <a:pt x="85" y="22"/>
                </a:lnTo>
                <a:lnTo>
                  <a:pt x="84" y="22"/>
                </a:lnTo>
                <a:lnTo>
                  <a:pt x="82" y="25"/>
                </a:lnTo>
                <a:lnTo>
                  <a:pt x="80" y="26"/>
                </a:lnTo>
                <a:lnTo>
                  <a:pt x="77" y="27"/>
                </a:lnTo>
                <a:lnTo>
                  <a:pt x="75" y="28"/>
                </a:lnTo>
                <a:lnTo>
                  <a:pt x="73" y="29"/>
                </a:lnTo>
                <a:lnTo>
                  <a:pt x="71" y="30"/>
                </a:lnTo>
                <a:lnTo>
                  <a:pt x="70" y="31"/>
                </a:lnTo>
                <a:lnTo>
                  <a:pt x="69" y="33"/>
                </a:lnTo>
                <a:lnTo>
                  <a:pt x="69" y="34"/>
                </a:lnTo>
                <a:lnTo>
                  <a:pt x="72" y="37"/>
                </a:lnTo>
                <a:lnTo>
                  <a:pt x="72" y="40"/>
                </a:lnTo>
                <a:lnTo>
                  <a:pt x="72" y="43"/>
                </a:lnTo>
                <a:lnTo>
                  <a:pt x="71" y="45"/>
                </a:lnTo>
                <a:lnTo>
                  <a:pt x="70" y="46"/>
                </a:lnTo>
                <a:lnTo>
                  <a:pt x="65" y="48"/>
                </a:lnTo>
                <a:lnTo>
                  <a:pt x="59" y="51"/>
                </a:lnTo>
                <a:lnTo>
                  <a:pt x="59" y="51"/>
                </a:lnTo>
                <a:lnTo>
                  <a:pt x="62" y="54"/>
                </a:lnTo>
                <a:lnTo>
                  <a:pt x="62" y="55"/>
                </a:lnTo>
                <a:lnTo>
                  <a:pt x="60" y="56"/>
                </a:lnTo>
                <a:lnTo>
                  <a:pt x="60" y="58"/>
                </a:lnTo>
                <a:lnTo>
                  <a:pt x="60" y="59"/>
                </a:lnTo>
                <a:lnTo>
                  <a:pt x="61" y="61"/>
                </a:lnTo>
                <a:lnTo>
                  <a:pt x="61" y="63"/>
                </a:lnTo>
                <a:lnTo>
                  <a:pt x="58" y="64"/>
                </a:lnTo>
                <a:lnTo>
                  <a:pt x="54" y="63"/>
                </a:lnTo>
                <a:lnTo>
                  <a:pt x="49" y="61"/>
                </a:lnTo>
                <a:lnTo>
                  <a:pt x="48" y="61"/>
                </a:lnTo>
                <a:lnTo>
                  <a:pt x="46" y="63"/>
                </a:lnTo>
                <a:lnTo>
                  <a:pt x="44" y="62"/>
                </a:lnTo>
                <a:lnTo>
                  <a:pt x="43" y="61"/>
                </a:lnTo>
                <a:lnTo>
                  <a:pt x="40" y="58"/>
                </a:lnTo>
                <a:lnTo>
                  <a:pt x="39" y="56"/>
                </a:lnTo>
                <a:lnTo>
                  <a:pt x="38" y="54"/>
                </a:lnTo>
                <a:lnTo>
                  <a:pt x="37" y="54"/>
                </a:lnTo>
                <a:lnTo>
                  <a:pt x="36" y="55"/>
                </a:lnTo>
                <a:lnTo>
                  <a:pt x="35" y="57"/>
                </a:lnTo>
                <a:lnTo>
                  <a:pt x="33" y="61"/>
                </a:lnTo>
                <a:lnTo>
                  <a:pt x="31" y="62"/>
                </a:lnTo>
                <a:lnTo>
                  <a:pt x="29" y="62"/>
                </a:lnTo>
                <a:lnTo>
                  <a:pt x="25" y="62"/>
                </a:lnTo>
                <a:lnTo>
                  <a:pt x="22" y="62"/>
                </a:lnTo>
                <a:lnTo>
                  <a:pt x="19" y="61"/>
                </a:lnTo>
                <a:lnTo>
                  <a:pt x="19" y="61"/>
                </a:lnTo>
                <a:lnTo>
                  <a:pt x="19" y="62"/>
                </a:lnTo>
                <a:lnTo>
                  <a:pt x="18" y="63"/>
                </a:lnTo>
                <a:lnTo>
                  <a:pt x="16" y="64"/>
                </a:lnTo>
                <a:lnTo>
                  <a:pt x="8" y="62"/>
                </a:lnTo>
                <a:lnTo>
                  <a:pt x="7" y="60"/>
                </a:lnTo>
                <a:lnTo>
                  <a:pt x="8" y="60"/>
                </a:lnTo>
                <a:lnTo>
                  <a:pt x="11" y="57"/>
                </a:lnTo>
                <a:lnTo>
                  <a:pt x="13" y="58"/>
                </a:lnTo>
                <a:lnTo>
                  <a:pt x="15" y="57"/>
                </a:lnTo>
                <a:lnTo>
                  <a:pt x="16" y="56"/>
                </a:lnTo>
                <a:lnTo>
                  <a:pt x="14" y="53"/>
                </a:lnTo>
                <a:lnTo>
                  <a:pt x="11" y="50"/>
                </a:lnTo>
                <a:lnTo>
                  <a:pt x="9" y="48"/>
                </a:lnTo>
                <a:lnTo>
                  <a:pt x="7" y="47"/>
                </a:lnTo>
                <a:lnTo>
                  <a:pt x="6" y="46"/>
                </a:lnTo>
                <a:lnTo>
                  <a:pt x="8" y="41"/>
                </a:lnTo>
                <a:lnTo>
                  <a:pt x="7" y="40"/>
                </a:lnTo>
                <a:lnTo>
                  <a:pt x="4" y="40"/>
                </a:lnTo>
                <a:lnTo>
                  <a:pt x="4" y="39"/>
                </a:lnTo>
                <a:lnTo>
                  <a:pt x="4" y="38"/>
                </a:lnTo>
                <a:lnTo>
                  <a:pt x="4" y="37"/>
                </a:lnTo>
                <a:lnTo>
                  <a:pt x="6" y="35"/>
                </a:lnTo>
                <a:lnTo>
                  <a:pt x="8" y="33"/>
                </a:lnTo>
                <a:lnTo>
                  <a:pt x="8" y="32"/>
                </a:lnTo>
                <a:lnTo>
                  <a:pt x="8" y="31"/>
                </a:lnTo>
                <a:lnTo>
                  <a:pt x="6" y="30"/>
                </a:lnTo>
                <a:lnTo>
                  <a:pt x="4" y="29"/>
                </a:lnTo>
                <a:lnTo>
                  <a:pt x="3" y="29"/>
                </a:lnTo>
                <a:lnTo>
                  <a:pt x="2" y="29"/>
                </a:lnTo>
                <a:lnTo>
                  <a:pt x="1" y="29"/>
                </a:lnTo>
                <a:lnTo>
                  <a:pt x="0" y="27"/>
                </a:lnTo>
                <a:lnTo>
                  <a:pt x="1" y="25"/>
                </a:lnTo>
                <a:lnTo>
                  <a:pt x="3" y="22"/>
                </a:lnTo>
                <a:lnTo>
                  <a:pt x="6" y="20"/>
                </a:lnTo>
                <a:lnTo>
                  <a:pt x="8" y="19"/>
                </a:lnTo>
                <a:lnTo>
                  <a:pt x="10" y="18"/>
                </a:lnTo>
                <a:lnTo>
                  <a:pt x="10" y="16"/>
                </a:lnTo>
                <a:lnTo>
                  <a:pt x="12" y="16"/>
                </a:lnTo>
                <a:lnTo>
                  <a:pt x="14" y="16"/>
                </a:lnTo>
                <a:lnTo>
                  <a:pt x="17" y="16"/>
                </a:lnTo>
                <a:lnTo>
                  <a:pt x="20" y="17"/>
                </a:lnTo>
                <a:lnTo>
                  <a:pt x="23" y="18"/>
                </a:lnTo>
                <a:lnTo>
                  <a:pt x="28" y="19"/>
                </a:lnTo>
                <a:lnTo>
                  <a:pt x="33" y="20"/>
                </a:lnTo>
                <a:lnTo>
                  <a:pt x="34" y="20"/>
                </a:lnTo>
                <a:lnTo>
                  <a:pt x="35" y="20"/>
                </a:lnTo>
                <a:lnTo>
                  <a:pt x="37" y="21"/>
                </a:lnTo>
                <a:lnTo>
                  <a:pt x="38" y="20"/>
                </a:lnTo>
                <a:lnTo>
                  <a:pt x="38" y="19"/>
                </a:lnTo>
                <a:lnTo>
                  <a:pt x="41" y="18"/>
                </a:lnTo>
                <a:lnTo>
                  <a:pt x="43" y="16"/>
                </a:lnTo>
                <a:lnTo>
                  <a:pt x="45" y="14"/>
                </a:lnTo>
                <a:lnTo>
                  <a:pt x="46" y="13"/>
                </a:lnTo>
                <a:lnTo>
                  <a:pt x="48" y="12"/>
                </a:lnTo>
                <a:lnTo>
                  <a:pt x="49" y="11"/>
                </a:lnTo>
                <a:lnTo>
                  <a:pt x="51" y="11"/>
                </a:lnTo>
                <a:lnTo>
                  <a:pt x="58" y="10"/>
                </a:lnTo>
                <a:lnTo>
                  <a:pt x="65" y="11"/>
                </a:lnTo>
                <a:lnTo>
                  <a:pt x="68" y="9"/>
                </a:lnTo>
                <a:lnTo>
                  <a:pt x="71" y="7"/>
                </a:lnTo>
                <a:lnTo>
                  <a:pt x="75" y="7"/>
                </a:lnTo>
                <a:lnTo>
                  <a:pt x="75" y="7"/>
                </a:lnTo>
                <a:lnTo>
                  <a:pt x="81" y="8"/>
                </a:lnTo>
                <a:lnTo>
                  <a:pt x="81" y="7"/>
                </a:lnTo>
                <a:lnTo>
                  <a:pt x="81" y="7"/>
                </a:lnTo>
                <a:lnTo>
                  <a:pt x="81" y="3"/>
                </a:lnTo>
                <a:lnTo>
                  <a:pt x="83" y="1"/>
                </a:lnTo>
                <a:lnTo>
                  <a:pt x="85" y="0"/>
                </a:lnTo>
                <a:lnTo>
                  <a:pt x="91" y="0"/>
                </a:lnTo>
                <a:lnTo>
                  <a:pt x="92" y="2"/>
                </a:lnTo>
                <a:lnTo>
                  <a:pt x="92" y="4"/>
                </a:lnTo>
                <a:lnTo>
                  <a:pt x="93" y="6"/>
                </a:lnTo>
                <a:lnTo>
                  <a:pt x="94" y="7"/>
                </a:lnTo>
                <a:lnTo>
                  <a:pt x="94" y="8"/>
                </a:lnTo>
                <a:lnTo>
                  <a:pt x="94" y="10"/>
                </a:lnTo>
                <a:lnTo>
                  <a:pt x="95" y="12"/>
                </a:lnTo>
                <a:lnTo>
                  <a:pt x="98" y="15"/>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1244" name="Slovakia">
            <a:extLst>
              <a:ext uri="{FF2B5EF4-FFF2-40B4-BE49-F238E27FC236}">
                <a16:creationId xmlns:a16="http://schemas.microsoft.com/office/drawing/2014/main" id="{935594D5-6830-4D4B-AEE1-5EB139A1722B}"/>
              </a:ext>
            </a:extLst>
          </p:cNvPr>
          <p:cNvSpPr>
            <a:spLocks/>
          </p:cNvSpPr>
          <p:nvPr/>
        </p:nvSpPr>
        <p:spPr bwMode="auto">
          <a:xfrm>
            <a:off x="6325719" y="3136016"/>
            <a:ext cx="169632" cy="74542"/>
          </a:xfrm>
          <a:custGeom>
            <a:avLst/>
            <a:gdLst>
              <a:gd name="T0" fmla="*/ 177 w 177"/>
              <a:gd name="T1" fmla="*/ 27 h 87"/>
              <a:gd name="T2" fmla="*/ 172 w 177"/>
              <a:gd name="T3" fmla="*/ 35 h 87"/>
              <a:gd name="T4" fmla="*/ 165 w 177"/>
              <a:gd name="T5" fmla="*/ 49 h 87"/>
              <a:gd name="T6" fmla="*/ 153 w 177"/>
              <a:gd name="T7" fmla="*/ 60 h 87"/>
              <a:gd name="T8" fmla="*/ 149 w 177"/>
              <a:gd name="T9" fmla="*/ 57 h 87"/>
              <a:gd name="T10" fmla="*/ 147 w 177"/>
              <a:gd name="T11" fmla="*/ 53 h 87"/>
              <a:gd name="T12" fmla="*/ 141 w 177"/>
              <a:gd name="T13" fmla="*/ 50 h 87"/>
              <a:gd name="T14" fmla="*/ 128 w 177"/>
              <a:gd name="T15" fmla="*/ 51 h 87"/>
              <a:gd name="T16" fmla="*/ 113 w 177"/>
              <a:gd name="T17" fmla="*/ 51 h 87"/>
              <a:gd name="T18" fmla="*/ 102 w 177"/>
              <a:gd name="T19" fmla="*/ 65 h 87"/>
              <a:gd name="T20" fmla="*/ 92 w 177"/>
              <a:gd name="T21" fmla="*/ 68 h 87"/>
              <a:gd name="T22" fmla="*/ 84 w 177"/>
              <a:gd name="T23" fmla="*/ 66 h 87"/>
              <a:gd name="T24" fmla="*/ 75 w 177"/>
              <a:gd name="T25" fmla="*/ 72 h 87"/>
              <a:gd name="T26" fmla="*/ 59 w 177"/>
              <a:gd name="T27" fmla="*/ 79 h 87"/>
              <a:gd name="T28" fmla="*/ 59 w 177"/>
              <a:gd name="T29" fmla="*/ 85 h 87"/>
              <a:gd name="T30" fmla="*/ 40 w 177"/>
              <a:gd name="T31" fmla="*/ 87 h 87"/>
              <a:gd name="T32" fmla="*/ 24 w 177"/>
              <a:gd name="T33" fmla="*/ 85 h 87"/>
              <a:gd name="T34" fmla="*/ 14 w 177"/>
              <a:gd name="T35" fmla="*/ 76 h 87"/>
              <a:gd name="T36" fmla="*/ 9 w 177"/>
              <a:gd name="T37" fmla="*/ 75 h 87"/>
              <a:gd name="T38" fmla="*/ 3 w 177"/>
              <a:gd name="T39" fmla="*/ 66 h 87"/>
              <a:gd name="T40" fmla="*/ 1 w 177"/>
              <a:gd name="T41" fmla="*/ 52 h 87"/>
              <a:gd name="T42" fmla="*/ 3 w 177"/>
              <a:gd name="T43" fmla="*/ 48 h 87"/>
              <a:gd name="T44" fmla="*/ 8 w 177"/>
              <a:gd name="T45" fmla="*/ 36 h 87"/>
              <a:gd name="T46" fmla="*/ 19 w 177"/>
              <a:gd name="T47" fmla="*/ 37 h 87"/>
              <a:gd name="T48" fmla="*/ 30 w 177"/>
              <a:gd name="T49" fmla="*/ 32 h 87"/>
              <a:gd name="T50" fmla="*/ 34 w 177"/>
              <a:gd name="T51" fmla="*/ 28 h 87"/>
              <a:gd name="T52" fmla="*/ 39 w 177"/>
              <a:gd name="T53" fmla="*/ 23 h 87"/>
              <a:gd name="T54" fmla="*/ 40 w 177"/>
              <a:gd name="T55" fmla="*/ 17 h 87"/>
              <a:gd name="T56" fmla="*/ 48 w 177"/>
              <a:gd name="T57" fmla="*/ 10 h 87"/>
              <a:gd name="T58" fmla="*/ 54 w 177"/>
              <a:gd name="T59" fmla="*/ 5 h 87"/>
              <a:gd name="T60" fmla="*/ 61 w 177"/>
              <a:gd name="T61" fmla="*/ 5 h 87"/>
              <a:gd name="T62" fmla="*/ 65 w 177"/>
              <a:gd name="T63" fmla="*/ 7 h 87"/>
              <a:gd name="T64" fmla="*/ 74 w 177"/>
              <a:gd name="T65" fmla="*/ 4 h 87"/>
              <a:gd name="T66" fmla="*/ 80 w 177"/>
              <a:gd name="T67" fmla="*/ 0 h 87"/>
              <a:gd name="T68" fmla="*/ 85 w 177"/>
              <a:gd name="T69" fmla="*/ 7 h 87"/>
              <a:gd name="T70" fmla="*/ 87 w 177"/>
              <a:gd name="T71" fmla="*/ 10 h 87"/>
              <a:gd name="T72" fmla="*/ 91 w 177"/>
              <a:gd name="T73" fmla="*/ 14 h 87"/>
              <a:gd name="T74" fmla="*/ 90 w 177"/>
              <a:gd name="T75" fmla="*/ 19 h 87"/>
              <a:gd name="T76" fmla="*/ 95 w 177"/>
              <a:gd name="T77" fmla="*/ 18 h 87"/>
              <a:gd name="T78" fmla="*/ 103 w 177"/>
              <a:gd name="T79" fmla="*/ 14 h 87"/>
              <a:gd name="T80" fmla="*/ 109 w 177"/>
              <a:gd name="T81" fmla="*/ 10 h 87"/>
              <a:gd name="T82" fmla="*/ 113 w 177"/>
              <a:gd name="T83" fmla="*/ 10 h 87"/>
              <a:gd name="T84" fmla="*/ 121 w 177"/>
              <a:gd name="T85" fmla="*/ 11 h 87"/>
              <a:gd name="T86" fmla="*/ 127 w 177"/>
              <a:gd name="T87" fmla="*/ 14 h 87"/>
              <a:gd name="T88" fmla="*/ 133 w 177"/>
              <a:gd name="T89" fmla="*/ 9 h 87"/>
              <a:gd name="T90" fmla="*/ 149 w 177"/>
              <a:gd name="T91" fmla="*/ 9 h 87"/>
              <a:gd name="T92" fmla="*/ 159 w 177"/>
              <a:gd name="T93" fmla="*/ 15 h 87"/>
              <a:gd name="T94" fmla="*/ 166 w 177"/>
              <a:gd name="T95" fmla="*/ 2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7" h="87">
                <a:moveTo>
                  <a:pt x="177" y="25"/>
                </a:moveTo>
                <a:lnTo>
                  <a:pt x="177" y="25"/>
                </a:lnTo>
                <a:lnTo>
                  <a:pt x="177" y="27"/>
                </a:lnTo>
                <a:lnTo>
                  <a:pt x="175" y="30"/>
                </a:lnTo>
                <a:lnTo>
                  <a:pt x="174" y="32"/>
                </a:lnTo>
                <a:lnTo>
                  <a:pt x="172" y="35"/>
                </a:lnTo>
                <a:lnTo>
                  <a:pt x="170" y="41"/>
                </a:lnTo>
                <a:lnTo>
                  <a:pt x="169" y="44"/>
                </a:lnTo>
                <a:lnTo>
                  <a:pt x="165" y="49"/>
                </a:lnTo>
                <a:lnTo>
                  <a:pt x="164" y="57"/>
                </a:lnTo>
                <a:lnTo>
                  <a:pt x="164" y="57"/>
                </a:lnTo>
                <a:lnTo>
                  <a:pt x="153" y="60"/>
                </a:lnTo>
                <a:lnTo>
                  <a:pt x="151" y="60"/>
                </a:lnTo>
                <a:lnTo>
                  <a:pt x="150" y="58"/>
                </a:lnTo>
                <a:lnTo>
                  <a:pt x="149" y="57"/>
                </a:lnTo>
                <a:lnTo>
                  <a:pt x="149" y="56"/>
                </a:lnTo>
                <a:lnTo>
                  <a:pt x="148" y="54"/>
                </a:lnTo>
                <a:lnTo>
                  <a:pt x="147" y="53"/>
                </a:lnTo>
                <a:lnTo>
                  <a:pt x="145" y="51"/>
                </a:lnTo>
                <a:lnTo>
                  <a:pt x="143" y="50"/>
                </a:lnTo>
                <a:lnTo>
                  <a:pt x="141" y="50"/>
                </a:lnTo>
                <a:lnTo>
                  <a:pt x="135" y="52"/>
                </a:lnTo>
                <a:lnTo>
                  <a:pt x="131" y="52"/>
                </a:lnTo>
                <a:lnTo>
                  <a:pt x="128" y="51"/>
                </a:lnTo>
                <a:lnTo>
                  <a:pt x="125" y="50"/>
                </a:lnTo>
                <a:lnTo>
                  <a:pt x="118" y="50"/>
                </a:lnTo>
                <a:lnTo>
                  <a:pt x="113" y="51"/>
                </a:lnTo>
                <a:lnTo>
                  <a:pt x="113" y="53"/>
                </a:lnTo>
                <a:lnTo>
                  <a:pt x="108" y="62"/>
                </a:lnTo>
                <a:lnTo>
                  <a:pt x="102" y="65"/>
                </a:lnTo>
                <a:lnTo>
                  <a:pt x="96" y="69"/>
                </a:lnTo>
                <a:lnTo>
                  <a:pt x="95" y="70"/>
                </a:lnTo>
                <a:lnTo>
                  <a:pt x="92" y="68"/>
                </a:lnTo>
                <a:lnTo>
                  <a:pt x="89" y="66"/>
                </a:lnTo>
                <a:lnTo>
                  <a:pt x="86" y="65"/>
                </a:lnTo>
                <a:lnTo>
                  <a:pt x="84" y="66"/>
                </a:lnTo>
                <a:lnTo>
                  <a:pt x="82" y="68"/>
                </a:lnTo>
                <a:lnTo>
                  <a:pt x="81" y="71"/>
                </a:lnTo>
                <a:lnTo>
                  <a:pt x="75" y="72"/>
                </a:lnTo>
                <a:lnTo>
                  <a:pt x="64" y="73"/>
                </a:lnTo>
                <a:lnTo>
                  <a:pt x="60" y="76"/>
                </a:lnTo>
                <a:lnTo>
                  <a:pt x="59" y="79"/>
                </a:lnTo>
                <a:lnTo>
                  <a:pt x="59" y="81"/>
                </a:lnTo>
                <a:lnTo>
                  <a:pt x="60" y="83"/>
                </a:lnTo>
                <a:lnTo>
                  <a:pt x="59" y="85"/>
                </a:lnTo>
                <a:lnTo>
                  <a:pt x="58" y="86"/>
                </a:lnTo>
                <a:lnTo>
                  <a:pt x="50" y="86"/>
                </a:lnTo>
                <a:lnTo>
                  <a:pt x="40" y="87"/>
                </a:lnTo>
                <a:lnTo>
                  <a:pt x="34" y="86"/>
                </a:lnTo>
                <a:lnTo>
                  <a:pt x="28" y="86"/>
                </a:lnTo>
                <a:lnTo>
                  <a:pt x="24" y="85"/>
                </a:lnTo>
                <a:lnTo>
                  <a:pt x="19" y="81"/>
                </a:lnTo>
                <a:lnTo>
                  <a:pt x="14" y="76"/>
                </a:lnTo>
                <a:lnTo>
                  <a:pt x="14" y="76"/>
                </a:lnTo>
                <a:lnTo>
                  <a:pt x="13" y="76"/>
                </a:lnTo>
                <a:lnTo>
                  <a:pt x="10" y="75"/>
                </a:lnTo>
                <a:lnTo>
                  <a:pt x="9" y="75"/>
                </a:lnTo>
                <a:lnTo>
                  <a:pt x="7" y="74"/>
                </a:lnTo>
                <a:lnTo>
                  <a:pt x="6" y="72"/>
                </a:lnTo>
                <a:lnTo>
                  <a:pt x="3" y="66"/>
                </a:lnTo>
                <a:lnTo>
                  <a:pt x="0" y="58"/>
                </a:lnTo>
                <a:lnTo>
                  <a:pt x="0" y="55"/>
                </a:lnTo>
                <a:lnTo>
                  <a:pt x="1" y="52"/>
                </a:lnTo>
                <a:lnTo>
                  <a:pt x="2" y="50"/>
                </a:lnTo>
                <a:lnTo>
                  <a:pt x="3" y="48"/>
                </a:lnTo>
                <a:lnTo>
                  <a:pt x="3" y="48"/>
                </a:lnTo>
                <a:lnTo>
                  <a:pt x="4" y="44"/>
                </a:lnTo>
                <a:lnTo>
                  <a:pt x="6" y="39"/>
                </a:lnTo>
                <a:lnTo>
                  <a:pt x="8" y="36"/>
                </a:lnTo>
                <a:lnTo>
                  <a:pt x="10" y="35"/>
                </a:lnTo>
                <a:lnTo>
                  <a:pt x="13" y="36"/>
                </a:lnTo>
                <a:lnTo>
                  <a:pt x="19" y="37"/>
                </a:lnTo>
                <a:lnTo>
                  <a:pt x="24" y="36"/>
                </a:lnTo>
                <a:lnTo>
                  <a:pt x="28" y="34"/>
                </a:lnTo>
                <a:lnTo>
                  <a:pt x="30" y="32"/>
                </a:lnTo>
                <a:lnTo>
                  <a:pt x="32" y="30"/>
                </a:lnTo>
                <a:lnTo>
                  <a:pt x="33" y="29"/>
                </a:lnTo>
                <a:lnTo>
                  <a:pt x="34" y="28"/>
                </a:lnTo>
                <a:lnTo>
                  <a:pt x="37" y="27"/>
                </a:lnTo>
                <a:lnTo>
                  <a:pt x="38" y="26"/>
                </a:lnTo>
                <a:lnTo>
                  <a:pt x="39" y="23"/>
                </a:lnTo>
                <a:lnTo>
                  <a:pt x="39" y="20"/>
                </a:lnTo>
                <a:lnTo>
                  <a:pt x="40" y="18"/>
                </a:lnTo>
                <a:lnTo>
                  <a:pt x="40" y="17"/>
                </a:lnTo>
                <a:lnTo>
                  <a:pt x="47" y="13"/>
                </a:lnTo>
                <a:lnTo>
                  <a:pt x="47" y="11"/>
                </a:lnTo>
                <a:lnTo>
                  <a:pt x="48" y="10"/>
                </a:lnTo>
                <a:lnTo>
                  <a:pt x="50" y="9"/>
                </a:lnTo>
                <a:lnTo>
                  <a:pt x="52" y="7"/>
                </a:lnTo>
                <a:lnTo>
                  <a:pt x="54" y="5"/>
                </a:lnTo>
                <a:lnTo>
                  <a:pt x="57" y="6"/>
                </a:lnTo>
                <a:lnTo>
                  <a:pt x="59" y="5"/>
                </a:lnTo>
                <a:lnTo>
                  <a:pt x="61" y="5"/>
                </a:lnTo>
                <a:lnTo>
                  <a:pt x="61" y="4"/>
                </a:lnTo>
                <a:lnTo>
                  <a:pt x="65" y="5"/>
                </a:lnTo>
                <a:lnTo>
                  <a:pt x="65" y="7"/>
                </a:lnTo>
                <a:lnTo>
                  <a:pt x="66" y="10"/>
                </a:lnTo>
                <a:lnTo>
                  <a:pt x="71" y="10"/>
                </a:lnTo>
                <a:lnTo>
                  <a:pt x="74" y="4"/>
                </a:lnTo>
                <a:lnTo>
                  <a:pt x="76" y="4"/>
                </a:lnTo>
                <a:lnTo>
                  <a:pt x="79" y="2"/>
                </a:lnTo>
                <a:lnTo>
                  <a:pt x="80" y="0"/>
                </a:lnTo>
                <a:lnTo>
                  <a:pt x="82" y="1"/>
                </a:lnTo>
                <a:lnTo>
                  <a:pt x="83" y="5"/>
                </a:lnTo>
                <a:lnTo>
                  <a:pt x="85" y="7"/>
                </a:lnTo>
                <a:lnTo>
                  <a:pt x="86" y="9"/>
                </a:lnTo>
                <a:lnTo>
                  <a:pt x="86" y="9"/>
                </a:lnTo>
                <a:lnTo>
                  <a:pt x="87" y="10"/>
                </a:lnTo>
                <a:lnTo>
                  <a:pt x="89" y="10"/>
                </a:lnTo>
                <a:lnTo>
                  <a:pt x="91" y="11"/>
                </a:lnTo>
                <a:lnTo>
                  <a:pt x="91" y="14"/>
                </a:lnTo>
                <a:lnTo>
                  <a:pt x="91" y="16"/>
                </a:lnTo>
                <a:lnTo>
                  <a:pt x="91" y="18"/>
                </a:lnTo>
                <a:lnTo>
                  <a:pt x="90" y="19"/>
                </a:lnTo>
                <a:lnTo>
                  <a:pt x="92" y="20"/>
                </a:lnTo>
                <a:lnTo>
                  <a:pt x="94" y="19"/>
                </a:lnTo>
                <a:lnTo>
                  <a:pt x="95" y="18"/>
                </a:lnTo>
                <a:lnTo>
                  <a:pt x="100" y="20"/>
                </a:lnTo>
                <a:lnTo>
                  <a:pt x="101" y="16"/>
                </a:lnTo>
                <a:lnTo>
                  <a:pt x="103" y="14"/>
                </a:lnTo>
                <a:lnTo>
                  <a:pt x="105" y="13"/>
                </a:lnTo>
                <a:lnTo>
                  <a:pt x="107" y="11"/>
                </a:lnTo>
                <a:lnTo>
                  <a:pt x="109" y="10"/>
                </a:lnTo>
                <a:lnTo>
                  <a:pt x="110" y="11"/>
                </a:lnTo>
                <a:lnTo>
                  <a:pt x="111" y="10"/>
                </a:lnTo>
                <a:lnTo>
                  <a:pt x="113" y="10"/>
                </a:lnTo>
                <a:lnTo>
                  <a:pt x="114" y="11"/>
                </a:lnTo>
                <a:lnTo>
                  <a:pt x="117" y="10"/>
                </a:lnTo>
                <a:lnTo>
                  <a:pt x="121" y="11"/>
                </a:lnTo>
                <a:lnTo>
                  <a:pt x="123" y="13"/>
                </a:lnTo>
                <a:lnTo>
                  <a:pt x="125" y="14"/>
                </a:lnTo>
                <a:lnTo>
                  <a:pt x="127" y="14"/>
                </a:lnTo>
                <a:lnTo>
                  <a:pt x="129" y="13"/>
                </a:lnTo>
                <a:lnTo>
                  <a:pt x="131" y="9"/>
                </a:lnTo>
                <a:lnTo>
                  <a:pt x="133" y="9"/>
                </a:lnTo>
                <a:lnTo>
                  <a:pt x="136" y="8"/>
                </a:lnTo>
                <a:lnTo>
                  <a:pt x="140" y="8"/>
                </a:lnTo>
                <a:lnTo>
                  <a:pt x="149" y="9"/>
                </a:lnTo>
                <a:lnTo>
                  <a:pt x="151" y="11"/>
                </a:lnTo>
                <a:lnTo>
                  <a:pt x="157" y="12"/>
                </a:lnTo>
                <a:lnTo>
                  <a:pt x="159" y="15"/>
                </a:lnTo>
                <a:lnTo>
                  <a:pt x="160" y="17"/>
                </a:lnTo>
                <a:lnTo>
                  <a:pt x="161" y="19"/>
                </a:lnTo>
                <a:lnTo>
                  <a:pt x="166" y="21"/>
                </a:lnTo>
                <a:lnTo>
                  <a:pt x="175" y="25"/>
                </a:lnTo>
                <a:lnTo>
                  <a:pt x="177" y="25"/>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1245" name="Ukraine">
            <a:extLst>
              <a:ext uri="{FF2B5EF4-FFF2-40B4-BE49-F238E27FC236}">
                <a16:creationId xmlns:a16="http://schemas.microsoft.com/office/drawing/2014/main" id="{DF9A0710-1B23-4343-A1C0-3BDD5FA0CEB7}"/>
              </a:ext>
            </a:extLst>
          </p:cNvPr>
          <p:cNvSpPr>
            <a:spLocks noEditPoints="1"/>
          </p:cNvSpPr>
          <p:nvPr/>
        </p:nvSpPr>
        <p:spPr bwMode="auto">
          <a:xfrm>
            <a:off x="6481959" y="3020282"/>
            <a:ext cx="542375" cy="317780"/>
          </a:xfrm>
          <a:custGeom>
            <a:avLst/>
            <a:gdLst>
              <a:gd name="T0" fmla="*/ 454 w 561"/>
              <a:gd name="T1" fmla="*/ 268 h 374"/>
              <a:gd name="T2" fmla="*/ 403 w 561"/>
              <a:gd name="T3" fmla="*/ 298 h 374"/>
              <a:gd name="T4" fmla="*/ 397 w 561"/>
              <a:gd name="T5" fmla="*/ 303 h 374"/>
              <a:gd name="T6" fmla="*/ 438 w 561"/>
              <a:gd name="T7" fmla="*/ 327 h 374"/>
              <a:gd name="T8" fmla="*/ 427 w 561"/>
              <a:gd name="T9" fmla="*/ 345 h 374"/>
              <a:gd name="T10" fmla="*/ 379 w 561"/>
              <a:gd name="T11" fmla="*/ 367 h 374"/>
              <a:gd name="T12" fmla="*/ 356 w 561"/>
              <a:gd name="T13" fmla="*/ 343 h 374"/>
              <a:gd name="T14" fmla="*/ 348 w 561"/>
              <a:gd name="T15" fmla="*/ 313 h 374"/>
              <a:gd name="T16" fmla="*/ 323 w 561"/>
              <a:gd name="T17" fmla="*/ 299 h 374"/>
              <a:gd name="T18" fmla="*/ 303 w 561"/>
              <a:gd name="T19" fmla="*/ 282 h 374"/>
              <a:gd name="T20" fmla="*/ 319 w 561"/>
              <a:gd name="T21" fmla="*/ 278 h 374"/>
              <a:gd name="T22" fmla="*/ 304 w 561"/>
              <a:gd name="T23" fmla="*/ 258 h 374"/>
              <a:gd name="T24" fmla="*/ 281 w 561"/>
              <a:gd name="T25" fmla="*/ 275 h 374"/>
              <a:gd name="T26" fmla="*/ 242 w 561"/>
              <a:gd name="T27" fmla="*/ 314 h 374"/>
              <a:gd name="T28" fmla="*/ 227 w 561"/>
              <a:gd name="T29" fmla="*/ 329 h 374"/>
              <a:gd name="T30" fmla="*/ 197 w 561"/>
              <a:gd name="T31" fmla="*/ 334 h 374"/>
              <a:gd name="T32" fmla="*/ 201 w 561"/>
              <a:gd name="T33" fmla="*/ 315 h 374"/>
              <a:gd name="T34" fmla="*/ 213 w 561"/>
              <a:gd name="T35" fmla="*/ 282 h 374"/>
              <a:gd name="T36" fmla="*/ 228 w 561"/>
              <a:gd name="T37" fmla="*/ 282 h 374"/>
              <a:gd name="T38" fmla="*/ 249 w 561"/>
              <a:gd name="T39" fmla="*/ 285 h 374"/>
              <a:gd name="T40" fmla="*/ 232 w 561"/>
              <a:gd name="T41" fmla="*/ 256 h 374"/>
              <a:gd name="T42" fmla="*/ 219 w 561"/>
              <a:gd name="T43" fmla="*/ 237 h 374"/>
              <a:gd name="T44" fmla="*/ 214 w 561"/>
              <a:gd name="T45" fmla="*/ 215 h 374"/>
              <a:gd name="T46" fmla="*/ 193 w 561"/>
              <a:gd name="T47" fmla="*/ 204 h 374"/>
              <a:gd name="T48" fmla="*/ 170 w 561"/>
              <a:gd name="T49" fmla="*/ 190 h 374"/>
              <a:gd name="T50" fmla="*/ 140 w 561"/>
              <a:gd name="T51" fmla="*/ 200 h 374"/>
              <a:gd name="T52" fmla="*/ 92 w 561"/>
              <a:gd name="T53" fmla="*/ 224 h 374"/>
              <a:gd name="T54" fmla="*/ 60 w 561"/>
              <a:gd name="T55" fmla="*/ 214 h 374"/>
              <a:gd name="T56" fmla="*/ 25 w 561"/>
              <a:gd name="T57" fmla="*/ 213 h 374"/>
              <a:gd name="T58" fmla="*/ 14 w 561"/>
              <a:gd name="T59" fmla="*/ 205 h 374"/>
              <a:gd name="T60" fmla="*/ 0 w 561"/>
              <a:gd name="T61" fmla="*/ 193 h 374"/>
              <a:gd name="T62" fmla="*/ 21 w 561"/>
              <a:gd name="T63" fmla="*/ 164 h 374"/>
              <a:gd name="T64" fmla="*/ 16 w 561"/>
              <a:gd name="T65" fmla="*/ 139 h 374"/>
              <a:gd name="T66" fmla="*/ 59 w 561"/>
              <a:gd name="T67" fmla="*/ 95 h 374"/>
              <a:gd name="T68" fmla="*/ 61 w 561"/>
              <a:gd name="T69" fmla="*/ 74 h 374"/>
              <a:gd name="T70" fmla="*/ 46 w 561"/>
              <a:gd name="T71" fmla="*/ 38 h 374"/>
              <a:gd name="T72" fmla="*/ 74 w 561"/>
              <a:gd name="T73" fmla="*/ 24 h 374"/>
              <a:gd name="T74" fmla="*/ 133 w 561"/>
              <a:gd name="T75" fmla="*/ 26 h 374"/>
              <a:gd name="T76" fmla="*/ 171 w 561"/>
              <a:gd name="T77" fmla="*/ 38 h 374"/>
              <a:gd name="T78" fmla="*/ 189 w 561"/>
              <a:gd name="T79" fmla="*/ 38 h 374"/>
              <a:gd name="T80" fmla="*/ 214 w 561"/>
              <a:gd name="T81" fmla="*/ 40 h 374"/>
              <a:gd name="T82" fmla="*/ 236 w 561"/>
              <a:gd name="T83" fmla="*/ 46 h 374"/>
              <a:gd name="T84" fmla="*/ 265 w 561"/>
              <a:gd name="T85" fmla="*/ 48 h 374"/>
              <a:gd name="T86" fmla="*/ 282 w 561"/>
              <a:gd name="T87" fmla="*/ 15 h 374"/>
              <a:gd name="T88" fmla="*/ 317 w 561"/>
              <a:gd name="T89" fmla="*/ 12 h 374"/>
              <a:gd name="T90" fmla="*/ 358 w 561"/>
              <a:gd name="T91" fmla="*/ 1 h 374"/>
              <a:gd name="T92" fmla="*/ 374 w 561"/>
              <a:gd name="T93" fmla="*/ 36 h 374"/>
              <a:gd name="T94" fmla="*/ 386 w 561"/>
              <a:gd name="T95" fmla="*/ 56 h 374"/>
              <a:gd name="T96" fmla="*/ 410 w 561"/>
              <a:gd name="T97" fmla="*/ 66 h 374"/>
              <a:gd name="T98" fmla="*/ 414 w 561"/>
              <a:gd name="T99" fmla="*/ 87 h 374"/>
              <a:gd name="T100" fmla="*/ 440 w 561"/>
              <a:gd name="T101" fmla="*/ 102 h 374"/>
              <a:gd name="T102" fmla="*/ 472 w 561"/>
              <a:gd name="T103" fmla="*/ 98 h 374"/>
              <a:gd name="T104" fmla="*/ 500 w 561"/>
              <a:gd name="T105" fmla="*/ 119 h 374"/>
              <a:gd name="T106" fmla="*/ 532 w 561"/>
              <a:gd name="T107" fmla="*/ 124 h 374"/>
              <a:gd name="T108" fmla="*/ 560 w 561"/>
              <a:gd name="T109" fmla="*/ 137 h 374"/>
              <a:gd name="T110" fmla="*/ 548 w 561"/>
              <a:gd name="T111" fmla="*/ 164 h 374"/>
              <a:gd name="T112" fmla="*/ 547 w 561"/>
              <a:gd name="T113" fmla="*/ 181 h 374"/>
              <a:gd name="T114" fmla="*/ 556 w 561"/>
              <a:gd name="T115" fmla="*/ 199 h 374"/>
              <a:gd name="T116" fmla="*/ 523 w 561"/>
              <a:gd name="T117" fmla="*/ 218 h 374"/>
              <a:gd name="T118" fmla="*/ 501 w 561"/>
              <a:gd name="T119" fmla="*/ 243 h 374"/>
              <a:gd name="T120" fmla="*/ 308 w 561"/>
              <a:gd name="T121" fmla="*/ 2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61" h="374">
                <a:moveTo>
                  <a:pt x="502" y="254"/>
                </a:moveTo>
                <a:lnTo>
                  <a:pt x="502" y="254"/>
                </a:lnTo>
                <a:lnTo>
                  <a:pt x="501" y="254"/>
                </a:lnTo>
                <a:lnTo>
                  <a:pt x="490" y="253"/>
                </a:lnTo>
                <a:lnTo>
                  <a:pt x="481" y="254"/>
                </a:lnTo>
                <a:lnTo>
                  <a:pt x="474" y="262"/>
                </a:lnTo>
                <a:lnTo>
                  <a:pt x="471" y="262"/>
                </a:lnTo>
                <a:lnTo>
                  <a:pt x="465" y="263"/>
                </a:lnTo>
                <a:lnTo>
                  <a:pt x="462" y="266"/>
                </a:lnTo>
                <a:lnTo>
                  <a:pt x="457" y="271"/>
                </a:lnTo>
                <a:lnTo>
                  <a:pt x="454" y="268"/>
                </a:lnTo>
                <a:lnTo>
                  <a:pt x="450" y="268"/>
                </a:lnTo>
                <a:lnTo>
                  <a:pt x="446" y="270"/>
                </a:lnTo>
                <a:lnTo>
                  <a:pt x="441" y="273"/>
                </a:lnTo>
                <a:lnTo>
                  <a:pt x="439" y="274"/>
                </a:lnTo>
                <a:lnTo>
                  <a:pt x="434" y="273"/>
                </a:lnTo>
                <a:lnTo>
                  <a:pt x="427" y="275"/>
                </a:lnTo>
                <a:lnTo>
                  <a:pt x="414" y="286"/>
                </a:lnTo>
                <a:lnTo>
                  <a:pt x="410" y="294"/>
                </a:lnTo>
                <a:lnTo>
                  <a:pt x="408" y="295"/>
                </a:lnTo>
                <a:lnTo>
                  <a:pt x="406" y="297"/>
                </a:lnTo>
                <a:lnTo>
                  <a:pt x="403" y="298"/>
                </a:lnTo>
                <a:lnTo>
                  <a:pt x="402" y="298"/>
                </a:lnTo>
                <a:lnTo>
                  <a:pt x="408" y="292"/>
                </a:lnTo>
                <a:lnTo>
                  <a:pt x="410" y="290"/>
                </a:lnTo>
                <a:lnTo>
                  <a:pt x="411" y="289"/>
                </a:lnTo>
                <a:lnTo>
                  <a:pt x="411" y="286"/>
                </a:lnTo>
                <a:lnTo>
                  <a:pt x="409" y="283"/>
                </a:lnTo>
                <a:lnTo>
                  <a:pt x="404" y="291"/>
                </a:lnTo>
                <a:lnTo>
                  <a:pt x="401" y="292"/>
                </a:lnTo>
                <a:lnTo>
                  <a:pt x="397" y="294"/>
                </a:lnTo>
                <a:lnTo>
                  <a:pt x="397" y="300"/>
                </a:lnTo>
                <a:lnTo>
                  <a:pt x="397" y="303"/>
                </a:lnTo>
                <a:lnTo>
                  <a:pt x="399" y="308"/>
                </a:lnTo>
                <a:lnTo>
                  <a:pt x="402" y="316"/>
                </a:lnTo>
                <a:lnTo>
                  <a:pt x="410" y="328"/>
                </a:lnTo>
                <a:lnTo>
                  <a:pt x="413" y="332"/>
                </a:lnTo>
                <a:lnTo>
                  <a:pt x="416" y="333"/>
                </a:lnTo>
                <a:lnTo>
                  <a:pt x="419" y="333"/>
                </a:lnTo>
                <a:lnTo>
                  <a:pt x="425" y="330"/>
                </a:lnTo>
                <a:lnTo>
                  <a:pt x="427" y="329"/>
                </a:lnTo>
                <a:lnTo>
                  <a:pt x="433" y="331"/>
                </a:lnTo>
                <a:lnTo>
                  <a:pt x="435" y="328"/>
                </a:lnTo>
                <a:lnTo>
                  <a:pt x="438" y="327"/>
                </a:lnTo>
                <a:lnTo>
                  <a:pt x="442" y="327"/>
                </a:lnTo>
                <a:lnTo>
                  <a:pt x="446" y="328"/>
                </a:lnTo>
                <a:lnTo>
                  <a:pt x="451" y="330"/>
                </a:lnTo>
                <a:lnTo>
                  <a:pt x="449" y="334"/>
                </a:lnTo>
                <a:lnTo>
                  <a:pt x="447" y="337"/>
                </a:lnTo>
                <a:lnTo>
                  <a:pt x="446" y="340"/>
                </a:lnTo>
                <a:lnTo>
                  <a:pt x="445" y="344"/>
                </a:lnTo>
                <a:lnTo>
                  <a:pt x="440" y="346"/>
                </a:lnTo>
                <a:lnTo>
                  <a:pt x="434" y="346"/>
                </a:lnTo>
                <a:lnTo>
                  <a:pt x="429" y="347"/>
                </a:lnTo>
                <a:lnTo>
                  <a:pt x="427" y="345"/>
                </a:lnTo>
                <a:lnTo>
                  <a:pt x="425" y="344"/>
                </a:lnTo>
                <a:lnTo>
                  <a:pt x="423" y="343"/>
                </a:lnTo>
                <a:lnTo>
                  <a:pt x="419" y="342"/>
                </a:lnTo>
                <a:lnTo>
                  <a:pt x="416" y="343"/>
                </a:lnTo>
                <a:lnTo>
                  <a:pt x="413" y="348"/>
                </a:lnTo>
                <a:lnTo>
                  <a:pt x="406" y="352"/>
                </a:lnTo>
                <a:lnTo>
                  <a:pt x="404" y="356"/>
                </a:lnTo>
                <a:lnTo>
                  <a:pt x="398" y="355"/>
                </a:lnTo>
                <a:lnTo>
                  <a:pt x="393" y="356"/>
                </a:lnTo>
                <a:lnTo>
                  <a:pt x="385" y="359"/>
                </a:lnTo>
                <a:lnTo>
                  <a:pt x="379" y="367"/>
                </a:lnTo>
                <a:lnTo>
                  <a:pt x="373" y="372"/>
                </a:lnTo>
                <a:lnTo>
                  <a:pt x="368" y="374"/>
                </a:lnTo>
                <a:lnTo>
                  <a:pt x="363" y="373"/>
                </a:lnTo>
                <a:lnTo>
                  <a:pt x="360" y="372"/>
                </a:lnTo>
                <a:lnTo>
                  <a:pt x="353" y="367"/>
                </a:lnTo>
                <a:lnTo>
                  <a:pt x="354" y="365"/>
                </a:lnTo>
                <a:lnTo>
                  <a:pt x="354" y="364"/>
                </a:lnTo>
                <a:lnTo>
                  <a:pt x="356" y="361"/>
                </a:lnTo>
                <a:lnTo>
                  <a:pt x="358" y="351"/>
                </a:lnTo>
                <a:lnTo>
                  <a:pt x="358" y="348"/>
                </a:lnTo>
                <a:lnTo>
                  <a:pt x="356" y="343"/>
                </a:lnTo>
                <a:lnTo>
                  <a:pt x="351" y="339"/>
                </a:lnTo>
                <a:lnTo>
                  <a:pt x="347" y="340"/>
                </a:lnTo>
                <a:lnTo>
                  <a:pt x="345" y="339"/>
                </a:lnTo>
                <a:lnTo>
                  <a:pt x="337" y="332"/>
                </a:lnTo>
                <a:lnTo>
                  <a:pt x="332" y="331"/>
                </a:lnTo>
                <a:lnTo>
                  <a:pt x="327" y="333"/>
                </a:lnTo>
                <a:lnTo>
                  <a:pt x="325" y="332"/>
                </a:lnTo>
                <a:lnTo>
                  <a:pt x="324" y="329"/>
                </a:lnTo>
                <a:lnTo>
                  <a:pt x="334" y="321"/>
                </a:lnTo>
                <a:lnTo>
                  <a:pt x="344" y="314"/>
                </a:lnTo>
                <a:lnTo>
                  <a:pt x="348" y="313"/>
                </a:lnTo>
                <a:lnTo>
                  <a:pt x="354" y="310"/>
                </a:lnTo>
                <a:lnTo>
                  <a:pt x="360" y="305"/>
                </a:lnTo>
                <a:lnTo>
                  <a:pt x="359" y="301"/>
                </a:lnTo>
                <a:lnTo>
                  <a:pt x="358" y="299"/>
                </a:lnTo>
                <a:lnTo>
                  <a:pt x="355" y="299"/>
                </a:lnTo>
                <a:lnTo>
                  <a:pt x="353" y="300"/>
                </a:lnTo>
                <a:lnTo>
                  <a:pt x="347" y="297"/>
                </a:lnTo>
                <a:lnTo>
                  <a:pt x="345" y="295"/>
                </a:lnTo>
                <a:lnTo>
                  <a:pt x="337" y="297"/>
                </a:lnTo>
                <a:lnTo>
                  <a:pt x="333" y="297"/>
                </a:lnTo>
                <a:lnTo>
                  <a:pt x="323" y="299"/>
                </a:lnTo>
                <a:lnTo>
                  <a:pt x="318" y="297"/>
                </a:lnTo>
                <a:lnTo>
                  <a:pt x="309" y="291"/>
                </a:lnTo>
                <a:lnTo>
                  <a:pt x="306" y="290"/>
                </a:lnTo>
                <a:lnTo>
                  <a:pt x="303" y="290"/>
                </a:lnTo>
                <a:lnTo>
                  <a:pt x="301" y="288"/>
                </a:lnTo>
                <a:lnTo>
                  <a:pt x="303" y="287"/>
                </a:lnTo>
                <a:lnTo>
                  <a:pt x="305" y="287"/>
                </a:lnTo>
                <a:lnTo>
                  <a:pt x="308" y="287"/>
                </a:lnTo>
                <a:lnTo>
                  <a:pt x="308" y="286"/>
                </a:lnTo>
                <a:lnTo>
                  <a:pt x="308" y="284"/>
                </a:lnTo>
                <a:lnTo>
                  <a:pt x="303" y="282"/>
                </a:lnTo>
                <a:lnTo>
                  <a:pt x="299" y="282"/>
                </a:lnTo>
                <a:lnTo>
                  <a:pt x="296" y="280"/>
                </a:lnTo>
                <a:lnTo>
                  <a:pt x="294" y="278"/>
                </a:lnTo>
                <a:lnTo>
                  <a:pt x="299" y="278"/>
                </a:lnTo>
                <a:lnTo>
                  <a:pt x="304" y="279"/>
                </a:lnTo>
                <a:lnTo>
                  <a:pt x="312" y="280"/>
                </a:lnTo>
                <a:lnTo>
                  <a:pt x="319" y="282"/>
                </a:lnTo>
                <a:lnTo>
                  <a:pt x="321" y="280"/>
                </a:lnTo>
                <a:lnTo>
                  <a:pt x="325" y="276"/>
                </a:lnTo>
                <a:lnTo>
                  <a:pt x="326" y="275"/>
                </a:lnTo>
                <a:lnTo>
                  <a:pt x="319" y="278"/>
                </a:lnTo>
                <a:lnTo>
                  <a:pt x="312" y="276"/>
                </a:lnTo>
                <a:lnTo>
                  <a:pt x="309" y="274"/>
                </a:lnTo>
                <a:lnTo>
                  <a:pt x="307" y="271"/>
                </a:lnTo>
                <a:lnTo>
                  <a:pt x="306" y="268"/>
                </a:lnTo>
                <a:lnTo>
                  <a:pt x="307" y="264"/>
                </a:lnTo>
                <a:lnTo>
                  <a:pt x="306" y="259"/>
                </a:lnTo>
                <a:lnTo>
                  <a:pt x="304" y="253"/>
                </a:lnTo>
                <a:lnTo>
                  <a:pt x="303" y="251"/>
                </a:lnTo>
                <a:lnTo>
                  <a:pt x="300" y="248"/>
                </a:lnTo>
                <a:lnTo>
                  <a:pt x="303" y="254"/>
                </a:lnTo>
                <a:lnTo>
                  <a:pt x="304" y="258"/>
                </a:lnTo>
                <a:lnTo>
                  <a:pt x="305" y="261"/>
                </a:lnTo>
                <a:lnTo>
                  <a:pt x="305" y="270"/>
                </a:lnTo>
                <a:lnTo>
                  <a:pt x="304" y="274"/>
                </a:lnTo>
                <a:lnTo>
                  <a:pt x="301" y="274"/>
                </a:lnTo>
                <a:lnTo>
                  <a:pt x="297" y="274"/>
                </a:lnTo>
                <a:lnTo>
                  <a:pt x="293" y="273"/>
                </a:lnTo>
                <a:lnTo>
                  <a:pt x="294" y="268"/>
                </a:lnTo>
                <a:lnTo>
                  <a:pt x="292" y="270"/>
                </a:lnTo>
                <a:lnTo>
                  <a:pt x="289" y="275"/>
                </a:lnTo>
                <a:lnTo>
                  <a:pt x="287" y="275"/>
                </a:lnTo>
                <a:lnTo>
                  <a:pt x="281" y="275"/>
                </a:lnTo>
                <a:lnTo>
                  <a:pt x="270" y="278"/>
                </a:lnTo>
                <a:lnTo>
                  <a:pt x="270" y="282"/>
                </a:lnTo>
                <a:lnTo>
                  <a:pt x="268" y="286"/>
                </a:lnTo>
                <a:lnTo>
                  <a:pt x="267" y="289"/>
                </a:lnTo>
                <a:lnTo>
                  <a:pt x="266" y="291"/>
                </a:lnTo>
                <a:lnTo>
                  <a:pt x="262" y="298"/>
                </a:lnTo>
                <a:lnTo>
                  <a:pt x="261" y="299"/>
                </a:lnTo>
                <a:lnTo>
                  <a:pt x="252" y="309"/>
                </a:lnTo>
                <a:lnTo>
                  <a:pt x="251" y="310"/>
                </a:lnTo>
                <a:lnTo>
                  <a:pt x="246" y="312"/>
                </a:lnTo>
                <a:lnTo>
                  <a:pt x="242" y="314"/>
                </a:lnTo>
                <a:lnTo>
                  <a:pt x="240" y="315"/>
                </a:lnTo>
                <a:lnTo>
                  <a:pt x="236" y="314"/>
                </a:lnTo>
                <a:lnTo>
                  <a:pt x="234" y="315"/>
                </a:lnTo>
                <a:lnTo>
                  <a:pt x="233" y="317"/>
                </a:lnTo>
                <a:lnTo>
                  <a:pt x="233" y="321"/>
                </a:lnTo>
                <a:lnTo>
                  <a:pt x="235" y="323"/>
                </a:lnTo>
                <a:lnTo>
                  <a:pt x="237" y="332"/>
                </a:lnTo>
                <a:lnTo>
                  <a:pt x="236" y="336"/>
                </a:lnTo>
                <a:lnTo>
                  <a:pt x="235" y="333"/>
                </a:lnTo>
                <a:lnTo>
                  <a:pt x="232" y="331"/>
                </a:lnTo>
                <a:lnTo>
                  <a:pt x="227" y="329"/>
                </a:lnTo>
                <a:lnTo>
                  <a:pt x="221" y="329"/>
                </a:lnTo>
                <a:lnTo>
                  <a:pt x="215" y="333"/>
                </a:lnTo>
                <a:lnTo>
                  <a:pt x="211" y="334"/>
                </a:lnTo>
                <a:lnTo>
                  <a:pt x="209" y="334"/>
                </a:lnTo>
                <a:lnTo>
                  <a:pt x="208" y="334"/>
                </a:lnTo>
                <a:lnTo>
                  <a:pt x="207" y="335"/>
                </a:lnTo>
                <a:lnTo>
                  <a:pt x="207" y="336"/>
                </a:lnTo>
                <a:lnTo>
                  <a:pt x="208" y="336"/>
                </a:lnTo>
                <a:lnTo>
                  <a:pt x="208" y="337"/>
                </a:lnTo>
                <a:lnTo>
                  <a:pt x="207" y="337"/>
                </a:lnTo>
                <a:lnTo>
                  <a:pt x="197" y="334"/>
                </a:lnTo>
                <a:lnTo>
                  <a:pt x="193" y="332"/>
                </a:lnTo>
                <a:lnTo>
                  <a:pt x="190" y="327"/>
                </a:lnTo>
                <a:lnTo>
                  <a:pt x="191" y="326"/>
                </a:lnTo>
                <a:lnTo>
                  <a:pt x="193" y="325"/>
                </a:lnTo>
                <a:lnTo>
                  <a:pt x="198" y="325"/>
                </a:lnTo>
                <a:lnTo>
                  <a:pt x="199" y="324"/>
                </a:lnTo>
                <a:lnTo>
                  <a:pt x="199" y="323"/>
                </a:lnTo>
                <a:lnTo>
                  <a:pt x="199" y="322"/>
                </a:lnTo>
                <a:lnTo>
                  <a:pt x="199" y="320"/>
                </a:lnTo>
                <a:lnTo>
                  <a:pt x="199" y="318"/>
                </a:lnTo>
                <a:lnTo>
                  <a:pt x="201" y="315"/>
                </a:lnTo>
                <a:lnTo>
                  <a:pt x="204" y="312"/>
                </a:lnTo>
                <a:lnTo>
                  <a:pt x="206" y="310"/>
                </a:lnTo>
                <a:lnTo>
                  <a:pt x="206" y="306"/>
                </a:lnTo>
                <a:lnTo>
                  <a:pt x="210" y="304"/>
                </a:lnTo>
                <a:lnTo>
                  <a:pt x="213" y="301"/>
                </a:lnTo>
                <a:lnTo>
                  <a:pt x="214" y="297"/>
                </a:lnTo>
                <a:lnTo>
                  <a:pt x="215" y="295"/>
                </a:lnTo>
                <a:lnTo>
                  <a:pt x="213" y="290"/>
                </a:lnTo>
                <a:lnTo>
                  <a:pt x="212" y="287"/>
                </a:lnTo>
                <a:lnTo>
                  <a:pt x="212" y="284"/>
                </a:lnTo>
                <a:lnTo>
                  <a:pt x="213" y="282"/>
                </a:lnTo>
                <a:lnTo>
                  <a:pt x="216" y="281"/>
                </a:lnTo>
                <a:lnTo>
                  <a:pt x="219" y="279"/>
                </a:lnTo>
                <a:lnTo>
                  <a:pt x="220" y="279"/>
                </a:lnTo>
                <a:lnTo>
                  <a:pt x="221" y="280"/>
                </a:lnTo>
                <a:lnTo>
                  <a:pt x="221" y="286"/>
                </a:lnTo>
                <a:lnTo>
                  <a:pt x="221" y="286"/>
                </a:lnTo>
                <a:lnTo>
                  <a:pt x="222" y="285"/>
                </a:lnTo>
                <a:lnTo>
                  <a:pt x="224" y="282"/>
                </a:lnTo>
                <a:lnTo>
                  <a:pt x="225" y="283"/>
                </a:lnTo>
                <a:lnTo>
                  <a:pt x="227" y="283"/>
                </a:lnTo>
                <a:lnTo>
                  <a:pt x="228" y="282"/>
                </a:lnTo>
                <a:lnTo>
                  <a:pt x="229" y="283"/>
                </a:lnTo>
                <a:lnTo>
                  <a:pt x="230" y="283"/>
                </a:lnTo>
                <a:lnTo>
                  <a:pt x="232" y="285"/>
                </a:lnTo>
                <a:lnTo>
                  <a:pt x="234" y="285"/>
                </a:lnTo>
                <a:lnTo>
                  <a:pt x="235" y="284"/>
                </a:lnTo>
                <a:lnTo>
                  <a:pt x="236" y="283"/>
                </a:lnTo>
                <a:lnTo>
                  <a:pt x="238" y="283"/>
                </a:lnTo>
                <a:lnTo>
                  <a:pt x="240" y="287"/>
                </a:lnTo>
                <a:lnTo>
                  <a:pt x="242" y="287"/>
                </a:lnTo>
                <a:lnTo>
                  <a:pt x="248" y="286"/>
                </a:lnTo>
                <a:lnTo>
                  <a:pt x="249" y="285"/>
                </a:lnTo>
                <a:lnTo>
                  <a:pt x="250" y="284"/>
                </a:lnTo>
                <a:lnTo>
                  <a:pt x="243" y="279"/>
                </a:lnTo>
                <a:lnTo>
                  <a:pt x="244" y="275"/>
                </a:lnTo>
                <a:lnTo>
                  <a:pt x="244" y="270"/>
                </a:lnTo>
                <a:lnTo>
                  <a:pt x="243" y="268"/>
                </a:lnTo>
                <a:lnTo>
                  <a:pt x="242" y="266"/>
                </a:lnTo>
                <a:lnTo>
                  <a:pt x="237" y="263"/>
                </a:lnTo>
                <a:lnTo>
                  <a:pt x="233" y="261"/>
                </a:lnTo>
                <a:lnTo>
                  <a:pt x="232" y="259"/>
                </a:lnTo>
                <a:lnTo>
                  <a:pt x="232" y="258"/>
                </a:lnTo>
                <a:lnTo>
                  <a:pt x="232" y="256"/>
                </a:lnTo>
                <a:lnTo>
                  <a:pt x="230" y="254"/>
                </a:lnTo>
                <a:lnTo>
                  <a:pt x="230" y="252"/>
                </a:lnTo>
                <a:lnTo>
                  <a:pt x="231" y="249"/>
                </a:lnTo>
                <a:lnTo>
                  <a:pt x="231" y="246"/>
                </a:lnTo>
                <a:lnTo>
                  <a:pt x="231" y="245"/>
                </a:lnTo>
                <a:lnTo>
                  <a:pt x="230" y="244"/>
                </a:lnTo>
                <a:lnTo>
                  <a:pt x="229" y="244"/>
                </a:lnTo>
                <a:lnTo>
                  <a:pt x="226" y="243"/>
                </a:lnTo>
                <a:lnTo>
                  <a:pt x="225" y="241"/>
                </a:lnTo>
                <a:lnTo>
                  <a:pt x="221" y="237"/>
                </a:lnTo>
                <a:lnTo>
                  <a:pt x="219" y="237"/>
                </a:lnTo>
                <a:lnTo>
                  <a:pt x="219" y="235"/>
                </a:lnTo>
                <a:lnTo>
                  <a:pt x="218" y="233"/>
                </a:lnTo>
                <a:lnTo>
                  <a:pt x="219" y="231"/>
                </a:lnTo>
                <a:lnTo>
                  <a:pt x="220" y="228"/>
                </a:lnTo>
                <a:lnTo>
                  <a:pt x="221" y="224"/>
                </a:lnTo>
                <a:lnTo>
                  <a:pt x="221" y="222"/>
                </a:lnTo>
                <a:lnTo>
                  <a:pt x="220" y="217"/>
                </a:lnTo>
                <a:lnTo>
                  <a:pt x="218" y="213"/>
                </a:lnTo>
                <a:lnTo>
                  <a:pt x="217" y="213"/>
                </a:lnTo>
                <a:lnTo>
                  <a:pt x="216" y="214"/>
                </a:lnTo>
                <a:lnTo>
                  <a:pt x="214" y="215"/>
                </a:lnTo>
                <a:lnTo>
                  <a:pt x="212" y="214"/>
                </a:lnTo>
                <a:lnTo>
                  <a:pt x="210" y="212"/>
                </a:lnTo>
                <a:lnTo>
                  <a:pt x="207" y="206"/>
                </a:lnTo>
                <a:lnTo>
                  <a:pt x="202" y="205"/>
                </a:lnTo>
                <a:lnTo>
                  <a:pt x="200" y="205"/>
                </a:lnTo>
                <a:lnTo>
                  <a:pt x="198" y="208"/>
                </a:lnTo>
                <a:lnTo>
                  <a:pt x="197" y="207"/>
                </a:lnTo>
                <a:lnTo>
                  <a:pt x="196" y="205"/>
                </a:lnTo>
                <a:lnTo>
                  <a:pt x="195" y="204"/>
                </a:lnTo>
                <a:lnTo>
                  <a:pt x="194" y="205"/>
                </a:lnTo>
                <a:lnTo>
                  <a:pt x="193" y="204"/>
                </a:lnTo>
                <a:lnTo>
                  <a:pt x="194" y="202"/>
                </a:lnTo>
                <a:lnTo>
                  <a:pt x="192" y="201"/>
                </a:lnTo>
                <a:lnTo>
                  <a:pt x="188" y="201"/>
                </a:lnTo>
                <a:lnTo>
                  <a:pt x="186" y="200"/>
                </a:lnTo>
                <a:lnTo>
                  <a:pt x="186" y="198"/>
                </a:lnTo>
                <a:lnTo>
                  <a:pt x="184" y="197"/>
                </a:lnTo>
                <a:lnTo>
                  <a:pt x="182" y="196"/>
                </a:lnTo>
                <a:lnTo>
                  <a:pt x="180" y="195"/>
                </a:lnTo>
                <a:lnTo>
                  <a:pt x="178" y="192"/>
                </a:lnTo>
                <a:lnTo>
                  <a:pt x="174" y="191"/>
                </a:lnTo>
                <a:lnTo>
                  <a:pt x="170" y="190"/>
                </a:lnTo>
                <a:lnTo>
                  <a:pt x="170" y="190"/>
                </a:lnTo>
                <a:lnTo>
                  <a:pt x="169" y="189"/>
                </a:lnTo>
                <a:lnTo>
                  <a:pt x="166" y="191"/>
                </a:lnTo>
                <a:lnTo>
                  <a:pt x="165" y="192"/>
                </a:lnTo>
                <a:lnTo>
                  <a:pt x="163" y="192"/>
                </a:lnTo>
                <a:lnTo>
                  <a:pt x="159" y="194"/>
                </a:lnTo>
                <a:lnTo>
                  <a:pt x="152" y="195"/>
                </a:lnTo>
                <a:lnTo>
                  <a:pt x="149" y="194"/>
                </a:lnTo>
                <a:lnTo>
                  <a:pt x="147" y="194"/>
                </a:lnTo>
                <a:lnTo>
                  <a:pt x="141" y="198"/>
                </a:lnTo>
                <a:lnTo>
                  <a:pt x="140" y="200"/>
                </a:lnTo>
                <a:lnTo>
                  <a:pt x="139" y="200"/>
                </a:lnTo>
                <a:lnTo>
                  <a:pt x="135" y="201"/>
                </a:lnTo>
                <a:lnTo>
                  <a:pt x="130" y="202"/>
                </a:lnTo>
                <a:lnTo>
                  <a:pt x="129" y="206"/>
                </a:lnTo>
                <a:lnTo>
                  <a:pt x="128" y="209"/>
                </a:lnTo>
                <a:lnTo>
                  <a:pt x="126" y="212"/>
                </a:lnTo>
                <a:lnTo>
                  <a:pt x="118" y="213"/>
                </a:lnTo>
                <a:lnTo>
                  <a:pt x="111" y="215"/>
                </a:lnTo>
                <a:lnTo>
                  <a:pt x="104" y="216"/>
                </a:lnTo>
                <a:lnTo>
                  <a:pt x="95" y="220"/>
                </a:lnTo>
                <a:lnTo>
                  <a:pt x="92" y="224"/>
                </a:lnTo>
                <a:lnTo>
                  <a:pt x="89" y="224"/>
                </a:lnTo>
                <a:lnTo>
                  <a:pt x="86" y="225"/>
                </a:lnTo>
                <a:lnTo>
                  <a:pt x="85" y="223"/>
                </a:lnTo>
                <a:lnTo>
                  <a:pt x="79" y="217"/>
                </a:lnTo>
                <a:lnTo>
                  <a:pt x="76" y="215"/>
                </a:lnTo>
                <a:lnTo>
                  <a:pt x="74" y="214"/>
                </a:lnTo>
                <a:lnTo>
                  <a:pt x="70" y="215"/>
                </a:lnTo>
                <a:lnTo>
                  <a:pt x="67" y="216"/>
                </a:lnTo>
                <a:lnTo>
                  <a:pt x="64" y="216"/>
                </a:lnTo>
                <a:lnTo>
                  <a:pt x="60" y="214"/>
                </a:lnTo>
                <a:lnTo>
                  <a:pt x="60" y="214"/>
                </a:lnTo>
                <a:lnTo>
                  <a:pt x="59" y="215"/>
                </a:lnTo>
                <a:lnTo>
                  <a:pt x="49" y="212"/>
                </a:lnTo>
                <a:lnTo>
                  <a:pt x="49" y="212"/>
                </a:lnTo>
                <a:lnTo>
                  <a:pt x="48" y="212"/>
                </a:lnTo>
                <a:lnTo>
                  <a:pt x="47" y="212"/>
                </a:lnTo>
                <a:lnTo>
                  <a:pt x="40" y="212"/>
                </a:lnTo>
                <a:lnTo>
                  <a:pt x="34" y="208"/>
                </a:lnTo>
                <a:lnTo>
                  <a:pt x="32" y="208"/>
                </a:lnTo>
                <a:lnTo>
                  <a:pt x="30" y="209"/>
                </a:lnTo>
                <a:lnTo>
                  <a:pt x="29" y="211"/>
                </a:lnTo>
                <a:lnTo>
                  <a:pt x="25" y="213"/>
                </a:lnTo>
                <a:lnTo>
                  <a:pt x="23" y="214"/>
                </a:lnTo>
                <a:lnTo>
                  <a:pt x="23" y="214"/>
                </a:lnTo>
                <a:lnTo>
                  <a:pt x="22" y="212"/>
                </a:lnTo>
                <a:lnTo>
                  <a:pt x="23" y="210"/>
                </a:lnTo>
                <a:lnTo>
                  <a:pt x="22" y="209"/>
                </a:lnTo>
                <a:lnTo>
                  <a:pt x="20" y="207"/>
                </a:lnTo>
                <a:lnTo>
                  <a:pt x="20" y="207"/>
                </a:lnTo>
                <a:lnTo>
                  <a:pt x="18" y="207"/>
                </a:lnTo>
                <a:lnTo>
                  <a:pt x="17" y="207"/>
                </a:lnTo>
                <a:lnTo>
                  <a:pt x="17" y="207"/>
                </a:lnTo>
                <a:lnTo>
                  <a:pt x="14" y="205"/>
                </a:lnTo>
                <a:lnTo>
                  <a:pt x="12" y="202"/>
                </a:lnTo>
                <a:lnTo>
                  <a:pt x="9" y="200"/>
                </a:lnTo>
                <a:lnTo>
                  <a:pt x="7" y="200"/>
                </a:lnTo>
                <a:lnTo>
                  <a:pt x="6" y="198"/>
                </a:lnTo>
                <a:lnTo>
                  <a:pt x="5" y="196"/>
                </a:lnTo>
                <a:lnTo>
                  <a:pt x="5" y="195"/>
                </a:lnTo>
                <a:lnTo>
                  <a:pt x="4" y="195"/>
                </a:lnTo>
                <a:lnTo>
                  <a:pt x="4" y="193"/>
                </a:lnTo>
                <a:lnTo>
                  <a:pt x="3" y="192"/>
                </a:lnTo>
                <a:lnTo>
                  <a:pt x="3" y="192"/>
                </a:lnTo>
                <a:lnTo>
                  <a:pt x="0" y="193"/>
                </a:lnTo>
                <a:lnTo>
                  <a:pt x="1" y="185"/>
                </a:lnTo>
                <a:lnTo>
                  <a:pt x="5" y="180"/>
                </a:lnTo>
                <a:lnTo>
                  <a:pt x="6" y="177"/>
                </a:lnTo>
                <a:lnTo>
                  <a:pt x="8" y="171"/>
                </a:lnTo>
                <a:lnTo>
                  <a:pt x="10" y="168"/>
                </a:lnTo>
                <a:lnTo>
                  <a:pt x="11" y="166"/>
                </a:lnTo>
                <a:lnTo>
                  <a:pt x="12" y="163"/>
                </a:lnTo>
                <a:lnTo>
                  <a:pt x="13" y="161"/>
                </a:lnTo>
                <a:lnTo>
                  <a:pt x="14" y="161"/>
                </a:lnTo>
                <a:lnTo>
                  <a:pt x="18" y="163"/>
                </a:lnTo>
                <a:lnTo>
                  <a:pt x="21" y="164"/>
                </a:lnTo>
                <a:lnTo>
                  <a:pt x="22" y="163"/>
                </a:lnTo>
                <a:lnTo>
                  <a:pt x="23" y="162"/>
                </a:lnTo>
                <a:lnTo>
                  <a:pt x="22" y="161"/>
                </a:lnTo>
                <a:lnTo>
                  <a:pt x="20" y="158"/>
                </a:lnTo>
                <a:lnTo>
                  <a:pt x="18" y="157"/>
                </a:lnTo>
                <a:lnTo>
                  <a:pt x="18" y="156"/>
                </a:lnTo>
                <a:lnTo>
                  <a:pt x="19" y="153"/>
                </a:lnTo>
                <a:lnTo>
                  <a:pt x="19" y="151"/>
                </a:lnTo>
                <a:lnTo>
                  <a:pt x="19" y="148"/>
                </a:lnTo>
                <a:lnTo>
                  <a:pt x="17" y="142"/>
                </a:lnTo>
                <a:lnTo>
                  <a:pt x="16" y="139"/>
                </a:lnTo>
                <a:lnTo>
                  <a:pt x="18" y="136"/>
                </a:lnTo>
                <a:lnTo>
                  <a:pt x="24" y="128"/>
                </a:lnTo>
                <a:lnTo>
                  <a:pt x="26" y="125"/>
                </a:lnTo>
                <a:lnTo>
                  <a:pt x="28" y="122"/>
                </a:lnTo>
                <a:lnTo>
                  <a:pt x="36" y="113"/>
                </a:lnTo>
                <a:lnTo>
                  <a:pt x="40" y="108"/>
                </a:lnTo>
                <a:lnTo>
                  <a:pt x="43" y="106"/>
                </a:lnTo>
                <a:lnTo>
                  <a:pt x="48" y="101"/>
                </a:lnTo>
                <a:lnTo>
                  <a:pt x="49" y="99"/>
                </a:lnTo>
                <a:lnTo>
                  <a:pt x="58" y="97"/>
                </a:lnTo>
                <a:lnTo>
                  <a:pt x="59" y="95"/>
                </a:lnTo>
                <a:lnTo>
                  <a:pt x="60" y="92"/>
                </a:lnTo>
                <a:lnTo>
                  <a:pt x="61" y="91"/>
                </a:lnTo>
                <a:lnTo>
                  <a:pt x="61" y="87"/>
                </a:lnTo>
                <a:lnTo>
                  <a:pt x="60" y="82"/>
                </a:lnTo>
                <a:lnTo>
                  <a:pt x="59" y="80"/>
                </a:lnTo>
                <a:lnTo>
                  <a:pt x="58" y="79"/>
                </a:lnTo>
                <a:lnTo>
                  <a:pt x="58" y="77"/>
                </a:lnTo>
                <a:lnTo>
                  <a:pt x="59" y="77"/>
                </a:lnTo>
                <a:lnTo>
                  <a:pt x="60" y="77"/>
                </a:lnTo>
                <a:lnTo>
                  <a:pt x="62" y="76"/>
                </a:lnTo>
                <a:lnTo>
                  <a:pt x="61" y="74"/>
                </a:lnTo>
                <a:lnTo>
                  <a:pt x="58" y="71"/>
                </a:lnTo>
                <a:lnTo>
                  <a:pt x="57" y="68"/>
                </a:lnTo>
                <a:lnTo>
                  <a:pt x="54" y="62"/>
                </a:lnTo>
                <a:lnTo>
                  <a:pt x="50" y="55"/>
                </a:lnTo>
                <a:lnTo>
                  <a:pt x="48" y="53"/>
                </a:lnTo>
                <a:lnTo>
                  <a:pt x="48" y="50"/>
                </a:lnTo>
                <a:lnTo>
                  <a:pt x="48" y="48"/>
                </a:lnTo>
                <a:lnTo>
                  <a:pt x="48" y="46"/>
                </a:lnTo>
                <a:lnTo>
                  <a:pt x="46" y="42"/>
                </a:lnTo>
                <a:lnTo>
                  <a:pt x="46" y="42"/>
                </a:lnTo>
                <a:lnTo>
                  <a:pt x="46" y="38"/>
                </a:lnTo>
                <a:lnTo>
                  <a:pt x="47" y="37"/>
                </a:lnTo>
                <a:lnTo>
                  <a:pt x="49" y="36"/>
                </a:lnTo>
                <a:lnTo>
                  <a:pt x="52" y="36"/>
                </a:lnTo>
                <a:lnTo>
                  <a:pt x="54" y="37"/>
                </a:lnTo>
                <a:lnTo>
                  <a:pt x="57" y="39"/>
                </a:lnTo>
                <a:lnTo>
                  <a:pt x="58" y="39"/>
                </a:lnTo>
                <a:lnTo>
                  <a:pt x="62" y="35"/>
                </a:lnTo>
                <a:lnTo>
                  <a:pt x="67" y="29"/>
                </a:lnTo>
                <a:lnTo>
                  <a:pt x="69" y="26"/>
                </a:lnTo>
                <a:lnTo>
                  <a:pt x="70" y="25"/>
                </a:lnTo>
                <a:lnTo>
                  <a:pt x="74" y="24"/>
                </a:lnTo>
                <a:lnTo>
                  <a:pt x="78" y="24"/>
                </a:lnTo>
                <a:lnTo>
                  <a:pt x="80" y="24"/>
                </a:lnTo>
                <a:lnTo>
                  <a:pt x="86" y="23"/>
                </a:lnTo>
                <a:lnTo>
                  <a:pt x="89" y="23"/>
                </a:lnTo>
                <a:lnTo>
                  <a:pt x="92" y="22"/>
                </a:lnTo>
                <a:lnTo>
                  <a:pt x="98" y="21"/>
                </a:lnTo>
                <a:lnTo>
                  <a:pt x="108" y="22"/>
                </a:lnTo>
                <a:lnTo>
                  <a:pt x="114" y="22"/>
                </a:lnTo>
                <a:lnTo>
                  <a:pt x="119" y="22"/>
                </a:lnTo>
                <a:lnTo>
                  <a:pt x="129" y="25"/>
                </a:lnTo>
                <a:lnTo>
                  <a:pt x="133" y="26"/>
                </a:lnTo>
                <a:lnTo>
                  <a:pt x="135" y="27"/>
                </a:lnTo>
                <a:lnTo>
                  <a:pt x="139" y="28"/>
                </a:lnTo>
                <a:lnTo>
                  <a:pt x="145" y="30"/>
                </a:lnTo>
                <a:lnTo>
                  <a:pt x="151" y="30"/>
                </a:lnTo>
                <a:lnTo>
                  <a:pt x="154" y="30"/>
                </a:lnTo>
                <a:lnTo>
                  <a:pt x="156" y="31"/>
                </a:lnTo>
                <a:lnTo>
                  <a:pt x="160" y="37"/>
                </a:lnTo>
                <a:lnTo>
                  <a:pt x="161" y="38"/>
                </a:lnTo>
                <a:lnTo>
                  <a:pt x="163" y="38"/>
                </a:lnTo>
                <a:lnTo>
                  <a:pt x="166" y="38"/>
                </a:lnTo>
                <a:lnTo>
                  <a:pt x="171" y="38"/>
                </a:lnTo>
                <a:lnTo>
                  <a:pt x="174" y="40"/>
                </a:lnTo>
                <a:lnTo>
                  <a:pt x="173" y="44"/>
                </a:lnTo>
                <a:lnTo>
                  <a:pt x="174" y="44"/>
                </a:lnTo>
                <a:lnTo>
                  <a:pt x="175" y="44"/>
                </a:lnTo>
                <a:lnTo>
                  <a:pt x="177" y="42"/>
                </a:lnTo>
                <a:lnTo>
                  <a:pt x="178" y="39"/>
                </a:lnTo>
                <a:lnTo>
                  <a:pt x="179" y="39"/>
                </a:lnTo>
                <a:lnTo>
                  <a:pt x="184" y="40"/>
                </a:lnTo>
                <a:lnTo>
                  <a:pt x="186" y="40"/>
                </a:lnTo>
                <a:lnTo>
                  <a:pt x="188" y="38"/>
                </a:lnTo>
                <a:lnTo>
                  <a:pt x="189" y="38"/>
                </a:lnTo>
                <a:lnTo>
                  <a:pt x="192" y="39"/>
                </a:lnTo>
                <a:lnTo>
                  <a:pt x="196" y="40"/>
                </a:lnTo>
                <a:lnTo>
                  <a:pt x="200" y="40"/>
                </a:lnTo>
                <a:lnTo>
                  <a:pt x="202" y="41"/>
                </a:lnTo>
                <a:lnTo>
                  <a:pt x="203" y="45"/>
                </a:lnTo>
                <a:lnTo>
                  <a:pt x="205" y="46"/>
                </a:lnTo>
                <a:lnTo>
                  <a:pt x="206" y="46"/>
                </a:lnTo>
                <a:lnTo>
                  <a:pt x="208" y="43"/>
                </a:lnTo>
                <a:lnTo>
                  <a:pt x="210" y="41"/>
                </a:lnTo>
                <a:lnTo>
                  <a:pt x="212" y="40"/>
                </a:lnTo>
                <a:lnTo>
                  <a:pt x="214" y="40"/>
                </a:lnTo>
                <a:lnTo>
                  <a:pt x="215" y="38"/>
                </a:lnTo>
                <a:lnTo>
                  <a:pt x="216" y="37"/>
                </a:lnTo>
                <a:lnTo>
                  <a:pt x="218" y="37"/>
                </a:lnTo>
                <a:lnTo>
                  <a:pt x="219" y="37"/>
                </a:lnTo>
                <a:lnTo>
                  <a:pt x="220" y="39"/>
                </a:lnTo>
                <a:lnTo>
                  <a:pt x="222" y="43"/>
                </a:lnTo>
                <a:lnTo>
                  <a:pt x="224" y="47"/>
                </a:lnTo>
                <a:lnTo>
                  <a:pt x="225" y="49"/>
                </a:lnTo>
                <a:lnTo>
                  <a:pt x="229" y="48"/>
                </a:lnTo>
                <a:lnTo>
                  <a:pt x="232" y="46"/>
                </a:lnTo>
                <a:lnTo>
                  <a:pt x="236" y="46"/>
                </a:lnTo>
                <a:lnTo>
                  <a:pt x="243" y="45"/>
                </a:lnTo>
                <a:lnTo>
                  <a:pt x="248" y="44"/>
                </a:lnTo>
                <a:lnTo>
                  <a:pt x="251" y="44"/>
                </a:lnTo>
                <a:lnTo>
                  <a:pt x="252" y="46"/>
                </a:lnTo>
                <a:lnTo>
                  <a:pt x="255" y="48"/>
                </a:lnTo>
                <a:lnTo>
                  <a:pt x="256" y="52"/>
                </a:lnTo>
                <a:lnTo>
                  <a:pt x="260" y="54"/>
                </a:lnTo>
                <a:lnTo>
                  <a:pt x="263" y="55"/>
                </a:lnTo>
                <a:lnTo>
                  <a:pt x="264" y="52"/>
                </a:lnTo>
                <a:lnTo>
                  <a:pt x="265" y="50"/>
                </a:lnTo>
                <a:lnTo>
                  <a:pt x="265" y="48"/>
                </a:lnTo>
                <a:lnTo>
                  <a:pt x="264" y="45"/>
                </a:lnTo>
                <a:lnTo>
                  <a:pt x="263" y="42"/>
                </a:lnTo>
                <a:lnTo>
                  <a:pt x="262" y="38"/>
                </a:lnTo>
                <a:lnTo>
                  <a:pt x="264" y="34"/>
                </a:lnTo>
                <a:lnTo>
                  <a:pt x="266" y="30"/>
                </a:lnTo>
                <a:lnTo>
                  <a:pt x="266" y="27"/>
                </a:lnTo>
                <a:lnTo>
                  <a:pt x="269" y="23"/>
                </a:lnTo>
                <a:lnTo>
                  <a:pt x="272" y="20"/>
                </a:lnTo>
                <a:lnTo>
                  <a:pt x="276" y="16"/>
                </a:lnTo>
                <a:lnTo>
                  <a:pt x="279" y="14"/>
                </a:lnTo>
                <a:lnTo>
                  <a:pt x="282" y="15"/>
                </a:lnTo>
                <a:lnTo>
                  <a:pt x="284" y="15"/>
                </a:lnTo>
                <a:lnTo>
                  <a:pt x="288" y="13"/>
                </a:lnTo>
                <a:lnTo>
                  <a:pt x="295" y="13"/>
                </a:lnTo>
                <a:lnTo>
                  <a:pt x="301" y="13"/>
                </a:lnTo>
                <a:lnTo>
                  <a:pt x="301" y="13"/>
                </a:lnTo>
                <a:lnTo>
                  <a:pt x="304" y="14"/>
                </a:lnTo>
                <a:lnTo>
                  <a:pt x="307" y="16"/>
                </a:lnTo>
                <a:lnTo>
                  <a:pt x="309" y="16"/>
                </a:lnTo>
                <a:lnTo>
                  <a:pt x="312" y="15"/>
                </a:lnTo>
                <a:lnTo>
                  <a:pt x="315" y="14"/>
                </a:lnTo>
                <a:lnTo>
                  <a:pt x="317" y="12"/>
                </a:lnTo>
                <a:lnTo>
                  <a:pt x="319" y="4"/>
                </a:lnTo>
                <a:lnTo>
                  <a:pt x="320" y="3"/>
                </a:lnTo>
                <a:lnTo>
                  <a:pt x="322" y="2"/>
                </a:lnTo>
                <a:lnTo>
                  <a:pt x="324" y="2"/>
                </a:lnTo>
                <a:lnTo>
                  <a:pt x="328" y="4"/>
                </a:lnTo>
                <a:lnTo>
                  <a:pt x="333" y="5"/>
                </a:lnTo>
                <a:lnTo>
                  <a:pt x="336" y="5"/>
                </a:lnTo>
                <a:lnTo>
                  <a:pt x="344" y="1"/>
                </a:lnTo>
                <a:lnTo>
                  <a:pt x="348" y="0"/>
                </a:lnTo>
                <a:lnTo>
                  <a:pt x="353" y="1"/>
                </a:lnTo>
                <a:lnTo>
                  <a:pt x="358" y="1"/>
                </a:lnTo>
                <a:lnTo>
                  <a:pt x="362" y="0"/>
                </a:lnTo>
                <a:lnTo>
                  <a:pt x="365" y="2"/>
                </a:lnTo>
                <a:lnTo>
                  <a:pt x="368" y="5"/>
                </a:lnTo>
                <a:lnTo>
                  <a:pt x="371" y="10"/>
                </a:lnTo>
                <a:lnTo>
                  <a:pt x="374" y="19"/>
                </a:lnTo>
                <a:lnTo>
                  <a:pt x="383" y="29"/>
                </a:lnTo>
                <a:lnTo>
                  <a:pt x="383" y="31"/>
                </a:lnTo>
                <a:lnTo>
                  <a:pt x="382" y="32"/>
                </a:lnTo>
                <a:lnTo>
                  <a:pt x="378" y="33"/>
                </a:lnTo>
                <a:lnTo>
                  <a:pt x="374" y="34"/>
                </a:lnTo>
                <a:lnTo>
                  <a:pt x="374" y="36"/>
                </a:lnTo>
                <a:lnTo>
                  <a:pt x="375" y="38"/>
                </a:lnTo>
                <a:lnTo>
                  <a:pt x="377" y="40"/>
                </a:lnTo>
                <a:lnTo>
                  <a:pt x="377" y="44"/>
                </a:lnTo>
                <a:lnTo>
                  <a:pt x="377" y="47"/>
                </a:lnTo>
                <a:lnTo>
                  <a:pt x="377" y="50"/>
                </a:lnTo>
                <a:lnTo>
                  <a:pt x="379" y="51"/>
                </a:lnTo>
                <a:lnTo>
                  <a:pt x="379" y="52"/>
                </a:lnTo>
                <a:lnTo>
                  <a:pt x="377" y="54"/>
                </a:lnTo>
                <a:lnTo>
                  <a:pt x="377" y="55"/>
                </a:lnTo>
                <a:lnTo>
                  <a:pt x="378" y="56"/>
                </a:lnTo>
                <a:lnTo>
                  <a:pt x="386" y="56"/>
                </a:lnTo>
                <a:lnTo>
                  <a:pt x="390" y="58"/>
                </a:lnTo>
                <a:lnTo>
                  <a:pt x="393" y="59"/>
                </a:lnTo>
                <a:lnTo>
                  <a:pt x="394" y="60"/>
                </a:lnTo>
                <a:lnTo>
                  <a:pt x="397" y="59"/>
                </a:lnTo>
                <a:lnTo>
                  <a:pt x="401" y="58"/>
                </a:lnTo>
                <a:lnTo>
                  <a:pt x="404" y="58"/>
                </a:lnTo>
                <a:lnTo>
                  <a:pt x="404" y="59"/>
                </a:lnTo>
                <a:lnTo>
                  <a:pt x="405" y="62"/>
                </a:lnTo>
                <a:lnTo>
                  <a:pt x="406" y="65"/>
                </a:lnTo>
                <a:lnTo>
                  <a:pt x="408" y="66"/>
                </a:lnTo>
                <a:lnTo>
                  <a:pt x="410" y="66"/>
                </a:lnTo>
                <a:lnTo>
                  <a:pt x="411" y="66"/>
                </a:lnTo>
                <a:lnTo>
                  <a:pt x="412" y="67"/>
                </a:lnTo>
                <a:lnTo>
                  <a:pt x="411" y="69"/>
                </a:lnTo>
                <a:lnTo>
                  <a:pt x="411" y="70"/>
                </a:lnTo>
                <a:lnTo>
                  <a:pt x="412" y="73"/>
                </a:lnTo>
                <a:lnTo>
                  <a:pt x="413" y="78"/>
                </a:lnTo>
                <a:lnTo>
                  <a:pt x="415" y="79"/>
                </a:lnTo>
                <a:lnTo>
                  <a:pt x="415" y="81"/>
                </a:lnTo>
                <a:lnTo>
                  <a:pt x="415" y="84"/>
                </a:lnTo>
                <a:lnTo>
                  <a:pt x="414" y="86"/>
                </a:lnTo>
                <a:lnTo>
                  <a:pt x="414" y="87"/>
                </a:lnTo>
                <a:lnTo>
                  <a:pt x="414" y="91"/>
                </a:lnTo>
                <a:lnTo>
                  <a:pt x="417" y="94"/>
                </a:lnTo>
                <a:lnTo>
                  <a:pt x="419" y="95"/>
                </a:lnTo>
                <a:lnTo>
                  <a:pt x="420" y="99"/>
                </a:lnTo>
                <a:lnTo>
                  <a:pt x="423" y="100"/>
                </a:lnTo>
                <a:lnTo>
                  <a:pt x="426" y="97"/>
                </a:lnTo>
                <a:lnTo>
                  <a:pt x="429" y="96"/>
                </a:lnTo>
                <a:lnTo>
                  <a:pt x="433" y="96"/>
                </a:lnTo>
                <a:lnTo>
                  <a:pt x="436" y="97"/>
                </a:lnTo>
                <a:lnTo>
                  <a:pt x="439" y="99"/>
                </a:lnTo>
                <a:lnTo>
                  <a:pt x="440" y="102"/>
                </a:lnTo>
                <a:lnTo>
                  <a:pt x="442" y="103"/>
                </a:lnTo>
                <a:lnTo>
                  <a:pt x="444" y="102"/>
                </a:lnTo>
                <a:lnTo>
                  <a:pt x="448" y="103"/>
                </a:lnTo>
                <a:lnTo>
                  <a:pt x="450" y="105"/>
                </a:lnTo>
                <a:lnTo>
                  <a:pt x="452" y="107"/>
                </a:lnTo>
                <a:lnTo>
                  <a:pt x="454" y="105"/>
                </a:lnTo>
                <a:lnTo>
                  <a:pt x="456" y="103"/>
                </a:lnTo>
                <a:lnTo>
                  <a:pt x="464" y="100"/>
                </a:lnTo>
                <a:lnTo>
                  <a:pt x="468" y="100"/>
                </a:lnTo>
                <a:lnTo>
                  <a:pt x="469" y="99"/>
                </a:lnTo>
                <a:lnTo>
                  <a:pt x="472" y="98"/>
                </a:lnTo>
                <a:lnTo>
                  <a:pt x="475" y="97"/>
                </a:lnTo>
                <a:lnTo>
                  <a:pt x="477" y="97"/>
                </a:lnTo>
                <a:lnTo>
                  <a:pt x="480" y="100"/>
                </a:lnTo>
                <a:lnTo>
                  <a:pt x="482" y="103"/>
                </a:lnTo>
                <a:lnTo>
                  <a:pt x="483" y="106"/>
                </a:lnTo>
                <a:lnTo>
                  <a:pt x="486" y="112"/>
                </a:lnTo>
                <a:lnTo>
                  <a:pt x="494" y="119"/>
                </a:lnTo>
                <a:lnTo>
                  <a:pt x="497" y="121"/>
                </a:lnTo>
                <a:lnTo>
                  <a:pt x="499" y="120"/>
                </a:lnTo>
                <a:lnTo>
                  <a:pt x="500" y="120"/>
                </a:lnTo>
                <a:lnTo>
                  <a:pt x="500" y="119"/>
                </a:lnTo>
                <a:lnTo>
                  <a:pt x="501" y="116"/>
                </a:lnTo>
                <a:lnTo>
                  <a:pt x="502" y="114"/>
                </a:lnTo>
                <a:lnTo>
                  <a:pt x="503" y="114"/>
                </a:lnTo>
                <a:lnTo>
                  <a:pt x="509" y="119"/>
                </a:lnTo>
                <a:lnTo>
                  <a:pt x="512" y="119"/>
                </a:lnTo>
                <a:lnTo>
                  <a:pt x="515" y="119"/>
                </a:lnTo>
                <a:lnTo>
                  <a:pt x="519" y="122"/>
                </a:lnTo>
                <a:lnTo>
                  <a:pt x="524" y="125"/>
                </a:lnTo>
                <a:lnTo>
                  <a:pt x="527" y="126"/>
                </a:lnTo>
                <a:lnTo>
                  <a:pt x="530" y="124"/>
                </a:lnTo>
                <a:lnTo>
                  <a:pt x="532" y="124"/>
                </a:lnTo>
                <a:lnTo>
                  <a:pt x="533" y="125"/>
                </a:lnTo>
                <a:lnTo>
                  <a:pt x="534" y="127"/>
                </a:lnTo>
                <a:lnTo>
                  <a:pt x="536" y="129"/>
                </a:lnTo>
                <a:lnTo>
                  <a:pt x="538" y="130"/>
                </a:lnTo>
                <a:lnTo>
                  <a:pt x="541" y="130"/>
                </a:lnTo>
                <a:lnTo>
                  <a:pt x="546" y="134"/>
                </a:lnTo>
                <a:lnTo>
                  <a:pt x="551" y="137"/>
                </a:lnTo>
                <a:lnTo>
                  <a:pt x="554" y="138"/>
                </a:lnTo>
                <a:lnTo>
                  <a:pt x="556" y="137"/>
                </a:lnTo>
                <a:lnTo>
                  <a:pt x="558" y="136"/>
                </a:lnTo>
                <a:lnTo>
                  <a:pt x="560" y="137"/>
                </a:lnTo>
                <a:lnTo>
                  <a:pt x="560" y="139"/>
                </a:lnTo>
                <a:lnTo>
                  <a:pt x="559" y="141"/>
                </a:lnTo>
                <a:lnTo>
                  <a:pt x="559" y="144"/>
                </a:lnTo>
                <a:lnTo>
                  <a:pt x="561" y="147"/>
                </a:lnTo>
                <a:lnTo>
                  <a:pt x="561" y="150"/>
                </a:lnTo>
                <a:lnTo>
                  <a:pt x="561" y="153"/>
                </a:lnTo>
                <a:lnTo>
                  <a:pt x="560" y="155"/>
                </a:lnTo>
                <a:lnTo>
                  <a:pt x="557" y="159"/>
                </a:lnTo>
                <a:lnTo>
                  <a:pt x="554" y="162"/>
                </a:lnTo>
                <a:lnTo>
                  <a:pt x="550" y="163"/>
                </a:lnTo>
                <a:lnTo>
                  <a:pt x="548" y="164"/>
                </a:lnTo>
                <a:lnTo>
                  <a:pt x="548" y="167"/>
                </a:lnTo>
                <a:lnTo>
                  <a:pt x="550" y="169"/>
                </a:lnTo>
                <a:lnTo>
                  <a:pt x="553" y="170"/>
                </a:lnTo>
                <a:lnTo>
                  <a:pt x="557" y="172"/>
                </a:lnTo>
                <a:lnTo>
                  <a:pt x="558" y="173"/>
                </a:lnTo>
                <a:lnTo>
                  <a:pt x="557" y="174"/>
                </a:lnTo>
                <a:lnTo>
                  <a:pt x="554" y="174"/>
                </a:lnTo>
                <a:lnTo>
                  <a:pt x="551" y="174"/>
                </a:lnTo>
                <a:lnTo>
                  <a:pt x="550" y="175"/>
                </a:lnTo>
                <a:lnTo>
                  <a:pt x="548" y="177"/>
                </a:lnTo>
                <a:lnTo>
                  <a:pt x="547" y="181"/>
                </a:lnTo>
                <a:lnTo>
                  <a:pt x="546" y="184"/>
                </a:lnTo>
                <a:lnTo>
                  <a:pt x="550" y="185"/>
                </a:lnTo>
                <a:lnTo>
                  <a:pt x="552" y="186"/>
                </a:lnTo>
                <a:lnTo>
                  <a:pt x="553" y="189"/>
                </a:lnTo>
                <a:lnTo>
                  <a:pt x="554" y="192"/>
                </a:lnTo>
                <a:lnTo>
                  <a:pt x="554" y="195"/>
                </a:lnTo>
                <a:lnTo>
                  <a:pt x="553" y="196"/>
                </a:lnTo>
                <a:lnTo>
                  <a:pt x="553" y="198"/>
                </a:lnTo>
                <a:lnTo>
                  <a:pt x="553" y="198"/>
                </a:lnTo>
                <a:lnTo>
                  <a:pt x="555" y="199"/>
                </a:lnTo>
                <a:lnTo>
                  <a:pt x="556" y="199"/>
                </a:lnTo>
                <a:lnTo>
                  <a:pt x="556" y="201"/>
                </a:lnTo>
                <a:lnTo>
                  <a:pt x="554" y="204"/>
                </a:lnTo>
                <a:lnTo>
                  <a:pt x="552" y="210"/>
                </a:lnTo>
                <a:lnTo>
                  <a:pt x="550" y="213"/>
                </a:lnTo>
                <a:lnTo>
                  <a:pt x="551" y="217"/>
                </a:lnTo>
                <a:lnTo>
                  <a:pt x="549" y="219"/>
                </a:lnTo>
                <a:lnTo>
                  <a:pt x="547" y="219"/>
                </a:lnTo>
                <a:lnTo>
                  <a:pt x="538" y="219"/>
                </a:lnTo>
                <a:lnTo>
                  <a:pt x="531" y="219"/>
                </a:lnTo>
                <a:lnTo>
                  <a:pt x="528" y="219"/>
                </a:lnTo>
                <a:lnTo>
                  <a:pt x="523" y="218"/>
                </a:lnTo>
                <a:lnTo>
                  <a:pt x="521" y="219"/>
                </a:lnTo>
                <a:lnTo>
                  <a:pt x="518" y="225"/>
                </a:lnTo>
                <a:lnTo>
                  <a:pt x="515" y="227"/>
                </a:lnTo>
                <a:lnTo>
                  <a:pt x="511" y="229"/>
                </a:lnTo>
                <a:lnTo>
                  <a:pt x="507" y="230"/>
                </a:lnTo>
                <a:lnTo>
                  <a:pt x="504" y="232"/>
                </a:lnTo>
                <a:lnTo>
                  <a:pt x="503" y="236"/>
                </a:lnTo>
                <a:lnTo>
                  <a:pt x="503" y="239"/>
                </a:lnTo>
                <a:lnTo>
                  <a:pt x="503" y="241"/>
                </a:lnTo>
                <a:lnTo>
                  <a:pt x="502" y="242"/>
                </a:lnTo>
                <a:lnTo>
                  <a:pt x="501" y="243"/>
                </a:lnTo>
                <a:lnTo>
                  <a:pt x="502" y="244"/>
                </a:lnTo>
                <a:lnTo>
                  <a:pt x="503" y="245"/>
                </a:lnTo>
                <a:lnTo>
                  <a:pt x="504" y="245"/>
                </a:lnTo>
                <a:lnTo>
                  <a:pt x="504" y="246"/>
                </a:lnTo>
                <a:lnTo>
                  <a:pt x="503" y="247"/>
                </a:lnTo>
                <a:lnTo>
                  <a:pt x="502" y="248"/>
                </a:lnTo>
                <a:lnTo>
                  <a:pt x="501" y="250"/>
                </a:lnTo>
                <a:lnTo>
                  <a:pt x="501" y="252"/>
                </a:lnTo>
                <a:lnTo>
                  <a:pt x="502" y="254"/>
                </a:lnTo>
                <a:close/>
                <a:moveTo>
                  <a:pt x="308" y="294"/>
                </a:moveTo>
                <a:lnTo>
                  <a:pt x="308" y="294"/>
                </a:lnTo>
                <a:lnTo>
                  <a:pt x="313" y="296"/>
                </a:lnTo>
                <a:lnTo>
                  <a:pt x="308" y="295"/>
                </a:lnTo>
                <a:lnTo>
                  <a:pt x="299" y="293"/>
                </a:lnTo>
                <a:lnTo>
                  <a:pt x="294" y="291"/>
                </a:lnTo>
                <a:lnTo>
                  <a:pt x="293" y="289"/>
                </a:lnTo>
                <a:lnTo>
                  <a:pt x="293" y="286"/>
                </a:lnTo>
                <a:lnTo>
                  <a:pt x="295" y="289"/>
                </a:lnTo>
                <a:lnTo>
                  <a:pt x="297" y="291"/>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1247" name="Andorra">
            <a:extLst>
              <a:ext uri="{FF2B5EF4-FFF2-40B4-BE49-F238E27FC236}">
                <a16:creationId xmlns:a16="http://schemas.microsoft.com/office/drawing/2014/main" id="{D2DCE795-A5E4-43D4-914B-4107016D0766}"/>
              </a:ext>
            </a:extLst>
          </p:cNvPr>
          <p:cNvSpPr>
            <a:spLocks/>
          </p:cNvSpPr>
          <p:nvPr/>
        </p:nvSpPr>
        <p:spPr bwMode="auto">
          <a:xfrm>
            <a:off x="5857509" y="3401911"/>
            <a:ext cx="11256" cy="7914"/>
          </a:xfrm>
          <a:custGeom>
            <a:avLst/>
            <a:gdLst>
              <a:gd name="T0" fmla="*/ 9 w 10"/>
              <a:gd name="T1" fmla="*/ 6 h 9"/>
              <a:gd name="T2" fmla="*/ 9 w 10"/>
              <a:gd name="T3" fmla="*/ 6 h 9"/>
              <a:gd name="T4" fmla="*/ 8 w 10"/>
              <a:gd name="T5" fmla="*/ 6 h 9"/>
              <a:gd name="T6" fmla="*/ 6 w 10"/>
              <a:gd name="T7" fmla="*/ 8 h 9"/>
              <a:gd name="T8" fmla="*/ 4 w 10"/>
              <a:gd name="T9" fmla="*/ 8 h 9"/>
              <a:gd name="T10" fmla="*/ 2 w 10"/>
              <a:gd name="T11" fmla="*/ 9 h 9"/>
              <a:gd name="T12" fmla="*/ 1 w 10"/>
              <a:gd name="T13" fmla="*/ 8 h 9"/>
              <a:gd name="T14" fmla="*/ 1 w 10"/>
              <a:gd name="T15" fmla="*/ 7 h 9"/>
              <a:gd name="T16" fmla="*/ 1 w 10"/>
              <a:gd name="T17" fmla="*/ 6 h 9"/>
              <a:gd name="T18" fmla="*/ 0 w 10"/>
              <a:gd name="T19" fmla="*/ 4 h 9"/>
              <a:gd name="T20" fmla="*/ 0 w 10"/>
              <a:gd name="T21" fmla="*/ 4 h 9"/>
              <a:gd name="T22" fmla="*/ 1 w 10"/>
              <a:gd name="T23" fmla="*/ 2 h 9"/>
              <a:gd name="T24" fmla="*/ 2 w 10"/>
              <a:gd name="T25" fmla="*/ 1 h 9"/>
              <a:gd name="T26" fmla="*/ 3 w 10"/>
              <a:gd name="T27" fmla="*/ 0 h 9"/>
              <a:gd name="T28" fmla="*/ 5 w 10"/>
              <a:gd name="T29" fmla="*/ 0 h 9"/>
              <a:gd name="T30" fmla="*/ 9 w 10"/>
              <a:gd name="T31" fmla="*/ 1 h 9"/>
              <a:gd name="T32" fmla="*/ 10 w 10"/>
              <a:gd name="T33" fmla="*/ 3 h 9"/>
              <a:gd name="T34" fmla="*/ 10 w 10"/>
              <a:gd name="T35" fmla="*/ 3 h 9"/>
              <a:gd name="T36" fmla="*/ 10 w 10"/>
              <a:gd name="T3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 h="9">
                <a:moveTo>
                  <a:pt x="9" y="6"/>
                </a:moveTo>
                <a:lnTo>
                  <a:pt x="9" y="6"/>
                </a:lnTo>
                <a:lnTo>
                  <a:pt x="8" y="6"/>
                </a:lnTo>
                <a:lnTo>
                  <a:pt x="6" y="8"/>
                </a:lnTo>
                <a:lnTo>
                  <a:pt x="4" y="8"/>
                </a:lnTo>
                <a:lnTo>
                  <a:pt x="2" y="9"/>
                </a:lnTo>
                <a:lnTo>
                  <a:pt x="1" y="8"/>
                </a:lnTo>
                <a:lnTo>
                  <a:pt x="1" y="7"/>
                </a:lnTo>
                <a:lnTo>
                  <a:pt x="1" y="6"/>
                </a:lnTo>
                <a:lnTo>
                  <a:pt x="0" y="4"/>
                </a:lnTo>
                <a:lnTo>
                  <a:pt x="0" y="4"/>
                </a:lnTo>
                <a:lnTo>
                  <a:pt x="1" y="2"/>
                </a:lnTo>
                <a:lnTo>
                  <a:pt x="2" y="1"/>
                </a:lnTo>
                <a:lnTo>
                  <a:pt x="3" y="0"/>
                </a:lnTo>
                <a:lnTo>
                  <a:pt x="5" y="0"/>
                </a:lnTo>
                <a:lnTo>
                  <a:pt x="9" y="1"/>
                </a:lnTo>
                <a:lnTo>
                  <a:pt x="10" y="3"/>
                </a:lnTo>
                <a:lnTo>
                  <a:pt x="10" y="3"/>
                </a:lnTo>
                <a:lnTo>
                  <a:pt x="10" y="5"/>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1248" name="Switzerland">
            <a:extLst>
              <a:ext uri="{FF2B5EF4-FFF2-40B4-BE49-F238E27FC236}">
                <a16:creationId xmlns:a16="http://schemas.microsoft.com/office/drawing/2014/main" id="{1FD02854-AD6D-434A-825B-314BB04F81AD}"/>
              </a:ext>
            </a:extLst>
          </p:cNvPr>
          <p:cNvSpPr>
            <a:spLocks/>
          </p:cNvSpPr>
          <p:nvPr/>
        </p:nvSpPr>
        <p:spPr bwMode="auto">
          <a:xfrm>
            <a:off x="5997087" y="3208017"/>
            <a:ext cx="135074" cy="75184"/>
          </a:xfrm>
          <a:custGeom>
            <a:avLst/>
            <a:gdLst>
              <a:gd name="T0" fmla="*/ 112 w 140"/>
              <a:gd name="T1" fmla="*/ 12 h 88"/>
              <a:gd name="T2" fmla="*/ 111 w 140"/>
              <a:gd name="T3" fmla="*/ 23 h 88"/>
              <a:gd name="T4" fmla="*/ 110 w 140"/>
              <a:gd name="T5" fmla="*/ 33 h 88"/>
              <a:gd name="T6" fmla="*/ 114 w 140"/>
              <a:gd name="T7" fmla="*/ 33 h 88"/>
              <a:gd name="T8" fmla="*/ 122 w 140"/>
              <a:gd name="T9" fmla="*/ 37 h 88"/>
              <a:gd name="T10" fmla="*/ 130 w 140"/>
              <a:gd name="T11" fmla="*/ 42 h 88"/>
              <a:gd name="T12" fmla="*/ 139 w 140"/>
              <a:gd name="T13" fmla="*/ 37 h 88"/>
              <a:gd name="T14" fmla="*/ 139 w 140"/>
              <a:gd name="T15" fmla="*/ 48 h 88"/>
              <a:gd name="T16" fmla="*/ 140 w 140"/>
              <a:gd name="T17" fmla="*/ 55 h 88"/>
              <a:gd name="T18" fmla="*/ 134 w 140"/>
              <a:gd name="T19" fmla="*/ 56 h 88"/>
              <a:gd name="T20" fmla="*/ 129 w 140"/>
              <a:gd name="T21" fmla="*/ 54 h 88"/>
              <a:gd name="T22" fmla="*/ 127 w 140"/>
              <a:gd name="T23" fmla="*/ 61 h 88"/>
              <a:gd name="T24" fmla="*/ 130 w 140"/>
              <a:gd name="T25" fmla="*/ 68 h 88"/>
              <a:gd name="T26" fmla="*/ 128 w 140"/>
              <a:gd name="T27" fmla="*/ 71 h 88"/>
              <a:gd name="T28" fmla="*/ 124 w 140"/>
              <a:gd name="T29" fmla="*/ 65 h 88"/>
              <a:gd name="T30" fmla="*/ 115 w 140"/>
              <a:gd name="T31" fmla="*/ 68 h 88"/>
              <a:gd name="T32" fmla="*/ 110 w 140"/>
              <a:gd name="T33" fmla="*/ 65 h 88"/>
              <a:gd name="T34" fmla="*/ 107 w 140"/>
              <a:gd name="T35" fmla="*/ 59 h 88"/>
              <a:gd name="T36" fmla="*/ 103 w 140"/>
              <a:gd name="T37" fmla="*/ 63 h 88"/>
              <a:gd name="T38" fmla="*/ 97 w 140"/>
              <a:gd name="T39" fmla="*/ 76 h 88"/>
              <a:gd name="T40" fmla="*/ 95 w 140"/>
              <a:gd name="T41" fmla="*/ 82 h 88"/>
              <a:gd name="T42" fmla="*/ 96 w 140"/>
              <a:gd name="T43" fmla="*/ 88 h 88"/>
              <a:gd name="T44" fmla="*/ 91 w 140"/>
              <a:gd name="T45" fmla="*/ 85 h 88"/>
              <a:gd name="T46" fmla="*/ 89 w 140"/>
              <a:gd name="T47" fmla="*/ 77 h 88"/>
              <a:gd name="T48" fmla="*/ 78 w 140"/>
              <a:gd name="T49" fmla="*/ 70 h 88"/>
              <a:gd name="T50" fmla="*/ 77 w 140"/>
              <a:gd name="T51" fmla="*/ 61 h 88"/>
              <a:gd name="T52" fmla="*/ 73 w 140"/>
              <a:gd name="T53" fmla="*/ 63 h 88"/>
              <a:gd name="T54" fmla="*/ 66 w 140"/>
              <a:gd name="T55" fmla="*/ 69 h 88"/>
              <a:gd name="T56" fmla="*/ 64 w 140"/>
              <a:gd name="T57" fmla="*/ 79 h 88"/>
              <a:gd name="T58" fmla="*/ 57 w 140"/>
              <a:gd name="T59" fmla="*/ 84 h 88"/>
              <a:gd name="T60" fmla="*/ 46 w 140"/>
              <a:gd name="T61" fmla="*/ 83 h 88"/>
              <a:gd name="T62" fmla="*/ 34 w 140"/>
              <a:gd name="T63" fmla="*/ 85 h 88"/>
              <a:gd name="T64" fmla="*/ 31 w 140"/>
              <a:gd name="T65" fmla="*/ 80 h 88"/>
              <a:gd name="T66" fmla="*/ 26 w 140"/>
              <a:gd name="T67" fmla="*/ 75 h 88"/>
              <a:gd name="T68" fmla="*/ 26 w 140"/>
              <a:gd name="T69" fmla="*/ 67 h 88"/>
              <a:gd name="T70" fmla="*/ 25 w 140"/>
              <a:gd name="T71" fmla="*/ 62 h 88"/>
              <a:gd name="T72" fmla="*/ 11 w 140"/>
              <a:gd name="T73" fmla="*/ 63 h 88"/>
              <a:gd name="T74" fmla="*/ 8 w 140"/>
              <a:gd name="T75" fmla="*/ 67 h 88"/>
              <a:gd name="T76" fmla="*/ 4 w 140"/>
              <a:gd name="T77" fmla="*/ 74 h 88"/>
              <a:gd name="T78" fmla="*/ 0 w 140"/>
              <a:gd name="T79" fmla="*/ 71 h 88"/>
              <a:gd name="T80" fmla="*/ 5 w 140"/>
              <a:gd name="T81" fmla="*/ 66 h 88"/>
              <a:gd name="T82" fmla="*/ 3 w 140"/>
              <a:gd name="T83" fmla="*/ 60 h 88"/>
              <a:gd name="T84" fmla="*/ 6 w 140"/>
              <a:gd name="T85" fmla="*/ 53 h 88"/>
              <a:gd name="T86" fmla="*/ 15 w 140"/>
              <a:gd name="T87" fmla="*/ 43 h 88"/>
              <a:gd name="T88" fmla="*/ 21 w 140"/>
              <a:gd name="T89" fmla="*/ 36 h 88"/>
              <a:gd name="T90" fmla="*/ 27 w 140"/>
              <a:gd name="T91" fmla="*/ 28 h 88"/>
              <a:gd name="T92" fmla="*/ 32 w 140"/>
              <a:gd name="T93" fmla="*/ 21 h 88"/>
              <a:gd name="T94" fmla="*/ 30 w 140"/>
              <a:gd name="T95" fmla="*/ 19 h 88"/>
              <a:gd name="T96" fmla="*/ 34 w 140"/>
              <a:gd name="T97" fmla="*/ 13 h 88"/>
              <a:gd name="T98" fmla="*/ 38 w 140"/>
              <a:gd name="T99" fmla="*/ 15 h 88"/>
              <a:gd name="T100" fmla="*/ 43 w 140"/>
              <a:gd name="T101" fmla="*/ 16 h 88"/>
              <a:gd name="T102" fmla="*/ 48 w 140"/>
              <a:gd name="T103" fmla="*/ 11 h 88"/>
              <a:gd name="T104" fmla="*/ 61 w 140"/>
              <a:gd name="T105" fmla="*/ 10 h 88"/>
              <a:gd name="T106" fmla="*/ 74 w 140"/>
              <a:gd name="T107" fmla="*/ 8 h 88"/>
              <a:gd name="T108" fmla="*/ 78 w 140"/>
              <a:gd name="T109" fmla="*/ 8 h 88"/>
              <a:gd name="T110" fmla="*/ 81 w 140"/>
              <a:gd name="T111" fmla="*/ 6 h 88"/>
              <a:gd name="T112" fmla="*/ 78 w 140"/>
              <a:gd name="T113" fmla="*/ 6 h 88"/>
              <a:gd name="T114" fmla="*/ 77 w 140"/>
              <a:gd name="T115" fmla="*/ 2 h 88"/>
              <a:gd name="T116" fmla="*/ 83 w 140"/>
              <a:gd name="T117" fmla="*/ 1 h 88"/>
              <a:gd name="T118" fmla="*/ 88 w 140"/>
              <a:gd name="T119" fmla="*/ 3 h 88"/>
              <a:gd name="T120" fmla="*/ 91 w 140"/>
              <a:gd name="T121" fmla="*/ 5 h 88"/>
              <a:gd name="T122" fmla="*/ 100 w 140"/>
              <a:gd name="T123" fmla="*/ 5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0" h="88">
                <a:moveTo>
                  <a:pt x="111" y="12"/>
                </a:moveTo>
                <a:lnTo>
                  <a:pt x="111" y="12"/>
                </a:lnTo>
                <a:lnTo>
                  <a:pt x="112" y="12"/>
                </a:lnTo>
                <a:lnTo>
                  <a:pt x="114" y="14"/>
                </a:lnTo>
                <a:lnTo>
                  <a:pt x="114" y="18"/>
                </a:lnTo>
                <a:lnTo>
                  <a:pt x="111" y="23"/>
                </a:lnTo>
                <a:lnTo>
                  <a:pt x="110" y="28"/>
                </a:lnTo>
                <a:lnTo>
                  <a:pt x="110" y="31"/>
                </a:lnTo>
                <a:lnTo>
                  <a:pt x="110" y="33"/>
                </a:lnTo>
                <a:lnTo>
                  <a:pt x="110" y="33"/>
                </a:lnTo>
                <a:lnTo>
                  <a:pt x="113" y="33"/>
                </a:lnTo>
                <a:lnTo>
                  <a:pt x="114" y="33"/>
                </a:lnTo>
                <a:lnTo>
                  <a:pt x="118" y="34"/>
                </a:lnTo>
                <a:lnTo>
                  <a:pt x="121" y="35"/>
                </a:lnTo>
                <a:lnTo>
                  <a:pt x="122" y="37"/>
                </a:lnTo>
                <a:lnTo>
                  <a:pt x="122" y="39"/>
                </a:lnTo>
                <a:lnTo>
                  <a:pt x="126" y="41"/>
                </a:lnTo>
                <a:lnTo>
                  <a:pt x="130" y="42"/>
                </a:lnTo>
                <a:lnTo>
                  <a:pt x="132" y="42"/>
                </a:lnTo>
                <a:lnTo>
                  <a:pt x="137" y="36"/>
                </a:lnTo>
                <a:lnTo>
                  <a:pt x="139" y="37"/>
                </a:lnTo>
                <a:lnTo>
                  <a:pt x="140" y="40"/>
                </a:lnTo>
                <a:lnTo>
                  <a:pt x="140" y="42"/>
                </a:lnTo>
                <a:lnTo>
                  <a:pt x="139" y="48"/>
                </a:lnTo>
                <a:lnTo>
                  <a:pt x="138" y="51"/>
                </a:lnTo>
                <a:lnTo>
                  <a:pt x="140" y="53"/>
                </a:lnTo>
                <a:lnTo>
                  <a:pt x="140" y="55"/>
                </a:lnTo>
                <a:lnTo>
                  <a:pt x="139" y="56"/>
                </a:lnTo>
                <a:lnTo>
                  <a:pt x="137" y="56"/>
                </a:lnTo>
                <a:lnTo>
                  <a:pt x="134" y="56"/>
                </a:lnTo>
                <a:lnTo>
                  <a:pt x="132" y="53"/>
                </a:lnTo>
                <a:lnTo>
                  <a:pt x="130" y="53"/>
                </a:lnTo>
                <a:lnTo>
                  <a:pt x="129" y="54"/>
                </a:lnTo>
                <a:lnTo>
                  <a:pt x="128" y="56"/>
                </a:lnTo>
                <a:lnTo>
                  <a:pt x="127" y="59"/>
                </a:lnTo>
                <a:lnTo>
                  <a:pt x="127" y="61"/>
                </a:lnTo>
                <a:lnTo>
                  <a:pt x="128" y="62"/>
                </a:lnTo>
                <a:lnTo>
                  <a:pt x="129" y="65"/>
                </a:lnTo>
                <a:lnTo>
                  <a:pt x="130" y="68"/>
                </a:lnTo>
                <a:lnTo>
                  <a:pt x="130" y="69"/>
                </a:lnTo>
                <a:lnTo>
                  <a:pt x="130" y="70"/>
                </a:lnTo>
                <a:lnTo>
                  <a:pt x="128" y="71"/>
                </a:lnTo>
                <a:lnTo>
                  <a:pt x="127" y="70"/>
                </a:lnTo>
                <a:lnTo>
                  <a:pt x="125" y="66"/>
                </a:lnTo>
                <a:lnTo>
                  <a:pt x="124" y="65"/>
                </a:lnTo>
                <a:lnTo>
                  <a:pt x="122" y="64"/>
                </a:lnTo>
                <a:lnTo>
                  <a:pt x="119" y="65"/>
                </a:lnTo>
                <a:lnTo>
                  <a:pt x="115" y="68"/>
                </a:lnTo>
                <a:lnTo>
                  <a:pt x="113" y="68"/>
                </a:lnTo>
                <a:lnTo>
                  <a:pt x="111" y="67"/>
                </a:lnTo>
                <a:lnTo>
                  <a:pt x="110" y="65"/>
                </a:lnTo>
                <a:lnTo>
                  <a:pt x="109" y="62"/>
                </a:lnTo>
                <a:lnTo>
                  <a:pt x="108" y="59"/>
                </a:lnTo>
                <a:lnTo>
                  <a:pt x="107" y="59"/>
                </a:lnTo>
                <a:lnTo>
                  <a:pt x="104" y="59"/>
                </a:lnTo>
                <a:lnTo>
                  <a:pt x="103" y="60"/>
                </a:lnTo>
                <a:lnTo>
                  <a:pt x="103" y="63"/>
                </a:lnTo>
                <a:lnTo>
                  <a:pt x="103" y="68"/>
                </a:lnTo>
                <a:lnTo>
                  <a:pt x="101" y="71"/>
                </a:lnTo>
                <a:lnTo>
                  <a:pt x="97" y="76"/>
                </a:lnTo>
                <a:lnTo>
                  <a:pt x="95" y="79"/>
                </a:lnTo>
                <a:lnTo>
                  <a:pt x="95" y="80"/>
                </a:lnTo>
                <a:lnTo>
                  <a:pt x="95" y="82"/>
                </a:lnTo>
                <a:lnTo>
                  <a:pt x="95" y="84"/>
                </a:lnTo>
                <a:lnTo>
                  <a:pt x="96" y="86"/>
                </a:lnTo>
                <a:lnTo>
                  <a:pt x="96" y="88"/>
                </a:lnTo>
                <a:lnTo>
                  <a:pt x="93" y="88"/>
                </a:lnTo>
                <a:lnTo>
                  <a:pt x="92" y="87"/>
                </a:lnTo>
                <a:lnTo>
                  <a:pt x="91" y="85"/>
                </a:lnTo>
                <a:lnTo>
                  <a:pt x="88" y="81"/>
                </a:lnTo>
                <a:lnTo>
                  <a:pt x="89" y="78"/>
                </a:lnTo>
                <a:lnTo>
                  <a:pt x="89" y="77"/>
                </a:lnTo>
                <a:lnTo>
                  <a:pt x="84" y="76"/>
                </a:lnTo>
                <a:lnTo>
                  <a:pt x="81" y="74"/>
                </a:lnTo>
                <a:lnTo>
                  <a:pt x="78" y="70"/>
                </a:lnTo>
                <a:lnTo>
                  <a:pt x="77" y="68"/>
                </a:lnTo>
                <a:lnTo>
                  <a:pt x="77" y="63"/>
                </a:lnTo>
                <a:lnTo>
                  <a:pt x="77" y="61"/>
                </a:lnTo>
                <a:lnTo>
                  <a:pt x="77" y="61"/>
                </a:lnTo>
                <a:lnTo>
                  <a:pt x="75" y="61"/>
                </a:lnTo>
                <a:lnTo>
                  <a:pt x="73" y="63"/>
                </a:lnTo>
                <a:lnTo>
                  <a:pt x="71" y="66"/>
                </a:lnTo>
                <a:lnTo>
                  <a:pt x="67" y="69"/>
                </a:lnTo>
                <a:lnTo>
                  <a:pt x="66" y="69"/>
                </a:lnTo>
                <a:lnTo>
                  <a:pt x="68" y="72"/>
                </a:lnTo>
                <a:lnTo>
                  <a:pt x="68" y="74"/>
                </a:lnTo>
                <a:lnTo>
                  <a:pt x="64" y="79"/>
                </a:lnTo>
                <a:lnTo>
                  <a:pt x="63" y="80"/>
                </a:lnTo>
                <a:lnTo>
                  <a:pt x="59" y="83"/>
                </a:lnTo>
                <a:lnTo>
                  <a:pt x="57" y="84"/>
                </a:lnTo>
                <a:lnTo>
                  <a:pt x="51" y="82"/>
                </a:lnTo>
                <a:lnTo>
                  <a:pt x="49" y="82"/>
                </a:lnTo>
                <a:lnTo>
                  <a:pt x="46" y="83"/>
                </a:lnTo>
                <a:lnTo>
                  <a:pt x="43" y="85"/>
                </a:lnTo>
                <a:lnTo>
                  <a:pt x="36" y="86"/>
                </a:lnTo>
                <a:lnTo>
                  <a:pt x="34" y="85"/>
                </a:lnTo>
                <a:lnTo>
                  <a:pt x="33" y="84"/>
                </a:lnTo>
                <a:lnTo>
                  <a:pt x="33" y="83"/>
                </a:lnTo>
                <a:lnTo>
                  <a:pt x="31" y="80"/>
                </a:lnTo>
                <a:lnTo>
                  <a:pt x="29" y="79"/>
                </a:lnTo>
                <a:lnTo>
                  <a:pt x="28" y="77"/>
                </a:lnTo>
                <a:lnTo>
                  <a:pt x="26" y="75"/>
                </a:lnTo>
                <a:lnTo>
                  <a:pt x="25" y="74"/>
                </a:lnTo>
                <a:lnTo>
                  <a:pt x="27" y="69"/>
                </a:lnTo>
                <a:lnTo>
                  <a:pt x="26" y="67"/>
                </a:lnTo>
                <a:lnTo>
                  <a:pt x="25" y="64"/>
                </a:lnTo>
                <a:lnTo>
                  <a:pt x="25" y="63"/>
                </a:lnTo>
                <a:lnTo>
                  <a:pt x="25" y="62"/>
                </a:lnTo>
                <a:lnTo>
                  <a:pt x="19" y="61"/>
                </a:lnTo>
                <a:lnTo>
                  <a:pt x="15" y="62"/>
                </a:lnTo>
                <a:lnTo>
                  <a:pt x="11" y="63"/>
                </a:lnTo>
                <a:lnTo>
                  <a:pt x="9" y="66"/>
                </a:lnTo>
                <a:lnTo>
                  <a:pt x="8" y="67"/>
                </a:lnTo>
                <a:lnTo>
                  <a:pt x="8" y="67"/>
                </a:lnTo>
                <a:lnTo>
                  <a:pt x="10" y="70"/>
                </a:lnTo>
                <a:lnTo>
                  <a:pt x="7" y="72"/>
                </a:lnTo>
                <a:lnTo>
                  <a:pt x="4" y="74"/>
                </a:lnTo>
                <a:lnTo>
                  <a:pt x="1" y="74"/>
                </a:lnTo>
                <a:lnTo>
                  <a:pt x="0" y="74"/>
                </a:lnTo>
                <a:lnTo>
                  <a:pt x="0" y="71"/>
                </a:lnTo>
                <a:lnTo>
                  <a:pt x="2" y="70"/>
                </a:lnTo>
                <a:lnTo>
                  <a:pt x="4" y="68"/>
                </a:lnTo>
                <a:lnTo>
                  <a:pt x="5" y="66"/>
                </a:lnTo>
                <a:lnTo>
                  <a:pt x="5" y="64"/>
                </a:lnTo>
                <a:lnTo>
                  <a:pt x="3" y="62"/>
                </a:lnTo>
                <a:lnTo>
                  <a:pt x="3" y="60"/>
                </a:lnTo>
                <a:lnTo>
                  <a:pt x="5" y="58"/>
                </a:lnTo>
                <a:lnTo>
                  <a:pt x="5" y="55"/>
                </a:lnTo>
                <a:lnTo>
                  <a:pt x="6" y="53"/>
                </a:lnTo>
                <a:lnTo>
                  <a:pt x="10" y="50"/>
                </a:lnTo>
                <a:lnTo>
                  <a:pt x="14" y="47"/>
                </a:lnTo>
                <a:lnTo>
                  <a:pt x="15" y="43"/>
                </a:lnTo>
                <a:lnTo>
                  <a:pt x="15" y="39"/>
                </a:lnTo>
                <a:lnTo>
                  <a:pt x="15" y="38"/>
                </a:lnTo>
                <a:lnTo>
                  <a:pt x="21" y="36"/>
                </a:lnTo>
                <a:lnTo>
                  <a:pt x="22" y="34"/>
                </a:lnTo>
                <a:lnTo>
                  <a:pt x="23" y="33"/>
                </a:lnTo>
                <a:lnTo>
                  <a:pt x="27" y="28"/>
                </a:lnTo>
                <a:lnTo>
                  <a:pt x="31" y="24"/>
                </a:lnTo>
                <a:lnTo>
                  <a:pt x="32" y="22"/>
                </a:lnTo>
                <a:lnTo>
                  <a:pt x="32" y="21"/>
                </a:lnTo>
                <a:lnTo>
                  <a:pt x="32" y="20"/>
                </a:lnTo>
                <a:lnTo>
                  <a:pt x="32" y="20"/>
                </a:lnTo>
                <a:lnTo>
                  <a:pt x="30" y="19"/>
                </a:lnTo>
                <a:lnTo>
                  <a:pt x="29" y="18"/>
                </a:lnTo>
                <a:lnTo>
                  <a:pt x="31" y="15"/>
                </a:lnTo>
                <a:lnTo>
                  <a:pt x="34" y="13"/>
                </a:lnTo>
                <a:lnTo>
                  <a:pt x="37" y="13"/>
                </a:lnTo>
                <a:lnTo>
                  <a:pt x="38" y="14"/>
                </a:lnTo>
                <a:lnTo>
                  <a:pt x="38" y="15"/>
                </a:lnTo>
                <a:lnTo>
                  <a:pt x="39" y="16"/>
                </a:lnTo>
                <a:lnTo>
                  <a:pt x="41" y="16"/>
                </a:lnTo>
                <a:lnTo>
                  <a:pt x="43" y="16"/>
                </a:lnTo>
                <a:lnTo>
                  <a:pt x="45" y="15"/>
                </a:lnTo>
                <a:lnTo>
                  <a:pt x="47" y="12"/>
                </a:lnTo>
                <a:lnTo>
                  <a:pt x="48" y="11"/>
                </a:lnTo>
                <a:lnTo>
                  <a:pt x="52" y="9"/>
                </a:lnTo>
                <a:lnTo>
                  <a:pt x="54" y="10"/>
                </a:lnTo>
                <a:lnTo>
                  <a:pt x="61" y="10"/>
                </a:lnTo>
                <a:lnTo>
                  <a:pt x="67" y="9"/>
                </a:lnTo>
                <a:lnTo>
                  <a:pt x="70" y="8"/>
                </a:lnTo>
                <a:lnTo>
                  <a:pt x="74" y="8"/>
                </a:lnTo>
                <a:lnTo>
                  <a:pt x="77" y="9"/>
                </a:lnTo>
                <a:lnTo>
                  <a:pt x="77" y="9"/>
                </a:lnTo>
                <a:lnTo>
                  <a:pt x="78" y="8"/>
                </a:lnTo>
                <a:lnTo>
                  <a:pt x="78" y="8"/>
                </a:lnTo>
                <a:lnTo>
                  <a:pt x="81" y="7"/>
                </a:lnTo>
                <a:lnTo>
                  <a:pt x="81" y="6"/>
                </a:lnTo>
                <a:lnTo>
                  <a:pt x="81" y="6"/>
                </a:lnTo>
                <a:lnTo>
                  <a:pt x="81" y="5"/>
                </a:lnTo>
                <a:lnTo>
                  <a:pt x="78" y="6"/>
                </a:lnTo>
                <a:lnTo>
                  <a:pt x="76" y="5"/>
                </a:lnTo>
                <a:lnTo>
                  <a:pt x="76" y="4"/>
                </a:lnTo>
                <a:lnTo>
                  <a:pt x="77" y="2"/>
                </a:lnTo>
                <a:lnTo>
                  <a:pt x="79" y="0"/>
                </a:lnTo>
                <a:lnTo>
                  <a:pt x="81" y="0"/>
                </a:lnTo>
                <a:lnTo>
                  <a:pt x="83" y="1"/>
                </a:lnTo>
                <a:lnTo>
                  <a:pt x="86" y="4"/>
                </a:lnTo>
                <a:lnTo>
                  <a:pt x="87" y="4"/>
                </a:lnTo>
                <a:lnTo>
                  <a:pt x="88" y="3"/>
                </a:lnTo>
                <a:lnTo>
                  <a:pt x="88" y="3"/>
                </a:lnTo>
                <a:lnTo>
                  <a:pt x="89" y="3"/>
                </a:lnTo>
                <a:lnTo>
                  <a:pt x="91" y="5"/>
                </a:lnTo>
                <a:lnTo>
                  <a:pt x="91" y="6"/>
                </a:lnTo>
                <a:lnTo>
                  <a:pt x="99" y="5"/>
                </a:lnTo>
                <a:lnTo>
                  <a:pt x="100" y="5"/>
                </a:lnTo>
                <a:lnTo>
                  <a:pt x="106" y="8"/>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1249" name="France">
            <a:extLst>
              <a:ext uri="{FF2B5EF4-FFF2-40B4-BE49-F238E27FC236}">
                <a16:creationId xmlns:a16="http://schemas.microsoft.com/office/drawing/2014/main" id="{8714FE46-E8BF-4101-811E-A8344D9761F7}"/>
              </a:ext>
            </a:extLst>
          </p:cNvPr>
          <p:cNvSpPr>
            <a:spLocks noEditPoints="1"/>
          </p:cNvSpPr>
          <p:nvPr/>
        </p:nvSpPr>
        <p:spPr bwMode="auto">
          <a:xfrm>
            <a:off x="5670657" y="3073477"/>
            <a:ext cx="434490" cy="373939"/>
          </a:xfrm>
          <a:custGeom>
            <a:avLst/>
            <a:gdLst>
              <a:gd name="T0" fmla="*/ 250 w 446"/>
              <a:gd name="T1" fmla="*/ 28 h 438"/>
              <a:gd name="T2" fmla="*/ 268 w 446"/>
              <a:gd name="T3" fmla="*/ 37 h 438"/>
              <a:gd name="T4" fmla="*/ 278 w 446"/>
              <a:gd name="T5" fmla="*/ 53 h 438"/>
              <a:gd name="T6" fmla="*/ 297 w 446"/>
              <a:gd name="T7" fmla="*/ 47 h 438"/>
              <a:gd name="T8" fmla="*/ 308 w 446"/>
              <a:gd name="T9" fmla="*/ 67 h 438"/>
              <a:gd name="T10" fmla="*/ 329 w 446"/>
              <a:gd name="T11" fmla="*/ 76 h 438"/>
              <a:gd name="T12" fmla="*/ 344 w 446"/>
              <a:gd name="T13" fmla="*/ 79 h 438"/>
              <a:gd name="T14" fmla="*/ 361 w 446"/>
              <a:gd name="T15" fmla="*/ 94 h 438"/>
              <a:gd name="T16" fmla="*/ 376 w 446"/>
              <a:gd name="T17" fmla="*/ 96 h 438"/>
              <a:gd name="T18" fmla="*/ 401 w 446"/>
              <a:gd name="T19" fmla="*/ 108 h 438"/>
              <a:gd name="T20" fmla="*/ 383 w 446"/>
              <a:gd name="T21" fmla="*/ 159 h 438"/>
              <a:gd name="T22" fmla="*/ 372 w 446"/>
              <a:gd name="T23" fmla="*/ 174 h 438"/>
              <a:gd name="T24" fmla="*/ 366 w 446"/>
              <a:gd name="T25" fmla="*/ 181 h 438"/>
              <a:gd name="T26" fmla="*/ 340 w 446"/>
              <a:gd name="T27" fmla="*/ 212 h 438"/>
              <a:gd name="T28" fmla="*/ 334 w 446"/>
              <a:gd name="T29" fmla="*/ 233 h 438"/>
              <a:gd name="T30" fmla="*/ 353 w 446"/>
              <a:gd name="T31" fmla="*/ 220 h 438"/>
              <a:gd name="T32" fmla="*/ 365 w 446"/>
              <a:gd name="T33" fmla="*/ 239 h 438"/>
              <a:gd name="T34" fmla="*/ 367 w 446"/>
              <a:gd name="T35" fmla="*/ 262 h 438"/>
              <a:gd name="T36" fmla="*/ 357 w 446"/>
              <a:gd name="T37" fmla="*/ 278 h 438"/>
              <a:gd name="T38" fmla="*/ 366 w 446"/>
              <a:gd name="T39" fmla="*/ 292 h 438"/>
              <a:gd name="T40" fmla="*/ 363 w 446"/>
              <a:gd name="T41" fmla="*/ 313 h 438"/>
              <a:gd name="T42" fmla="*/ 385 w 446"/>
              <a:gd name="T43" fmla="*/ 329 h 438"/>
              <a:gd name="T44" fmla="*/ 378 w 446"/>
              <a:gd name="T45" fmla="*/ 339 h 438"/>
              <a:gd name="T46" fmla="*/ 339 w 446"/>
              <a:gd name="T47" fmla="*/ 368 h 438"/>
              <a:gd name="T48" fmla="*/ 306 w 446"/>
              <a:gd name="T49" fmla="*/ 352 h 438"/>
              <a:gd name="T50" fmla="*/ 286 w 446"/>
              <a:gd name="T51" fmla="*/ 352 h 438"/>
              <a:gd name="T52" fmla="*/ 250 w 446"/>
              <a:gd name="T53" fmla="*/ 362 h 438"/>
              <a:gd name="T54" fmla="*/ 238 w 446"/>
              <a:gd name="T55" fmla="*/ 394 h 438"/>
              <a:gd name="T56" fmla="*/ 214 w 446"/>
              <a:gd name="T57" fmla="*/ 397 h 438"/>
              <a:gd name="T58" fmla="*/ 201 w 446"/>
              <a:gd name="T59" fmla="*/ 387 h 438"/>
              <a:gd name="T60" fmla="*/ 172 w 446"/>
              <a:gd name="T61" fmla="*/ 378 h 438"/>
              <a:gd name="T62" fmla="*/ 154 w 446"/>
              <a:gd name="T63" fmla="*/ 383 h 438"/>
              <a:gd name="T64" fmla="*/ 131 w 446"/>
              <a:gd name="T65" fmla="*/ 379 h 438"/>
              <a:gd name="T66" fmla="*/ 107 w 446"/>
              <a:gd name="T67" fmla="*/ 367 h 438"/>
              <a:gd name="T68" fmla="*/ 104 w 446"/>
              <a:gd name="T69" fmla="*/ 360 h 438"/>
              <a:gd name="T70" fmla="*/ 106 w 446"/>
              <a:gd name="T71" fmla="*/ 327 h 438"/>
              <a:gd name="T72" fmla="*/ 114 w 446"/>
              <a:gd name="T73" fmla="*/ 261 h 438"/>
              <a:gd name="T74" fmla="*/ 123 w 446"/>
              <a:gd name="T75" fmla="*/ 264 h 438"/>
              <a:gd name="T76" fmla="*/ 113 w 446"/>
              <a:gd name="T77" fmla="*/ 231 h 438"/>
              <a:gd name="T78" fmla="*/ 83 w 446"/>
              <a:gd name="T79" fmla="*/ 198 h 438"/>
              <a:gd name="T80" fmla="*/ 94 w 446"/>
              <a:gd name="T81" fmla="*/ 185 h 438"/>
              <a:gd name="T82" fmla="*/ 65 w 446"/>
              <a:gd name="T83" fmla="*/ 171 h 438"/>
              <a:gd name="T84" fmla="*/ 46 w 446"/>
              <a:gd name="T85" fmla="*/ 163 h 438"/>
              <a:gd name="T86" fmla="*/ 10 w 446"/>
              <a:gd name="T87" fmla="*/ 150 h 438"/>
              <a:gd name="T88" fmla="*/ 7 w 446"/>
              <a:gd name="T89" fmla="*/ 134 h 438"/>
              <a:gd name="T90" fmla="*/ 0 w 446"/>
              <a:gd name="T91" fmla="*/ 130 h 438"/>
              <a:gd name="T92" fmla="*/ 54 w 446"/>
              <a:gd name="T93" fmla="*/ 112 h 438"/>
              <a:gd name="T94" fmla="*/ 103 w 446"/>
              <a:gd name="T95" fmla="*/ 119 h 438"/>
              <a:gd name="T96" fmla="*/ 95 w 446"/>
              <a:gd name="T97" fmla="*/ 69 h 438"/>
              <a:gd name="T98" fmla="*/ 132 w 446"/>
              <a:gd name="T99" fmla="*/ 85 h 438"/>
              <a:gd name="T100" fmla="*/ 154 w 446"/>
              <a:gd name="T101" fmla="*/ 68 h 438"/>
              <a:gd name="T102" fmla="*/ 198 w 446"/>
              <a:gd name="T103" fmla="*/ 14 h 438"/>
              <a:gd name="T104" fmla="*/ 229 w 446"/>
              <a:gd name="T105" fmla="*/ 11 h 438"/>
              <a:gd name="T106" fmla="*/ 105 w 446"/>
              <a:gd name="T107" fmla="*/ 238 h 438"/>
              <a:gd name="T108" fmla="*/ 446 w 446"/>
              <a:gd name="T109" fmla="*/ 406 h 438"/>
              <a:gd name="T110" fmla="*/ 425 w 446"/>
              <a:gd name="T111" fmla="*/ 433 h 438"/>
              <a:gd name="T112" fmla="*/ 419 w 446"/>
              <a:gd name="T113" fmla="*/ 416 h 438"/>
              <a:gd name="T114" fmla="*/ 419 w 446"/>
              <a:gd name="T115" fmla="*/ 401 h 438"/>
              <a:gd name="T116" fmla="*/ 432 w 446"/>
              <a:gd name="T117" fmla="*/ 383 h 438"/>
              <a:gd name="T118" fmla="*/ 442 w 446"/>
              <a:gd name="T119" fmla="*/ 370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46" h="438">
                <a:moveTo>
                  <a:pt x="237" y="19"/>
                </a:moveTo>
                <a:lnTo>
                  <a:pt x="237" y="19"/>
                </a:lnTo>
                <a:lnTo>
                  <a:pt x="239" y="18"/>
                </a:lnTo>
                <a:lnTo>
                  <a:pt x="242" y="16"/>
                </a:lnTo>
                <a:lnTo>
                  <a:pt x="245" y="16"/>
                </a:lnTo>
                <a:lnTo>
                  <a:pt x="247" y="17"/>
                </a:lnTo>
                <a:lnTo>
                  <a:pt x="247" y="18"/>
                </a:lnTo>
                <a:lnTo>
                  <a:pt x="249" y="22"/>
                </a:lnTo>
                <a:lnTo>
                  <a:pt x="249" y="25"/>
                </a:lnTo>
                <a:lnTo>
                  <a:pt x="250" y="28"/>
                </a:lnTo>
                <a:lnTo>
                  <a:pt x="252" y="29"/>
                </a:lnTo>
                <a:lnTo>
                  <a:pt x="257" y="30"/>
                </a:lnTo>
                <a:lnTo>
                  <a:pt x="260" y="31"/>
                </a:lnTo>
                <a:lnTo>
                  <a:pt x="261" y="32"/>
                </a:lnTo>
                <a:lnTo>
                  <a:pt x="262" y="38"/>
                </a:lnTo>
                <a:lnTo>
                  <a:pt x="263" y="39"/>
                </a:lnTo>
                <a:lnTo>
                  <a:pt x="264" y="38"/>
                </a:lnTo>
                <a:lnTo>
                  <a:pt x="265" y="37"/>
                </a:lnTo>
                <a:lnTo>
                  <a:pt x="266" y="37"/>
                </a:lnTo>
                <a:lnTo>
                  <a:pt x="268" y="37"/>
                </a:lnTo>
                <a:lnTo>
                  <a:pt x="271" y="38"/>
                </a:lnTo>
                <a:lnTo>
                  <a:pt x="274" y="38"/>
                </a:lnTo>
                <a:lnTo>
                  <a:pt x="278" y="42"/>
                </a:lnTo>
                <a:lnTo>
                  <a:pt x="278" y="43"/>
                </a:lnTo>
                <a:lnTo>
                  <a:pt x="277" y="45"/>
                </a:lnTo>
                <a:lnTo>
                  <a:pt x="277" y="47"/>
                </a:lnTo>
                <a:lnTo>
                  <a:pt x="278" y="48"/>
                </a:lnTo>
                <a:lnTo>
                  <a:pt x="279" y="49"/>
                </a:lnTo>
                <a:lnTo>
                  <a:pt x="279" y="51"/>
                </a:lnTo>
                <a:lnTo>
                  <a:pt x="278" y="53"/>
                </a:lnTo>
                <a:lnTo>
                  <a:pt x="277" y="54"/>
                </a:lnTo>
                <a:lnTo>
                  <a:pt x="277" y="55"/>
                </a:lnTo>
                <a:lnTo>
                  <a:pt x="278" y="55"/>
                </a:lnTo>
                <a:lnTo>
                  <a:pt x="278" y="56"/>
                </a:lnTo>
                <a:lnTo>
                  <a:pt x="284" y="57"/>
                </a:lnTo>
                <a:lnTo>
                  <a:pt x="290" y="56"/>
                </a:lnTo>
                <a:lnTo>
                  <a:pt x="293" y="54"/>
                </a:lnTo>
                <a:lnTo>
                  <a:pt x="294" y="52"/>
                </a:lnTo>
                <a:lnTo>
                  <a:pt x="295" y="49"/>
                </a:lnTo>
                <a:lnTo>
                  <a:pt x="297" y="47"/>
                </a:lnTo>
                <a:lnTo>
                  <a:pt x="298" y="46"/>
                </a:lnTo>
                <a:lnTo>
                  <a:pt x="300" y="47"/>
                </a:lnTo>
                <a:lnTo>
                  <a:pt x="298" y="56"/>
                </a:lnTo>
                <a:lnTo>
                  <a:pt x="299" y="58"/>
                </a:lnTo>
                <a:lnTo>
                  <a:pt x="299" y="61"/>
                </a:lnTo>
                <a:lnTo>
                  <a:pt x="300" y="64"/>
                </a:lnTo>
                <a:lnTo>
                  <a:pt x="302" y="64"/>
                </a:lnTo>
                <a:lnTo>
                  <a:pt x="304" y="65"/>
                </a:lnTo>
                <a:lnTo>
                  <a:pt x="306" y="66"/>
                </a:lnTo>
                <a:lnTo>
                  <a:pt x="308" y="67"/>
                </a:lnTo>
                <a:lnTo>
                  <a:pt x="311" y="69"/>
                </a:lnTo>
                <a:lnTo>
                  <a:pt x="313" y="69"/>
                </a:lnTo>
                <a:lnTo>
                  <a:pt x="313" y="71"/>
                </a:lnTo>
                <a:lnTo>
                  <a:pt x="315" y="72"/>
                </a:lnTo>
                <a:lnTo>
                  <a:pt x="318" y="75"/>
                </a:lnTo>
                <a:lnTo>
                  <a:pt x="320" y="77"/>
                </a:lnTo>
                <a:lnTo>
                  <a:pt x="321" y="77"/>
                </a:lnTo>
                <a:lnTo>
                  <a:pt x="323" y="77"/>
                </a:lnTo>
                <a:lnTo>
                  <a:pt x="326" y="76"/>
                </a:lnTo>
                <a:lnTo>
                  <a:pt x="329" y="76"/>
                </a:lnTo>
                <a:lnTo>
                  <a:pt x="330" y="78"/>
                </a:lnTo>
                <a:lnTo>
                  <a:pt x="332" y="78"/>
                </a:lnTo>
                <a:lnTo>
                  <a:pt x="333" y="79"/>
                </a:lnTo>
                <a:lnTo>
                  <a:pt x="334" y="80"/>
                </a:lnTo>
                <a:lnTo>
                  <a:pt x="336" y="81"/>
                </a:lnTo>
                <a:lnTo>
                  <a:pt x="338" y="80"/>
                </a:lnTo>
                <a:lnTo>
                  <a:pt x="339" y="79"/>
                </a:lnTo>
                <a:lnTo>
                  <a:pt x="341" y="78"/>
                </a:lnTo>
                <a:lnTo>
                  <a:pt x="343" y="78"/>
                </a:lnTo>
                <a:lnTo>
                  <a:pt x="344" y="79"/>
                </a:lnTo>
                <a:lnTo>
                  <a:pt x="346" y="80"/>
                </a:lnTo>
                <a:lnTo>
                  <a:pt x="347" y="80"/>
                </a:lnTo>
                <a:lnTo>
                  <a:pt x="350" y="81"/>
                </a:lnTo>
                <a:lnTo>
                  <a:pt x="352" y="83"/>
                </a:lnTo>
                <a:lnTo>
                  <a:pt x="353" y="85"/>
                </a:lnTo>
                <a:lnTo>
                  <a:pt x="353" y="87"/>
                </a:lnTo>
                <a:lnTo>
                  <a:pt x="354" y="88"/>
                </a:lnTo>
                <a:lnTo>
                  <a:pt x="358" y="94"/>
                </a:lnTo>
                <a:lnTo>
                  <a:pt x="359" y="94"/>
                </a:lnTo>
                <a:lnTo>
                  <a:pt x="361" y="94"/>
                </a:lnTo>
                <a:lnTo>
                  <a:pt x="362" y="92"/>
                </a:lnTo>
                <a:lnTo>
                  <a:pt x="363" y="92"/>
                </a:lnTo>
                <a:lnTo>
                  <a:pt x="365" y="93"/>
                </a:lnTo>
                <a:lnTo>
                  <a:pt x="366" y="93"/>
                </a:lnTo>
                <a:lnTo>
                  <a:pt x="367" y="96"/>
                </a:lnTo>
                <a:lnTo>
                  <a:pt x="368" y="96"/>
                </a:lnTo>
                <a:lnTo>
                  <a:pt x="368" y="96"/>
                </a:lnTo>
                <a:lnTo>
                  <a:pt x="370" y="96"/>
                </a:lnTo>
                <a:lnTo>
                  <a:pt x="373" y="96"/>
                </a:lnTo>
                <a:lnTo>
                  <a:pt x="376" y="96"/>
                </a:lnTo>
                <a:lnTo>
                  <a:pt x="379" y="94"/>
                </a:lnTo>
                <a:lnTo>
                  <a:pt x="380" y="95"/>
                </a:lnTo>
                <a:lnTo>
                  <a:pt x="383" y="98"/>
                </a:lnTo>
                <a:lnTo>
                  <a:pt x="385" y="99"/>
                </a:lnTo>
                <a:lnTo>
                  <a:pt x="391" y="100"/>
                </a:lnTo>
                <a:lnTo>
                  <a:pt x="398" y="101"/>
                </a:lnTo>
                <a:lnTo>
                  <a:pt x="400" y="102"/>
                </a:lnTo>
                <a:lnTo>
                  <a:pt x="402" y="103"/>
                </a:lnTo>
                <a:lnTo>
                  <a:pt x="402" y="107"/>
                </a:lnTo>
                <a:lnTo>
                  <a:pt x="401" y="108"/>
                </a:lnTo>
                <a:lnTo>
                  <a:pt x="395" y="116"/>
                </a:lnTo>
                <a:lnTo>
                  <a:pt x="393" y="119"/>
                </a:lnTo>
                <a:lnTo>
                  <a:pt x="391" y="123"/>
                </a:lnTo>
                <a:lnTo>
                  <a:pt x="390" y="130"/>
                </a:lnTo>
                <a:lnTo>
                  <a:pt x="388" y="136"/>
                </a:lnTo>
                <a:lnTo>
                  <a:pt x="386" y="141"/>
                </a:lnTo>
                <a:lnTo>
                  <a:pt x="385" y="146"/>
                </a:lnTo>
                <a:lnTo>
                  <a:pt x="385" y="149"/>
                </a:lnTo>
                <a:lnTo>
                  <a:pt x="385" y="153"/>
                </a:lnTo>
                <a:lnTo>
                  <a:pt x="383" y="159"/>
                </a:lnTo>
                <a:lnTo>
                  <a:pt x="383" y="164"/>
                </a:lnTo>
                <a:lnTo>
                  <a:pt x="384" y="167"/>
                </a:lnTo>
                <a:lnTo>
                  <a:pt x="386" y="168"/>
                </a:lnTo>
                <a:lnTo>
                  <a:pt x="382" y="170"/>
                </a:lnTo>
                <a:lnTo>
                  <a:pt x="381" y="171"/>
                </a:lnTo>
                <a:lnTo>
                  <a:pt x="380" y="174"/>
                </a:lnTo>
                <a:lnTo>
                  <a:pt x="377" y="175"/>
                </a:lnTo>
                <a:lnTo>
                  <a:pt x="375" y="175"/>
                </a:lnTo>
                <a:lnTo>
                  <a:pt x="373" y="175"/>
                </a:lnTo>
                <a:lnTo>
                  <a:pt x="372" y="174"/>
                </a:lnTo>
                <a:lnTo>
                  <a:pt x="372" y="173"/>
                </a:lnTo>
                <a:lnTo>
                  <a:pt x="371" y="172"/>
                </a:lnTo>
                <a:lnTo>
                  <a:pt x="368" y="172"/>
                </a:lnTo>
                <a:lnTo>
                  <a:pt x="365" y="174"/>
                </a:lnTo>
                <a:lnTo>
                  <a:pt x="363" y="177"/>
                </a:lnTo>
                <a:lnTo>
                  <a:pt x="364" y="178"/>
                </a:lnTo>
                <a:lnTo>
                  <a:pt x="366" y="179"/>
                </a:lnTo>
                <a:lnTo>
                  <a:pt x="366" y="179"/>
                </a:lnTo>
                <a:lnTo>
                  <a:pt x="366" y="180"/>
                </a:lnTo>
                <a:lnTo>
                  <a:pt x="366" y="181"/>
                </a:lnTo>
                <a:lnTo>
                  <a:pt x="365" y="182"/>
                </a:lnTo>
                <a:lnTo>
                  <a:pt x="357" y="192"/>
                </a:lnTo>
                <a:lnTo>
                  <a:pt x="356" y="193"/>
                </a:lnTo>
                <a:lnTo>
                  <a:pt x="355" y="195"/>
                </a:lnTo>
                <a:lnTo>
                  <a:pt x="349" y="197"/>
                </a:lnTo>
                <a:lnTo>
                  <a:pt x="349" y="198"/>
                </a:lnTo>
                <a:lnTo>
                  <a:pt x="349" y="202"/>
                </a:lnTo>
                <a:lnTo>
                  <a:pt x="348" y="206"/>
                </a:lnTo>
                <a:lnTo>
                  <a:pt x="344" y="209"/>
                </a:lnTo>
                <a:lnTo>
                  <a:pt x="340" y="212"/>
                </a:lnTo>
                <a:lnTo>
                  <a:pt x="339" y="214"/>
                </a:lnTo>
                <a:lnTo>
                  <a:pt x="339" y="217"/>
                </a:lnTo>
                <a:lnTo>
                  <a:pt x="337" y="219"/>
                </a:lnTo>
                <a:lnTo>
                  <a:pt x="337" y="221"/>
                </a:lnTo>
                <a:lnTo>
                  <a:pt x="339" y="223"/>
                </a:lnTo>
                <a:lnTo>
                  <a:pt x="339" y="225"/>
                </a:lnTo>
                <a:lnTo>
                  <a:pt x="338" y="227"/>
                </a:lnTo>
                <a:lnTo>
                  <a:pt x="336" y="229"/>
                </a:lnTo>
                <a:lnTo>
                  <a:pt x="334" y="230"/>
                </a:lnTo>
                <a:lnTo>
                  <a:pt x="334" y="233"/>
                </a:lnTo>
                <a:lnTo>
                  <a:pt x="335" y="233"/>
                </a:lnTo>
                <a:lnTo>
                  <a:pt x="338" y="233"/>
                </a:lnTo>
                <a:lnTo>
                  <a:pt x="342" y="231"/>
                </a:lnTo>
                <a:lnTo>
                  <a:pt x="344" y="229"/>
                </a:lnTo>
                <a:lnTo>
                  <a:pt x="342" y="226"/>
                </a:lnTo>
                <a:lnTo>
                  <a:pt x="342" y="226"/>
                </a:lnTo>
                <a:lnTo>
                  <a:pt x="343" y="225"/>
                </a:lnTo>
                <a:lnTo>
                  <a:pt x="345" y="222"/>
                </a:lnTo>
                <a:lnTo>
                  <a:pt x="349" y="221"/>
                </a:lnTo>
                <a:lnTo>
                  <a:pt x="353" y="220"/>
                </a:lnTo>
                <a:lnTo>
                  <a:pt x="359" y="221"/>
                </a:lnTo>
                <a:lnTo>
                  <a:pt x="359" y="222"/>
                </a:lnTo>
                <a:lnTo>
                  <a:pt x="359" y="223"/>
                </a:lnTo>
                <a:lnTo>
                  <a:pt x="360" y="226"/>
                </a:lnTo>
                <a:lnTo>
                  <a:pt x="361" y="228"/>
                </a:lnTo>
                <a:lnTo>
                  <a:pt x="359" y="232"/>
                </a:lnTo>
                <a:lnTo>
                  <a:pt x="360" y="234"/>
                </a:lnTo>
                <a:lnTo>
                  <a:pt x="362" y="236"/>
                </a:lnTo>
                <a:lnTo>
                  <a:pt x="363" y="238"/>
                </a:lnTo>
                <a:lnTo>
                  <a:pt x="365" y="239"/>
                </a:lnTo>
                <a:lnTo>
                  <a:pt x="367" y="242"/>
                </a:lnTo>
                <a:lnTo>
                  <a:pt x="367" y="243"/>
                </a:lnTo>
                <a:lnTo>
                  <a:pt x="365" y="246"/>
                </a:lnTo>
                <a:lnTo>
                  <a:pt x="360" y="248"/>
                </a:lnTo>
                <a:lnTo>
                  <a:pt x="360" y="250"/>
                </a:lnTo>
                <a:lnTo>
                  <a:pt x="360" y="251"/>
                </a:lnTo>
                <a:lnTo>
                  <a:pt x="360" y="253"/>
                </a:lnTo>
                <a:lnTo>
                  <a:pt x="363" y="255"/>
                </a:lnTo>
                <a:lnTo>
                  <a:pt x="365" y="259"/>
                </a:lnTo>
                <a:lnTo>
                  <a:pt x="367" y="262"/>
                </a:lnTo>
                <a:lnTo>
                  <a:pt x="370" y="265"/>
                </a:lnTo>
                <a:lnTo>
                  <a:pt x="371" y="267"/>
                </a:lnTo>
                <a:lnTo>
                  <a:pt x="371" y="267"/>
                </a:lnTo>
                <a:lnTo>
                  <a:pt x="370" y="269"/>
                </a:lnTo>
                <a:lnTo>
                  <a:pt x="369" y="274"/>
                </a:lnTo>
                <a:lnTo>
                  <a:pt x="367" y="274"/>
                </a:lnTo>
                <a:lnTo>
                  <a:pt x="366" y="275"/>
                </a:lnTo>
                <a:lnTo>
                  <a:pt x="362" y="278"/>
                </a:lnTo>
                <a:lnTo>
                  <a:pt x="360" y="278"/>
                </a:lnTo>
                <a:lnTo>
                  <a:pt x="357" y="278"/>
                </a:lnTo>
                <a:lnTo>
                  <a:pt x="355" y="279"/>
                </a:lnTo>
                <a:lnTo>
                  <a:pt x="355" y="281"/>
                </a:lnTo>
                <a:lnTo>
                  <a:pt x="357" y="283"/>
                </a:lnTo>
                <a:lnTo>
                  <a:pt x="358" y="285"/>
                </a:lnTo>
                <a:lnTo>
                  <a:pt x="358" y="288"/>
                </a:lnTo>
                <a:lnTo>
                  <a:pt x="360" y="289"/>
                </a:lnTo>
                <a:lnTo>
                  <a:pt x="363" y="290"/>
                </a:lnTo>
                <a:lnTo>
                  <a:pt x="365" y="290"/>
                </a:lnTo>
                <a:lnTo>
                  <a:pt x="366" y="291"/>
                </a:lnTo>
                <a:lnTo>
                  <a:pt x="366" y="292"/>
                </a:lnTo>
                <a:lnTo>
                  <a:pt x="367" y="297"/>
                </a:lnTo>
                <a:lnTo>
                  <a:pt x="367" y="298"/>
                </a:lnTo>
                <a:lnTo>
                  <a:pt x="365" y="298"/>
                </a:lnTo>
                <a:lnTo>
                  <a:pt x="364" y="300"/>
                </a:lnTo>
                <a:lnTo>
                  <a:pt x="363" y="303"/>
                </a:lnTo>
                <a:lnTo>
                  <a:pt x="362" y="306"/>
                </a:lnTo>
                <a:lnTo>
                  <a:pt x="363" y="308"/>
                </a:lnTo>
                <a:lnTo>
                  <a:pt x="363" y="309"/>
                </a:lnTo>
                <a:lnTo>
                  <a:pt x="363" y="311"/>
                </a:lnTo>
                <a:lnTo>
                  <a:pt x="363" y="313"/>
                </a:lnTo>
                <a:lnTo>
                  <a:pt x="365" y="316"/>
                </a:lnTo>
                <a:lnTo>
                  <a:pt x="371" y="319"/>
                </a:lnTo>
                <a:lnTo>
                  <a:pt x="376" y="322"/>
                </a:lnTo>
                <a:lnTo>
                  <a:pt x="378" y="322"/>
                </a:lnTo>
                <a:lnTo>
                  <a:pt x="385" y="320"/>
                </a:lnTo>
                <a:lnTo>
                  <a:pt x="386" y="321"/>
                </a:lnTo>
                <a:lnTo>
                  <a:pt x="387" y="323"/>
                </a:lnTo>
                <a:lnTo>
                  <a:pt x="388" y="324"/>
                </a:lnTo>
                <a:lnTo>
                  <a:pt x="387" y="326"/>
                </a:lnTo>
                <a:lnTo>
                  <a:pt x="385" y="329"/>
                </a:lnTo>
                <a:lnTo>
                  <a:pt x="383" y="332"/>
                </a:lnTo>
                <a:lnTo>
                  <a:pt x="381" y="334"/>
                </a:lnTo>
                <a:lnTo>
                  <a:pt x="382" y="335"/>
                </a:lnTo>
                <a:lnTo>
                  <a:pt x="382" y="338"/>
                </a:lnTo>
                <a:lnTo>
                  <a:pt x="380" y="339"/>
                </a:lnTo>
                <a:lnTo>
                  <a:pt x="380" y="338"/>
                </a:lnTo>
                <a:lnTo>
                  <a:pt x="379" y="338"/>
                </a:lnTo>
                <a:lnTo>
                  <a:pt x="379" y="338"/>
                </a:lnTo>
                <a:lnTo>
                  <a:pt x="378" y="338"/>
                </a:lnTo>
                <a:lnTo>
                  <a:pt x="378" y="339"/>
                </a:lnTo>
                <a:lnTo>
                  <a:pt x="375" y="341"/>
                </a:lnTo>
                <a:lnTo>
                  <a:pt x="372" y="342"/>
                </a:lnTo>
                <a:lnTo>
                  <a:pt x="362" y="352"/>
                </a:lnTo>
                <a:lnTo>
                  <a:pt x="358" y="355"/>
                </a:lnTo>
                <a:lnTo>
                  <a:pt x="357" y="356"/>
                </a:lnTo>
                <a:lnTo>
                  <a:pt x="356" y="359"/>
                </a:lnTo>
                <a:lnTo>
                  <a:pt x="353" y="362"/>
                </a:lnTo>
                <a:lnTo>
                  <a:pt x="351" y="363"/>
                </a:lnTo>
                <a:lnTo>
                  <a:pt x="345" y="365"/>
                </a:lnTo>
                <a:lnTo>
                  <a:pt x="339" y="368"/>
                </a:lnTo>
                <a:lnTo>
                  <a:pt x="336" y="366"/>
                </a:lnTo>
                <a:lnTo>
                  <a:pt x="329" y="366"/>
                </a:lnTo>
                <a:lnTo>
                  <a:pt x="325" y="363"/>
                </a:lnTo>
                <a:lnTo>
                  <a:pt x="317" y="361"/>
                </a:lnTo>
                <a:lnTo>
                  <a:pt x="314" y="356"/>
                </a:lnTo>
                <a:lnTo>
                  <a:pt x="310" y="356"/>
                </a:lnTo>
                <a:lnTo>
                  <a:pt x="308" y="356"/>
                </a:lnTo>
                <a:lnTo>
                  <a:pt x="306" y="355"/>
                </a:lnTo>
                <a:lnTo>
                  <a:pt x="306" y="353"/>
                </a:lnTo>
                <a:lnTo>
                  <a:pt x="306" y="352"/>
                </a:lnTo>
                <a:lnTo>
                  <a:pt x="303" y="352"/>
                </a:lnTo>
                <a:lnTo>
                  <a:pt x="301" y="352"/>
                </a:lnTo>
                <a:lnTo>
                  <a:pt x="300" y="353"/>
                </a:lnTo>
                <a:lnTo>
                  <a:pt x="299" y="354"/>
                </a:lnTo>
                <a:lnTo>
                  <a:pt x="298" y="353"/>
                </a:lnTo>
                <a:lnTo>
                  <a:pt x="297" y="354"/>
                </a:lnTo>
                <a:lnTo>
                  <a:pt x="297" y="354"/>
                </a:lnTo>
                <a:lnTo>
                  <a:pt x="295" y="355"/>
                </a:lnTo>
                <a:lnTo>
                  <a:pt x="292" y="354"/>
                </a:lnTo>
                <a:lnTo>
                  <a:pt x="286" y="352"/>
                </a:lnTo>
                <a:lnTo>
                  <a:pt x="285" y="351"/>
                </a:lnTo>
                <a:lnTo>
                  <a:pt x="280" y="350"/>
                </a:lnTo>
                <a:lnTo>
                  <a:pt x="278" y="349"/>
                </a:lnTo>
                <a:lnTo>
                  <a:pt x="276" y="347"/>
                </a:lnTo>
                <a:lnTo>
                  <a:pt x="275" y="346"/>
                </a:lnTo>
                <a:lnTo>
                  <a:pt x="275" y="345"/>
                </a:lnTo>
                <a:lnTo>
                  <a:pt x="270" y="347"/>
                </a:lnTo>
                <a:lnTo>
                  <a:pt x="269" y="349"/>
                </a:lnTo>
                <a:lnTo>
                  <a:pt x="266" y="351"/>
                </a:lnTo>
                <a:lnTo>
                  <a:pt x="250" y="362"/>
                </a:lnTo>
                <a:lnTo>
                  <a:pt x="247" y="367"/>
                </a:lnTo>
                <a:lnTo>
                  <a:pt x="243" y="374"/>
                </a:lnTo>
                <a:lnTo>
                  <a:pt x="243" y="378"/>
                </a:lnTo>
                <a:lnTo>
                  <a:pt x="244" y="388"/>
                </a:lnTo>
                <a:lnTo>
                  <a:pt x="248" y="393"/>
                </a:lnTo>
                <a:lnTo>
                  <a:pt x="248" y="395"/>
                </a:lnTo>
                <a:lnTo>
                  <a:pt x="246" y="395"/>
                </a:lnTo>
                <a:lnTo>
                  <a:pt x="243" y="394"/>
                </a:lnTo>
                <a:lnTo>
                  <a:pt x="241" y="393"/>
                </a:lnTo>
                <a:lnTo>
                  <a:pt x="238" y="394"/>
                </a:lnTo>
                <a:lnTo>
                  <a:pt x="236" y="395"/>
                </a:lnTo>
                <a:lnTo>
                  <a:pt x="234" y="395"/>
                </a:lnTo>
                <a:lnTo>
                  <a:pt x="232" y="396"/>
                </a:lnTo>
                <a:lnTo>
                  <a:pt x="231" y="396"/>
                </a:lnTo>
                <a:lnTo>
                  <a:pt x="231" y="398"/>
                </a:lnTo>
                <a:lnTo>
                  <a:pt x="231" y="399"/>
                </a:lnTo>
                <a:lnTo>
                  <a:pt x="228" y="398"/>
                </a:lnTo>
                <a:lnTo>
                  <a:pt x="222" y="396"/>
                </a:lnTo>
                <a:lnTo>
                  <a:pt x="217" y="395"/>
                </a:lnTo>
                <a:lnTo>
                  <a:pt x="214" y="397"/>
                </a:lnTo>
                <a:lnTo>
                  <a:pt x="212" y="398"/>
                </a:lnTo>
                <a:lnTo>
                  <a:pt x="210" y="398"/>
                </a:lnTo>
                <a:lnTo>
                  <a:pt x="209" y="396"/>
                </a:lnTo>
                <a:lnTo>
                  <a:pt x="208" y="395"/>
                </a:lnTo>
                <a:lnTo>
                  <a:pt x="206" y="394"/>
                </a:lnTo>
                <a:lnTo>
                  <a:pt x="201" y="392"/>
                </a:lnTo>
                <a:lnTo>
                  <a:pt x="202" y="391"/>
                </a:lnTo>
                <a:lnTo>
                  <a:pt x="202" y="389"/>
                </a:lnTo>
                <a:lnTo>
                  <a:pt x="202" y="389"/>
                </a:lnTo>
                <a:lnTo>
                  <a:pt x="201" y="387"/>
                </a:lnTo>
                <a:lnTo>
                  <a:pt x="197" y="386"/>
                </a:lnTo>
                <a:lnTo>
                  <a:pt x="195" y="386"/>
                </a:lnTo>
                <a:lnTo>
                  <a:pt x="194" y="387"/>
                </a:lnTo>
                <a:lnTo>
                  <a:pt x="193" y="388"/>
                </a:lnTo>
                <a:lnTo>
                  <a:pt x="190" y="384"/>
                </a:lnTo>
                <a:lnTo>
                  <a:pt x="188" y="383"/>
                </a:lnTo>
                <a:lnTo>
                  <a:pt x="186" y="383"/>
                </a:lnTo>
                <a:lnTo>
                  <a:pt x="183" y="382"/>
                </a:lnTo>
                <a:lnTo>
                  <a:pt x="180" y="380"/>
                </a:lnTo>
                <a:lnTo>
                  <a:pt x="172" y="378"/>
                </a:lnTo>
                <a:lnTo>
                  <a:pt x="170" y="377"/>
                </a:lnTo>
                <a:lnTo>
                  <a:pt x="169" y="378"/>
                </a:lnTo>
                <a:lnTo>
                  <a:pt x="168" y="379"/>
                </a:lnTo>
                <a:lnTo>
                  <a:pt x="168" y="383"/>
                </a:lnTo>
                <a:lnTo>
                  <a:pt x="168" y="384"/>
                </a:lnTo>
                <a:lnTo>
                  <a:pt x="164" y="384"/>
                </a:lnTo>
                <a:lnTo>
                  <a:pt x="160" y="383"/>
                </a:lnTo>
                <a:lnTo>
                  <a:pt x="158" y="384"/>
                </a:lnTo>
                <a:lnTo>
                  <a:pt x="156" y="384"/>
                </a:lnTo>
                <a:lnTo>
                  <a:pt x="154" y="383"/>
                </a:lnTo>
                <a:lnTo>
                  <a:pt x="147" y="384"/>
                </a:lnTo>
                <a:lnTo>
                  <a:pt x="146" y="383"/>
                </a:lnTo>
                <a:lnTo>
                  <a:pt x="144" y="381"/>
                </a:lnTo>
                <a:lnTo>
                  <a:pt x="142" y="380"/>
                </a:lnTo>
                <a:lnTo>
                  <a:pt x="140" y="379"/>
                </a:lnTo>
                <a:lnTo>
                  <a:pt x="139" y="378"/>
                </a:lnTo>
                <a:lnTo>
                  <a:pt x="138" y="378"/>
                </a:lnTo>
                <a:lnTo>
                  <a:pt x="136" y="379"/>
                </a:lnTo>
                <a:lnTo>
                  <a:pt x="133" y="379"/>
                </a:lnTo>
                <a:lnTo>
                  <a:pt x="131" y="379"/>
                </a:lnTo>
                <a:lnTo>
                  <a:pt x="130" y="379"/>
                </a:lnTo>
                <a:lnTo>
                  <a:pt x="125" y="374"/>
                </a:lnTo>
                <a:lnTo>
                  <a:pt x="124" y="373"/>
                </a:lnTo>
                <a:lnTo>
                  <a:pt x="122" y="373"/>
                </a:lnTo>
                <a:lnTo>
                  <a:pt x="119" y="373"/>
                </a:lnTo>
                <a:lnTo>
                  <a:pt x="111" y="370"/>
                </a:lnTo>
                <a:lnTo>
                  <a:pt x="108" y="368"/>
                </a:lnTo>
                <a:lnTo>
                  <a:pt x="108" y="367"/>
                </a:lnTo>
                <a:lnTo>
                  <a:pt x="108" y="366"/>
                </a:lnTo>
                <a:lnTo>
                  <a:pt x="107" y="367"/>
                </a:lnTo>
                <a:lnTo>
                  <a:pt x="106" y="368"/>
                </a:lnTo>
                <a:lnTo>
                  <a:pt x="105" y="369"/>
                </a:lnTo>
                <a:lnTo>
                  <a:pt x="105" y="369"/>
                </a:lnTo>
                <a:lnTo>
                  <a:pt x="104" y="369"/>
                </a:lnTo>
                <a:lnTo>
                  <a:pt x="103" y="368"/>
                </a:lnTo>
                <a:lnTo>
                  <a:pt x="102" y="368"/>
                </a:lnTo>
                <a:lnTo>
                  <a:pt x="103" y="366"/>
                </a:lnTo>
                <a:lnTo>
                  <a:pt x="104" y="364"/>
                </a:lnTo>
                <a:lnTo>
                  <a:pt x="104" y="362"/>
                </a:lnTo>
                <a:lnTo>
                  <a:pt x="104" y="360"/>
                </a:lnTo>
                <a:lnTo>
                  <a:pt x="102" y="359"/>
                </a:lnTo>
                <a:lnTo>
                  <a:pt x="99" y="359"/>
                </a:lnTo>
                <a:lnTo>
                  <a:pt x="97" y="359"/>
                </a:lnTo>
                <a:lnTo>
                  <a:pt x="95" y="358"/>
                </a:lnTo>
                <a:lnTo>
                  <a:pt x="93" y="357"/>
                </a:lnTo>
                <a:lnTo>
                  <a:pt x="92" y="355"/>
                </a:lnTo>
                <a:lnTo>
                  <a:pt x="92" y="353"/>
                </a:lnTo>
                <a:lnTo>
                  <a:pt x="97" y="352"/>
                </a:lnTo>
                <a:lnTo>
                  <a:pt x="102" y="347"/>
                </a:lnTo>
                <a:lnTo>
                  <a:pt x="106" y="327"/>
                </a:lnTo>
                <a:lnTo>
                  <a:pt x="109" y="304"/>
                </a:lnTo>
                <a:lnTo>
                  <a:pt x="112" y="299"/>
                </a:lnTo>
                <a:lnTo>
                  <a:pt x="115" y="298"/>
                </a:lnTo>
                <a:lnTo>
                  <a:pt x="112" y="295"/>
                </a:lnTo>
                <a:lnTo>
                  <a:pt x="111" y="296"/>
                </a:lnTo>
                <a:lnTo>
                  <a:pt x="110" y="298"/>
                </a:lnTo>
                <a:lnTo>
                  <a:pt x="109" y="299"/>
                </a:lnTo>
                <a:lnTo>
                  <a:pt x="111" y="277"/>
                </a:lnTo>
                <a:lnTo>
                  <a:pt x="112" y="269"/>
                </a:lnTo>
                <a:lnTo>
                  <a:pt x="114" y="261"/>
                </a:lnTo>
                <a:lnTo>
                  <a:pt x="119" y="264"/>
                </a:lnTo>
                <a:lnTo>
                  <a:pt x="122" y="268"/>
                </a:lnTo>
                <a:lnTo>
                  <a:pt x="124" y="270"/>
                </a:lnTo>
                <a:lnTo>
                  <a:pt x="127" y="280"/>
                </a:lnTo>
                <a:lnTo>
                  <a:pt x="128" y="282"/>
                </a:lnTo>
                <a:lnTo>
                  <a:pt x="131" y="284"/>
                </a:lnTo>
                <a:lnTo>
                  <a:pt x="130" y="282"/>
                </a:lnTo>
                <a:lnTo>
                  <a:pt x="128" y="280"/>
                </a:lnTo>
                <a:lnTo>
                  <a:pt x="125" y="267"/>
                </a:lnTo>
                <a:lnTo>
                  <a:pt x="123" y="264"/>
                </a:lnTo>
                <a:lnTo>
                  <a:pt x="121" y="261"/>
                </a:lnTo>
                <a:lnTo>
                  <a:pt x="112" y="254"/>
                </a:lnTo>
                <a:lnTo>
                  <a:pt x="111" y="253"/>
                </a:lnTo>
                <a:lnTo>
                  <a:pt x="110" y="250"/>
                </a:lnTo>
                <a:lnTo>
                  <a:pt x="113" y="250"/>
                </a:lnTo>
                <a:lnTo>
                  <a:pt x="116" y="252"/>
                </a:lnTo>
                <a:lnTo>
                  <a:pt x="116" y="250"/>
                </a:lnTo>
                <a:lnTo>
                  <a:pt x="115" y="249"/>
                </a:lnTo>
                <a:lnTo>
                  <a:pt x="114" y="243"/>
                </a:lnTo>
                <a:lnTo>
                  <a:pt x="113" y="231"/>
                </a:lnTo>
                <a:lnTo>
                  <a:pt x="113" y="229"/>
                </a:lnTo>
                <a:lnTo>
                  <a:pt x="112" y="226"/>
                </a:lnTo>
                <a:lnTo>
                  <a:pt x="109" y="225"/>
                </a:lnTo>
                <a:lnTo>
                  <a:pt x="107" y="225"/>
                </a:lnTo>
                <a:lnTo>
                  <a:pt x="105" y="224"/>
                </a:lnTo>
                <a:lnTo>
                  <a:pt x="92" y="217"/>
                </a:lnTo>
                <a:lnTo>
                  <a:pt x="88" y="209"/>
                </a:lnTo>
                <a:lnTo>
                  <a:pt x="84" y="203"/>
                </a:lnTo>
                <a:lnTo>
                  <a:pt x="83" y="201"/>
                </a:lnTo>
                <a:lnTo>
                  <a:pt x="83" y="198"/>
                </a:lnTo>
                <a:lnTo>
                  <a:pt x="85" y="193"/>
                </a:lnTo>
                <a:lnTo>
                  <a:pt x="83" y="190"/>
                </a:lnTo>
                <a:lnTo>
                  <a:pt x="81" y="189"/>
                </a:lnTo>
                <a:lnTo>
                  <a:pt x="80" y="187"/>
                </a:lnTo>
                <a:lnTo>
                  <a:pt x="81" y="185"/>
                </a:lnTo>
                <a:lnTo>
                  <a:pt x="82" y="183"/>
                </a:lnTo>
                <a:lnTo>
                  <a:pt x="85" y="182"/>
                </a:lnTo>
                <a:lnTo>
                  <a:pt x="88" y="183"/>
                </a:lnTo>
                <a:lnTo>
                  <a:pt x="91" y="184"/>
                </a:lnTo>
                <a:lnTo>
                  <a:pt x="94" y="185"/>
                </a:lnTo>
                <a:lnTo>
                  <a:pt x="87" y="181"/>
                </a:lnTo>
                <a:lnTo>
                  <a:pt x="75" y="182"/>
                </a:lnTo>
                <a:lnTo>
                  <a:pt x="72" y="182"/>
                </a:lnTo>
                <a:lnTo>
                  <a:pt x="70" y="181"/>
                </a:lnTo>
                <a:lnTo>
                  <a:pt x="69" y="177"/>
                </a:lnTo>
                <a:lnTo>
                  <a:pt x="71" y="176"/>
                </a:lnTo>
                <a:lnTo>
                  <a:pt x="72" y="173"/>
                </a:lnTo>
                <a:lnTo>
                  <a:pt x="71" y="171"/>
                </a:lnTo>
                <a:lnTo>
                  <a:pt x="69" y="171"/>
                </a:lnTo>
                <a:lnTo>
                  <a:pt x="65" y="171"/>
                </a:lnTo>
                <a:lnTo>
                  <a:pt x="62" y="171"/>
                </a:lnTo>
                <a:lnTo>
                  <a:pt x="61" y="170"/>
                </a:lnTo>
                <a:lnTo>
                  <a:pt x="63" y="167"/>
                </a:lnTo>
                <a:lnTo>
                  <a:pt x="61" y="166"/>
                </a:lnTo>
                <a:lnTo>
                  <a:pt x="59" y="167"/>
                </a:lnTo>
                <a:lnTo>
                  <a:pt x="56" y="167"/>
                </a:lnTo>
                <a:lnTo>
                  <a:pt x="53" y="166"/>
                </a:lnTo>
                <a:lnTo>
                  <a:pt x="50" y="163"/>
                </a:lnTo>
                <a:lnTo>
                  <a:pt x="48" y="163"/>
                </a:lnTo>
                <a:lnTo>
                  <a:pt x="46" y="163"/>
                </a:lnTo>
                <a:lnTo>
                  <a:pt x="44" y="162"/>
                </a:lnTo>
                <a:lnTo>
                  <a:pt x="42" y="162"/>
                </a:lnTo>
                <a:lnTo>
                  <a:pt x="41" y="162"/>
                </a:lnTo>
                <a:lnTo>
                  <a:pt x="39" y="160"/>
                </a:lnTo>
                <a:lnTo>
                  <a:pt x="26" y="156"/>
                </a:lnTo>
                <a:lnTo>
                  <a:pt x="21" y="156"/>
                </a:lnTo>
                <a:lnTo>
                  <a:pt x="16" y="158"/>
                </a:lnTo>
                <a:lnTo>
                  <a:pt x="14" y="157"/>
                </a:lnTo>
                <a:lnTo>
                  <a:pt x="12" y="154"/>
                </a:lnTo>
                <a:lnTo>
                  <a:pt x="10" y="150"/>
                </a:lnTo>
                <a:lnTo>
                  <a:pt x="2" y="147"/>
                </a:lnTo>
                <a:lnTo>
                  <a:pt x="4" y="145"/>
                </a:lnTo>
                <a:lnTo>
                  <a:pt x="7" y="144"/>
                </a:lnTo>
                <a:lnTo>
                  <a:pt x="12" y="143"/>
                </a:lnTo>
                <a:lnTo>
                  <a:pt x="13" y="141"/>
                </a:lnTo>
                <a:lnTo>
                  <a:pt x="10" y="139"/>
                </a:lnTo>
                <a:lnTo>
                  <a:pt x="7" y="138"/>
                </a:lnTo>
                <a:lnTo>
                  <a:pt x="6" y="137"/>
                </a:lnTo>
                <a:lnTo>
                  <a:pt x="5" y="135"/>
                </a:lnTo>
                <a:lnTo>
                  <a:pt x="7" y="134"/>
                </a:lnTo>
                <a:lnTo>
                  <a:pt x="8" y="135"/>
                </a:lnTo>
                <a:lnTo>
                  <a:pt x="11" y="135"/>
                </a:lnTo>
                <a:lnTo>
                  <a:pt x="16" y="135"/>
                </a:lnTo>
                <a:lnTo>
                  <a:pt x="14" y="133"/>
                </a:lnTo>
                <a:lnTo>
                  <a:pt x="12" y="132"/>
                </a:lnTo>
                <a:lnTo>
                  <a:pt x="11" y="132"/>
                </a:lnTo>
                <a:lnTo>
                  <a:pt x="7" y="131"/>
                </a:lnTo>
                <a:lnTo>
                  <a:pt x="5" y="132"/>
                </a:lnTo>
                <a:lnTo>
                  <a:pt x="1" y="132"/>
                </a:lnTo>
                <a:lnTo>
                  <a:pt x="0" y="130"/>
                </a:lnTo>
                <a:lnTo>
                  <a:pt x="0" y="128"/>
                </a:lnTo>
                <a:lnTo>
                  <a:pt x="1" y="124"/>
                </a:lnTo>
                <a:lnTo>
                  <a:pt x="7" y="120"/>
                </a:lnTo>
                <a:lnTo>
                  <a:pt x="22" y="116"/>
                </a:lnTo>
                <a:lnTo>
                  <a:pt x="28" y="116"/>
                </a:lnTo>
                <a:lnTo>
                  <a:pt x="32" y="116"/>
                </a:lnTo>
                <a:lnTo>
                  <a:pt x="38" y="113"/>
                </a:lnTo>
                <a:lnTo>
                  <a:pt x="40" y="111"/>
                </a:lnTo>
                <a:lnTo>
                  <a:pt x="47" y="109"/>
                </a:lnTo>
                <a:lnTo>
                  <a:pt x="54" y="112"/>
                </a:lnTo>
                <a:lnTo>
                  <a:pt x="61" y="121"/>
                </a:lnTo>
                <a:lnTo>
                  <a:pt x="64" y="124"/>
                </a:lnTo>
                <a:lnTo>
                  <a:pt x="72" y="118"/>
                </a:lnTo>
                <a:lnTo>
                  <a:pt x="83" y="119"/>
                </a:lnTo>
                <a:lnTo>
                  <a:pt x="86" y="122"/>
                </a:lnTo>
                <a:lnTo>
                  <a:pt x="87" y="119"/>
                </a:lnTo>
                <a:lnTo>
                  <a:pt x="89" y="116"/>
                </a:lnTo>
                <a:lnTo>
                  <a:pt x="90" y="118"/>
                </a:lnTo>
                <a:lnTo>
                  <a:pt x="91" y="119"/>
                </a:lnTo>
                <a:lnTo>
                  <a:pt x="103" y="119"/>
                </a:lnTo>
                <a:lnTo>
                  <a:pt x="105" y="118"/>
                </a:lnTo>
                <a:lnTo>
                  <a:pt x="102" y="116"/>
                </a:lnTo>
                <a:lnTo>
                  <a:pt x="99" y="111"/>
                </a:lnTo>
                <a:lnTo>
                  <a:pt x="99" y="92"/>
                </a:lnTo>
                <a:lnTo>
                  <a:pt x="95" y="87"/>
                </a:lnTo>
                <a:lnTo>
                  <a:pt x="92" y="78"/>
                </a:lnTo>
                <a:lnTo>
                  <a:pt x="90" y="74"/>
                </a:lnTo>
                <a:lnTo>
                  <a:pt x="90" y="72"/>
                </a:lnTo>
                <a:lnTo>
                  <a:pt x="90" y="69"/>
                </a:lnTo>
                <a:lnTo>
                  <a:pt x="95" y="69"/>
                </a:lnTo>
                <a:lnTo>
                  <a:pt x="99" y="70"/>
                </a:lnTo>
                <a:lnTo>
                  <a:pt x="106" y="68"/>
                </a:lnTo>
                <a:lnTo>
                  <a:pt x="109" y="69"/>
                </a:lnTo>
                <a:lnTo>
                  <a:pt x="109" y="73"/>
                </a:lnTo>
                <a:lnTo>
                  <a:pt x="110" y="78"/>
                </a:lnTo>
                <a:lnTo>
                  <a:pt x="111" y="81"/>
                </a:lnTo>
                <a:lnTo>
                  <a:pt x="113" y="83"/>
                </a:lnTo>
                <a:lnTo>
                  <a:pt x="118" y="83"/>
                </a:lnTo>
                <a:lnTo>
                  <a:pt x="124" y="85"/>
                </a:lnTo>
                <a:lnTo>
                  <a:pt x="132" y="85"/>
                </a:lnTo>
                <a:lnTo>
                  <a:pt x="143" y="88"/>
                </a:lnTo>
                <a:lnTo>
                  <a:pt x="148" y="86"/>
                </a:lnTo>
                <a:lnTo>
                  <a:pt x="152" y="83"/>
                </a:lnTo>
                <a:lnTo>
                  <a:pt x="161" y="80"/>
                </a:lnTo>
                <a:lnTo>
                  <a:pt x="162" y="79"/>
                </a:lnTo>
                <a:lnTo>
                  <a:pt x="157" y="80"/>
                </a:lnTo>
                <a:lnTo>
                  <a:pt x="152" y="78"/>
                </a:lnTo>
                <a:lnTo>
                  <a:pt x="151" y="75"/>
                </a:lnTo>
                <a:lnTo>
                  <a:pt x="152" y="73"/>
                </a:lnTo>
                <a:lnTo>
                  <a:pt x="154" y="68"/>
                </a:lnTo>
                <a:lnTo>
                  <a:pt x="167" y="61"/>
                </a:lnTo>
                <a:lnTo>
                  <a:pt x="177" y="58"/>
                </a:lnTo>
                <a:lnTo>
                  <a:pt x="187" y="54"/>
                </a:lnTo>
                <a:lnTo>
                  <a:pt x="192" y="50"/>
                </a:lnTo>
                <a:lnTo>
                  <a:pt x="195" y="44"/>
                </a:lnTo>
                <a:lnTo>
                  <a:pt x="196" y="43"/>
                </a:lnTo>
                <a:lnTo>
                  <a:pt x="198" y="42"/>
                </a:lnTo>
                <a:lnTo>
                  <a:pt x="196" y="40"/>
                </a:lnTo>
                <a:lnTo>
                  <a:pt x="197" y="18"/>
                </a:lnTo>
                <a:lnTo>
                  <a:pt x="198" y="14"/>
                </a:lnTo>
                <a:lnTo>
                  <a:pt x="200" y="11"/>
                </a:lnTo>
                <a:lnTo>
                  <a:pt x="203" y="8"/>
                </a:lnTo>
                <a:lnTo>
                  <a:pt x="208" y="6"/>
                </a:lnTo>
                <a:lnTo>
                  <a:pt x="224" y="2"/>
                </a:lnTo>
                <a:lnTo>
                  <a:pt x="227" y="0"/>
                </a:lnTo>
                <a:lnTo>
                  <a:pt x="227" y="3"/>
                </a:lnTo>
                <a:lnTo>
                  <a:pt x="228" y="6"/>
                </a:lnTo>
                <a:lnTo>
                  <a:pt x="229" y="7"/>
                </a:lnTo>
                <a:lnTo>
                  <a:pt x="228" y="9"/>
                </a:lnTo>
                <a:lnTo>
                  <a:pt x="229" y="11"/>
                </a:lnTo>
                <a:lnTo>
                  <a:pt x="231" y="14"/>
                </a:lnTo>
                <a:lnTo>
                  <a:pt x="234" y="17"/>
                </a:lnTo>
                <a:lnTo>
                  <a:pt x="237" y="19"/>
                </a:lnTo>
                <a:lnTo>
                  <a:pt x="237" y="19"/>
                </a:lnTo>
                <a:close/>
                <a:moveTo>
                  <a:pt x="111" y="244"/>
                </a:moveTo>
                <a:lnTo>
                  <a:pt x="111" y="244"/>
                </a:lnTo>
                <a:lnTo>
                  <a:pt x="110" y="248"/>
                </a:lnTo>
                <a:lnTo>
                  <a:pt x="108" y="245"/>
                </a:lnTo>
                <a:lnTo>
                  <a:pt x="105" y="241"/>
                </a:lnTo>
                <a:lnTo>
                  <a:pt x="105" y="238"/>
                </a:lnTo>
                <a:lnTo>
                  <a:pt x="105" y="238"/>
                </a:lnTo>
                <a:lnTo>
                  <a:pt x="108" y="240"/>
                </a:lnTo>
                <a:lnTo>
                  <a:pt x="111" y="244"/>
                </a:lnTo>
                <a:close/>
                <a:moveTo>
                  <a:pt x="444" y="379"/>
                </a:moveTo>
                <a:lnTo>
                  <a:pt x="444" y="379"/>
                </a:lnTo>
                <a:lnTo>
                  <a:pt x="443" y="385"/>
                </a:lnTo>
                <a:lnTo>
                  <a:pt x="444" y="387"/>
                </a:lnTo>
                <a:lnTo>
                  <a:pt x="445" y="388"/>
                </a:lnTo>
                <a:lnTo>
                  <a:pt x="445" y="390"/>
                </a:lnTo>
                <a:lnTo>
                  <a:pt x="446" y="406"/>
                </a:lnTo>
                <a:lnTo>
                  <a:pt x="446" y="407"/>
                </a:lnTo>
                <a:lnTo>
                  <a:pt x="442" y="414"/>
                </a:lnTo>
                <a:lnTo>
                  <a:pt x="441" y="416"/>
                </a:lnTo>
                <a:lnTo>
                  <a:pt x="441" y="424"/>
                </a:lnTo>
                <a:lnTo>
                  <a:pt x="440" y="426"/>
                </a:lnTo>
                <a:lnTo>
                  <a:pt x="439" y="428"/>
                </a:lnTo>
                <a:lnTo>
                  <a:pt x="437" y="435"/>
                </a:lnTo>
                <a:lnTo>
                  <a:pt x="435" y="438"/>
                </a:lnTo>
                <a:lnTo>
                  <a:pt x="429" y="435"/>
                </a:lnTo>
                <a:lnTo>
                  <a:pt x="425" y="433"/>
                </a:lnTo>
                <a:lnTo>
                  <a:pt x="423" y="430"/>
                </a:lnTo>
                <a:lnTo>
                  <a:pt x="423" y="428"/>
                </a:lnTo>
                <a:lnTo>
                  <a:pt x="425" y="427"/>
                </a:lnTo>
                <a:lnTo>
                  <a:pt x="425" y="425"/>
                </a:lnTo>
                <a:lnTo>
                  <a:pt x="422" y="424"/>
                </a:lnTo>
                <a:lnTo>
                  <a:pt x="420" y="423"/>
                </a:lnTo>
                <a:lnTo>
                  <a:pt x="420" y="421"/>
                </a:lnTo>
                <a:lnTo>
                  <a:pt x="421" y="418"/>
                </a:lnTo>
                <a:lnTo>
                  <a:pt x="421" y="416"/>
                </a:lnTo>
                <a:lnTo>
                  <a:pt x="419" y="416"/>
                </a:lnTo>
                <a:lnTo>
                  <a:pt x="417" y="416"/>
                </a:lnTo>
                <a:lnTo>
                  <a:pt x="417" y="414"/>
                </a:lnTo>
                <a:lnTo>
                  <a:pt x="418" y="413"/>
                </a:lnTo>
                <a:lnTo>
                  <a:pt x="420" y="411"/>
                </a:lnTo>
                <a:lnTo>
                  <a:pt x="419" y="409"/>
                </a:lnTo>
                <a:lnTo>
                  <a:pt x="418" y="408"/>
                </a:lnTo>
                <a:lnTo>
                  <a:pt x="416" y="406"/>
                </a:lnTo>
                <a:lnTo>
                  <a:pt x="415" y="404"/>
                </a:lnTo>
                <a:lnTo>
                  <a:pt x="417" y="402"/>
                </a:lnTo>
                <a:lnTo>
                  <a:pt x="419" y="401"/>
                </a:lnTo>
                <a:lnTo>
                  <a:pt x="417" y="398"/>
                </a:lnTo>
                <a:lnTo>
                  <a:pt x="416" y="398"/>
                </a:lnTo>
                <a:lnTo>
                  <a:pt x="415" y="398"/>
                </a:lnTo>
                <a:lnTo>
                  <a:pt x="416" y="397"/>
                </a:lnTo>
                <a:lnTo>
                  <a:pt x="418" y="395"/>
                </a:lnTo>
                <a:lnTo>
                  <a:pt x="420" y="390"/>
                </a:lnTo>
                <a:lnTo>
                  <a:pt x="423" y="387"/>
                </a:lnTo>
                <a:lnTo>
                  <a:pt x="429" y="386"/>
                </a:lnTo>
                <a:lnTo>
                  <a:pt x="430" y="385"/>
                </a:lnTo>
                <a:lnTo>
                  <a:pt x="432" y="383"/>
                </a:lnTo>
                <a:lnTo>
                  <a:pt x="433" y="382"/>
                </a:lnTo>
                <a:lnTo>
                  <a:pt x="435" y="382"/>
                </a:lnTo>
                <a:lnTo>
                  <a:pt x="437" y="383"/>
                </a:lnTo>
                <a:lnTo>
                  <a:pt x="438" y="384"/>
                </a:lnTo>
                <a:lnTo>
                  <a:pt x="439" y="383"/>
                </a:lnTo>
                <a:lnTo>
                  <a:pt x="439" y="380"/>
                </a:lnTo>
                <a:lnTo>
                  <a:pt x="439" y="379"/>
                </a:lnTo>
                <a:lnTo>
                  <a:pt x="439" y="373"/>
                </a:lnTo>
                <a:lnTo>
                  <a:pt x="440" y="370"/>
                </a:lnTo>
                <a:lnTo>
                  <a:pt x="442" y="370"/>
                </a:lnTo>
                <a:lnTo>
                  <a:pt x="443" y="371"/>
                </a:lnTo>
                <a:lnTo>
                  <a:pt x="443" y="373"/>
                </a:lnTo>
                <a:lnTo>
                  <a:pt x="444" y="377"/>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1250" name="Untied Kingdom">
            <a:extLst>
              <a:ext uri="{FF2B5EF4-FFF2-40B4-BE49-F238E27FC236}">
                <a16:creationId xmlns:a16="http://schemas.microsoft.com/office/drawing/2014/main" id="{9D552DA6-1731-4E4F-BC93-323B4C1A8D81}"/>
              </a:ext>
            </a:extLst>
          </p:cNvPr>
          <p:cNvSpPr>
            <a:spLocks noEditPoints="1"/>
          </p:cNvSpPr>
          <p:nvPr/>
        </p:nvSpPr>
        <p:spPr bwMode="auto">
          <a:xfrm>
            <a:off x="5569350" y="2606549"/>
            <a:ext cx="299415" cy="512436"/>
          </a:xfrm>
          <a:custGeom>
            <a:avLst/>
            <a:gdLst>
              <a:gd name="T0" fmla="*/ 123 w 309"/>
              <a:gd name="T1" fmla="*/ 432 h 598"/>
              <a:gd name="T2" fmla="*/ 60 w 309"/>
              <a:gd name="T3" fmla="*/ 331 h 598"/>
              <a:gd name="T4" fmla="*/ 83 w 309"/>
              <a:gd name="T5" fmla="*/ 373 h 598"/>
              <a:gd name="T6" fmla="*/ 63 w 309"/>
              <a:gd name="T7" fmla="*/ 394 h 598"/>
              <a:gd name="T8" fmla="*/ 38 w 309"/>
              <a:gd name="T9" fmla="*/ 377 h 598"/>
              <a:gd name="T10" fmla="*/ 8 w 309"/>
              <a:gd name="T11" fmla="*/ 382 h 598"/>
              <a:gd name="T12" fmla="*/ 14 w 309"/>
              <a:gd name="T13" fmla="*/ 358 h 598"/>
              <a:gd name="T14" fmla="*/ 52 w 309"/>
              <a:gd name="T15" fmla="*/ 330 h 598"/>
              <a:gd name="T16" fmla="*/ 95 w 309"/>
              <a:gd name="T17" fmla="*/ 319 h 598"/>
              <a:gd name="T18" fmla="*/ 52 w 309"/>
              <a:gd name="T19" fmla="*/ 305 h 598"/>
              <a:gd name="T20" fmla="*/ 65 w 309"/>
              <a:gd name="T21" fmla="*/ 297 h 598"/>
              <a:gd name="T22" fmla="*/ 57 w 309"/>
              <a:gd name="T23" fmla="*/ 270 h 598"/>
              <a:gd name="T24" fmla="*/ 48 w 309"/>
              <a:gd name="T25" fmla="*/ 255 h 598"/>
              <a:gd name="T26" fmla="*/ 23 w 309"/>
              <a:gd name="T27" fmla="*/ 232 h 598"/>
              <a:gd name="T28" fmla="*/ 27 w 309"/>
              <a:gd name="T29" fmla="*/ 225 h 598"/>
              <a:gd name="T30" fmla="*/ 63 w 309"/>
              <a:gd name="T31" fmla="*/ 214 h 598"/>
              <a:gd name="T32" fmla="*/ 57 w 309"/>
              <a:gd name="T33" fmla="*/ 220 h 598"/>
              <a:gd name="T34" fmla="*/ 57 w 309"/>
              <a:gd name="T35" fmla="*/ 193 h 598"/>
              <a:gd name="T36" fmla="*/ 27 w 309"/>
              <a:gd name="T37" fmla="*/ 194 h 598"/>
              <a:gd name="T38" fmla="*/ 39 w 309"/>
              <a:gd name="T39" fmla="*/ 187 h 598"/>
              <a:gd name="T40" fmla="*/ 33 w 309"/>
              <a:gd name="T41" fmla="*/ 168 h 598"/>
              <a:gd name="T42" fmla="*/ 60 w 309"/>
              <a:gd name="T43" fmla="*/ 144 h 598"/>
              <a:gd name="T44" fmla="*/ 134 w 309"/>
              <a:gd name="T45" fmla="*/ 184 h 598"/>
              <a:gd name="T46" fmla="*/ 196 w 309"/>
              <a:gd name="T47" fmla="*/ 196 h 598"/>
              <a:gd name="T48" fmla="*/ 157 w 309"/>
              <a:gd name="T49" fmla="*/ 264 h 598"/>
              <a:gd name="T50" fmla="*/ 139 w 309"/>
              <a:gd name="T51" fmla="*/ 286 h 598"/>
              <a:gd name="T52" fmla="*/ 218 w 309"/>
              <a:gd name="T53" fmla="*/ 362 h 598"/>
              <a:gd name="T54" fmla="*/ 252 w 309"/>
              <a:gd name="T55" fmla="*/ 415 h 598"/>
              <a:gd name="T56" fmla="*/ 264 w 309"/>
              <a:gd name="T57" fmla="*/ 459 h 598"/>
              <a:gd name="T58" fmla="*/ 306 w 309"/>
              <a:gd name="T59" fmla="*/ 486 h 598"/>
              <a:gd name="T60" fmla="*/ 283 w 309"/>
              <a:gd name="T61" fmla="*/ 518 h 598"/>
              <a:gd name="T62" fmla="*/ 298 w 309"/>
              <a:gd name="T63" fmla="*/ 535 h 598"/>
              <a:gd name="T64" fmla="*/ 223 w 309"/>
              <a:gd name="T65" fmla="*/ 559 h 598"/>
              <a:gd name="T66" fmla="*/ 178 w 309"/>
              <a:gd name="T67" fmla="*/ 570 h 598"/>
              <a:gd name="T68" fmla="*/ 123 w 309"/>
              <a:gd name="T69" fmla="*/ 581 h 598"/>
              <a:gd name="T70" fmla="*/ 80 w 309"/>
              <a:gd name="T71" fmla="*/ 589 h 598"/>
              <a:gd name="T72" fmla="*/ 142 w 309"/>
              <a:gd name="T73" fmla="*/ 539 h 598"/>
              <a:gd name="T74" fmla="*/ 151 w 309"/>
              <a:gd name="T75" fmla="*/ 531 h 598"/>
              <a:gd name="T76" fmla="*/ 101 w 309"/>
              <a:gd name="T77" fmla="*/ 519 h 598"/>
              <a:gd name="T78" fmla="*/ 128 w 309"/>
              <a:gd name="T79" fmla="*/ 472 h 598"/>
              <a:gd name="T80" fmla="*/ 117 w 309"/>
              <a:gd name="T81" fmla="*/ 448 h 598"/>
              <a:gd name="T82" fmla="*/ 168 w 309"/>
              <a:gd name="T83" fmla="*/ 433 h 598"/>
              <a:gd name="T84" fmla="*/ 165 w 309"/>
              <a:gd name="T85" fmla="*/ 387 h 598"/>
              <a:gd name="T86" fmla="*/ 138 w 309"/>
              <a:gd name="T87" fmla="*/ 350 h 598"/>
              <a:gd name="T88" fmla="*/ 102 w 309"/>
              <a:gd name="T89" fmla="*/ 355 h 598"/>
              <a:gd name="T90" fmla="*/ 102 w 309"/>
              <a:gd name="T91" fmla="*/ 295 h 598"/>
              <a:gd name="T92" fmla="*/ 91 w 309"/>
              <a:gd name="T93" fmla="*/ 294 h 598"/>
              <a:gd name="T94" fmla="*/ 80 w 309"/>
              <a:gd name="T95" fmla="*/ 324 h 598"/>
              <a:gd name="T96" fmla="*/ 81 w 309"/>
              <a:gd name="T97" fmla="*/ 281 h 598"/>
              <a:gd name="T98" fmla="*/ 65 w 309"/>
              <a:gd name="T99" fmla="*/ 249 h 598"/>
              <a:gd name="T100" fmla="*/ 75 w 309"/>
              <a:gd name="T101" fmla="*/ 203 h 598"/>
              <a:gd name="T102" fmla="*/ 85 w 309"/>
              <a:gd name="T103" fmla="*/ 170 h 598"/>
              <a:gd name="T104" fmla="*/ 100 w 309"/>
              <a:gd name="T105" fmla="*/ 139 h 598"/>
              <a:gd name="T106" fmla="*/ 157 w 309"/>
              <a:gd name="T107" fmla="*/ 143 h 598"/>
              <a:gd name="T108" fmla="*/ 148 w 309"/>
              <a:gd name="T109" fmla="*/ 120 h 598"/>
              <a:gd name="T110" fmla="*/ 166 w 309"/>
              <a:gd name="T111" fmla="*/ 121 h 598"/>
              <a:gd name="T112" fmla="*/ 156 w 309"/>
              <a:gd name="T113" fmla="*/ 106 h 598"/>
              <a:gd name="T114" fmla="*/ 165 w 309"/>
              <a:gd name="T115" fmla="*/ 103 h 598"/>
              <a:gd name="T116" fmla="*/ 218 w 309"/>
              <a:gd name="T117" fmla="*/ 27 h 598"/>
              <a:gd name="T118" fmla="*/ 213 w 309"/>
              <a:gd name="T119" fmla="*/ 41 h 598"/>
              <a:gd name="T120" fmla="*/ 206 w 309"/>
              <a:gd name="T121" fmla="*/ 20 h 598"/>
              <a:gd name="T122" fmla="*/ 222 w 309"/>
              <a:gd name="T123" fmla="*/ 16 h 598"/>
              <a:gd name="T124" fmla="*/ 229 w 309"/>
              <a:gd name="T125" fmla="*/ 0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09" h="598">
                <a:moveTo>
                  <a:pt x="221" y="565"/>
                </a:moveTo>
                <a:lnTo>
                  <a:pt x="221" y="565"/>
                </a:lnTo>
                <a:lnTo>
                  <a:pt x="218" y="567"/>
                </a:lnTo>
                <a:lnTo>
                  <a:pt x="217" y="569"/>
                </a:lnTo>
                <a:lnTo>
                  <a:pt x="217" y="570"/>
                </a:lnTo>
                <a:lnTo>
                  <a:pt x="215" y="570"/>
                </a:lnTo>
                <a:lnTo>
                  <a:pt x="213" y="570"/>
                </a:lnTo>
                <a:lnTo>
                  <a:pt x="207" y="566"/>
                </a:lnTo>
                <a:lnTo>
                  <a:pt x="205" y="566"/>
                </a:lnTo>
                <a:lnTo>
                  <a:pt x="207" y="565"/>
                </a:lnTo>
                <a:lnTo>
                  <a:pt x="211" y="563"/>
                </a:lnTo>
                <a:lnTo>
                  <a:pt x="213" y="561"/>
                </a:lnTo>
                <a:lnTo>
                  <a:pt x="218" y="563"/>
                </a:lnTo>
                <a:lnTo>
                  <a:pt x="221" y="565"/>
                </a:lnTo>
                <a:close/>
                <a:moveTo>
                  <a:pt x="123" y="432"/>
                </a:moveTo>
                <a:lnTo>
                  <a:pt x="123" y="432"/>
                </a:lnTo>
                <a:lnTo>
                  <a:pt x="125" y="433"/>
                </a:lnTo>
                <a:lnTo>
                  <a:pt x="128" y="433"/>
                </a:lnTo>
                <a:lnTo>
                  <a:pt x="127" y="435"/>
                </a:lnTo>
                <a:lnTo>
                  <a:pt x="123" y="438"/>
                </a:lnTo>
                <a:lnTo>
                  <a:pt x="121" y="440"/>
                </a:lnTo>
                <a:lnTo>
                  <a:pt x="118" y="442"/>
                </a:lnTo>
                <a:lnTo>
                  <a:pt x="116" y="440"/>
                </a:lnTo>
                <a:lnTo>
                  <a:pt x="115" y="440"/>
                </a:lnTo>
                <a:lnTo>
                  <a:pt x="112" y="435"/>
                </a:lnTo>
                <a:lnTo>
                  <a:pt x="112" y="429"/>
                </a:lnTo>
                <a:lnTo>
                  <a:pt x="115" y="427"/>
                </a:lnTo>
                <a:lnTo>
                  <a:pt x="120" y="427"/>
                </a:lnTo>
                <a:lnTo>
                  <a:pt x="123" y="432"/>
                </a:lnTo>
                <a:close/>
                <a:moveTo>
                  <a:pt x="55" y="330"/>
                </a:moveTo>
                <a:lnTo>
                  <a:pt x="55" y="330"/>
                </a:lnTo>
                <a:lnTo>
                  <a:pt x="60" y="331"/>
                </a:lnTo>
                <a:lnTo>
                  <a:pt x="63" y="331"/>
                </a:lnTo>
                <a:lnTo>
                  <a:pt x="66" y="335"/>
                </a:lnTo>
                <a:lnTo>
                  <a:pt x="67" y="341"/>
                </a:lnTo>
                <a:lnTo>
                  <a:pt x="71" y="348"/>
                </a:lnTo>
                <a:lnTo>
                  <a:pt x="76" y="353"/>
                </a:lnTo>
                <a:lnTo>
                  <a:pt x="76" y="356"/>
                </a:lnTo>
                <a:lnTo>
                  <a:pt x="74" y="358"/>
                </a:lnTo>
                <a:lnTo>
                  <a:pt x="71" y="360"/>
                </a:lnTo>
                <a:lnTo>
                  <a:pt x="71" y="362"/>
                </a:lnTo>
                <a:lnTo>
                  <a:pt x="73" y="361"/>
                </a:lnTo>
                <a:lnTo>
                  <a:pt x="75" y="361"/>
                </a:lnTo>
                <a:lnTo>
                  <a:pt x="80" y="361"/>
                </a:lnTo>
                <a:lnTo>
                  <a:pt x="82" y="364"/>
                </a:lnTo>
                <a:lnTo>
                  <a:pt x="83" y="367"/>
                </a:lnTo>
                <a:lnTo>
                  <a:pt x="84" y="370"/>
                </a:lnTo>
                <a:lnTo>
                  <a:pt x="83" y="373"/>
                </a:lnTo>
                <a:lnTo>
                  <a:pt x="82" y="372"/>
                </a:lnTo>
                <a:lnTo>
                  <a:pt x="80" y="369"/>
                </a:lnTo>
                <a:lnTo>
                  <a:pt x="79" y="368"/>
                </a:lnTo>
                <a:lnTo>
                  <a:pt x="77" y="367"/>
                </a:lnTo>
                <a:lnTo>
                  <a:pt x="78" y="371"/>
                </a:lnTo>
                <a:lnTo>
                  <a:pt x="78" y="376"/>
                </a:lnTo>
                <a:lnTo>
                  <a:pt x="78" y="377"/>
                </a:lnTo>
                <a:lnTo>
                  <a:pt x="81" y="377"/>
                </a:lnTo>
                <a:lnTo>
                  <a:pt x="79" y="382"/>
                </a:lnTo>
                <a:lnTo>
                  <a:pt x="76" y="384"/>
                </a:lnTo>
                <a:lnTo>
                  <a:pt x="72" y="384"/>
                </a:lnTo>
                <a:lnTo>
                  <a:pt x="72" y="386"/>
                </a:lnTo>
                <a:lnTo>
                  <a:pt x="71" y="388"/>
                </a:lnTo>
                <a:lnTo>
                  <a:pt x="69" y="392"/>
                </a:lnTo>
                <a:lnTo>
                  <a:pt x="66" y="394"/>
                </a:lnTo>
                <a:lnTo>
                  <a:pt x="63" y="394"/>
                </a:lnTo>
                <a:lnTo>
                  <a:pt x="60" y="392"/>
                </a:lnTo>
                <a:lnTo>
                  <a:pt x="58" y="392"/>
                </a:lnTo>
                <a:lnTo>
                  <a:pt x="56" y="393"/>
                </a:lnTo>
                <a:lnTo>
                  <a:pt x="54" y="393"/>
                </a:lnTo>
                <a:lnTo>
                  <a:pt x="53" y="393"/>
                </a:lnTo>
                <a:lnTo>
                  <a:pt x="50" y="394"/>
                </a:lnTo>
                <a:lnTo>
                  <a:pt x="47" y="394"/>
                </a:lnTo>
                <a:lnTo>
                  <a:pt x="46" y="392"/>
                </a:lnTo>
                <a:lnTo>
                  <a:pt x="47" y="388"/>
                </a:lnTo>
                <a:lnTo>
                  <a:pt x="46" y="387"/>
                </a:lnTo>
                <a:lnTo>
                  <a:pt x="43" y="386"/>
                </a:lnTo>
                <a:lnTo>
                  <a:pt x="42" y="385"/>
                </a:lnTo>
                <a:lnTo>
                  <a:pt x="40" y="382"/>
                </a:lnTo>
                <a:lnTo>
                  <a:pt x="40" y="381"/>
                </a:lnTo>
                <a:lnTo>
                  <a:pt x="40" y="379"/>
                </a:lnTo>
                <a:lnTo>
                  <a:pt x="38" y="377"/>
                </a:lnTo>
                <a:lnTo>
                  <a:pt x="36" y="375"/>
                </a:lnTo>
                <a:lnTo>
                  <a:pt x="34" y="375"/>
                </a:lnTo>
                <a:lnTo>
                  <a:pt x="32" y="378"/>
                </a:lnTo>
                <a:lnTo>
                  <a:pt x="29" y="381"/>
                </a:lnTo>
                <a:lnTo>
                  <a:pt x="30" y="382"/>
                </a:lnTo>
                <a:lnTo>
                  <a:pt x="31" y="384"/>
                </a:lnTo>
                <a:lnTo>
                  <a:pt x="30" y="385"/>
                </a:lnTo>
                <a:lnTo>
                  <a:pt x="26" y="388"/>
                </a:lnTo>
                <a:lnTo>
                  <a:pt x="26" y="390"/>
                </a:lnTo>
                <a:lnTo>
                  <a:pt x="25" y="390"/>
                </a:lnTo>
                <a:lnTo>
                  <a:pt x="23" y="389"/>
                </a:lnTo>
                <a:lnTo>
                  <a:pt x="19" y="390"/>
                </a:lnTo>
                <a:lnTo>
                  <a:pt x="17" y="389"/>
                </a:lnTo>
                <a:lnTo>
                  <a:pt x="15" y="387"/>
                </a:lnTo>
                <a:lnTo>
                  <a:pt x="9" y="385"/>
                </a:lnTo>
                <a:lnTo>
                  <a:pt x="8" y="382"/>
                </a:lnTo>
                <a:lnTo>
                  <a:pt x="7" y="381"/>
                </a:lnTo>
                <a:lnTo>
                  <a:pt x="1" y="375"/>
                </a:lnTo>
                <a:lnTo>
                  <a:pt x="0" y="373"/>
                </a:lnTo>
                <a:lnTo>
                  <a:pt x="1" y="371"/>
                </a:lnTo>
                <a:lnTo>
                  <a:pt x="3" y="369"/>
                </a:lnTo>
                <a:lnTo>
                  <a:pt x="11" y="366"/>
                </a:lnTo>
                <a:lnTo>
                  <a:pt x="12" y="365"/>
                </a:lnTo>
                <a:lnTo>
                  <a:pt x="13" y="364"/>
                </a:lnTo>
                <a:lnTo>
                  <a:pt x="10" y="363"/>
                </a:lnTo>
                <a:lnTo>
                  <a:pt x="8" y="361"/>
                </a:lnTo>
                <a:lnTo>
                  <a:pt x="7" y="360"/>
                </a:lnTo>
                <a:lnTo>
                  <a:pt x="7" y="359"/>
                </a:lnTo>
                <a:lnTo>
                  <a:pt x="9" y="358"/>
                </a:lnTo>
                <a:lnTo>
                  <a:pt x="11" y="358"/>
                </a:lnTo>
                <a:lnTo>
                  <a:pt x="13" y="359"/>
                </a:lnTo>
                <a:lnTo>
                  <a:pt x="14" y="358"/>
                </a:lnTo>
                <a:lnTo>
                  <a:pt x="17" y="357"/>
                </a:lnTo>
                <a:lnTo>
                  <a:pt x="19" y="356"/>
                </a:lnTo>
                <a:lnTo>
                  <a:pt x="20" y="352"/>
                </a:lnTo>
                <a:lnTo>
                  <a:pt x="22" y="350"/>
                </a:lnTo>
                <a:lnTo>
                  <a:pt x="22" y="348"/>
                </a:lnTo>
                <a:lnTo>
                  <a:pt x="23" y="343"/>
                </a:lnTo>
                <a:lnTo>
                  <a:pt x="24" y="342"/>
                </a:lnTo>
                <a:lnTo>
                  <a:pt x="29" y="338"/>
                </a:lnTo>
                <a:lnTo>
                  <a:pt x="30" y="340"/>
                </a:lnTo>
                <a:lnTo>
                  <a:pt x="33" y="340"/>
                </a:lnTo>
                <a:lnTo>
                  <a:pt x="35" y="339"/>
                </a:lnTo>
                <a:lnTo>
                  <a:pt x="37" y="333"/>
                </a:lnTo>
                <a:lnTo>
                  <a:pt x="39" y="333"/>
                </a:lnTo>
                <a:lnTo>
                  <a:pt x="41" y="333"/>
                </a:lnTo>
                <a:lnTo>
                  <a:pt x="45" y="333"/>
                </a:lnTo>
                <a:lnTo>
                  <a:pt x="52" y="330"/>
                </a:lnTo>
                <a:lnTo>
                  <a:pt x="55" y="330"/>
                </a:lnTo>
                <a:close/>
                <a:moveTo>
                  <a:pt x="95" y="319"/>
                </a:moveTo>
                <a:lnTo>
                  <a:pt x="95" y="319"/>
                </a:lnTo>
                <a:lnTo>
                  <a:pt x="91" y="319"/>
                </a:lnTo>
                <a:lnTo>
                  <a:pt x="90" y="318"/>
                </a:lnTo>
                <a:lnTo>
                  <a:pt x="88" y="317"/>
                </a:lnTo>
                <a:lnTo>
                  <a:pt x="86" y="309"/>
                </a:lnTo>
                <a:lnTo>
                  <a:pt x="87" y="307"/>
                </a:lnTo>
                <a:lnTo>
                  <a:pt x="87" y="305"/>
                </a:lnTo>
                <a:lnTo>
                  <a:pt x="88" y="304"/>
                </a:lnTo>
                <a:lnTo>
                  <a:pt x="90" y="304"/>
                </a:lnTo>
                <a:lnTo>
                  <a:pt x="92" y="305"/>
                </a:lnTo>
                <a:lnTo>
                  <a:pt x="93" y="307"/>
                </a:lnTo>
                <a:lnTo>
                  <a:pt x="95" y="312"/>
                </a:lnTo>
                <a:lnTo>
                  <a:pt x="95" y="316"/>
                </a:lnTo>
                <a:lnTo>
                  <a:pt x="95" y="319"/>
                </a:lnTo>
                <a:close/>
                <a:moveTo>
                  <a:pt x="63" y="292"/>
                </a:moveTo>
                <a:lnTo>
                  <a:pt x="63" y="292"/>
                </a:lnTo>
                <a:lnTo>
                  <a:pt x="64" y="299"/>
                </a:lnTo>
                <a:lnTo>
                  <a:pt x="65" y="304"/>
                </a:lnTo>
                <a:lnTo>
                  <a:pt x="65" y="305"/>
                </a:lnTo>
                <a:lnTo>
                  <a:pt x="64" y="307"/>
                </a:lnTo>
                <a:lnTo>
                  <a:pt x="59" y="310"/>
                </a:lnTo>
                <a:lnTo>
                  <a:pt x="58" y="310"/>
                </a:lnTo>
                <a:lnTo>
                  <a:pt x="57" y="309"/>
                </a:lnTo>
                <a:lnTo>
                  <a:pt x="59" y="306"/>
                </a:lnTo>
                <a:lnTo>
                  <a:pt x="58" y="303"/>
                </a:lnTo>
                <a:lnTo>
                  <a:pt x="58" y="301"/>
                </a:lnTo>
                <a:lnTo>
                  <a:pt x="58" y="300"/>
                </a:lnTo>
                <a:lnTo>
                  <a:pt x="57" y="301"/>
                </a:lnTo>
                <a:lnTo>
                  <a:pt x="53" y="304"/>
                </a:lnTo>
                <a:lnTo>
                  <a:pt x="52" y="305"/>
                </a:lnTo>
                <a:lnTo>
                  <a:pt x="52" y="304"/>
                </a:lnTo>
                <a:lnTo>
                  <a:pt x="52" y="301"/>
                </a:lnTo>
                <a:lnTo>
                  <a:pt x="53" y="299"/>
                </a:lnTo>
                <a:lnTo>
                  <a:pt x="53" y="297"/>
                </a:lnTo>
                <a:lnTo>
                  <a:pt x="54" y="296"/>
                </a:lnTo>
                <a:lnTo>
                  <a:pt x="55" y="295"/>
                </a:lnTo>
                <a:lnTo>
                  <a:pt x="56" y="295"/>
                </a:lnTo>
                <a:lnTo>
                  <a:pt x="57" y="296"/>
                </a:lnTo>
                <a:lnTo>
                  <a:pt x="60" y="293"/>
                </a:lnTo>
                <a:lnTo>
                  <a:pt x="63" y="292"/>
                </a:lnTo>
                <a:close/>
                <a:moveTo>
                  <a:pt x="68" y="298"/>
                </a:moveTo>
                <a:lnTo>
                  <a:pt x="68" y="298"/>
                </a:lnTo>
                <a:lnTo>
                  <a:pt x="67" y="299"/>
                </a:lnTo>
                <a:lnTo>
                  <a:pt x="66" y="299"/>
                </a:lnTo>
                <a:lnTo>
                  <a:pt x="65" y="298"/>
                </a:lnTo>
                <a:lnTo>
                  <a:pt x="65" y="297"/>
                </a:lnTo>
                <a:lnTo>
                  <a:pt x="65" y="294"/>
                </a:lnTo>
                <a:lnTo>
                  <a:pt x="66" y="292"/>
                </a:lnTo>
                <a:lnTo>
                  <a:pt x="70" y="290"/>
                </a:lnTo>
                <a:lnTo>
                  <a:pt x="68" y="289"/>
                </a:lnTo>
                <a:lnTo>
                  <a:pt x="68" y="288"/>
                </a:lnTo>
                <a:lnTo>
                  <a:pt x="69" y="286"/>
                </a:lnTo>
                <a:lnTo>
                  <a:pt x="73" y="282"/>
                </a:lnTo>
                <a:lnTo>
                  <a:pt x="74" y="281"/>
                </a:lnTo>
                <a:lnTo>
                  <a:pt x="76" y="281"/>
                </a:lnTo>
                <a:lnTo>
                  <a:pt x="73" y="288"/>
                </a:lnTo>
                <a:lnTo>
                  <a:pt x="68" y="298"/>
                </a:lnTo>
                <a:close/>
                <a:moveTo>
                  <a:pt x="74" y="269"/>
                </a:moveTo>
                <a:lnTo>
                  <a:pt x="74" y="269"/>
                </a:lnTo>
                <a:lnTo>
                  <a:pt x="62" y="272"/>
                </a:lnTo>
                <a:lnTo>
                  <a:pt x="57" y="272"/>
                </a:lnTo>
                <a:lnTo>
                  <a:pt x="57" y="270"/>
                </a:lnTo>
                <a:lnTo>
                  <a:pt x="58" y="269"/>
                </a:lnTo>
                <a:lnTo>
                  <a:pt x="61" y="268"/>
                </a:lnTo>
                <a:lnTo>
                  <a:pt x="63" y="261"/>
                </a:lnTo>
                <a:lnTo>
                  <a:pt x="57" y="257"/>
                </a:lnTo>
                <a:lnTo>
                  <a:pt x="57" y="256"/>
                </a:lnTo>
                <a:lnTo>
                  <a:pt x="57" y="255"/>
                </a:lnTo>
                <a:lnTo>
                  <a:pt x="58" y="254"/>
                </a:lnTo>
                <a:lnTo>
                  <a:pt x="61" y="252"/>
                </a:lnTo>
                <a:lnTo>
                  <a:pt x="63" y="252"/>
                </a:lnTo>
                <a:lnTo>
                  <a:pt x="64" y="252"/>
                </a:lnTo>
                <a:lnTo>
                  <a:pt x="66" y="254"/>
                </a:lnTo>
                <a:lnTo>
                  <a:pt x="69" y="258"/>
                </a:lnTo>
                <a:lnTo>
                  <a:pt x="72" y="259"/>
                </a:lnTo>
                <a:lnTo>
                  <a:pt x="75" y="261"/>
                </a:lnTo>
                <a:lnTo>
                  <a:pt x="74" y="269"/>
                </a:lnTo>
                <a:close/>
                <a:moveTo>
                  <a:pt x="48" y="255"/>
                </a:moveTo>
                <a:lnTo>
                  <a:pt x="48" y="255"/>
                </a:lnTo>
                <a:lnTo>
                  <a:pt x="46" y="256"/>
                </a:lnTo>
                <a:lnTo>
                  <a:pt x="46" y="255"/>
                </a:lnTo>
                <a:lnTo>
                  <a:pt x="49" y="251"/>
                </a:lnTo>
                <a:lnTo>
                  <a:pt x="51" y="250"/>
                </a:lnTo>
                <a:lnTo>
                  <a:pt x="52" y="251"/>
                </a:lnTo>
                <a:lnTo>
                  <a:pt x="50" y="253"/>
                </a:lnTo>
                <a:lnTo>
                  <a:pt x="48" y="255"/>
                </a:lnTo>
                <a:close/>
                <a:moveTo>
                  <a:pt x="23" y="234"/>
                </a:moveTo>
                <a:lnTo>
                  <a:pt x="23" y="234"/>
                </a:lnTo>
                <a:lnTo>
                  <a:pt x="20" y="234"/>
                </a:lnTo>
                <a:lnTo>
                  <a:pt x="19" y="234"/>
                </a:lnTo>
                <a:lnTo>
                  <a:pt x="19" y="233"/>
                </a:lnTo>
                <a:lnTo>
                  <a:pt x="20" y="231"/>
                </a:lnTo>
                <a:lnTo>
                  <a:pt x="22" y="231"/>
                </a:lnTo>
                <a:lnTo>
                  <a:pt x="23" y="232"/>
                </a:lnTo>
                <a:lnTo>
                  <a:pt x="23" y="233"/>
                </a:lnTo>
                <a:lnTo>
                  <a:pt x="23" y="234"/>
                </a:lnTo>
                <a:close/>
                <a:moveTo>
                  <a:pt x="58" y="234"/>
                </a:moveTo>
                <a:lnTo>
                  <a:pt x="58" y="234"/>
                </a:lnTo>
                <a:lnTo>
                  <a:pt x="57" y="234"/>
                </a:lnTo>
                <a:lnTo>
                  <a:pt x="56" y="234"/>
                </a:lnTo>
                <a:lnTo>
                  <a:pt x="55" y="233"/>
                </a:lnTo>
                <a:lnTo>
                  <a:pt x="54" y="231"/>
                </a:lnTo>
                <a:lnTo>
                  <a:pt x="57" y="229"/>
                </a:lnTo>
                <a:lnTo>
                  <a:pt x="58" y="230"/>
                </a:lnTo>
                <a:lnTo>
                  <a:pt x="59" y="231"/>
                </a:lnTo>
                <a:lnTo>
                  <a:pt x="59" y="233"/>
                </a:lnTo>
                <a:lnTo>
                  <a:pt x="58" y="234"/>
                </a:lnTo>
                <a:close/>
                <a:moveTo>
                  <a:pt x="28" y="225"/>
                </a:moveTo>
                <a:lnTo>
                  <a:pt x="28" y="225"/>
                </a:lnTo>
                <a:lnTo>
                  <a:pt x="27" y="225"/>
                </a:lnTo>
                <a:lnTo>
                  <a:pt x="25" y="225"/>
                </a:lnTo>
                <a:lnTo>
                  <a:pt x="24" y="224"/>
                </a:lnTo>
                <a:lnTo>
                  <a:pt x="23" y="221"/>
                </a:lnTo>
                <a:lnTo>
                  <a:pt x="23" y="219"/>
                </a:lnTo>
                <a:lnTo>
                  <a:pt x="23" y="215"/>
                </a:lnTo>
                <a:lnTo>
                  <a:pt x="23" y="210"/>
                </a:lnTo>
                <a:lnTo>
                  <a:pt x="27" y="210"/>
                </a:lnTo>
                <a:lnTo>
                  <a:pt x="28" y="210"/>
                </a:lnTo>
                <a:lnTo>
                  <a:pt x="28" y="225"/>
                </a:lnTo>
                <a:lnTo>
                  <a:pt x="28" y="225"/>
                </a:lnTo>
                <a:close/>
                <a:moveTo>
                  <a:pt x="63" y="203"/>
                </a:moveTo>
                <a:lnTo>
                  <a:pt x="63" y="203"/>
                </a:lnTo>
                <a:lnTo>
                  <a:pt x="62" y="205"/>
                </a:lnTo>
                <a:lnTo>
                  <a:pt x="62" y="208"/>
                </a:lnTo>
                <a:lnTo>
                  <a:pt x="63" y="211"/>
                </a:lnTo>
                <a:lnTo>
                  <a:pt x="63" y="214"/>
                </a:lnTo>
                <a:lnTo>
                  <a:pt x="64" y="214"/>
                </a:lnTo>
                <a:lnTo>
                  <a:pt x="65" y="216"/>
                </a:lnTo>
                <a:lnTo>
                  <a:pt x="71" y="217"/>
                </a:lnTo>
                <a:lnTo>
                  <a:pt x="76" y="216"/>
                </a:lnTo>
                <a:lnTo>
                  <a:pt x="77" y="217"/>
                </a:lnTo>
                <a:lnTo>
                  <a:pt x="77" y="219"/>
                </a:lnTo>
                <a:lnTo>
                  <a:pt x="77" y="220"/>
                </a:lnTo>
                <a:lnTo>
                  <a:pt x="73" y="223"/>
                </a:lnTo>
                <a:lnTo>
                  <a:pt x="70" y="228"/>
                </a:lnTo>
                <a:lnTo>
                  <a:pt x="69" y="229"/>
                </a:lnTo>
                <a:lnTo>
                  <a:pt x="67" y="229"/>
                </a:lnTo>
                <a:lnTo>
                  <a:pt x="67" y="229"/>
                </a:lnTo>
                <a:lnTo>
                  <a:pt x="66" y="220"/>
                </a:lnTo>
                <a:lnTo>
                  <a:pt x="62" y="221"/>
                </a:lnTo>
                <a:lnTo>
                  <a:pt x="59" y="221"/>
                </a:lnTo>
                <a:lnTo>
                  <a:pt x="57" y="220"/>
                </a:lnTo>
                <a:lnTo>
                  <a:pt x="56" y="218"/>
                </a:lnTo>
                <a:lnTo>
                  <a:pt x="53" y="213"/>
                </a:lnTo>
                <a:lnTo>
                  <a:pt x="46" y="211"/>
                </a:lnTo>
                <a:lnTo>
                  <a:pt x="44" y="208"/>
                </a:lnTo>
                <a:lnTo>
                  <a:pt x="43" y="206"/>
                </a:lnTo>
                <a:lnTo>
                  <a:pt x="44" y="205"/>
                </a:lnTo>
                <a:lnTo>
                  <a:pt x="45" y="203"/>
                </a:lnTo>
                <a:lnTo>
                  <a:pt x="47" y="204"/>
                </a:lnTo>
                <a:lnTo>
                  <a:pt x="48" y="204"/>
                </a:lnTo>
                <a:lnTo>
                  <a:pt x="49" y="203"/>
                </a:lnTo>
                <a:lnTo>
                  <a:pt x="49" y="202"/>
                </a:lnTo>
                <a:lnTo>
                  <a:pt x="48" y="200"/>
                </a:lnTo>
                <a:lnTo>
                  <a:pt x="48" y="199"/>
                </a:lnTo>
                <a:lnTo>
                  <a:pt x="55" y="197"/>
                </a:lnTo>
                <a:lnTo>
                  <a:pt x="56" y="193"/>
                </a:lnTo>
                <a:lnTo>
                  <a:pt x="57" y="193"/>
                </a:lnTo>
                <a:lnTo>
                  <a:pt x="59" y="194"/>
                </a:lnTo>
                <a:lnTo>
                  <a:pt x="62" y="198"/>
                </a:lnTo>
                <a:lnTo>
                  <a:pt x="63" y="203"/>
                </a:lnTo>
                <a:close/>
                <a:moveTo>
                  <a:pt x="29" y="192"/>
                </a:moveTo>
                <a:lnTo>
                  <a:pt x="29" y="192"/>
                </a:lnTo>
                <a:lnTo>
                  <a:pt x="33" y="196"/>
                </a:lnTo>
                <a:lnTo>
                  <a:pt x="30" y="201"/>
                </a:lnTo>
                <a:lnTo>
                  <a:pt x="26" y="201"/>
                </a:lnTo>
                <a:lnTo>
                  <a:pt x="20" y="197"/>
                </a:lnTo>
                <a:lnTo>
                  <a:pt x="20" y="196"/>
                </a:lnTo>
                <a:lnTo>
                  <a:pt x="20" y="195"/>
                </a:lnTo>
                <a:lnTo>
                  <a:pt x="21" y="194"/>
                </a:lnTo>
                <a:lnTo>
                  <a:pt x="22" y="194"/>
                </a:lnTo>
                <a:lnTo>
                  <a:pt x="24" y="195"/>
                </a:lnTo>
                <a:lnTo>
                  <a:pt x="26" y="193"/>
                </a:lnTo>
                <a:lnTo>
                  <a:pt x="27" y="194"/>
                </a:lnTo>
                <a:lnTo>
                  <a:pt x="29" y="192"/>
                </a:lnTo>
                <a:close/>
                <a:moveTo>
                  <a:pt x="61" y="152"/>
                </a:moveTo>
                <a:lnTo>
                  <a:pt x="61" y="152"/>
                </a:lnTo>
                <a:lnTo>
                  <a:pt x="57" y="163"/>
                </a:lnTo>
                <a:lnTo>
                  <a:pt x="55" y="163"/>
                </a:lnTo>
                <a:lnTo>
                  <a:pt x="54" y="166"/>
                </a:lnTo>
                <a:lnTo>
                  <a:pt x="50" y="168"/>
                </a:lnTo>
                <a:lnTo>
                  <a:pt x="53" y="168"/>
                </a:lnTo>
                <a:lnTo>
                  <a:pt x="54" y="169"/>
                </a:lnTo>
                <a:lnTo>
                  <a:pt x="54" y="171"/>
                </a:lnTo>
                <a:lnTo>
                  <a:pt x="54" y="173"/>
                </a:lnTo>
                <a:lnTo>
                  <a:pt x="49" y="177"/>
                </a:lnTo>
                <a:lnTo>
                  <a:pt x="46" y="179"/>
                </a:lnTo>
                <a:lnTo>
                  <a:pt x="42" y="184"/>
                </a:lnTo>
                <a:lnTo>
                  <a:pt x="40" y="184"/>
                </a:lnTo>
                <a:lnTo>
                  <a:pt x="39" y="187"/>
                </a:lnTo>
                <a:lnTo>
                  <a:pt x="37" y="188"/>
                </a:lnTo>
                <a:lnTo>
                  <a:pt x="36" y="188"/>
                </a:lnTo>
                <a:lnTo>
                  <a:pt x="35" y="188"/>
                </a:lnTo>
                <a:lnTo>
                  <a:pt x="33" y="185"/>
                </a:lnTo>
                <a:lnTo>
                  <a:pt x="37" y="182"/>
                </a:lnTo>
                <a:lnTo>
                  <a:pt x="38" y="180"/>
                </a:lnTo>
                <a:lnTo>
                  <a:pt x="40" y="178"/>
                </a:lnTo>
                <a:lnTo>
                  <a:pt x="40" y="178"/>
                </a:lnTo>
                <a:lnTo>
                  <a:pt x="36" y="175"/>
                </a:lnTo>
                <a:lnTo>
                  <a:pt x="34" y="174"/>
                </a:lnTo>
                <a:lnTo>
                  <a:pt x="34" y="173"/>
                </a:lnTo>
                <a:lnTo>
                  <a:pt x="36" y="171"/>
                </a:lnTo>
                <a:lnTo>
                  <a:pt x="35" y="171"/>
                </a:lnTo>
                <a:lnTo>
                  <a:pt x="35" y="170"/>
                </a:lnTo>
                <a:lnTo>
                  <a:pt x="33" y="169"/>
                </a:lnTo>
                <a:lnTo>
                  <a:pt x="33" y="168"/>
                </a:lnTo>
                <a:lnTo>
                  <a:pt x="33" y="166"/>
                </a:lnTo>
                <a:lnTo>
                  <a:pt x="33" y="163"/>
                </a:lnTo>
                <a:lnTo>
                  <a:pt x="34" y="162"/>
                </a:lnTo>
                <a:lnTo>
                  <a:pt x="35" y="161"/>
                </a:lnTo>
                <a:lnTo>
                  <a:pt x="35" y="160"/>
                </a:lnTo>
                <a:lnTo>
                  <a:pt x="37" y="161"/>
                </a:lnTo>
                <a:lnTo>
                  <a:pt x="39" y="163"/>
                </a:lnTo>
                <a:lnTo>
                  <a:pt x="42" y="162"/>
                </a:lnTo>
                <a:lnTo>
                  <a:pt x="44" y="163"/>
                </a:lnTo>
                <a:lnTo>
                  <a:pt x="44" y="162"/>
                </a:lnTo>
                <a:lnTo>
                  <a:pt x="42" y="157"/>
                </a:lnTo>
                <a:lnTo>
                  <a:pt x="43" y="156"/>
                </a:lnTo>
                <a:lnTo>
                  <a:pt x="44" y="155"/>
                </a:lnTo>
                <a:lnTo>
                  <a:pt x="50" y="151"/>
                </a:lnTo>
                <a:lnTo>
                  <a:pt x="58" y="145"/>
                </a:lnTo>
                <a:lnTo>
                  <a:pt x="60" y="144"/>
                </a:lnTo>
                <a:lnTo>
                  <a:pt x="60" y="145"/>
                </a:lnTo>
                <a:lnTo>
                  <a:pt x="61" y="148"/>
                </a:lnTo>
                <a:lnTo>
                  <a:pt x="61" y="152"/>
                </a:lnTo>
                <a:close/>
                <a:moveTo>
                  <a:pt x="157" y="143"/>
                </a:moveTo>
                <a:lnTo>
                  <a:pt x="157" y="143"/>
                </a:lnTo>
                <a:lnTo>
                  <a:pt x="157" y="148"/>
                </a:lnTo>
                <a:lnTo>
                  <a:pt x="157" y="150"/>
                </a:lnTo>
                <a:lnTo>
                  <a:pt x="156" y="151"/>
                </a:lnTo>
                <a:lnTo>
                  <a:pt x="154" y="155"/>
                </a:lnTo>
                <a:lnTo>
                  <a:pt x="148" y="160"/>
                </a:lnTo>
                <a:lnTo>
                  <a:pt x="136" y="171"/>
                </a:lnTo>
                <a:lnTo>
                  <a:pt x="130" y="176"/>
                </a:lnTo>
                <a:lnTo>
                  <a:pt x="129" y="179"/>
                </a:lnTo>
                <a:lnTo>
                  <a:pt x="128" y="183"/>
                </a:lnTo>
                <a:lnTo>
                  <a:pt x="132" y="183"/>
                </a:lnTo>
                <a:lnTo>
                  <a:pt x="134" y="184"/>
                </a:lnTo>
                <a:lnTo>
                  <a:pt x="133" y="186"/>
                </a:lnTo>
                <a:lnTo>
                  <a:pt x="127" y="193"/>
                </a:lnTo>
                <a:lnTo>
                  <a:pt x="125" y="198"/>
                </a:lnTo>
                <a:lnTo>
                  <a:pt x="130" y="198"/>
                </a:lnTo>
                <a:lnTo>
                  <a:pt x="133" y="197"/>
                </a:lnTo>
                <a:lnTo>
                  <a:pt x="141" y="194"/>
                </a:lnTo>
                <a:lnTo>
                  <a:pt x="148" y="191"/>
                </a:lnTo>
                <a:lnTo>
                  <a:pt x="151" y="191"/>
                </a:lnTo>
                <a:lnTo>
                  <a:pt x="158" y="193"/>
                </a:lnTo>
                <a:lnTo>
                  <a:pt x="159" y="193"/>
                </a:lnTo>
                <a:lnTo>
                  <a:pt x="162" y="192"/>
                </a:lnTo>
                <a:lnTo>
                  <a:pt x="165" y="192"/>
                </a:lnTo>
                <a:lnTo>
                  <a:pt x="184" y="193"/>
                </a:lnTo>
                <a:lnTo>
                  <a:pt x="189" y="191"/>
                </a:lnTo>
                <a:lnTo>
                  <a:pt x="193" y="193"/>
                </a:lnTo>
                <a:lnTo>
                  <a:pt x="196" y="196"/>
                </a:lnTo>
                <a:lnTo>
                  <a:pt x="199" y="203"/>
                </a:lnTo>
                <a:lnTo>
                  <a:pt x="199" y="204"/>
                </a:lnTo>
                <a:lnTo>
                  <a:pt x="197" y="208"/>
                </a:lnTo>
                <a:lnTo>
                  <a:pt x="194" y="211"/>
                </a:lnTo>
                <a:lnTo>
                  <a:pt x="191" y="217"/>
                </a:lnTo>
                <a:lnTo>
                  <a:pt x="190" y="220"/>
                </a:lnTo>
                <a:lnTo>
                  <a:pt x="190" y="223"/>
                </a:lnTo>
                <a:lnTo>
                  <a:pt x="189" y="226"/>
                </a:lnTo>
                <a:lnTo>
                  <a:pt x="184" y="240"/>
                </a:lnTo>
                <a:lnTo>
                  <a:pt x="178" y="247"/>
                </a:lnTo>
                <a:lnTo>
                  <a:pt x="176" y="252"/>
                </a:lnTo>
                <a:lnTo>
                  <a:pt x="173" y="257"/>
                </a:lnTo>
                <a:lnTo>
                  <a:pt x="171" y="259"/>
                </a:lnTo>
                <a:lnTo>
                  <a:pt x="168" y="261"/>
                </a:lnTo>
                <a:lnTo>
                  <a:pt x="159" y="263"/>
                </a:lnTo>
                <a:lnTo>
                  <a:pt x="157" y="264"/>
                </a:lnTo>
                <a:lnTo>
                  <a:pt x="154" y="267"/>
                </a:lnTo>
                <a:lnTo>
                  <a:pt x="151" y="268"/>
                </a:lnTo>
                <a:lnTo>
                  <a:pt x="154" y="268"/>
                </a:lnTo>
                <a:lnTo>
                  <a:pt x="158" y="266"/>
                </a:lnTo>
                <a:lnTo>
                  <a:pt x="164" y="266"/>
                </a:lnTo>
                <a:lnTo>
                  <a:pt x="171" y="270"/>
                </a:lnTo>
                <a:lnTo>
                  <a:pt x="171" y="274"/>
                </a:lnTo>
                <a:lnTo>
                  <a:pt x="168" y="277"/>
                </a:lnTo>
                <a:lnTo>
                  <a:pt x="161" y="277"/>
                </a:lnTo>
                <a:lnTo>
                  <a:pt x="155" y="284"/>
                </a:lnTo>
                <a:lnTo>
                  <a:pt x="152" y="286"/>
                </a:lnTo>
                <a:lnTo>
                  <a:pt x="149" y="287"/>
                </a:lnTo>
                <a:lnTo>
                  <a:pt x="146" y="286"/>
                </a:lnTo>
                <a:lnTo>
                  <a:pt x="139" y="285"/>
                </a:lnTo>
                <a:lnTo>
                  <a:pt x="136" y="283"/>
                </a:lnTo>
                <a:lnTo>
                  <a:pt x="139" y="286"/>
                </a:lnTo>
                <a:lnTo>
                  <a:pt x="142" y="287"/>
                </a:lnTo>
                <a:lnTo>
                  <a:pt x="159" y="291"/>
                </a:lnTo>
                <a:lnTo>
                  <a:pt x="160" y="290"/>
                </a:lnTo>
                <a:lnTo>
                  <a:pt x="166" y="287"/>
                </a:lnTo>
                <a:lnTo>
                  <a:pt x="173" y="287"/>
                </a:lnTo>
                <a:lnTo>
                  <a:pt x="187" y="294"/>
                </a:lnTo>
                <a:lnTo>
                  <a:pt x="191" y="299"/>
                </a:lnTo>
                <a:lnTo>
                  <a:pt x="197" y="306"/>
                </a:lnTo>
                <a:lnTo>
                  <a:pt x="200" y="309"/>
                </a:lnTo>
                <a:lnTo>
                  <a:pt x="202" y="312"/>
                </a:lnTo>
                <a:lnTo>
                  <a:pt x="204" y="316"/>
                </a:lnTo>
                <a:lnTo>
                  <a:pt x="207" y="329"/>
                </a:lnTo>
                <a:lnTo>
                  <a:pt x="210" y="342"/>
                </a:lnTo>
                <a:lnTo>
                  <a:pt x="214" y="355"/>
                </a:lnTo>
                <a:lnTo>
                  <a:pt x="216" y="359"/>
                </a:lnTo>
                <a:lnTo>
                  <a:pt x="218" y="362"/>
                </a:lnTo>
                <a:lnTo>
                  <a:pt x="230" y="368"/>
                </a:lnTo>
                <a:lnTo>
                  <a:pt x="233" y="370"/>
                </a:lnTo>
                <a:lnTo>
                  <a:pt x="238" y="376"/>
                </a:lnTo>
                <a:lnTo>
                  <a:pt x="243" y="382"/>
                </a:lnTo>
                <a:lnTo>
                  <a:pt x="247" y="387"/>
                </a:lnTo>
                <a:lnTo>
                  <a:pt x="251" y="390"/>
                </a:lnTo>
                <a:lnTo>
                  <a:pt x="249" y="392"/>
                </a:lnTo>
                <a:lnTo>
                  <a:pt x="248" y="396"/>
                </a:lnTo>
                <a:lnTo>
                  <a:pt x="249" y="400"/>
                </a:lnTo>
                <a:lnTo>
                  <a:pt x="251" y="404"/>
                </a:lnTo>
                <a:lnTo>
                  <a:pt x="254" y="410"/>
                </a:lnTo>
                <a:lnTo>
                  <a:pt x="258" y="417"/>
                </a:lnTo>
                <a:lnTo>
                  <a:pt x="257" y="416"/>
                </a:lnTo>
                <a:lnTo>
                  <a:pt x="255" y="416"/>
                </a:lnTo>
                <a:lnTo>
                  <a:pt x="254" y="416"/>
                </a:lnTo>
                <a:lnTo>
                  <a:pt x="252" y="415"/>
                </a:lnTo>
                <a:lnTo>
                  <a:pt x="249" y="413"/>
                </a:lnTo>
                <a:lnTo>
                  <a:pt x="246" y="411"/>
                </a:lnTo>
                <a:lnTo>
                  <a:pt x="240" y="412"/>
                </a:lnTo>
                <a:lnTo>
                  <a:pt x="236" y="411"/>
                </a:lnTo>
                <a:lnTo>
                  <a:pt x="234" y="411"/>
                </a:lnTo>
                <a:lnTo>
                  <a:pt x="239" y="413"/>
                </a:lnTo>
                <a:lnTo>
                  <a:pt x="245" y="413"/>
                </a:lnTo>
                <a:lnTo>
                  <a:pt x="258" y="425"/>
                </a:lnTo>
                <a:lnTo>
                  <a:pt x="263" y="432"/>
                </a:lnTo>
                <a:lnTo>
                  <a:pt x="265" y="441"/>
                </a:lnTo>
                <a:lnTo>
                  <a:pt x="263" y="445"/>
                </a:lnTo>
                <a:lnTo>
                  <a:pt x="261" y="447"/>
                </a:lnTo>
                <a:lnTo>
                  <a:pt x="258" y="450"/>
                </a:lnTo>
                <a:lnTo>
                  <a:pt x="256" y="454"/>
                </a:lnTo>
                <a:lnTo>
                  <a:pt x="263" y="459"/>
                </a:lnTo>
                <a:lnTo>
                  <a:pt x="264" y="459"/>
                </a:lnTo>
                <a:lnTo>
                  <a:pt x="266" y="458"/>
                </a:lnTo>
                <a:lnTo>
                  <a:pt x="268" y="456"/>
                </a:lnTo>
                <a:lnTo>
                  <a:pt x="270" y="452"/>
                </a:lnTo>
                <a:lnTo>
                  <a:pt x="272" y="451"/>
                </a:lnTo>
                <a:lnTo>
                  <a:pt x="276" y="450"/>
                </a:lnTo>
                <a:lnTo>
                  <a:pt x="280" y="450"/>
                </a:lnTo>
                <a:lnTo>
                  <a:pt x="284" y="451"/>
                </a:lnTo>
                <a:lnTo>
                  <a:pt x="287" y="451"/>
                </a:lnTo>
                <a:lnTo>
                  <a:pt x="294" y="453"/>
                </a:lnTo>
                <a:lnTo>
                  <a:pt x="297" y="454"/>
                </a:lnTo>
                <a:lnTo>
                  <a:pt x="306" y="462"/>
                </a:lnTo>
                <a:lnTo>
                  <a:pt x="308" y="466"/>
                </a:lnTo>
                <a:lnTo>
                  <a:pt x="309" y="471"/>
                </a:lnTo>
                <a:lnTo>
                  <a:pt x="309" y="476"/>
                </a:lnTo>
                <a:lnTo>
                  <a:pt x="307" y="481"/>
                </a:lnTo>
                <a:lnTo>
                  <a:pt x="306" y="486"/>
                </a:lnTo>
                <a:lnTo>
                  <a:pt x="304" y="492"/>
                </a:lnTo>
                <a:lnTo>
                  <a:pt x="304" y="494"/>
                </a:lnTo>
                <a:lnTo>
                  <a:pt x="303" y="496"/>
                </a:lnTo>
                <a:lnTo>
                  <a:pt x="298" y="500"/>
                </a:lnTo>
                <a:lnTo>
                  <a:pt x="295" y="502"/>
                </a:lnTo>
                <a:lnTo>
                  <a:pt x="294" y="501"/>
                </a:lnTo>
                <a:lnTo>
                  <a:pt x="293" y="502"/>
                </a:lnTo>
                <a:lnTo>
                  <a:pt x="292" y="503"/>
                </a:lnTo>
                <a:lnTo>
                  <a:pt x="294" y="505"/>
                </a:lnTo>
                <a:lnTo>
                  <a:pt x="294" y="508"/>
                </a:lnTo>
                <a:lnTo>
                  <a:pt x="291" y="510"/>
                </a:lnTo>
                <a:lnTo>
                  <a:pt x="288" y="511"/>
                </a:lnTo>
                <a:lnTo>
                  <a:pt x="284" y="510"/>
                </a:lnTo>
                <a:lnTo>
                  <a:pt x="278" y="514"/>
                </a:lnTo>
                <a:lnTo>
                  <a:pt x="282" y="516"/>
                </a:lnTo>
                <a:lnTo>
                  <a:pt x="283" y="518"/>
                </a:lnTo>
                <a:lnTo>
                  <a:pt x="282" y="522"/>
                </a:lnTo>
                <a:lnTo>
                  <a:pt x="279" y="523"/>
                </a:lnTo>
                <a:lnTo>
                  <a:pt x="276" y="524"/>
                </a:lnTo>
                <a:lnTo>
                  <a:pt x="273" y="524"/>
                </a:lnTo>
                <a:lnTo>
                  <a:pt x="270" y="525"/>
                </a:lnTo>
                <a:lnTo>
                  <a:pt x="267" y="527"/>
                </a:lnTo>
                <a:lnTo>
                  <a:pt x="271" y="526"/>
                </a:lnTo>
                <a:lnTo>
                  <a:pt x="273" y="527"/>
                </a:lnTo>
                <a:lnTo>
                  <a:pt x="274" y="530"/>
                </a:lnTo>
                <a:lnTo>
                  <a:pt x="276" y="531"/>
                </a:lnTo>
                <a:lnTo>
                  <a:pt x="282" y="532"/>
                </a:lnTo>
                <a:lnTo>
                  <a:pt x="286" y="532"/>
                </a:lnTo>
                <a:lnTo>
                  <a:pt x="293" y="531"/>
                </a:lnTo>
                <a:lnTo>
                  <a:pt x="297" y="531"/>
                </a:lnTo>
                <a:lnTo>
                  <a:pt x="298" y="532"/>
                </a:lnTo>
                <a:lnTo>
                  <a:pt x="298" y="535"/>
                </a:lnTo>
                <a:lnTo>
                  <a:pt x="298" y="541"/>
                </a:lnTo>
                <a:lnTo>
                  <a:pt x="297" y="542"/>
                </a:lnTo>
                <a:lnTo>
                  <a:pt x="287" y="548"/>
                </a:lnTo>
                <a:lnTo>
                  <a:pt x="285" y="551"/>
                </a:lnTo>
                <a:lnTo>
                  <a:pt x="284" y="554"/>
                </a:lnTo>
                <a:lnTo>
                  <a:pt x="278" y="553"/>
                </a:lnTo>
                <a:lnTo>
                  <a:pt x="276" y="556"/>
                </a:lnTo>
                <a:lnTo>
                  <a:pt x="271" y="557"/>
                </a:lnTo>
                <a:lnTo>
                  <a:pt x="267" y="559"/>
                </a:lnTo>
                <a:lnTo>
                  <a:pt x="264" y="561"/>
                </a:lnTo>
                <a:lnTo>
                  <a:pt x="261" y="562"/>
                </a:lnTo>
                <a:lnTo>
                  <a:pt x="248" y="559"/>
                </a:lnTo>
                <a:lnTo>
                  <a:pt x="240" y="559"/>
                </a:lnTo>
                <a:lnTo>
                  <a:pt x="230" y="562"/>
                </a:lnTo>
                <a:lnTo>
                  <a:pt x="227" y="561"/>
                </a:lnTo>
                <a:lnTo>
                  <a:pt x="223" y="559"/>
                </a:lnTo>
                <a:lnTo>
                  <a:pt x="219" y="558"/>
                </a:lnTo>
                <a:lnTo>
                  <a:pt x="214" y="557"/>
                </a:lnTo>
                <a:lnTo>
                  <a:pt x="210" y="555"/>
                </a:lnTo>
                <a:lnTo>
                  <a:pt x="213" y="559"/>
                </a:lnTo>
                <a:lnTo>
                  <a:pt x="207" y="563"/>
                </a:lnTo>
                <a:lnTo>
                  <a:pt x="204" y="563"/>
                </a:lnTo>
                <a:lnTo>
                  <a:pt x="202" y="563"/>
                </a:lnTo>
                <a:lnTo>
                  <a:pt x="196" y="564"/>
                </a:lnTo>
                <a:lnTo>
                  <a:pt x="191" y="564"/>
                </a:lnTo>
                <a:lnTo>
                  <a:pt x="192" y="566"/>
                </a:lnTo>
                <a:lnTo>
                  <a:pt x="193" y="568"/>
                </a:lnTo>
                <a:lnTo>
                  <a:pt x="192" y="569"/>
                </a:lnTo>
                <a:lnTo>
                  <a:pt x="191" y="570"/>
                </a:lnTo>
                <a:lnTo>
                  <a:pt x="181" y="568"/>
                </a:lnTo>
                <a:lnTo>
                  <a:pt x="179" y="568"/>
                </a:lnTo>
                <a:lnTo>
                  <a:pt x="178" y="570"/>
                </a:lnTo>
                <a:lnTo>
                  <a:pt x="175" y="569"/>
                </a:lnTo>
                <a:lnTo>
                  <a:pt x="171" y="566"/>
                </a:lnTo>
                <a:lnTo>
                  <a:pt x="168" y="565"/>
                </a:lnTo>
                <a:lnTo>
                  <a:pt x="164" y="564"/>
                </a:lnTo>
                <a:lnTo>
                  <a:pt x="161" y="564"/>
                </a:lnTo>
                <a:lnTo>
                  <a:pt x="148" y="568"/>
                </a:lnTo>
                <a:lnTo>
                  <a:pt x="145" y="572"/>
                </a:lnTo>
                <a:lnTo>
                  <a:pt x="144" y="578"/>
                </a:lnTo>
                <a:lnTo>
                  <a:pt x="142" y="583"/>
                </a:lnTo>
                <a:lnTo>
                  <a:pt x="139" y="587"/>
                </a:lnTo>
                <a:lnTo>
                  <a:pt x="136" y="588"/>
                </a:lnTo>
                <a:lnTo>
                  <a:pt x="133" y="585"/>
                </a:lnTo>
                <a:lnTo>
                  <a:pt x="126" y="582"/>
                </a:lnTo>
                <a:lnTo>
                  <a:pt x="124" y="580"/>
                </a:lnTo>
                <a:lnTo>
                  <a:pt x="123" y="580"/>
                </a:lnTo>
                <a:lnTo>
                  <a:pt x="123" y="581"/>
                </a:lnTo>
                <a:lnTo>
                  <a:pt x="120" y="581"/>
                </a:lnTo>
                <a:lnTo>
                  <a:pt x="118" y="581"/>
                </a:lnTo>
                <a:lnTo>
                  <a:pt x="114" y="582"/>
                </a:lnTo>
                <a:lnTo>
                  <a:pt x="107" y="585"/>
                </a:lnTo>
                <a:lnTo>
                  <a:pt x="104" y="586"/>
                </a:lnTo>
                <a:lnTo>
                  <a:pt x="98" y="591"/>
                </a:lnTo>
                <a:lnTo>
                  <a:pt x="97" y="592"/>
                </a:lnTo>
                <a:lnTo>
                  <a:pt x="95" y="597"/>
                </a:lnTo>
                <a:lnTo>
                  <a:pt x="91" y="598"/>
                </a:lnTo>
                <a:lnTo>
                  <a:pt x="88" y="595"/>
                </a:lnTo>
                <a:lnTo>
                  <a:pt x="85" y="594"/>
                </a:lnTo>
                <a:lnTo>
                  <a:pt x="81" y="595"/>
                </a:lnTo>
                <a:lnTo>
                  <a:pt x="79" y="596"/>
                </a:lnTo>
                <a:lnTo>
                  <a:pt x="78" y="595"/>
                </a:lnTo>
                <a:lnTo>
                  <a:pt x="78" y="593"/>
                </a:lnTo>
                <a:lnTo>
                  <a:pt x="80" y="589"/>
                </a:lnTo>
                <a:lnTo>
                  <a:pt x="88" y="587"/>
                </a:lnTo>
                <a:lnTo>
                  <a:pt x="94" y="581"/>
                </a:lnTo>
                <a:lnTo>
                  <a:pt x="97" y="577"/>
                </a:lnTo>
                <a:lnTo>
                  <a:pt x="98" y="575"/>
                </a:lnTo>
                <a:lnTo>
                  <a:pt x="100" y="573"/>
                </a:lnTo>
                <a:lnTo>
                  <a:pt x="102" y="573"/>
                </a:lnTo>
                <a:lnTo>
                  <a:pt x="103" y="571"/>
                </a:lnTo>
                <a:lnTo>
                  <a:pt x="111" y="561"/>
                </a:lnTo>
                <a:lnTo>
                  <a:pt x="112" y="559"/>
                </a:lnTo>
                <a:lnTo>
                  <a:pt x="112" y="555"/>
                </a:lnTo>
                <a:lnTo>
                  <a:pt x="113" y="551"/>
                </a:lnTo>
                <a:lnTo>
                  <a:pt x="120" y="549"/>
                </a:lnTo>
                <a:lnTo>
                  <a:pt x="124" y="541"/>
                </a:lnTo>
                <a:lnTo>
                  <a:pt x="124" y="540"/>
                </a:lnTo>
                <a:lnTo>
                  <a:pt x="134" y="539"/>
                </a:lnTo>
                <a:lnTo>
                  <a:pt x="142" y="539"/>
                </a:lnTo>
                <a:lnTo>
                  <a:pt x="149" y="540"/>
                </a:lnTo>
                <a:lnTo>
                  <a:pt x="153" y="540"/>
                </a:lnTo>
                <a:lnTo>
                  <a:pt x="156" y="540"/>
                </a:lnTo>
                <a:lnTo>
                  <a:pt x="159" y="538"/>
                </a:lnTo>
                <a:lnTo>
                  <a:pt x="164" y="530"/>
                </a:lnTo>
                <a:lnTo>
                  <a:pt x="167" y="526"/>
                </a:lnTo>
                <a:lnTo>
                  <a:pt x="170" y="523"/>
                </a:lnTo>
                <a:lnTo>
                  <a:pt x="173" y="520"/>
                </a:lnTo>
                <a:lnTo>
                  <a:pt x="178" y="513"/>
                </a:lnTo>
                <a:lnTo>
                  <a:pt x="175" y="515"/>
                </a:lnTo>
                <a:lnTo>
                  <a:pt x="171" y="519"/>
                </a:lnTo>
                <a:lnTo>
                  <a:pt x="169" y="521"/>
                </a:lnTo>
                <a:lnTo>
                  <a:pt x="161" y="523"/>
                </a:lnTo>
                <a:lnTo>
                  <a:pt x="158" y="525"/>
                </a:lnTo>
                <a:lnTo>
                  <a:pt x="153" y="530"/>
                </a:lnTo>
                <a:lnTo>
                  <a:pt x="151" y="531"/>
                </a:lnTo>
                <a:lnTo>
                  <a:pt x="143" y="530"/>
                </a:lnTo>
                <a:lnTo>
                  <a:pt x="137" y="523"/>
                </a:lnTo>
                <a:lnTo>
                  <a:pt x="133" y="521"/>
                </a:lnTo>
                <a:lnTo>
                  <a:pt x="131" y="520"/>
                </a:lnTo>
                <a:lnTo>
                  <a:pt x="129" y="521"/>
                </a:lnTo>
                <a:lnTo>
                  <a:pt x="126" y="522"/>
                </a:lnTo>
                <a:lnTo>
                  <a:pt x="122" y="522"/>
                </a:lnTo>
                <a:lnTo>
                  <a:pt x="124" y="519"/>
                </a:lnTo>
                <a:lnTo>
                  <a:pt x="127" y="517"/>
                </a:lnTo>
                <a:lnTo>
                  <a:pt x="121" y="516"/>
                </a:lnTo>
                <a:lnTo>
                  <a:pt x="119" y="515"/>
                </a:lnTo>
                <a:lnTo>
                  <a:pt x="117" y="513"/>
                </a:lnTo>
                <a:lnTo>
                  <a:pt x="113" y="513"/>
                </a:lnTo>
                <a:lnTo>
                  <a:pt x="111" y="513"/>
                </a:lnTo>
                <a:lnTo>
                  <a:pt x="107" y="516"/>
                </a:lnTo>
                <a:lnTo>
                  <a:pt x="101" y="519"/>
                </a:lnTo>
                <a:lnTo>
                  <a:pt x="94" y="515"/>
                </a:lnTo>
                <a:lnTo>
                  <a:pt x="93" y="513"/>
                </a:lnTo>
                <a:lnTo>
                  <a:pt x="93" y="510"/>
                </a:lnTo>
                <a:lnTo>
                  <a:pt x="92" y="507"/>
                </a:lnTo>
                <a:lnTo>
                  <a:pt x="90" y="506"/>
                </a:lnTo>
                <a:lnTo>
                  <a:pt x="92" y="503"/>
                </a:lnTo>
                <a:lnTo>
                  <a:pt x="95" y="500"/>
                </a:lnTo>
                <a:lnTo>
                  <a:pt x="102" y="498"/>
                </a:lnTo>
                <a:lnTo>
                  <a:pt x="112" y="492"/>
                </a:lnTo>
                <a:lnTo>
                  <a:pt x="117" y="490"/>
                </a:lnTo>
                <a:lnTo>
                  <a:pt x="123" y="486"/>
                </a:lnTo>
                <a:lnTo>
                  <a:pt x="125" y="484"/>
                </a:lnTo>
                <a:lnTo>
                  <a:pt x="126" y="480"/>
                </a:lnTo>
                <a:lnTo>
                  <a:pt x="128" y="476"/>
                </a:lnTo>
                <a:lnTo>
                  <a:pt x="130" y="473"/>
                </a:lnTo>
                <a:lnTo>
                  <a:pt x="128" y="472"/>
                </a:lnTo>
                <a:lnTo>
                  <a:pt x="127" y="469"/>
                </a:lnTo>
                <a:lnTo>
                  <a:pt x="127" y="467"/>
                </a:lnTo>
                <a:lnTo>
                  <a:pt x="128" y="464"/>
                </a:lnTo>
                <a:lnTo>
                  <a:pt x="127" y="461"/>
                </a:lnTo>
                <a:lnTo>
                  <a:pt x="126" y="458"/>
                </a:lnTo>
                <a:lnTo>
                  <a:pt x="126" y="456"/>
                </a:lnTo>
                <a:lnTo>
                  <a:pt x="126" y="453"/>
                </a:lnTo>
                <a:lnTo>
                  <a:pt x="122" y="453"/>
                </a:lnTo>
                <a:lnTo>
                  <a:pt x="118" y="454"/>
                </a:lnTo>
                <a:lnTo>
                  <a:pt x="115" y="456"/>
                </a:lnTo>
                <a:lnTo>
                  <a:pt x="111" y="459"/>
                </a:lnTo>
                <a:lnTo>
                  <a:pt x="108" y="459"/>
                </a:lnTo>
                <a:lnTo>
                  <a:pt x="108" y="457"/>
                </a:lnTo>
                <a:lnTo>
                  <a:pt x="110" y="455"/>
                </a:lnTo>
                <a:lnTo>
                  <a:pt x="113" y="451"/>
                </a:lnTo>
                <a:lnTo>
                  <a:pt x="117" y="448"/>
                </a:lnTo>
                <a:lnTo>
                  <a:pt x="118" y="446"/>
                </a:lnTo>
                <a:lnTo>
                  <a:pt x="119" y="444"/>
                </a:lnTo>
                <a:lnTo>
                  <a:pt x="121" y="441"/>
                </a:lnTo>
                <a:lnTo>
                  <a:pt x="126" y="438"/>
                </a:lnTo>
                <a:lnTo>
                  <a:pt x="135" y="433"/>
                </a:lnTo>
                <a:lnTo>
                  <a:pt x="137" y="433"/>
                </a:lnTo>
                <a:lnTo>
                  <a:pt x="140" y="433"/>
                </a:lnTo>
                <a:lnTo>
                  <a:pt x="144" y="433"/>
                </a:lnTo>
                <a:lnTo>
                  <a:pt x="147" y="431"/>
                </a:lnTo>
                <a:lnTo>
                  <a:pt x="150" y="431"/>
                </a:lnTo>
                <a:lnTo>
                  <a:pt x="158" y="435"/>
                </a:lnTo>
                <a:lnTo>
                  <a:pt x="155" y="428"/>
                </a:lnTo>
                <a:lnTo>
                  <a:pt x="159" y="427"/>
                </a:lnTo>
                <a:lnTo>
                  <a:pt x="163" y="433"/>
                </a:lnTo>
                <a:lnTo>
                  <a:pt x="165" y="434"/>
                </a:lnTo>
                <a:lnTo>
                  <a:pt x="168" y="433"/>
                </a:lnTo>
                <a:lnTo>
                  <a:pt x="167" y="432"/>
                </a:lnTo>
                <a:lnTo>
                  <a:pt x="165" y="432"/>
                </a:lnTo>
                <a:lnTo>
                  <a:pt x="163" y="431"/>
                </a:lnTo>
                <a:lnTo>
                  <a:pt x="161" y="429"/>
                </a:lnTo>
                <a:lnTo>
                  <a:pt x="159" y="422"/>
                </a:lnTo>
                <a:lnTo>
                  <a:pt x="159" y="418"/>
                </a:lnTo>
                <a:lnTo>
                  <a:pt x="161" y="414"/>
                </a:lnTo>
                <a:lnTo>
                  <a:pt x="163" y="411"/>
                </a:lnTo>
                <a:lnTo>
                  <a:pt x="161" y="410"/>
                </a:lnTo>
                <a:lnTo>
                  <a:pt x="160" y="409"/>
                </a:lnTo>
                <a:lnTo>
                  <a:pt x="159" y="405"/>
                </a:lnTo>
                <a:lnTo>
                  <a:pt x="160" y="402"/>
                </a:lnTo>
                <a:lnTo>
                  <a:pt x="164" y="399"/>
                </a:lnTo>
                <a:lnTo>
                  <a:pt x="165" y="394"/>
                </a:lnTo>
                <a:lnTo>
                  <a:pt x="165" y="389"/>
                </a:lnTo>
                <a:lnTo>
                  <a:pt x="165" y="387"/>
                </a:lnTo>
                <a:lnTo>
                  <a:pt x="161" y="388"/>
                </a:lnTo>
                <a:lnTo>
                  <a:pt x="159" y="389"/>
                </a:lnTo>
                <a:lnTo>
                  <a:pt x="157" y="390"/>
                </a:lnTo>
                <a:lnTo>
                  <a:pt x="155" y="390"/>
                </a:lnTo>
                <a:lnTo>
                  <a:pt x="151" y="385"/>
                </a:lnTo>
                <a:lnTo>
                  <a:pt x="148" y="380"/>
                </a:lnTo>
                <a:lnTo>
                  <a:pt x="143" y="372"/>
                </a:lnTo>
                <a:lnTo>
                  <a:pt x="142" y="367"/>
                </a:lnTo>
                <a:lnTo>
                  <a:pt x="146" y="355"/>
                </a:lnTo>
                <a:lnTo>
                  <a:pt x="152" y="348"/>
                </a:lnTo>
                <a:lnTo>
                  <a:pt x="159" y="346"/>
                </a:lnTo>
                <a:lnTo>
                  <a:pt x="158" y="345"/>
                </a:lnTo>
                <a:lnTo>
                  <a:pt x="147" y="345"/>
                </a:lnTo>
                <a:lnTo>
                  <a:pt x="143" y="346"/>
                </a:lnTo>
                <a:lnTo>
                  <a:pt x="140" y="349"/>
                </a:lnTo>
                <a:lnTo>
                  <a:pt x="138" y="350"/>
                </a:lnTo>
                <a:lnTo>
                  <a:pt x="136" y="350"/>
                </a:lnTo>
                <a:lnTo>
                  <a:pt x="134" y="352"/>
                </a:lnTo>
                <a:lnTo>
                  <a:pt x="133" y="354"/>
                </a:lnTo>
                <a:lnTo>
                  <a:pt x="131" y="355"/>
                </a:lnTo>
                <a:lnTo>
                  <a:pt x="127" y="355"/>
                </a:lnTo>
                <a:lnTo>
                  <a:pt x="125" y="355"/>
                </a:lnTo>
                <a:lnTo>
                  <a:pt x="124" y="354"/>
                </a:lnTo>
                <a:lnTo>
                  <a:pt x="123" y="352"/>
                </a:lnTo>
                <a:lnTo>
                  <a:pt x="121" y="351"/>
                </a:lnTo>
                <a:lnTo>
                  <a:pt x="120" y="352"/>
                </a:lnTo>
                <a:lnTo>
                  <a:pt x="117" y="355"/>
                </a:lnTo>
                <a:lnTo>
                  <a:pt x="113" y="356"/>
                </a:lnTo>
                <a:lnTo>
                  <a:pt x="109" y="354"/>
                </a:lnTo>
                <a:lnTo>
                  <a:pt x="104" y="351"/>
                </a:lnTo>
                <a:lnTo>
                  <a:pt x="103" y="353"/>
                </a:lnTo>
                <a:lnTo>
                  <a:pt x="102" y="355"/>
                </a:lnTo>
                <a:lnTo>
                  <a:pt x="101" y="360"/>
                </a:lnTo>
                <a:lnTo>
                  <a:pt x="97" y="356"/>
                </a:lnTo>
                <a:lnTo>
                  <a:pt x="94" y="351"/>
                </a:lnTo>
                <a:lnTo>
                  <a:pt x="93" y="347"/>
                </a:lnTo>
                <a:lnTo>
                  <a:pt x="93" y="344"/>
                </a:lnTo>
                <a:lnTo>
                  <a:pt x="95" y="342"/>
                </a:lnTo>
                <a:lnTo>
                  <a:pt x="96" y="344"/>
                </a:lnTo>
                <a:lnTo>
                  <a:pt x="99" y="335"/>
                </a:lnTo>
                <a:lnTo>
                  <a:pt x="105" y="323"/>
                </a:lnTo>
                <a:lnTo>
                  <a:pt x="107" y="320"/>
                </a:lnTo>
                <a:lnTo>
                  <a:pt x="108" y="316"/>
                </a:lnTo>
                <a:lnTo>
                  <a:pt x="108" y="313"/>
                </a:lnTo>
                <a:lnTo>
                  <a:pt x="107" y="310"/>
                </a:lnTo>
                <a:lnTo>
                  <a:pt x="102" y="305"/>
                </a:lnTo>
                <a:lnTo>
                  <a:pt x="102" y="300"/>
                </a:lnTo>
                <a:lnTo>
                  <a:pt x="102" y="295"/>
                </a:lnTo>
                <a:lnTo>
                  <a:pt x="104" y="292"/>
                </a:lnTo>
                <a:lnTo>
                  <a:pt x="104" y="291"/>
                </a:lnTo>
                <a:lnTo>
                  <a:pt x="111" y="292"/>
                </a:lnTo>
                <a:lnTo>
                  <a:pt x="108" y="290"/>
                </a:lnTo>
                <a:lnTo>
                  <a:pt x="103" y="285"/>
                </a:lnTo>
                <a:lnTo>
                  <a:pt x="103" y="284"/>
                </a:lnTo>
                <a:lnTo>
                  <a:pt x="104" y="279"/>
                </a:lnTo>
                <a:lnTo>
                  <a:pt x="104" y="280"/>
                </a:lnTo>
                <a:lnTo>
                  <a:pt x="103" y="282"/>
                </a:lnTo>
                <a:lnTo>
                  <a:pt x="100" y="287"/>
                </a:lnTo>
                <a:lnTo>
                  <a:pt x="99" y="288"/>
                </a:lnTo>
                <a:lnTo>
                  <a:pt x="95" y="289"/>
                </a:lnTo>
                <a:lnTo>
                  <a:pt x="95" y="291"/>
                </a:lnTo>
                <a:lnTo>
                  <a:pt x="94" y="292"/>
                </a:lnTo>
                <a:lnTo>
                  <a:pt x="92" y="292"/>
                </a:lnTo>
                <a:lnTo>
                  <a:pt x="91" y="294"/>
                </a:lnTo>
                <a:lnTo>
                  <a:pt x="91" y="294"/>
                </a:lnTo>
                <a:lnTo>
                  <a:pt x="91" y="292"/>
                </a:lnTo>
                <a:lnTo>
                  <a:pt x="90" y="288"/>
                </a:lnTo>
                <a:lnTo>
                  <a:pt x="91" y="284"/>
                </a:lnTo>
                <a:lnTo>
                  <a:pt x="93" y="282"/>
                </a:lnTo>
                <a:lnTo>
                  <a:pt x="98" y="275"/>
                </a:lnTo>
                <a:lnTo>
                  <a:pt x="96" y="277"/>
                </a:lnTo>
                <a:lnTo>
                  <a:pt x="89" y="283"/>
                </a:lnTo>
                <a:lnTo>
                  <a:pt x="86" y="287"/>
                </a:lnTo>
                <a:lnTo>
                  <a:pt x="85" y="288"/>
                </a:lnTo>
                <a:lnTo>
                  <a:pt x="85" y="290"/>
                </a:lnTo>
                <a:lnTo>
                  <a:pt x="85" y="291"/>
                </a:lnTo>
                <a:lnTo>
                  <a:pt x="87" y="298"/>
                </a:lnTo>
                <a:lnTo>
                  <a:pt x="86" y="301"/>
                </a:lnTo>
                <a:lnTo>
                  <a:pt x="81" y="322"/>
                </a:lnTo>
                <a:lnTo>
                  <a:pt x="80" y="324"/>
                </a:lnTo>
                <a:lnTo>
                  <a:pt x="79" y="325"/>
                </a:lnTo>
                <a:lnTo>
                  <a:pt x="78" y="325"/>
                </a:lnTo>
                <a:lnTo>
                  <a:pt x="75" y="325"/>
                </a:lnTo>
                <a:lnTo>
                  <a:pt x="74" y="323"/>
                </a:lnTo>
                <a:lnTo>
                  <a:pt x="74" y="322"/>
                </a:lnTo>
                <a:lnTo>
                  <a:pt x="75" y="319"/>
                </a:lnTo>
                <a:lnTo>
                  <a:pt x="77" y="309"/>
                </a:lnTo>
                <a:lnTo>
                  <a:pt x="78" y="306"/>
                </a:lnTo>
                <a:lnTo>
                  <a:pt x="79" y="304"/>
                </a:lnTo>
                <a:lnTo>
                  <a:pt x="82" y="299"/>
                </a:lnTo>
                <a:lnTo>
                  <a:pt x="82" y="299"/>
                </a:lnTo>
                <a:lnTo>
                  <a:pt x="80" y="300"/>
                </a:lnTo>
                <a:lnTo>
                  <a:pt x="79" y="299"/>
                </a:lnTo>
                <a:lnTo>
                  <a:pt x="79" y="299"/>
                </a:lnTo>
                <a:lnTo>
                  <a:pt x="79" y="285"/>
                </a:lnTo>
                <a:lnTo>
                  <a:pt x="81" y="281"/>
                </a:lnTo>
                <a:lnTo>
                  <a:pt x="81" y="274"/>
                </a:lnTo>
                <a:lnTo>
                  <a:pt x="83" y="269"/>
                </a:lnTo>
                <a:lnTo>
                  <a:pt x="85" y="264"/>
                </a:lnTo>
                <a:lnTo>
                  <a:pt x="86" y="259"/>
                </a:lnTo>
                <a:lnTo>
                  <a:pt x="88" y="257"/>
                </a:lnTo>
                <a:lnTo>
                  <a:pt x="88" y="253"/>
                </a:lnTo>
                <a:lnTo>
                  <a:pt x="91" y="250"/>
                </a:lnTo>
                <a:lnTo>
                  <a:pt x="92" y="246"/>
                </a:lnTo>
                <a:lnTo>
                  <a:pt x="91" y="246"/>
                </a:lnTo>
                <a:lnTo>
                  <a:pt x="81" y="256"/>
                </a:lnTo>
                <a:lnTo>
                  <a:pt x="78" y="258"/>
                </a:lnTo>
                <a:lnTo>
                  <a:pt x="74" y="258"/>
                </a:lnTo>
                <a:lnTo>
                  <a:pt x="71" y="257"/>
                </a:lnTo>
                <a:lnTo>
                  <a:pt x="69" y="254"/>
                </a:lnTo>
                <a:lnTo>
                  <a:pt x="68" y="249"/>
                </a:lnTo>
                <a:lnTo>
                  <a:pt x="65" y="249"/>
                </a:lnTo>
                <a:lnTo>
                  <a:pt x="63" y="248"/>
                </a:lnTo>
                <a:lnTo>
                  <a:pt x="63" y="248"/>
                </a:lnTo>
                <a:lnTo>
                  <a:pt x="66" y="245"/>
                </a:lnTo>
                <a:lnTo>
                  <a:pt x="71" y="244"/>
                </a:lnTo>
                <a:lnTo>
                  <a:pt x="75" y="240"/>
                </a:lnTo>
                <a:lnTo>
                  <a:pt x="71" y="237"/>
                </a:lnTo>
                <a:lnTo>
                  <a:pt x="72" y="236"/>
                </a:lnTo>
                <a:lnTo>
                  <a:pt x="75" y="234"/>
                </a:lnTo>
                <a:lnTo>
                  <a:pt x="80" y="226"/>
                </a:lnTo>
                <a:lnTo>
                  <a:pt x="81" y="218"/>
                </a:lnTo>
                <a:lnTo>
                  <a:pt x="78" y="215"/>
                </a:lnTo>
                <a:lnTo>
                  <a:pt x="78" y="213"/>
                </a:lnTo>
                <a:lnTo>
                  <a:pt x="73" y="210"/>
                </a:lnTo>
                <a:lnTo>
                  <a:pt x="73" y="207"/>
                </a:lnTo>
                <a:lnTo>
                  <a:pt x="73" y="205"/>
                </a:lnTo>
                <a:lnTo>
                  <a:pt x="75" y="203"/>
                </a:lnTo>
                <a:lnTo>
                  <a:pt x="77" y="202"/>
                </a:lnTo>
                <a:lnTo>
                  <a:pt x="80" y="200"/>
                </a:lnTo>
                <a:lnTo>
                  <a:pt x="77" y="199"/>
                </a:lnTo>
                <a:lnTo>
                  <a:pt x="76" y="197"/>
                </a:lnTo>
                <a:lnTo>
                  <a:pt x="75" y="195"/>
                </a:lnTo>
                <a:lnTo>
                  <a:pt x="75" y="193"/>
                </a:lnTo>
                <a:lnTo>
                  <a:pt x="76" y="187"/>
                </a:lnTo>
                <a:lnTo>
                  <a:pt x="77" y="184"/>
                </a:lnTo>
                <a:lnTo>
                  <a:pt x="79" y="181"/>
                </a:lnTo>
                <a:lnTo>
                  <a:pt x="87" y="181"/>
                </a:lnTo>
                <a:lnTo>
                  <a:pt x="88" y="179"/>
                </a:lnTo>
                <a:lnTo>
                  <a:pt x="89" y="179"/>
                </a:lnTo>
                <a:lnTo>
                  <a:pt x="93" y="181"/>
                </a:lnTo>
                <a:lnTo>
                  <a:pt x="93" y="179"/>
                </a:lnTo>
                <a:lnTo>
                  <a:pt x="86" y="171"/>
                </a:lnTo>
                <a:lnTo>
                  <a:pt x="85" y="170"/>
                </a:lnTo>
                <a:lnTo>
                  <a:pt x="87" y="165"/>
                </a:lnTo>
                <a:lnTo>
                  <a:pt x="87" y="163"/>
                </a:lnTo>
                <a:lnTo>
                  <a:pt x="87" y="161"/>
                </a:lnTo>
                <a:lnTo>
                  <a:pt x="88" y="160"/>
                </a:lnTo>
                <a:lnTo>
                  <a:pt x="90" y="159"/>
                </a:lnTo>
                <a:lnTo>
                  <a:pt x="96" y="159"/>
                </a:lnTo>
                <a:lnTo>
                  <a:pt x="98" y="158"/>
                </a:lnTo>
                <a:lnTo>
                  <a:pt x="97" y="156"/>
                </a:lnTo>
                <a:lnTo>
                  <a:pt x="96" y="153"/>
                </a:lnTo>
                <a:lnTo>
                  <a:pt x="95" y="151"/>
                </a:lnTo>
                <a:lnTo>
                  <a:pt x="96" y="149"/>
                </a:lnTo>
                <a:lnTo>
                  <a:pt x="96" y="145"/>
                </a:lnTo>
                <a:lnTo>
                  <a:pt x="96" y="143"/>
                </a:lnTo>
                <a:lnTo>
                  <a:pt x="98" y="140"/>
                </a:lnTo>
                <a:lnTo>
                  <a:pt x="99" y="139"/>
                </a:lnTo>
                <a:lnTo>
                  <a:pt x="100" y="139"/>
                </a:lnTo>
                <a:lnTo>
                  <a:pt x="104" y="140"/>
                </a:lnTo>
                <a:lnTo>
                  <a:pt x="105" y="141"/>
                </a:lnTo>
                <a:lnTo>
                  <a:pt x="107" y="144"/>
                </a:lnTo>
                <a:lnTo>
                  <a:pt x="108" y="143"/>
                </a:lnTo>
                <a:lnTo>
                  <a:pt x="113" y="141"/>
                </a:lnTo>
                <a:lnTo>
                  <a:pt x="114" y="140"/>
                </a:lnTo>
                <a:lnTo>
                  <a:pt x="116" y="144"/>
                </a:lnTo>
                <a:lnTo>
                  <a:pt x="123" y="141"/>
                </a:lnTo>
                <a:lnTo>
                  <a:pt x="134" y="140"/>
                </a:lnTo>
                <a:lnTo>
                  <a:pt x="140" y="138"/>
                </a:lnTo>
                <a:lnTo>
                  <a:pt x="146" y="137"/>
                </a:lnTo>
                <a:lnTo>
                  <a:pt x="152" y="135"/>
                </a:lnTo>
                <a:lnTo>
                  <a:pt x="159" y="136"/>
                </a:lnTo>
                <a:lnTo>
                  <a:pt x="159" y="137"/>
                </a:lnTo>
                <a:lnTo>
                  <a:pt x="159" y="139"/>
                </a:lnTo>
                <a:lnTo>
                  <a:pt x="157" y="143"/>
                </a:lnTo>
                <a:close/>
                <a:moveTo>
                  <a:pt x="163" y="130"/>
                </a:moveTo>
                <a:lnTo>
                  <a:pt x="163" y="130"/>
                </a:lnTo>
                <a:lnTo>
                  <a:pt x="162" y="130"/>
                </a:lnTo>
                <a:lnTo>
                  <a:pt x="161" y="129"/>
                </a:lnTo>
                <a:lnTo>
                  <a:pt x="159" y="125"/>
                </a:lnTo>
                <a:lnTo>
                  <a:pt x="162" y="124"/>
                </a:lnTo>
                <a:lnTo>
                  <a:pt x="164" y="125"/>
                </a:lnTo>
                <a:lnTo>
                  <a:pt x="163" y="126"/>
                </a:lnTo>
                <a:lnTo>
                  <a:pt x="163" y="130"/>
                </a:lnTo>
                <a:close/>
                <a:moveTo>
                  <a:pt x="155" y="127"/>
                </a:moveTo>
                <a:lnTo>
                  <a:pt x="155" y="127"/>
                </a:lnTo>
                <a:lnTo>
                  <a:pt x="154" y="127"/>
                </a:lnTo>
                <a:lnTo>
                  <a:pt x="152" y="127"/>
                </a:lnTo>
                <a:lnTo>
                  <a:pt x="149" y="124"/>
                </a:lnTo>
                <a:lnTo>
                  <a:pt x="148" y="121"/>
                </a:lnTo>
                <a:lnTo>
                  <a:pt x="148" y="120"/>
                </a:lnTo>
                <a:lnTo>
                  <a:pt x="149" y="119"/>
                </a:lnTo>
                <a:lnTo>
                  <a:pt x="152" y="120"/>
                </a:lnTo>
                <a:lnTo>
                  <a:pt x="153" y="123"/>
                </a:lnTo>
                <a:lnTo>
                  <a:pt x="154" y="125"/>
                </a:lnTo>
                <a:lnTo>
                  <a:pt x="154" y="125"/>
                </a:lnTo>
                <a:lnTo>
                  <a:pt x="156" y="126"/>
                </a:lnTo>
                <a:lnTo>
                  <a:pt x="155" y="127"/>
                </a:lnTo>
                <a:close/>
                <a:moveTo>
                  <a:pt x="159" y="112"/>
                </a:moveTo>
                <a:lnTo>
                  <a:pt x="159" y="112"/>
                </a:lnTo>
                <a:lnTo>
                  <a:pt x="158" y="114"/>
                </a:lnTo>
                <a:lnTo>
                  <a:pt x="161" y="114"/>
                </a:lnTo>
                <a:lnTo>
                  <a:pt x="164" y="115"/>
                </a:lnTo>
                <a:lnTo>
                  <a:pt x="166" y="115"/>
                </a:lnTo>
                <a:lnTo>
                  <a:pt x="168" y="117"/>
                </a:lnTo>
                <a:lnTo>
                  <a:pt x="167" y="120"/>
                </a:lnTo>
                <a:lnTo>
                  <a:pt x="166" y="121"/>
                </a:lnTo>
                <a:lnTo>
                  <a:pt x="165" y="121"/>
                </a:lnTo>
                <a:lnTo>
                  <a:pt x="161" y="118"/>
                </a:lnTo>
                <a:lnTo>
                  <a:pt x="155" y="119"/>
                </a:lnTo>
                <a:lnTo>
                  <a:pt x="154" y="119"/>
                </a:lnTo>
                <a:lnTo>
                  <a:pt x="154" y="118"/>
                </a:lnTo>
                <a:lnTo>
                  <a:pt x="153" y="117"/>
                </a:lnTo>
                <a:lnTo>
                  <a:pt x="153" y="115"/>
                </a:lnTo>
                <a:lnTo>
                  <a:pt x="153" y="114"/>
                </a:lnTo>
                <a:lnTo>
                  <a:pt x="151" y="116"/>
                </a:lnTo>
                <a:lnTo>
                  <a:pt x="150" y="116"/>
                </a:lnTo>
                <a:lnTo>
                  <a:pt x="150" y="115"/>
                </a:lnTo>
                <a:lnTo>
                  <a:pt x="150" y="113"/>
                </a:lnTo>
                <a:lnTo>
                  <a:pt x="150" y="110"/>
                </a:lnTo>
                <a:lnTo>
                  <a:pt x="151" y="106"/>
                </a:lnTo>
                <a:lnTo>
                  <a:pt x="153" y="106"/>
                </a:lnTo>
                <a:lnTo>
                  <a:pt x="156" y="106"/>
                </a:lnTo>
                <a:lnTo>
                  <a:pt x="159" y="108"/>
                </a:lnTo>
                <a:lnTo>
                  <a:pt x="160" y="110"/>
                </a:lnTo>
                <a:lnTo>
                  <a:pt x="160" y="111"/>
                </a:lnTo>
                <a:lnTo>
                  <a:pt x="159" y="112"/>
                </a:lnTo>
                <a:close/>
                <a:moveTo>
                  <a:pt x="175" y="100"/>
                </a:moveTo>
                <a:lnTo>
                  <a:pt x="175" y="100"/>
                </a:lnTo>
                <a:lnTo>
                  <a:pt x="171" y="100"/>
                </a:lnTo>
                <a:lnTo>
                  <a:pt x="173" y="97"/>
                </a:lnTo>
                <a:lnTo>
                  <a:pt x="175" y="96"/>
                </a:lnTo>
                <a:lnTo>
                  <a:pt x="179" y="96"/>
                </a:lnTo>
                <a:lnTo>
                  <a:pt x="178" y="98"/>
                </a:lnTo>
                <a:lnTo>
                  <a:pt x="175" y="100"/>
                </a:lnTo>
                <a:close/>
                <a:moveTo>
                  <a:pt x="169" y="103"/>
                </a:moveTo>
                <a:lnTo>
                  <a:pt x="169" y="103"/>
                </a:lnTo>
                <a:lnTo>
                  <a:pt x="166" y="104"/>
                </a:lnTo>
                <a:lnTo>
                  <a:pt x="165" y="103"/>
                </a:lnTo>
                <a:lnTo>
                  <a:pt x="165" y="99"/>
                </a:lnTo>
                <a:lnTo>
                  <a:pt x="162" y="98"/>
                </a:lnTo>
                <a:lnTo>
                  <a:pt x="160" y="97"/>
                </a:lnTo>
                <a:lnTo>
                  <a:pt x="159" y="95"/>
                </a:lnTo>
                <a:lnTo>
                  <a:pt x="159" y="94"/>
                </a:lnTo>
                <a:lnTo>
                  <a:pt x="161" y="93"/>
                </a:lnTo>
                <a:lnTo>
                  <a:pt x="165" y="97"/>
                </a:lnTo>
                <a:lnTo>
                  <a:pt x="166" y="100"/>
                </a:lnTo>
                <a:lnTo>
                  <a:pt x="169" y="100"/>
                </a:lnTo>
                <a:lnTo>
                  <a:pt x="169" y="101"/>
                </a:lnTo>
                <a:lnTo>
                  <a:pt x="169" y="103"/>
                </a:lnTo>
                <a:close/>
                <a:moveTo>
                  <a:pt x="213" y="19"/>
                </a:moveTo>
                <a:lnTo>
                  <a:pt x="213" y="19"/>
                </a:lnTo>
                <a:lnTo>
                  <a:pt x="214" y="24"/>
                </a:lnTo>
                <a:lnTo>
                  <a:pt x="216" y="22"/>
                </a:lnTo>
                <a:lnTo>
                  <a:pt x="218" y="27"/>
                </a:lnTo>
                <a:lnTo>
                  <a:pt x="219" y="27"/>
                </a:lnTo>
                <a:lnTo>
                  <a:pt x="221" y="25"/>
                </a:lnTo>
                <a:lnTo>
                  <a:pt x="221" y="29"/>
                </a:lnTo>
                <a:lnTo>
                  <a:pt x="219" y="40"/>
                </a:lnTo>
                <a:lnTo>
                  <a:pt x="218" y="42"/>
                </a:lnTo>
                <a:lnTo>
                  <a:pt x="218" y="45"/>
                </a:lnTo>
                <a:lnTo>
                  <a:pt x="217" y="46"/>
                </a:lnTo>
                <a:lnTo>
                  <a:pt x="217" y="53"/>
                </a:lnTo>
                <a:lnTo>
                  <a:pt x="215" y="55"/>
                </a:lnTo>
                <a:lnTo>
                  <a:pt x="214" y="60"/>
                </a:lnTo>
                <a:lnTo>
                  <a:pt x="214" y="60"/>
                </a:lnTo>
                <a:lnTo>
                  <a:pt x="212" y="58"/>
                </a:lnTo>
                <a:lnTo>
                  <a:pt x="214" y="50"/>
                </a:lnTo>
                <a:lnTo>
                  <a:pt x="214" y="46"/>
                </a:lnTo>
                <a:lnTo>
                  <a:pt x="214" y="43"/>
                </a:lnTo>
                <a:lnTo>
                  <a:pt x="213" y="41"/>
                </a:lnTo>
                <a:lnTo>
                  <a:pt x="210" y="41"/>
                </a:lnTo>
                <a:lnTo>
                  <a:pt x="208" y="42"/>
                </a:lnTo>
                <a:lnTo>
                  <a:pt x="207" y="41"/>
                </a:lnTo>
                <a:lnTo>
                  <a:pt x="207" y="39"/>
                </a:lnTo>
                <a:lnTo>
                  <a:pt x="207" y="38"/>
                </a:lnTo>
                <a:lnTo>
                  <a:pt x="204" y="39"/>
                </a:lnTo>
                <a:lnTo>
                  <a:pt x="203" y="38"/>
                </a:lnTo>
                <a:lnTo>
                  <a:pt x="202" y="37"/>
                </a:lnTo>
                <a:lnTo>
                  <a:pt x="202" y="35"/>
                </a:lnTo>
                <a:lnTo>
                  <a:pt x="205" y="34"/>
                </a:lnTo>
                <a:lnTo>
                  <a:pt x="207" y="35"/>
                </a:lnTo>
                <a:lnTo>
                  <a:pt x="211" y="32"/>
                </a:lnTo>
                <a:lnTo>
                  <a:pt x="209" y="24"/>
                </a:lnTo>
                <a:lnTo>
                  <a:pt x="206" y="23"/>
                </a:lnTo>
                <a:lnTo>
                  <a:pt x="205" y="22"/>
                </a:lnTo>
                <a:lnTo>
                  <a:pt x="206" y="20"/>
                </a:lnTo>
                <a:lnTo>
                  <a:pt x="207" y="20"/>
                </a:lnTo>
                <a:lnTo>
                  <a:pt x="210" y="15"/>
                </a:lnTo>
                <a:lnTo>
                  <a:pt x="212" y="15"/>
                </a:lnTo>
                <a:lnTo>
                  <a:pt x="214" y="15"/>
                </a:lnTo>
                <a:lnTo>
                  <a:pt x="213" y="19"/>
                </a:lnTo>
                <a:close/>
                <a:moveTo>
                  <a:pt x="222" y="21"/>
                </a:moveTo>
                <a:lnTo>
                  <a:pt x="222" y="21"/>
                </a:lnTo>
                <a:lnTo>
                  <a:pt x="221" y="21"/>
                </a:lnTo>
                <a:lnTo>
                  <a:pt x="218" y="15"/>
                </a:lnTo>
                <a:lnTo>
                  <a:pt x="220" y="8"/>
                </a:lnTo>
                <a:lnTo>
                  <a:pt x="223" y="8"/>
                </a:lnTo>
                <a:lnTo>
                  <a:pt x="223" y="10"/>
                </a:lnTo>
                <a:lnTo>
                  <a:pt x="223" y="12"/>
                </a:lnTo>
                <a:lnTo>
                  <a:pt x="222" y="12"/>
                </a:lnTo>
                <a:lnTo>
                  <a:pt x="221" y="12"/>
                </a:lnTo>
                <a:lnTo>
                  <a:pt x="222" y="16"/>
                </a:lnTo>
                <a:lnTo>
                  <a:pt x="222" y="20"/>
                </a:lnTo>
                <a:lnTo>
                  <a:pt x="222" y="21"/>
                </a:lnTo>
                <a:close/>
                <a:moveTo>
                  <a:pt x="230" y="2"/>
                </a:moveTo>
                <a:lnTo>
                  <a:pt x="230" y="2"/>
                </a:lnTo>
                <a:lnTo>
                  <a:pt x="230" y="2"/>
                </a:lnTo>
                <a:lnTo>
                  <a:pt x="228" y="8"/>
                </a:lnTo>
                <a:lnTo>
                  <a:pt x="228" y="10"/>
                </a:lnTo>
                <a:lnTo>
                  <a:pt x="226" y="10"/>
                </a:lnTo>
                <a:lnTo>
                  <a:pt x="225" y="9"/>
                </a:lnTo>
                <a:lnTo>
                  <a:pt x="225" y="6"/>
                </a:lnTo>
                <a:lnTo>
                  <a:pt x="225" y="3"/>
                </a:lnTo>
                <a:lnTo>
                  <a:pt x="226" y="2"/>
                </a:lnTo>
                <a:lnTo>
                  <a:pt x="226" y="1"/>
                </a:lnTo>
                <a:lnTo>
                  <a:pt x="227" y="2"/>
                </a:lnTo>
                <a:lnTo>
                  <a:pt x="228" y="0"/>
                </a:lnTo>
                <a:lnTo>
                  <a:pt x="229" y="0"/>
                </a:lnTo>
                <a:lnTo>
                  <a:pt x="230" y="2"/>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1251" name="Ireland">
            <a:extLst>
              <a:ext uri="{FF2B5EF4-FFF2-40B4-BE49-F238E27FC236}">
                <a16:creationId xmlns:a16="http://schemas.microsoft.com/office/drawing/2014/main" id="{50AED675-FABE-4332-AF46-A0DF7E45F5F1}"/>
              </a:ext>
            </a:extLst>
          </p:cNvPr>
          <p:cNvSpPr>
            <a:spLocks noEditPoints="1"/>
          </p:cNvSpPr>
          <p:nvPr/>
        </p:nvSpPr>
        <p:spPr bwMode="auto">
          <a:xfrm>
            <a:off x="5499563" y="2883541"/>
            <a:ext cx="132824" cy="172131"/>
          </a:xfrm>
          <a:custGeom>
            <a:avLst/>
            <a:gdLst>
              <a:gd name="T0" fmla="*/ 92 w 136"/>
              <a:gd name="T1" fmla="*/ 25 h 203"/>
              <a:gd name="T2" fmla="*/ 84 w 136"/>
              <a:gd name="T3" fmla="*/ 35 h 203"/>
              <a:gd name="T4" fmla="*/ 78 w 136"/>
              <a:gd name="T5" fmla="*/ 37 h 203"/>
              <a:gd name="T6" fmla="*/ 81 w 136"/>
              <a:gd name="T7" fmla="*/ 43 h 203"/>
              <a:gd name="T8" fmla="*/ 77 w 136"/>
              <a:gd name="T9" fmla="*/ 58 h 203"/>
              <a:gd name="T10" fmla="*/ 89 w 136"/>
              <a:gd name="T11" fmla="*/ 67 h 203"/>
              <a:gd name="T12" fmla="*/ 100 w 136"/>
              <a:gd name="T13" fmla="*/ 62 h 203"/>
              <a:gd name="T14" fmla="*/ 104 w 136"/>
              <a:gd name="T15" fmla="*/ 52 h 203"/>
              <a:gd name="T16" fmla="*/ 110 w 136"/>
              <a:gd name="T17" fmla="*/ 59 h 203"/>
              <a:gd name="T18" fmla="*/ 116 w 136"/>
              <a:gd name="T19" fmla="*/ 69 h 203"/>
              <a:gd name="T20" fmla="*/ 126 w 136"/>
              <a:gd name="T21" fmla="*/ 70 h 203"/>
              <a:gd name="T22" fmla="*/ 130 w 136"/>
              <a:gd name="T23" fmla="*/ 73 h 203"/>
              <a:gd name="T24" fmla="*/ 129 w 136"/>
              <a:gd name="T25" fmla="*/ 82 h 203"/>
              <a:gd name="T26" fmla="*/ 133 w 136"/>
              <a:gd name="T27" fmla="*/ 102 h 203"/>
              <a:gd name="T28" fmla="*/ 136 w 136"/>
              <a:gd name="T29" fmla="*/ 121 h 203"/>
              <a:gd name="T30" fmla="*/ 131 w 136"/>
              <a:gd name="T31" fmla="*/ 143 h 203"/>
              <a:gd name="T32" fmla="*/ 127 w 136"/>
              <a:gd name="T33" fmla="*/ 165 h 203"/>
              <a:gd name="T34" fmla="*/ 110 w 136"/>
              <a:gd name="T35" fmla="*/ 168 h 203"/>
              <a:gd name="T36" fmla="*/ 103 w 136"/>
              <a:gd name="T37" fmla="*/ 170 h 203"/>
              <a:gd name="T38" fmla="*/ 87 w 136"/>
              <a:gd name="T39" fmla="*/ 176 h 203"/>
              <a:gd name="T40" fmla="*/ 76 w 136"/>
              <a:gd name="T41" fmla="*/ 184 h 203"/>
              <a:gd name="T42" fmla="*/ 66 w 136"/>
              <a:gd name="T43" fmla="*/ 183 h 203"/>
              <a:gd name="T44" fmla="*/ 64 w 136"/>
              <a:gd name="T45" fmla="*/ 190 h 203"/>
              <a:gd name="T46" fmla="*/ 49 w 136"/>
              <a:gd name="T47" fmla="*/ 198 h 203"/>
              <a:gd name="T48" fmla="*/ 27 w 136"/>
              <a:gd name="T49" fmla="*/ 201 h 203"/>
              <a:gd name="T50" fmla="*/ 27 w 136"/>
              <a:gd name="T51" fmla="*/ 193 h 203"/>
              <a:gd name="T52" fmla="*/ 10 w 136"/>
              <a:gd name="T53" fmla="*/ 194 h 203"/>
              <a:gd name="T54" fmla="*/ 25 w 136"/>
              <a:gd name="T55" fmla="*/ 183 h 203"/>
              <a:gd name="T56" fmla="*/ 1 w 136"/>
              <a:gd name="T57" fmla="*/ 184 h 203"/>
              <a:gd name="T58" fmla="*/ 15 w 136"/>
              <a:gd name="T59" fmla="*/ 171 h 203"/>
              <a:gd name="T60" fmla="*/ 1 w 136"/>
              <a:gd name="T61" fmla="*/ 167 h 203"/>
              <a:gd name="T62" fmla="*/ 14 w 136"/>
              <a:gd name="T63" fmla="*/ 165 h 203"/>
              <a:gd name="T64" fmla="*/ 17 w 136"/>
              <a:gd name="T65" fmla="*/ 155 h 203"/>
              <a:gd name="T66" fmla="*/ 42 w 136"/>
              <a:gd name="T67" fmla="*/ 145 h 203"/>
              <a:gd name="T68" fmla="*/ 38 w 136"/>
              <a:gd name="T69" fmla="*/ 145 h 203"/>
              <a:gd name="T70" fmla="*/ 24 w 136"/>
              <a:gd name="T71" fmla="*/ 145 h 203"/>
              <a:gd name="T72" fmla="*/ 29 w 136"/>
              <a:gd name="T73" fmla="*/ 135 h 203"/>
              <a:gd name="T74" fmla="*/ 36 w 136"/>
              <a:gd name="T75" fmla="*/ 120 h 203"/>
              <a:gd name="T76" fmla="*/ 46 w 136"/>
              <a:gd name="T77" fmla="*/ 115 h 203"/>
              <a:gd name="T78" fmla="*/ 26 w 136"/>
              <a:gd name="T79" fmla="*/ 113 h 203"/>
              <a:gd name="T80" fmla="*/ 19 w 136"/>
              <a:gd name="T81" fmla="*/ 109 h 203"/>
              <a:gd name="T82" fmla="*/ 12 w 136"/>
              <a:gd name="T83" fmla="*/ 105 h 203"/>
              <a:gd name="T84" fmla="*/ 9 w 136"/>
              <a:gd name="T85" fmla="*/ 97 h 203"/>
              <a:gd name="T86" fmla="*/ 17 w 136"/>
              <a:gd name="T87" fmla="*/ 93 h 203"/>
              <a:gd name="T88" fmla="*/ 25 w 136"/>
              <a:gd name="T89" fmla="*/ 84 h 203"/>
              <a:gd name="T90" fmla="*/ 16 w 136"/>
              <a:gd name="T91" fmla="*/ 77 h 203"/>
              <a:gd name="T92" fmla="*/ 14 w 136"/>
              <a:gd name="T93" fmla="*/ 66 h 203"/>
              <a:gd name="T94" fmla="*/ 12 w 136"/>
              <a:gd name="T95" fmla="*/ 59 h 203"/>
              <a:gd name="T96" fmla="*/ 34 w 136"/>
              <a:gd name="T97" fmla="*/ 58 h 203"/>
              <a:gd name="T98" fmla="*/ 51 w 136"/>
              <a:gd name="T99" fmla="*/ 60 h 203"/>
              <a:gd name="T100" fmla="*/ 57 w 136"/>
              <a:gd name="T101" fmla="*/ 52 h 203"/>
              <a:gd name="T102" fmla="*/ 69 w 136"/>
              <a:gd name="T103" fmla="*/ 43 h 203"/>
              <a:gd name="T104" fmla="*/ 54 w 136"/>
              <a:gd name="T105" fmla="*/ 33 h 203"/>
              <a:gd name="T106" fmla="*/ 62 w 136"/>
              <a:gd name="T107" fmla="*/ 22 h 203"/>
              <a:gd name="T108" fmla="*/ 70 w 136"/>
              <a:gd name="T109" fmla="*/ 11 h 203"/>
              <a:gd name="T110" fmla="*/ 82 w 136"/>
              <a:gd name="T111" fmla="*/ 7 h 203"/>
              <a:gd name="T112" fmla="*/ 88 w 136"/>
              <a:gd name="T113" fmla="*/ 13 h 203"/>
              <a:gd name="T114" fmla="*/ 88 w 136"/>
              <a:gd name="T115" fmla="*/ 20 h 203"/>
              <a:gd name="T116" fmla="*/ 90 w 136"/>
              <a:gd name="T117" fmla="*/ 7 h 203"/>
              <a:gd name="T118" fmla="*/ 98 w 136"/>
              <a:gd name="T119" fmla="*/ 1 h 203"/>
              <a:gd name="T120" fmla="*/ 100 w 136"/>
              <a:gd name="T121" fmla="*/ 13 h 203"/>
              <a:gd name="T122" fmla="*/ 11 w 136"/>
              <a:gd name="T123" fmla="*/ 78 h 203"/>
              <a:gd name="T124" fmla="*/ 12 w 136"/>
              <a:gd name="T125" fmla="*/ 7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6" h="203">
                <a:moveTo>
                  <a:pt x="99" y="15"/>
                </a:moveTo>
                <a:lnTo>
                  <a:pt x="99" y="15"/>
                </a:lnTo>
                <a:lnTo>
                  <a:pt x="94" y="19"/>
                </a:lnTo>
                <a:lnTo>
                  <a:pt x="93" y="20"/>
                </a:lnTo>
                <a:lnTo>
                  <a:pt x="92" y="25"/>
                </a:lnTo>
                <a:lnTo>
                  <a:pt x="92" y="27"/>
                </a:lnTo>
                <a:lnTo>
                  <a:pt x="90" y="29"/>
                </a:lnTo>
                <a:lnTo>
                  <a:pt x="89" y="33"/>
                </a:lnTo>
                <a:lnTo>
                  <a:pt x="87" y="34"/>
                </a:lnTo>
                <a:lnTo>
                  <a:pt x="84" y="35"/>
                </a:lnTo>
                <a:lnTo>
                  <a:pt x="83" y="36"/>
                </a:lnTo>
                <a:lnTo>
                  <a:pt x="81" y="35"/>
                </a:lnTo>
                <a:lnTo>
                  <a:pt x="79" y="35"/>
                </a:lnTo>
                <a:lnTo>
                  <a:pt x="77" y="36"/>
                </a:lnTo>
                <a:lnTo>
                  <a:pt x="78" y="37"/>
                </a:lnTo>
                <a:lnTo>
                  <a:pt x="78" y="38"/>
                </a:lnTo>
                <a:lnTo>
                  <a:pt x="80" y="40"/>
                </a:lnTo>
                <a:lnTo>
                  <a:pt x="83" y="41"/>
                </a:lnTo>
                <a:lnTo>
                  <a:pt x="82" y="42"/>
                </a:lnTo>
                <a:lnTo>
                  <a:pt x="81" y="43"/>
                </a:lnTo>
                <a:lnTo>
                  <a:pt x="73" y="46"/>
                </a:lnTo>
                <a:lnTo>
                  <a:pt x="71" y="48"/>
                </a:lnTo>
                <a:lnTo>
                  <a:pt x="70" y="50"/>
                </a:lnTo>
                <a:lnTo>
                  <a:pt x="71" y="52"/>
                </a:lnTo>
                <a:lnTo>
                  <a:pt x="77" y="58"/>
                </a:lnTo>
                <a:lnTo>
                  <a:pt x="78" y="59"/>
                </a:lnTo>
                <a:lnTo>
                  <a:pt x="79" y="62"/>
                </a:lnTo>
                <a:lnTo>
                  <a:pt x="85" y="64"/>
                </a:lnTo>
                <a:lnTo>
                  <a:pt x="87" y="66"/>
                </a:lnTo>
                <a:lnTo>
                  <a:pt x="89" y="67"/>
                </a:lnTo>
                <a:lnTo>
                  <a:pt x="93" y="66"/>
                </a:lnTo>
                <a:lnTo>
                  <a:pt x="95" y="67"/>
                </a:lnTo>
                <a:lnTo>
                  <a:pt x="96" y="67"/>
                </a:lnTo>
                <a:lnTo>
                  <a:pt x="96" y="65"/>
                </a:lnTo>
                <a:lnTo>
                  <a:pt x="100" y="62"/>
                </a:lnTo>
                <a:lnTo>
                  <a:pt x="101" y="61"/>
                </a:lnTo>
                <a:lnTo>
                  <a:pt x="100" y="59"/>
                </a:lnTo>
                <a:lnTo>
                  <a:pt x="100" y="58"/>
                </a:lnTo>
                <a:lnTo>
                  <a:pt x="102" y="55"/>
                </a:lnTo>
                <a:lnTo>
                  <a:pt x="104" y="52"/>
                </a:lnTo>
                <a:lnTo>
                  <a:pt x="106" y="52"/>
                </a:lnTo>
                <a:lnTo>
                  <a:pt x="108" y="54"/>
                </a:lnTo>
                <a:lnTo>
                  <a:pt x="110" y="56"/>
                </a:lnTo>
                <a:lnTo>
                  <a:pt x="110" y="58"/>
                </a:lnTo>
                <a:lnTo>
                  <a:pt x="110" y="59"/>
                </a:lnTo>
                <a:lnTo>
                  <a:pt x="112" y="62"/>
                </a:lnTo>
                <a:lnTo>
                  <a:pt x="113" y="63"/>
                </a:lnTo>
                <a:lnTo>
                  <a:pt x="116" y="64"/>
                </a:lnTo>
                <a:lnTo>
                  <a:pt x="117" y="65"/>
                </a:lnTo>
                <a:lnTo>
                  <a:pt x="116" y="69"/>
                </a:lnTo>
                <a:lnTo>
                  <a:pt x="117" y="71"/>
                </a:lnTo>
                <a:lnTo>
                  <a:pt x="120" y="71"/>
                </a:lnTo>
                <a:lnTo>
                  <a:pt x="123" y="70"/>
                </a:lnTo>
                <a:lnTo>
                  <a:pt x="124" y="70"/>
                </a:lnTo>
                <a:lnTo>
                  <a:pt x="126" y="70"/>
                </a:lnTo>
                <a:lnTo>
                  <a:pt x="128" y="69"/>
                </a:lnTo>
                <a:lnTo>
                  <a:pt x="130" y="69"/>
                </a:lnTo>
                <a:lnTo>
                  <a:pt x="132" y="71"/>
                </a:lnTo>
                <a:lnTo>
                  <a:pt x="132" y="73"/>
                </a:lnTo>
                <a:lnTo>
                  <a:pt x="130" y="73"/>
                </a:lnTo>
                <a:lnTo>
                  <a:pt x="127" y="73"/>
                </a:lnTo>
                <a:lnTo>
                  <a:pt x="126" y="74"/>
                </a:lnTo>
                <a:lnTo>
                  <a:pt x="126" y="77"/>
                </a:lnTo>
                <a:lnTo>
                  <a:pt x="127" y="80"/>
                </a:lnTo>
                <a:lnTo>
                  <a:pt x="129" y="82"/>
                </a:lnTo>
                <a:lnTo>
                  <a:pt x="130" y="87"/>
                </a:lnTo>
                <a:lnTo>
                  <a:pt x="131" y="93"/>
                </a:lnTo>
                <a:lnTo>
                  <a:pt x="133" y="96"/>
                </a:lnTo>
                <a:lnTo>
                  <a:pt x="133" y="100"/>
                </a:lnTo>
                <a:lnTo>
                  <a:pt x="133" y="102"/>
                </a:lnTo>
                <a:lnTo>
                  <a:pt x="133" y="106"/>
                </a:lnTo>
                <a:lnTo>
                  <a:pt x="132" y="107"/>
                </a:lnTo>
                <a:lnTo>
                  <a:pt x="133" y="110"/>
                </a:lnTo>
                <a:lnTo>
                  <a:pt x="135" y="117"/>
                </a:lnTo>
                <a:lnTo>
                  <a:pt x="136" y="121"/>
                </a:lnTo>
                <a:lnTo>
                  <a:pt x="136" y="130"/>
                </a:lnTo>
                <a:lnTo>
                  <a:pt x="135" y="133"/>
                </a:lnTo>
                <a:lnTo>
                  <a:pt x="133" y="136"/>
                </a:lnTo>
                <a:lnTo>
                  <a:pt x="132" y="139"/>
                </a:lnTo>
                <a:lnTo>
                  <a:pt x="131" y="143"/>
                </a:lnTo>
                <a:lnTo>
                  <a:pt x="130" y="149"/>
                </a:lnTo>
                <a:lnTo>
                  <a:pt x="126" y="157"/>
                </a:lnTo>
                <a:lnTo>
                  <a:pt x="125" y="158"/>
                </a:lnTo>
                <a:lnTo>
                  <a:pt x="123" y="160"/>
                </a:lnTo>
                <a:lnTo>
                  <a:pt x="127" y="165"/>
                </a:lnTo>
                <a:lnTo>
                  <a:pt x="123" y="167"/>
                </a:lnTo>
                <a:lnTo>
                  <a:pt x="120" y="168"/>
                </a:lnTo>
                <a:lnTo>
                  <a:pt x="115" y="166"/>
                </a:lnTo>
                <a:lnTo>
                  <a:pt x="113" y="166"/>
                </a:lnTo>
                <a:lnTo>
                  <a:pt x="110" y="168"/>
                </a:lnTo>
                <a:lnTo>
                  <a:pt x="109" y="169"/>
                </a:lnTo>
                <a:lnTo>
                  <a:pt x="109" y="169"/>
                </a:lnTo>
                <a:lnTo>
                  <a:pt x="107" y="164"/>
                </a:lnTo>
                <a:lnTo>
                  <a:pt x="106" y="169"/>
                </a:lnTo>
                <a:lnTo>
                  <a:pt x="103" y="170"/>
                </a:lnTo>
                <a:lnTo>
                  <a:pt x="99" y="170"/>
                </a:lnTo>
                <a:lnTo>
                  <a:pt x="92" y="171"/>
                </a:lnTo>
                <a:lnTo>
                  <a:pt x="89" y="172"/>
                </a:lnTo>
                <a:lnTo>
                  <a:pt x="88" y="174"/>
                </a:lnTo>
                <a:lnTo>
                  <a:pt x="87" y="176"/>
                </a:lnTo>
                <a:lnTo>
                  <a:pt x="86" y="177"/>
                </a:lnTo>
                <a:lnTo>
                  <a:pt x="85" y="178"/>
                </a:lnTo>
                <a:lnTo>
                  <a:pt x="80" y="180"/>
                </a:lnTo>
                <a:lnTo>
                  <a:pt x="79" y="180"/>
                </a:lnTo>
                <a:lnTo>
                  <a:pt x="76" y="184"/>
                </a:lnTo>
                <a:lnTo>
                  <a:pt x="73" y="186"/>
                </a:lnTo>
                <a:lnTo>
                  <a:pt x="70" y="186"/>
                </a:lnTo>
                <a:lnTo>
                  <a:pt x="68" y="184"/>
                </a:lnTo>
                <a:lnTo>
                  <a:pt x="67" y="183"/>
                </a:lnTo>
                <a:lnTo>
                  <a:pt x="66" y="183"/>
                </a:lnTo>
                <a:lnTo>
                  <a:pt x="62" y="183"/>
                </a:lnTo>
                <a:lnTo>
                  <a:pt x="63" y="183"/>
                </a:lnTo>
                <a:lnTo>
                  <a:pt x="64" y="185"/>
                </a:lnTo>
                <a:lnTo>
                  <a:pt x="64" y="188"/>
                </a:lnTo>
                <a:lnTo>
                  <a:pt x="64" y="190"/>
                </a:lnTo>
                <a:lnTo>
                  <a:pt x="62" y="192"/>
                </a:lnTo>
                <a:lnTo>
                  <a:pt x="60" y="192"/>
                </a:lnTo>
                <a:lnTo>
                  <a:pt x="56" y="195"/>
                </a:lnTo>
                <a:lnTo>
                  <a:pt x="52" y="195"/>
                </a:lnTo>
                <a:lnTo>
                  <a:pt x="49" y="198"/>
                </a:lnTo>
                <a:lnTo>
                  <a:pt x="34" y="202"/>
                </a:lnTo>
                <a:lnTo>
                  <a:pt x="33" y="202"/>
                </a:lnTo>
                <a:lnTo>
                  <a:pt x="31" y="201"/>
                </a:lnTo>
                <a:lnTo>
                  <a:pt x="29" y="201"/>
                </a:lnTo>
                <a:lnTo>
                  <a:pt x="27" y="201"/>
                </a:lnTo>
                <a:lnTo>
                  <a:pt x="20" y="203"/>
                </a:lnTo>
                <a:lnTo>
                  <a:pt x="17" y="203"/>
                </a:lnTo>
                <a:lnTo>
                  <a:pt x="21" y="197"/>
                </a:lnTo>
                <a:lnTo>
                  <a:pt x="27" y="194"/>
                </a:lnTo>
                <a:lnTo>
                  <a:pt x="27" y="193"/>
                </a:lnTo>
                <a:lnTo>
                  <a:pt x="25" y="193"/>
                </a:lnTo>
                <a:lnTo>
                  <a:pt x="15" y="195"/>
                </a:lnTo>
                <a:lnTo>
                  <a:pt x="12" y="197"/>
                </a:lnTo>
                <a:lnTo>
                  <a:pt x="9" y="197"/>
                </a:lnTo>
                <a:lnTo>
                  <a:pt x="10" y="194"/>
                </a:lnTo>
                <a:lnTo>
                  <a:pt x="15" y="191"/>
                </a:lnTo>
                <a:lnTo>
                  <a:pt x="17" y="189"/>
                </a:lnTo>
                <a:lnTo>
                  <a:pt x="18" y="188"/>
                </a:lnTo>
                <a:lnTo>
                  <a:pt x="20" y="186"/>
                </a:lnTo>
                <a:lnTo>
                  <a:pt x="25" y="183"/>
                </a:lnTo>
                <a:lnTo>
                  <a:pt x="10" y="189"/>
                </a:lnTo>
                <a:lnTo>
                  <a:pt x="6" y="188"/>
                </a:lnTo>
                <a:lnTo>
                  <a:pt x="5" y="187"/>
                </a:lnTo>
                <a:lnTo>
                  <a:pt x="2" y="187"/>
                </a:lnTo>
                <a:lnTo>
                  <a:pt x="1" y="184"/>
                </a:lnTo>
                <a:lnTo>
                  <a:pt x="5" y="178"/>
                </a:lnTo>
                <a:lnTo>
                  <a:pt x="8" y="176"/>
                </a:lnTo>
                <a:lnTo>
                  <a:pt x="11" y="175"/>
                </a:lnTo>
                <a:lnTo>
                  <a:pt x="14" y="173"/>
                </a:lnTo>
                <a:lnTo>
                  <a:pt x="15" y="171"/>
                </a:lnTo>
                <a:lnTo>
                  <a:pt x="14" y="170"/>
                </a:lnTo>
                <a:lnTo>
                  <a:pt x="5" y="171"/>
                </a:lnTo>
                <a:lnTo>
                  <a:pt x="0" y="170"/>
                </a:lnTo>
                <a:lnTo>
                  <a:pt x="0" y="168"/>
                </a:lnTo>
                <a:lnTo>
                  <a:pt x="1" y="167"/>
                </a:lnTo>
                <a:lnTo>
                  <a:pt x="6" y="163"/>
                </a:lnTo>
                <a:lnTo>
                  <a:pt x="8" y="163"/>
                </a:lnTo>
                <a:lnTo>
                  <a:pt x="10" y="163"/>
                </a:lnTo>
                <a:lnTo>
                  <a:pt x="13" y="164"/>
                </a:lnTo>
                <a:lnTo>
                  <a:pt x="14" y="165"/>
                </a:lnTo>
                <a:lnTo>
                  <a:pt x="19" y="164"/>
                </a:lnTo>
                <a:lnTo>
                  <a:pt x="17" y="162"/>
                </a:lnTo>
                <a:lnTo>
                  <a:pt x="17" y="158"/>
                </a:lnTo>
                <a:lnTo>
                  <a:pt x="15" y="157"/>
                </a:lnTo>
                <a:lnTo>
                  <a:pt x="17" y="155"/>
                </a:lnTo>
                <a:lnTo>
                  <a:pt x="20" y="153"/>
                </a:lnTo>
                <a:lnTo>
                  <a:pt x="24" y="149"/>
                </a:lnTo>
                <a:lnTo>
                  <a:pt x="25" y="149"/>
                </a:lnTo>
                <a:lnTo>
                  <a:pt x="33" y="148"/>
                </a:lnTo>
                <a:lnTo>
                  <a:pt x="42" y="145"/>
                </a:lnTo>
                <a:lnTo>
                  <a:pt x="50" y="142"/>
                </a:lnTo>
                <a:lnTo>
                  <a:pt x="46" y="141"/>
                </a:lnTo>
                <a:lnTo>
                  <a:pt x="44" y="139"/>
                </a:lnTo>
                <a:lnTo>
                  <a:pt x="40" y="143"/>
                </a:lnTo>
                <a:lnTo>
                  <a:pt x="38" y="145"/>
                </a:lnTo>
                <a:lnTo>
                  <a:pt x="31" y="146"/>
                </a:lnTo>
                <a:lnTo>
                  <a:pt x="29" y="145"/>
                </a:lnTo>
                <a:lnTo>
                  <a:pt x="26" y="144"/>
                </a:lnTo>
                <a:lnTo>
                  <a:pt x="25" y="144"/>
                </a:lnTo>
                <a:lnTo>
                  <a:pt x="24" y="145"/>
                </a:lnTo>
                <a:lnTo>
                  <a:pt x="20" y="148"/>
                </a:lnTo>
                <a:lnTo>
                  <a:pt x="15" y="148"/>
                </a:lnTo>
                <a:lnTo>
                  <a:pt x="20" y="144"/>
                </a:lnTo>
                <a:lnTo>
                  <a:pt x="27" y="137"/>
                </a:lnTo>
                <a:lnTo>
                  <a:pt x="29" y="135"/>
                </a:lnTo>
                <a:lnTo>
                  <a:pt x="31" y="131"/>
                </a:lnTo>
                <a:lnTo>
                  <a:pt x="31" y="130"/>
                </a:lnTo>
                <a:lnTo>
                  <a:pt x="29" y="129"/>
                </a:lnTo>
                <a:lnTo>
                  <a:pt x="34" y="121"/>
                </a:lnTo>
                <a:lnTo>
                  <a:pt x="36" y="120"/>
                </a:lnTo>
                <a:lnTo>
                  <a:pt x="39" y="119"/>
                </a:lnTo>
                <a:lnTo>
                  <a:pt x="42" y="118"/>
                </a:lnTo>
                <a:lnTo>
                  <a:pt x="43" y="118"/>
                </a:lnTo>
                <a:lnTo>
                  <a:pt x="44" y="118"/>
                </a:lnTo>
                <a:lnTo>
                  <a:pt x="46" y="115"/>
                </a:lnTo>
                <a:lnTo>
                  <a:pt x="42" y="114"/>
                </a:lnTo>
                <a:lnTo>
                  <a:pt x="39" y="113"/>
                </a:lnTo>
                <a:lnTo>
                  <a:pt x="29" y="114"/>
                </a:lnTo>
                <a:lnTo>
                  <a:pt x="27" y="114"/>
                </a:lnTo>
                <a:lnTo>
                  <a:pt x="26" y="113"/>
                </a:lnTo>
                <a:lnTo>
                  <a:pt x="25" y="112"/>
                </a:lnTo>
                <a:lnTo>
                  <a:pt x="25" y="109"/>
                </a:lnTo>
                <a:lnTo>
                  <a:pt x="24" y="109"/>
                </a:lnTo>
                <a:lnTo>
                  <a:pt x="22" y="109"/>
                </a:lnTo>
                <a:lnTo>
                  <a:pt x="19" y="109"/>
                </a:lnTo>
                <a:lnTo>
                  <a:pt x="18" y="109"/>
                </a:lnTo>
                <a:lnTo>
                  <a:pt x="16" y="108"/>
                </a:lnTo>
                <a:lnTo>
                  <a:pt x="19" y="105"/>
                </a:lnTo>
                <a:lnTo>
                  <a:pt x="15" y="105"/>
                </a:lnTo>
                <a:lnTo>
                  <a:pt x="12" y="105"/>
                </a:lnTo>
                <a:lnTo>
                  <a:pt x="9" y="104"/>
                </a:lnTo>
                <a:lnTo>
                  <a:pt x="9" y="103"/>
                </a:lnTo>
                <a:lnTo>
                  <a:pt x="11" y="101"/>
                </a:lnTo>
                <a:lnTo>
                  <a:pt x="9" y="99"/>
                </a:lnTo>
                <a:lnTo>
                  <a:pt x="9" y="97"/>
                </a:lnTo>
                <a:lnTo>
                  <a:pt x="10" y="96"/>
                </a:lnTo>
                <a:lnTo>
                  <a:pt x="12" y="97"/>
                </a:lnTo>
                <a:lnTo>
                  <a:pt x="16" y="95"/>
                </a:lnTo>
                <a:lnTo>
                  <a:pt x="21" y="94"/>
                </a:lnTo>
                <a:lnTo>
                  <a:pt x="17" y="93"/>
                </a:lnTo>
                <a:lnTo>
                  <a:pt x="15" y="92"/>
                </a:lnTo>
                <a:lnTo>
                  <a:pt x="15" y="90"/>
                </a:lnTo>
                <a:lnTo>
                  <a:pt x="15" y="88"/>
                </a:lnTo>
                <a:lnTo>
                  <a:pt x="20" y="85"/>
                </a:lnTo>
                <a:lnTo>
                  <a:pt x="25" y="84"/>
                </a:lnTo>
                <a:lnTo>
                  <a:pt x="25" y="82"/>
                </a:lnTo>
                <a:lnTo>
                  <a:pt x="25" y="80"/>
                </a:lnTo>
                <a:lnTo>
                  <a:pt x="20" y="79"/>
                </a:lnTo>
                <a:lnTo>
                  <a:pt x="15" y="81"/>
                </a:lnTo>
                <a:lnTo>
                  <a:pt x="16" y="77"/>
                </a:lnTo>
                <a:lnTo>
                  <a:pt x="17" y="73"/>
                </a:lnTo>
                <a:lnTo>
                  <a:pt x="17" y="71"/>
                </a:lnTo>
                <a:lnTo>
                  <a:pt x="17" y="69"/>
                </a:lnTo>
                <a:lnTo>
                  <a:pt x="14" y="70"/>
                </a:lnTo>
                <a:lnTo>
                  <a:pt x="14" y="66"/>
                </a:lnTo>
                <a:lnTo>
                  <a:pt x="13" y="64"/>
                </a:lnTo>
                <a:lnTo>
                  <a:pt x="9" y="65"/>
                </a:lnTo>
                <a:lnTo>
                  <a:pt x="10" y="62"/>
                </a:lnTo>
                <a:lnTo>
                  <a:pt x="11" y="60"/>
                </a:lnTo>
                <a:lnTo>
                  <a:pt x="12" y="59"/>
                </a:lnTo>
                <a:lnTo>
                  <a:pt x="14" y="59"/>
                </a:lnTo>
                <a:lnTo>
                  <a:pt x="18" y="59"/>
                </a:lnTo>
                <a:lnTo>
                  <a:pt x="21" y="58"/>
                </a:lnTo>
                <a:lnTo>
                  <a:pt x="26" y="57"/>
                </a:lnTo>
                <a:lnTo>
                  <a:pt x="34" y="58"/>
                </a:lnTo>
                <a:lnTo>
                  <a:pt x="39" y="62"/>
                </a:lnTo>
                <a:lnTo>
                  <a:pt x="40" y="62"/>
                </a:lnTo>
                <a:lnTo>
                  <a:pt x="42" y="59"/>
                </a:lnTo>
                <a:lnTo>
                  <a:pt x="43" y="58"/>
                </a:lnTo>
                <a:lnTo>
                  <a:pt x="51" y="60"/>
                </a:lnTo>
                <a:lnTo>
                  <a:pt x="56" y="61"/>
                </a:lnTo>
                <a:lnTo>
                  <a:pt x="58" y="61"/>
                </a:lnTo>
                <a:lnTo>
                  <a:pt x="57" y="57"/>
                </a:lnTo>
                <a:lnTo>
                  <a:pt x="55" y="55"/>
                </a:lnTo>
                <a:lnTo>
                  <a:pt x="57" y="52"/>
                </a:lnTo>
                <a:lnTo>
                  <a:pt x="60" y="50"/>
                </a:lnTo>
                <a:lnTo>
                  <a:pt x="62" y="49"/>
                </a:lnTo>
                <a:lnTo>
                  <a:pt x="66" y="48"/>
                </a:lnTo>
                <a:lnTo>
                  <a:pt x="68" y="47"/>
                </a:lnTo>
                <a:lnTo>
                  <a:pt x="69" y="43"/>
                </a:lnTo>
                <a:lnTo>
                  <a:pt x="71" y="39"/>
                </a:lnTo>
                <a:lnTo>
                  <a:pt x="60" y="41"/>
                </a:lnTo>
                <a:lnTo>
                  <a:pt x="51" y="37"/>
                </a:lnTo>
                <a:lnTo>
                  <a:pt x="52" y="35"/>
                </a:lnTo>
                <a:lnTo>
                  <a:pt x="54" y="33"/>
                </a:lnTo>
                <a:lnTo>
                  <a:pt x="58" y="32"/>
                </a:lnTo>
                <a:lnTo>
                  <a:pt x="58" y="30"/>
                </a:lnTo>
                <a:lnTo>
                  <a:pt x="60" y="29"/>
                </a:lnTo>
                <a:lnTo>
                  <a:pt x="63" y="26"/>
                </a:lnTo>
                <a:lnTo>
                  <a:pt x="62" y="22"/>
                </a:lnTo>
                <a:lnTo>
                  <a:pt x="62" y="19"/>
                </a:lnTo>
                <a:lnTo>
                  <a:pt x="64" y="17"/>
                </a:lnTo>
                <a:lnTo>
                  <a:pt x="65" y="14"/>
                </a:lnTo>
                <a:lnTo>
                  <a:pt x="66" y="12"/>
                </a:lnTo>
                <a:lnTo>
                  <a:pt x="70" y="11"/>
                </a:lnTo>
                <a:lnTo>
                  <a:pt x="74" y="9"/>
                </a:lnTo>
                <a:lnTo>
                  <a:pt x="76" y="10"/>
                </a:lnTo>
                <a:lnTo>
                  <a:pt x="81" y="9"/>
                </a:lnTo>
                <a:lnTo>
                  <a:pt x="82" y="10"/>
                </a:lnTo>
                <a:lnTo>
                  <a:pt x="82" y="7"/>
                </a:lnTo>
                <a:lnTo>
                  <a:pt x="85" y="6"/>
                </a:lnTo>
                <a:lnTo>
                  <a:pt x="86" y="7"/>
                </a:lnTo>
                <a:lnTo>
                  <a:pt x="87" y="9"/>
                </a:lnTo>
                <a:lnTo>
                  <a:pt x="88" y="11"/>
                </a:lnTo>
                <a:lnTo>
                  <a:pt x="88" y="13"/>
                </a:lnTo>
                <a:lnTo>
                  <a:pt x="88" y="15"/>
                </a:lnTo>
                <a:lnTo>
                  <a:pt x="86" y="17"/>
                </a:lnTo>
                <a:lnTo>
                  <a:pt x="87" y="19"/>
                </a:lnTo>
                <a:lnTo>
                  <a:pt x="85" y="22"/>
                </a:lnTo>
                <a:lnTo>
                  <a:pt x="88" y="20"/>
                </a:lnTo>
                <a:lnTo>
                  <a:pt x="91" y="18"/>
                </a:lnTo>
                <a:lnTo>
                  <a:pt x="91" y="15"/>
                </a:lnTo>
                <a:lnTo>
                  <a:pt x="90" y="12"/>
                </a:lnTo>
                <a:lnTo>
                  <a:pt x="89" y="10"/>
                </a:lnTo>
                <a:lnTo>
                  <a:pt x="90" y="7"/>
                </a:lnTo>
                <a:lnTo>
                  <a:pt x="92" y="5"/>
                </a:lnTo>
                <a:lnTo>
                  <a:pt x="96" y="4"/>
                </a:lnTo>
                <a:lnTo>
                  <a:pt x="94" y="0"/>
                </a:lnTo>
                <a:lnTo>
                  <a:pt x="96" y="0"/>
                </a:lnTo>
                <a:lnTo>
                  <a:pt x="98" y="1"/>
                </a:lnTo>
                <a:lnTo>
                  <a:pt x="101" y="3"/>
                </a:lnTo>
                <a:lnTo>
                  <a:pt x="104" y="6"/>
                </a:lnTo>
                <a:lnTo>
                  <a:pt x="107" y="7"/>
                </a:lnTo>
                <a:lnTo>
                  <a:pt x="104" y="10"/>
                </a:lnTo>
                <a:lnTo>
                  <a:pt x="100" y="13"/>
                </a:lnTo>
                <a:lnTo>
                  <a:pt x="99" y="15"/>
                </a:lnTo>
                <a:close/>
                <a:moveTo>
                  <a:pt x="14" y="78"/>
                </a:moveTo>
                <a:lnTo>
                  <a:pt x="14" y="78"/>
                </a:lnTo>
                <a:lnTo>
                  <a:pt x="14" y="80"/>
                </a:lnTo>
                <a:lnTo>
                  <a:pt x="11" y="78"/>
                </a:lnTo>
                <a:lnTo>
                  <a:pt x="10" y="76"/>
                </a:lnTo>
                <a:lnTo>
                  <a:pt x="4" y="75"/>
                </a:lnTo>
                <a:lnTo>
                  <a:pt x="7" y="73"/>
                </a:lnTo>
                <a:lnTo>
                  <a:pt x="8" y="73"/>
                </a:lnTo>
                <a:lnTo>
                  <a:pt x="12" y="73"/>
                </a:lnTo>
                <a:lnTo>
                  <a:pt x="14" y="74"/>
                </a:lnTo>
                <a:lnTo>
                  <a:pt x="14" y="78"/>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1252" name="Italy">
            <a:extLst>
              <a:ext uri="{FF2B5EF4-FFF2-40B4-BE49-F238E27FC236}">
                <a16:creationId xmlns:a16="http://schemas.microsoft.com/office/drawing/2014/main" id="{BAB84617-C112-4B06-9A42-9EDC07BF2C68}"/>
              </a:ext>
            </a:extLst>
          </p:cNvPr>
          <p:cNvSpPr>
            <a:spLocks noEditPoints="1"/>
          </p:cNvSpPr>
          <p:nvPr/>
        </p:nvSpPr>
        <p:spPr bwMode="auto">
          <a:xfrm>
            <a:off x="6017349" y="3235716"/>
            <a:ext cx="360198" cy="371960"/>
          </a:xfrm>
          <a:custGeom>
            <a:avLst/>
            <a:gdLst>
              <a:gd name="T0" fmla="*/ 212 w 370"/>
              <a:gd name="T1" fmla="*/ 39 h 435"/>
              <a:gd name="T2" fmla="*/ 214 w 370"/>
              <a:gd name="T3" fmla="*/ 49 h 435"/>
              <a:gd name="T4" fmla="*/ 225 w 370"/>
              <a:gd name="T5" fmla="*/ 67 h 435"/>
              <a:gd name="T6" fmla="*/ 199 w 370"/>
              <a:gd name="T7" fmla="*/ 65 h 435"/>
              <a:gd name="T8" fmla="*/ 175 w 370"/>
              <a:gd name="T9" fmla="*/ 77 h 435"/>
              <a:gd name="T10" fmla="*/ 175 w 370"/>
              <a:gd name="T11" fmla="*/ 105 h 435"/>
              <a:gd name="T12" fmla="*/ 224 w 370"/>
              <a:gd name="T13" fmla="*/ 172 h 435"/>
              <a:gd name="T14" fmla="*/ 297 w 370"/>
              <a:gd name="T15" fmla="*/ 226 h 435"/>
              <a:gd name="T16" fmla="*/ 338 w 370"/>
              <a:gd name="T17" fmla="*/ 270 h 435"/>
              <a:gd name="T18" fmla="*/ 357 w 370"/>
              <a:gd name="T19" fmla="*/ 307 h 435"/>
              <a:gd name="T20" fmla="*/ 317 w 370"/>
              <a:gd name="T21" fmla="*/ 291 h 435"/>
              <a:gd name="T22" fmla="*/ 326 w 370"/>
              <a:gd name="T23" fmla="*/ 348 h 435"/>
              <a:gd name="T24" fmla="*/ 294 w 370"/>
              <a:gd name="T25" fmla="*/ 386 h 435"/>
              <a:gd name="T26" fmla="*/ 294 w 370"/>
              <a:gd name="T27" fmla="*/ 355 h 435"/>
              <a:gd name="T28" fmla="*/ 273 w 370"/>
              <a:gd name="T29" fmla="*/ 302 h 435"/>
              <a:gd name="T30" fmla="*/ 249 w 370"/>
              <a:gd name="T31" fmla="*/ 278 h 435"/>
              <a:gd name="T32" fmla="*/ 232 w 370"/>
              <a:gd name="T33" fmla="*/ 272 h 435"/>
              <a:gd name="T34" fmla="*/ 201 w 370"/>
              <a:gd name="T35" fmla="*/ 253 h 435"/>
              <a:gd name="T36" fmla="*/ 145 w 370"/>
              <a:gd name="T37" fmla="*/ 204 h 435"/>
              <a:gd name="T38" fmla="*/ 129 w 370"/>
              <a:gd name="T39" fmla="*/ 186 h 435"/>
              <a:gd name="T40" fmla="*/ 115 w 370"/>
              <a:gd name="T41" fmla="*/ 158 h 435"/>
              <a:gd name="T42" fmla="*/ 52 w 370"/>
              <a:gd name="T43" fmla="*/ 131 h 435"/>
              <a:gd name="T44" fmla="*/ 33 w 370"/>
              <a:gd name="T45" fmla="*/ 133 h 435"/>
              <a:gd name="T46" fmla="*/ 8 w 370"/>
              <a:gd name="T47" fmla="*/ 118 h 435"/>
              <a:gd name="T48" fmla="*/ 10 w 370"/>
              <a:gd name="T49" fmla="*/ 100 h 435"/>
              <a:gd name="T50" fmla="*/ 7 w 370"/>
              <a:gd name="T51" fmla="*/ 87 h 435"/>
              <a:gd name="T52" fmla="*/ 8 w 370"/>
              <a:gd name="T53" fmla="*/ 64 h 435"/>
              <a:gd name="T54" fmla="*/ 26 w 370"/>
              <a:gd name="T55" fmla="*/ 52 h 435"/>
              <a:gd name="T56" fmla="*/ 46 w 370"/>
              <a:gd name="T57" fmla="*/ 37 h 435"/>
              <a:gd name="T58" fmla="*/ 63 w 370"/>
              <a:gd name="T59" fmla="*/ 44 h 435"/>
              <a:gd name="T60" fmla="*/ 74 w 370"/>
              <a:gd name="T61" fmla="*/ 50 h 435"/>
              <a:gd name="T62" fmla="*/ 87 w 370"/>
              <a:gd name="T63" fmla="*/ 27 h 435"/>
              <a:gd name="T64" fmla="*/ 106 w 370"/>
              <a:gd name="T65" fmla="*/ 38 h 435"/>
              <a:gd name="T66" fmla="*/ 108 w 370"/>
              <a:gd name="T67" fmla="*/ 22 h 435"/>
              <a:gd name="T68" fmla="*/ 119 w 370"/>
              <a:gd name="T69" fmla="*/ 10 h 435"/>
              <a:gd name="T70" fmla="*/ 140 w 370"/>
              <a:gd name="T71" fmla="*/ 7 h 435"/>
              <a:gd name="T72" fmla="*/ 174 w 370"/>
              <a:gd name="T73" fmla="*/ 1 h 435"/>
              <a:gd name="T74" fmla="*/ 193 w 370"/>
              <a:gd name="T75" fmla="*/ 21 h 435"/>
              <a:gd name="T76" fmla="*/ 180 w 370"/>
              <a:gd name="T77" fmla="*/ 140 h 435"/>
              <a:gd name="T78" fmla="*/ 117 w 370"/>
              <a:gd name="T79" fmla="*/ 186 h 435"/>
              <a:gd name="T80" fmla="*/ 109 w 370"/>
              <a:gd name="T81" fmla="*/ 188 h 435"/>
              <a:gd name="T82" fmla="*/ 98 w 370"/>
              <a:gd name="T83" fmla="*/ 286 h 435"/>
              <a:gd name="T84" fmla="*/ 89 w 370"/>
              <a:gd name="T85" fmla="*/ 339 h 435"/>
              <a:gd name="T86" fmla="*/ 68 w 370"/>
              <a:gd name="T87" fmla="*/ 348 h 435"/>
              <a:gd name="T88" fmla="*/ 56 w 370"/>
              <a:gd name="T89" fmla="*/ 322 h 435"/>
              <a:gd name="T90" fmla="*/ 55 w 370"/>
              <a:gd name="T91" fmla="*/ 305 h 435"/>
              <a:gd name="T92" fmla="*/ 48 w 370"/>
              <a:gd name="T93" fmla="*/ 278 h 435"/>
              <a:gd name="T94" fmla="*/ 68 w 370"/>
              <a:gd name="T95" fmla="*/ 265 h 435"/>
              <a:gd name="T96" fmla="*/ 91 w 370"/>
              <a:gd name="T97" fmla="*/ 261 h 435"/>
              <a:gd name="T98" fmla="*/ 50 w 370"/>
              <a:gd name="T99" fmla="*/ 264 h 435"/>
              <a:gd name="T100" fmla="*/ 226 w 370"/>
              <a:gd name="T101" fmla="*/ 276 h 435"/>
              <a:gd name="T102" fmla="*/ 54 w 370"/>
              <a:gd name="T103" fmla="*/ 343 h 435"/>
              <a:gd name="T104" fmla="*/ 267 w 370"/>
              <a:gd name="T105" fmla="*/ 395 h 435"/>
              <a:gd name="T106" fmla="*/ 266 w 370"/>
              <a:gd name="T107" fmla="*/ 415 h 435"/>
              <a:gd name="T108" fmla="*/ 264 w 370"/>
              <a:gd name="T109" fmla="*/ 435 h 435"/>
              <a:gd name="T110" fmla="*/ 230 w 370"/>
              <a:gd name="T111" fmla="*/ 419 h 435"/>
              <a:gd name="T112" fmla="*/ 195 w 370"/>
              <a:gd name="T113" fmla="*/ 401 h 435"/>
              <a:gd name="T114" fmla="*/ 188 w 370"/>
              <a:gd name="T115" fmla="*/ 380 h 435"/>
              <a:gd name="T116" fmla="*/ 209 w 370"/>
              <a:gd name="T117" fmla="*/ 377 h 435"/>
              <a:gd name="T118" fmla="*/ 243 w 370"/>
              <a:gd name="T119" fmla="*/ 382 h 435"/>
              <a:gd name="T120" fmla="*/ 270 w 370"/>
              <a:gd name="T121" fmla="*/ 375 h 435"/>
              <a:gd name="T122" fmla="*/ 165 w 370"/>
              <a:gd name="T123" fmla="*/ 430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70" h="435">
                <a:moveTo>
                  <a:pt x="220" y="26"/>
                </a:moveTo>
                <a:lnTo>
                  <a:pt x="220" y="26"/>
                </a:lnTo>
                <a:lnTo>
                  <a:pt x="220" y="28"/>
                </a:lnTo>
                <a:lnTo>
                  <a:pt x="218" y="29"/>
                </a:lnTo>
                <a:lnTo>
                  <a:pt x="216" y="30"/>
                </a:lnTo>
                <a:lnTo>
                  <a:pt x="213" y="32"/>
                </a:lnTo>
                <a:lnTo>
                  <a:pt x="211" y="35"/>
                </a:lnTo>
                <a:lnTo>
                  <a:pt x="210" y="37"/>
                </a:lnTo>
                <a:lnTo>
                  <a:pt x="211" y="39"/>
                </a:lnTo>
                <a:lnTo>
                  <a:pt x="212" y="39"/>
                </a:lnTo>
                <a:lnTo>
                  <a:pt x="213" y="39"/>
                </a:lnTo>
                <a:lnTo>
                  <a:pt x="214" y="39"/>
                </a:lnTo>
                <a:lnTo>
                  <a:pt x="216" y="40"/>
                </a:lnTo>
                <a:lnTo>
                  <a:pt x="218" y="41"/>
                </a:lnTo>
                <a:lnTo>
                  <a:pt x="218" y="42"/>
                </a:lnTo>
                <a:lnTo>
                  <a:pt x="218" y="43"/>
                </a:lnTo>
                <a:lnTo>
                  <a:pt x="216" y="45"/>
                </a:lnTo>
                <a:lnTo>
                  <a:pt x="214" y="47"/>
                </a:lnTo>
                <a:lnTo>
                  <a:pt x="214" y="48"/>
                </a:lnTo>
                <a:lnTo>
                  <a:pt x="214" y="49"/>
                </a:lnTo>
                <a:lnTo>
                  <a:pt x="214" y="50"/>
                </a:lnTo>
                <a:lnTo>
                  <a:pt x="217" y="50"/>
                </a:lnTo>
                <a:lnTo>
                  <a:pt x="218" y="51"/>
                </a:lnTo>
                <a:lnTo>
                  <a:pt x="216" y="56"/>
                </a:lnTo>
                <a:lnTo>
                  <a:pt x="217" y="57"/>
                </a:lnTo>
                <a:lnTo>
                  <a:pt x="219" y="58"/>
                </a:lnTo>
                <a:lnTo>
                  <a:pt x="221" y="60"/>
                </a:lnTo>
                <a:lnTo>
                  <a:pt x="224" y="63"/>
                </a:lnTo>
                <a:lnTo>
                  <a:pt x="226" y="66"/>
                </a:lnTo>
                <a:lnTo>
                  <a:pt x="225" y="67"/>
                </a:lnTo>
                <a:lnTo>
                  <a:pt x="223" y="68"/>
                </a:lnTo>
                <a:lnTo>
                  <a:pt x="221" y="67"/>
                </a:lnTo>
                <a:lnTo>
                  <a:pt x="223" y="65"/>
                </a:lnTo>
                <a:lnTo>
                  <a:pt x="218" y="59"/>
                </a:lnTo>
                <a:lnTo>
                  <a:pt x="216" y="59"/>
                </a:lnTo>
                <a:lnTo>
                  <a:pt x="213" y="62"/>
                </a:lnTo>
                <a:lnTo>
                  <a:pt x="205" y="59"/>
                </a:lnTo>
                <a:lnTo>
                  <a:pt x="203" y="60"/>
                </a:lnTo>
                <a:lnTo>
                  <a:pt x="202" y="62"/>
                </a:lnTo>
                <a:lnTo>
                  <a:pt x="199" y="65"/>
                </a:lnTo>
                <a:lnTo>
                  <a:pt x="195" y="66"/>
                </a:lnTo>
                <a:lnTo>
                  <a:pt x="191" y="69"/>
                </a:lnTo>
                <a:lnTo>
                  <a:pt x="186" y="71"/>
                </a:lnTo>
                <a:lnTo>
                  <a:pt x="183" y="73"/>
                </a:lnTo>
                <a:lnTo>
                  <a:pt x="181" y="73"/>
                </a:lnTo>
                <a:lnTo>
                  <a:pt x="184" y="69"/>
                </a:lnTo>
                <a:lnTo>
                  <a:pt x="183" y="69"/>
                </a:lnTo>
                <a:lnTo>
                  <a:pt x="178" y="72"/>
                </a:lnTo>
                <a:lnTo>
                  <a:pt x="176" y="74"/>
                </a:lnTo>
                <a:lnTo>
                  <a:pt x="175" y="77"/>
                </a:lnTo>
                <a:lnTo>
                  <a:pt x="174" y="83"/>
                </a:lnTo>
                <a:lnTo>
                  <a:pt x="176" y="84"/>
                </a:lnTo>
                <a:lnTo>
                  <a:pt x="180" y="91"/>
                </a:lnTo>
                <a:lnTo>
                  <a:pt x="184" y="95"/>
                </a:lnTo>
                <a:lnTo>
                  <a:pt x="183" y="98"/>
                </a:lnTo>
                <a:lnTo>
                  <a:pt x="182" y="100"/>
                </a:lnTo>
                <a:lnTo>
                  <a:pt x="179" y="102"/>
                </a:lnTo>
                <a:lnTo>
                  <a:pt x="177" y="101"/>
                </a:lnTo>
                <a:lnTo>
                  <a:pt x="176" y="101"/>
                </a:lnTo>
                <a:lnTo>
                  <a:pt x="175" y="105"/>
                </a:lnTo>
                <a:lnTo>
                  <a:pt x="177" y="118"/>
                </a:lnTo>
                <a:lnTo>
                  <a:pt x="180" y="127"/>
                </a:lnTo>
                <a:lnTo>
                  <a:pt x="183" y="131"/>
                </a:lnTo>
                <a:lnTo>
                  <a:pt x="189" y="137"/>
                </a:lnTo>
                <a:lnTo>
                  <a:pt x="196" y="140"/>
                </a:lnTo>
                <a:lnTo>
                  <a:pt x="208" y="150"/>
                </a:lnTo>
                <a:lnTo>
                  <a:pt x="214" y="154"/>
                </a:lnTo>
                <a:lnTo>
                  <a:pt x="216" y="155"/>
                </a:lnTo>
                <a:lnTo>
                  <a:pt x="220" y="163"/>
                </a:lnTo>
                <a:lnTo>
                  <a:pt x="224" y="172"/>
                </a:lnTo>
                <a:lnTo>
                  <a:pt x="227" y="186"/>
                </a:lnTo>
                <a:lnTo>
                  <a:pt x="230" y="193"/>
                </a:lnTo>
                <a:lnTo>
                  <a:pt x="235" y="201"/>
                </a:lnTo>
                <a:lnTo>
                  <a:pt x="247" y="212"/>
                </a:lnTo>
                <a:lnTo>
                  <a:pt x="257" y="220"/>
                </a:lnTo>
                <a:lnTo>
                  <a:pt x="266" y="225"/>
                </a:lnTo>
                <a:lnTo>
                  <a:pt x="274" y="225"/>
                </a:lnTo>
                <a:lnTo>
                  <a:pt x="291" y="224"/>
                </a:lnTo>
                <a:lnTo>
                  <a:pt x="294" y="225"/>
                </a:lnTo>
                <a:lnTo>
                  <a:pt x="297" y="226"/>
                </a:lnTo>
                <a:lnTo>
                  <a:pt x="298" y="230"/>
                </a:lnTo>
                <a:lnTo>
                  <a:pt x="297" y="232"/>
                </a:lnTo>
                <a:lnTo>
                  <a:pt x="293" y="234"/>
                </a:lnTo>
                <a:lnTo>
                  <a:pt x="289" y="238"/>
                </a:lnTo>
                <a:lnTo>
                  <a:pt x="289" y="242"/>
                </a:lnTo>
                <a:lnTo>
                  <a:pt x="292" y="245"/>
                </a:lnTo>
                <a:lnTo>
                  <a:pt x="309" y="254"/>
                </a:lnTo>
                <a:lnTo>
                  <a:pt x="326" y="261"/>
                </a:lnTo>
                <a:lnTo>
                  <a:pt x="332" y="264"/>
                </a:lnTo>
                <a:lnTo>
                  <a:pt x="338" y="270"/>
                </a:lnTo>
                <a:lnTo>
                  <a:pt x="353" y="277"/>
                </a:lnTo>
                <a:lnTo>
                  <a:pt x="356" y="281"/>
                </a:lnTo>
                <a:lnTo>
                  <a:pt x="365" y="289"/>
                </a:lnTo>
                <a:lnTo>
                  <a:pt x="369" y="295"/>
                </a:lnTo>
                <a:lnTo>
                  <a:pt x="370" y="300"/>
                </a:lnTo>
                <a:lnTo>
                  <a:pt x="368" y="305"/>
                </a:lnTo>
                <a:lnTo>
                  <a:pt x="367" y="308"/>
                </a:lnTo>
                <a:lnTo>
                  <a:pt x="365" y="311"/>
                </a:lnTo>
                <a:lnTo>
                  <a:pt x="361" y="310"/>
                </a:lnTo>
                <a:lnTo>
                  <a:pt x="357" y="307"/>
                </a:lnTo>
                <a:lnTo>
                  <a:pt x="350" y="293"/>
                </a:lnTo>
                <a:lnTo>
                  <a:pt x="338" y="291"/>
                </a:lnTo>
                <a:lnTo>
                  <a:pt x="336" y="290"/>
                </a:lnTo>
                <a:lnTo>
                  <a:pt x="331" y="288"/>
                </a:lnTo>
                <a:lnTo>
                  <a:pt x="331" y="286"/>
                </a:lnTo>
                <a:lnTo>
                  <a:pt x="330" y="284"/>
                </a:lnTo>
                <a:lnTo>
                  <a:pt x="329" y="284"/>
                </a:lnTo>
                <a:lnTo>
                  <a:pt x="324" y="283"/>
                </a:lnTo>
                <a:lnTo>
                  <a:pt x="321" y="285"/>
                </a:lnTo>
                <a:lnTo>
                  <a:pt x="317" y="291"/>
                </a:lnTo>
                <a:lnTo>
                  <a:pt x="313" y="299"/>
                </a:lnTo>
                <a:lnTo>
                  <a:pt x="309" y="310"/>
                </a:lnTo>
                <a:lnTo>
                  <a:pt x="308" y="314"/>
                </a:lnTo>
                <a:lnTo>
                  <a:pt x="311" y="319"/>
                </a:lnTo>
                <a:lnTo>
                  <a:pt x="318" y="321"/>
                </a:lnTo>
                <a:lnTo>
                  <a:pt x="323" y="325"/>
                </a:lnTo>
                <a:lnTo>
                  <a:pt x="327" y="329"/>
                </a:lnTo>
                <a:lnTo>
                  <a:pt x="327" y="339"/>
                </a:lnTo>
                <a:lnTo>
                  <a:pt x="329" y="344"/>
                </a:lnTo>
                <a:lnTo>
                  <a:pt x="326" y="348"/>
                </a:lnTo>
                <a:lnTo>
                  <a:pt x="322" y="347"/>
                </a:lnTo>
                <a:lnTo>
                  <a:pt x="316" y="349"/>
                </a:lnTo>
                <a:lnTo>
                  <a:pt x="311" y="352"/>
                </a:lnTo>
                <a:lnTo>
                  <a:pt x="310" y="356"/>
                </a:lnTo>
                <a:lnTo>
                  <a:pt x="310" y="365"/>
                </a:lnTo>
                <a:lnTo>
                  <a:pt x="309" y="368"/>
                </a:lnTo>
                <a:lnTo>
                  <a:pt x="301" y="374"/>
                </a:lnTo>
                <a:lnTo>
                  <a:pt x="297" y="381"/>
                </a:lnTo>
                <a:lnTo>
                  <a:pt x="295" y="383"/>
                </a:lnTo>
                <a:lnTo>
                  <a:pt x="294" y="386"/>
                </a:lnTo>
                <a:lnTo>
                  <a:pt x="283" y="387"/>
                </a:lnTo>
                <a:lnTo>
                  <a:pt x="281" y="383"/>
                </a:lnTo>
                <a:lnTo>
                  <a:pt x="281" y="377"/>
                </a:lnTo>
                <a:lnTo>
                  <a:pt x="283" y="374"/>
                </a:lnTo>
                <a:lnTo>
                  <a:pt x="287" y="372"/>
                </a:lnTo>
                <a:lnTo>
                  <a:pt x="289" y="365"/>
                </a:lnTo>
                <a:lnTo>
                  <a:pt x="288" y="360"/>
                </a:lnTo>
                <a:lnTo>
                  <a:pt x="290" y="357"/>
                </a:lnTo>
                <a:lnTo>
                  <a:pt x="291" y="356"/>
                </a:lnTo>
                <a:lnTo>
                  <a:pt x="294" y="355"/>
                </a:lnTo>
                <a:lnTo>
                  <a:pt x="298" y="354"/>
                </a:lnTo>
                <a:lnTo>
                  <a:pt x="299" y="347"/>
                </a:lnTo>
                <a:lnTo>
                  <a:pt x="295" y="343"/>
                </a:lnTo>
                <a:lnTo>
                  <a:pt x="294" y="339"/>
                </a:lnTo>
                <a:lnTo>
                  <a:pt x="293" y="330"/>
                </a:lnTo>
                <a:lnTo>
                  <a:pt x="288" y="319"/>
                </a:lnTo>
                <a:lnTo>
                  <a:pt x="285" y="309"/>
                </a:lnTo>
                <a:lnTo>
                  <a:pt x="282" y="305"/>
                </a:lnTo>
                <a:lnTo>
                  <a:pt x="279" y="302"/>
                </a:lnTo>
                <a:lnTo>
                  <a:pt x="273" y="302"/>
                </a:lnTo>
                <a:lnTo>
                  <a:pt x="270" y="301"/>
                </a:lnTo>
                <a:lnTo>
                  <a:pt x="259" y="294"/>
                </a:lnTo>
                <a:lnTo>
                  <a:pt x="259" y="293"/>
                </a:lnTo>
                <a:lnTo>
                  <a:pt x="259" y="292"/>
                </a:lnTo>
                <a:lnTo>
                  <a:pt x="260" y="289"/>
                </a:lnTo>
                <a:lnTo>
                  <a:pt x="259" y="285"/>
                </a:lnTo>
                <a:lnTo>
                  <a:pt x="258" y="282"/>
                </a:lnTo>
                <a:lnTo>
                  <a:pt x="256" y="278"/>
                </a:lnTo>
                <a:lnTo>
                  <a:pt x="254" y="277"/>
                </a:lnTo>
                <a:lnTo>
                  <a:pt x="249" y="278"/>
                </a:lnTo>
                <a:lnTo>
                  <a:pt x="247" y="279"/>
                </a:lnTo>
                <a:lnTo>
                  <a:pt x="244" y="278"/>
                </a:lnTo>
                <a:lnTo>
                  <a:pt x="242" y="280"/>
                </a:lnTo>
                <a:lnTo>
                  <a:pt x="240" y="280"/>
                </a:lnTo>
                <a:lnTo>
                  <a:pt x="244" y="274"/>
                </a:lnTo>
                <a:lnTo>
                  <a:pt x="243" y="273"/>
                </a:lnTo>
                <a:lnTo>
                  <a:pt x="239" y="271"/>
                </a:lnTo>
                <a:lnTo>
                  <a:pt x="234" y="271"/>
                </a:lnTo>
                <a:lnTo>
                  <a:pt x="233" y="270"/>
                </a:lnTo>
                <a:lnTo>
                  <a:pt x="232" y="272"/>
                </a:lnTo>
                <a:lnTo>
                  <a:pt x="231" y="271"/>
                </a:lnTo>
                <a:lnTo>
                  <a:pt x="231" y="269"/>
                </a:lnTo>
                <a:lnTo>
                  <a:pt x="225" y="258"/>
                </a:lnTo>
                <a:lnTo>
                  <a:pt x="221" y="254"/>
                </a:lnTo>
                <a:lnTo>
                  <a:pt x="219" y="253"/>
                </a:lnTo>
                <a:lnTo>
                  <a:pt x="216" y="254"/>
                </a:lnTo>
                <a:lnTo>
                  <a:pt x="210" y="252"/>
                </a:lnTo>
                <a:lnTo>
                  <a:pt x="206" y="251"/>
                </a:lnTo>
                <a:lnTo>
                  <a:pt x="204" y="252"/>
                </a:lnTo>
                <a:lnTo>
                  <a:pt x="201" y="253"/>
                </a:lnTo>
                <a:lnTo>
                  <a:pt x="200" y="252"/>
                </a:lnTo>
                <a:lnTo>
                  <a:pt x="199" y="251"/>
                </a:lnTo>
                <a:lnTo>
                  <a:pt x="194" y="246"/>
                </a:lnTo>
                <a:lnTo>
                  <a:pt x="187" y="244"/>
                </a:lnTo>
                <a:lnTo>
                  <a:pt x="174" y="230"/>
                </a:lnTo>
                <a:lnTo>
                  <a:pt x="170" y="224"/>
                </a:lnTo>
                <a:lnTo>
                  <a:pt x="161" y="218"/>
                </a:lnTo>
                <a:lnTo>
                  <a:pt x="156" y="210"/>
                </a:lnTo>
                <a:lnTo>
                  <a:pt x="152" y="207"/>
                </a:lnTo>
                <a:lnTo>
                  <a:pt x="145" y="204"/>
                </a:lnTo>
                <a:lnTo>
                  <a:pt x="144" y="204"/>
                </a:lnTo>
                <a:lnTo>
                  <a:pt x="142" y="205"/>
                </a:lnTo>
                <a:lnTo>
                  <a:pt x="141" y="206"/>
                </a:lnTo>
                <a:lnTo>
                  <a:pt x="139" y="204"/>
                </a:lnTo>
                <a:lnTo>
                  <a:pt x="141" y="203"/>
                </a:lnTo>
                <a:lnTo>
                  <a:pt x="142" y="203"/>
                </a:lnTo>
                <a:lnTo>
                  <a:pt x="141" y="199"/>
                </a:lnTo>
                <a:lnTo>
                  <a:pt x="134" y="191"/>
                </a:lnTo>
                <a:lnTo>
                  <a:pt x="130" y="188"/>
                </a:lnTo>
                <a:lnTo>
                  <a:pt x="129" y="186"/>
                </a:lnTo>
                <a:lnTo>
                  <a:pt x="128" y="184"/>
                </a:lnTo>
                <a:lnTo>
                  <a:pt x="127" y="182"/>
                </a:lnTo>
                <a:lnTo>
                  <a:pt x="125" y="182"/>
                </a:lnTo>
                <a:lnTo>
                  <a:pt x="123" y="182"/>
                </a:lnTo>
                <a:lnTo>
                  <a:pt x="121" y="181"/>
                </a:lnTo>
                <a:lnTo>
                  <a:pt x="121" y="177"/>
                </a:lnTo>
                <a:lnTo>
                  <a:pt x="122" y="174"/>
                </a:lnTo>
                <a:lnTo>
                  <a:pt x="121" y="171"/>
                </a:lnTo>
                <a:lnTo>
                  <a:pt x="119" y="164"/>
                </a:lnTo>
                <a:lnTo>
                  <a:pt x="115" y="158"/>
                </a:lnTo>
                <a:lnTo>
                  <a:pt x="113" y="143"/>
                </a:lnTo>
                <a:lnTo>
                  <a:pt x="111" y="139"/>
                </a:lnTo>
                <a:lnTo>
                  <a:pt x="106" y="136"/>
                </a:lnTo>
                <a:lnTo>
                  <a:pt x="97" y="133"/>
                </a:lnTo>
                <a:lnTo>
                  <a:pt x="83" y="123"/>
                </a:lnTo>
                <a:lnTo>
                  <a:pt x="80" y="123"/>
                </a:lnTo>
                <a:lnTo>
                  <a:pt x="72" y="119"/>
                </a:lnTo>
                <a:lnTo>
                  <a:pt x="67" y="119"/>
                </a:lnTo>
                <a:lnTo>
                  <a:pt x="60" y="122"/>
                </a:lnTo>
                <a:lnTo>
                  <a:pt x="52" y="131"/>
                </a:lnTo>
                <a:lnTo>
                  <a:pt x="45" y="140"/>
                </a:lnTo>
                <a:lnTo>
                  <a:pt x="43" y="142"/>
                </a:lnTo>
                <a:lnTo>
                  <a:pt x="34" y="145"/>
                </a:lnTo>
                <a:lnTo>
                  <a:pt x="27" y="147"/>
                </a:lnTo>
                <a:lnTo>
                  <a:pt x="27" y="144"/>
                </a:lnTo>
                <a:lnTo>
                  <a:pt x="26" y="143"/>
                </a:lnTo>
                <a:lnTo>
                  <a:pt x="28" y="141"/>
                </a:lnTo>
                <a:lnTo>
                  <a:pt x="30" y="138"/>
                </a:lnTo>
                <a:lnTo>
                  <a:pt x="32" y="135"/>
                </a:lnTo>
                <a:lnTo>
                  <a:pt x="33" y="133"/>
                </a:lnTo>
                <a:lnTo>
                  <a:pt x="32" y="132"/>
                </a:lnTo>
                <a:lnTo>
                  <a:pt x="31" y="130"/>
                </a:lnTo>
                <a:lnTo>
                  <a:pt x="30" y="130"/>
                </a:lnTo>
                <a:lnTo>
                  <a:pt x="23" y="131"/>
                </a:lnTo>
                <a:lnTo>
                  <a:pt x="21" y="131"/>
                </a:lnTo>
                <a:lnTo>
                  <a:pt x="16" y="128"/>
                </a:lnTo>
                <a:lnTo>
                  <a:pt x="10" y="125"/>
                </a:lnTo>
                <a:lnTo>
                  <a:pt x="8" y="122"/>
                </a:lnTo>
                <a:lnTo>
                  <a:pt x="8" y="120"/>
                </a:lnTo>
                <a:lnTo>
                  <a:pt x="8" y="118"/>
                </a:lnTo>
                <a:lnTo>
                  <a:pt x="8" y="117"/>
                </a:lnTo>
                <a:lnTo>
                  <a:pt x="7" y="115"/>
                </a:lnTo>
                <a:lnTo>
                  <a:pt x="8" y="112"/>
                </a:lnTo>
                <a:lnTo>
                  <a:pt x="9" y="109"/>
                </a:lnTo>
                <a:lnTo>
                  <a:pt x="10" y="107"/>
                </a:lnTo>
                <a:lnTo>
                  <a:pt x="12" y="107"/>
                </a:lnTo>
                <a:lnTo>
                  <a:pt x="12" y="106"/>
                </a:lnTo>
                <a:lnTo>
                  <a:pt x="11" y="101"/>
                </a:lnTo>
                <a:lnTo>
                  <a:pt x="11" y="100"/>
                </a:lnTo>
                <a:lnTo>
                  <a:pt x="10" y="100"/>
                </a:lnTo>
                <a:lnTo>
                  <a:pt x="8" y="99"/>
                </a:lnTo>
                <a:lnTo>
                  <a:pt x="5" y="98"/>
                </a:lnTo>
                <a:lnTo>
                  <a:pt x="3" y="97"/>
                </a:lnTo>
                <a:lnTo>
                  <a:pt x="3" y="94"/>
                </a:lnTo>
                <a:lnTo>
                  <a:pt x="2" y="92"/>
                </a:lnTo>
                <a:lnTo>
                  <a:pt x="0" y="90"/>
                </a:lnTo>
                <a:lnTo>
                  <a:pt x="0" y="88"/>
                </a:lnTo>
                <a:lnTo>
                  <a:pt x="2" y="87"/>
                </a:lnTo>
                <a:lnTo>
                  <a:pt x="5" y="87"/>
                </a:lnTo>
                <a:lnTo>
                  <a:pt x="7" y="87"/>
                </a:lnTo>
                <a:lnTo>
                  <a:pt x="11" y="84"/>
                </a:lnTo>
                <a:lnTo>
                  <a:pt x="12" y="83"/>
                </a:lnTo>
                <a:lnTo>
                  <a:pt x="14" y="83"/>
                </a:lnTo>
                <a:lnTo>
                  <a:pt x="15" y="78"/>
                </a:lnTo>
                <a:lnTo>
                  <a:pt x="16" y="77"/>
                </a:lnTo>
                <a:lnTo>
                  <a:pt x="16" y="76"/>
                </a:lnTo>
                <a:lnTo>
                  <a:pt x="15" y="75"/>
                </a:lnTo>
                <a:lnTo>
                  <a:pt x="12" y="71"/>
                </a:lnTo>
                <a:lnTo>
                  <a:pt x="10" y="68"/>
                </a:lnTo>
                <a:lnTo>
                  <a:pt x="8" y="64"/>
                </a:lnTo>
                <a:lnTo>
                  <a:pt x="5" y="62"/>
                </a:lnTo>
                <a:lnTo>
                  <a:pt x="5" y="61"/>
                </a:lnTo>
                <a:lnTo>
                  <a:pt x="5" y="59"/>
                </a:lnTo>
                <a:lnTo>
                  <a:pt x="5" y="57"/>
                </a:lnTo>
                <a:lnTo>
                  <a:pt x="10" y="55"/>
                </a:lnTo>
                <a:lnTo>
                  <a:pt x="12" y="52"/>
                </a:lnTo>
                <a:lnTo>
                  <a:pt x="13" y="53"/>
                </a:lnTo>
                <a:lnTo>
                  <a:pt x="15" y="54"/>
                </a:lnTo>
                <a:lnTo>
                  <a:pt x="22" y="53"/>
                </a:lnTo>
                <a:lnTo>
                  <a:pt x="26" y="52"/>
                </a:lnTo>
                <a:lnTo>
                  <a:pt x="28" y="50"/>
                </a:lnTo>
                <a:lnTo>
                  <a:pt x="30" y="50"/>
                </a:lnTo>
                <a:lnTo>
                  <a:pt x="36" y="52"/>
                </a:lnTo>
                <a:lnTo>
                  <a:pt x="38" y="51"/>
                </a:lnTo>
                <a:lnTo>
                  <a:pt x="42" y="48"/>
                </a:lnTo>
                <a:lnTo>
                  <a:pt x="43" y="47"/>
                </a:lnTo>
                <a:lnTo>
                  <a:pt x="47" y="42"/>
                </a:lnTo>
                <a:lnTo>
                  <a:pt x="47" y="41"/>
                </a:lnTo>
                <a:lnTo>
                  <a:pt x="45" y="37"/>
                </a:lnTo>
                <a:lnTo>
                  <a:pt x="46" y="37"/>
                </a:lnTo>
                <a:lnTo>
                  <a:pt x="50" y="34"/>
                </a:lnTo>
                <a:lnTo>
                  <a:pt x="52" y="31"/>
                </a:lnTo>
                <a:lnTo>
                  <a:pt x="54" y="29"/>
                </a:lnTo>
                <a:lnTo>
                  <a:pt x="56" y="29"/>
                </a:lnTo>
                <a:lnTo>
                  <a:pt x="56" y="30"/>
                </a:lnTo>
                <a:lnTo>
                  <a:pt x="56" y="31"/>
                </a:lnTo>
                <a:lnTo>
                  <a:pt x="56" y="36"/>
                </a:lnTo>
                <a:lnTo>
                  <a:pt x="57" y="38"/>
                </a:lnTo>
                <a:lnTo>
                  <a:pt x="60" y="42"/>
                </a:lnTo>
                <a:lnTo>
                  <a:pt x="63" y="44"/>
                </a:lnTo>
                <a:lnTo>
                  <a:pt x="68" y="46"/>
                </a:lnTo>
                <a:lnTo>
                  <a:pt x="68" y="46"/>
                </a:lnTo>
                <a:lnTo>
                  <a:pt x="67" y="49"/>
                </a:lnTo>
                <a:lnTo>
                  <a:pt x="70" y="53"/>
                </a:lnTo>
                <a:lnTo>
                  <a:pt x="71" y="55"/>
                </a:lnTo>
                <a:lnTo>
                  <a:pt x="72" y="57"/>
                </a:lnTo>
                <a:lnTo>
                  <a:pt x="75" y="56"/>
                </a:lnTo>
                <a:lnTo>
                  <a:pt x="75" y="55"/>
                </a:lnTo>
                <a:lnTo>
                  <a:pt x="74" y="52"/>
                </a:lnTo>
                <a:lnTo>
                  <a:pt x="74" y="50"/>
                </a:lnTo>
                <a:lnTo>
                  <a:pt x="74" y="48"/>
                </a:lnTo>
                <a:lnTo>
                  <a:pt x="75" y="47"/>
                </a:lnTo>
                <a:lnTo>
                  <a:pt x="76" y="44"/>
                </a:lnTo>
                <a:lnTo>
                  <a:pt x="80" y="39"/>
                </a:lnTo>
                <a:lnTo>
                  <a:pt x="82" y="36"/>
                </a:lnTo>
                <a:lnTo>
                  <a:pt x="82" y="31"/>
                </a:lnTo>
                <a:lnTo>
                  <a:pt x="82" y="28"/>
                </a:lnTo>
                <a:lnTo>
                  <a:pt x="83" y="27"/>
                </a:lnTo>
                <a:lnTo>
                  <a:pt x="86" y="27"/>
                </a:lnTo>
                <a:lnTo>
                  <a:pt x="87" y="27"/>
                </a:lnTo>
                <a:lnTo>
                  <a:pt x="88" y="30"/>
                </a:lnTo>
                <a:lnTo>
                  <a:pt x="89" y="33"/>
                </a:lnTo>
                <a:lnTo>
                  <a:pt x="90" y="35"/>
                </a:lnTo>
                <a:lnTo>
                  <a:pt x="92" y="36"/>
                </a:lnTo>
                <a:lnTo>
                  <a:pt x="94" y="36"/>
                </a:lnTo>
                <a:lnTo>
                  <a:pt x="98" y="33"/>
                </a:lnTo>
                <a:lnTo>
                  <a:pt x="101" y="33"/>
                </a:lnTo>
                <a:lnTo>
                  <a:pt x="103" y="33"/>
                </a:lnTo>
                <a:lnTo>
                  <a:pt x="104" y="34"/>
                </a:lnTo>
                <a:lnTo>
                  <a:pt x="106" y="38"/>
                </a:lnTo>
                <a:lnTo>
                  <a:pt x="108" y="39"/>
                </a:lnTo>
                <a:lnTo>
                  <a:pt x="109" y="38"/>
                </a:lnTo>
                <a:lnTo>
                  <a:pt x="110" y="38"/>
                </a:lnTo>
                <a:lnTo>
                  <a:pt x="109" y="36"/>
                </a:lnTo>
                <a:lnTo>
                  <a:pt x="108" y="33"/>
                </a:lnTo>
                <a:lnTo>
                  <a:pt x="108" y="30"/>
                </a:lnTo>
                <a:lnTo>
                  <a:pt x="106" y="29"/>
                </a:lnTo>
                <a:lnTo>
                  <a:pt x="106" y="27"/>
                </a:lnTo>
                <a:lnTo>
                  <a:pt x="107" y="24"/>
                </a:lnTo>
                <a:lnTo>
                  <a:pt x="108" y="22"/>
                </a:lnTo>
                <a:lnTo>
                  <a:pt x="109" y="21"/>
                </a:lnTo>
                <a:lnTo>
                  <a:pt x="111" y="21"/>
                </a:lnTo>
                <a:lnTo>
                  <a:pt x="114" y="24"/>
                </a:lnTo>
                <a:lnTo>
                  <a:pt x="116" y="24"/>
                </a:lnTo>
                <a:lnTo>
                  <a:pt x="118" y="24"/>
                </a:lnTo>
                <a:lnTo>
                  <a:pt x="119" y="23"/>
                </a:lnTo>
                <a:lnTo>
                  <a:pt x="119" y="21"/>
                </a:lnTo>
                <a:lnTo>
                  <a:pt x="117" y="19"/>
                </a:lnTo>
                <a:lnTo>
                  <a:pt x="118" y="16"/>
                </a:lnTo>
                <a:lnTo>
                  <a:pt x="119" y="10"/>
                </a:lnTo>
                <a:lnTo>
                  <a:pt x="120" y="10"/>
                </a:lnTo>
                <a:lnTo>
                  <a:pt x="123" y="11"/>
                </a:lnTo>
                <a:lnTo>
                  <a:pt x="126" y="11"/>
                </a:lnTo>
                <a:lnTo>
                  <a:pt x="129" y="13"/>
                </a:lnTo>
                <a:lnTo>
                  <a:pt x="131" y="14"/>
                </a:lnTo>
                <a:lnTo>
                  <a:pt x="134" y="14"/>
                </a:lnTo>
                <a:lnTo>
                  <a:pt x="136" y="14"/>
                </a:lnTo>
                <a:lnTo>
                  <a:pt x="137" y="13"/>
                </a:lnTo>
                <a:lnTo>
                  <a:pt x="138" y="10"/>
                </a:lnTo>
                <a:lnTo>
                  <a:pt x="140" y="7"/>
                </a:lnTo>
                <a:lnTo>
                  <a:pt x="144" y="5"/>
                </a:lnTo>
                <a:lnTo>
                  <a:pt x="150" y="5"/>
                </a:lnTo>
                <a:lnTo>
                  <a:pt x="153" y="4"/>
                </a:lnTo>
                <a:lnTo>
                  <a:pt x="156" y="4"/>
                </a:lnTo>
                <a:lnTo>
                  <a:pt x="158" y="5"/>
                </a:lnTo>
                <a:lnTo>
                  <a:pt x="160" y="5"/>
                </a:lnTo>
                <a:lnTo>
                  <a:pt x="166" y="2"/>
                </a:lnTo>
                <a:lnTo>
                  <a:pt x="173" y="0"/>
                </a:lnTo>
                <a:lnTo>
                  <a:pt x="174" y="0"/>
                </a:lnTo>
                <a:lnTo>
                  <a:pt x="174" y="1"/>
                </a:lnTo>
                <a:lnTo>
                  <a:pt x="173" y="3"/>
                </a:lnTo>
                <a:lnTo>
                  <a:pt x="171" y="5"/>
                </a:lnTo>
                <a:lnTo>
                  <a:pt x="172" y="7"/>
                </a:lnTo>
                <a:lnTo>
                  <a:pt x="176" y="11"/>
                </a:lnTo>
                <a:lnTo>
                  <a:pt x="178" y="15"/>
                </a:lnTo>
                <a:lnTo>
                  <a:pt x="179" y="17"/>
                </a:lnTo>
                <a:lnTo>
                  <a:pt x="182" y="19"/>
                </a:lnTo>
                <a:lnTo>
                  <a:pt x="186" y="20"/>
                </a:lnTo>
                <a:lnTo>
                  <a:pt x="189" y="20"/>
                </a:lnTo>
                <a:lnTo>
                  <a:pt x="193" y="21"/>
                </a:lnTo>
                <a:lnTo>
                  <a:pt x="204" y="23"/>
                </a:lnTo>
                <a:lnTo>
                  <a:pt x="209" y="24"/>
                </a:lnTo>
                <a:lnTo>
                  <a:pt x="214" y="24"/>
                </a:lnTo>
                <a:lnTo>
                  <a:pt x="220" y="26"/>
                </a:lnTo>
                <a:close/>
                <a:moveTo>
                  <a:pt x="182" y="141"/>
                </a:moveTo>
                <a:lnTo>
                  <a:pt x="182" y="141"/>
                </a:lnTo>
                <a:lnTo>
                  <a:pt x="183" y="139"/>
                </a:lnTo>
                <a:lnTo>
                  <a:pt x="183" y="137"/>
                </a:lnTo>
                <a:lnTo>
                  <a:pt x="181" y="138"/>
                </a:lnTo>
                <a:lnTo>
                  <a:pt x="180" y="140"/>
                </a:lnTo>
                <a:lnTo>
                  <a:pt x="181" y="141"/>
                </a:lnTo>
                <a:lnTo>
                  <a:pt x="182" y="141"/>
                </a:lnTo>
                <a:close/>
                <a:moveTo>
                  <a:pt x="181" y="226"/>
                </a:moveTo>
                <a:lnTo>
                  <a:pt x="181" y="226"/>
                </a:lnTo>
                <a:lnTo>
                  <a:pt x="181" y="226"/>
                </a:lnTo>
                <a:lnTo>
                  <a:pt x="181" y="226"/>
                </a:lnTo>
                <a:lnTo>
                  <a:pt x="181" y="226"/>
                </a:lnTo>
                <a:lnTo>
                  <a:pt x="181" y="226"/>
                </a:lnTo>
                <a:lnTo>
                  <a:pt x="181" y="226"/>
                </a:lnTo>
                <a:close/>
                <a:moveTo>
                  <a:pt x="117" y="186"/>
                </a:moveTo>
                <a:lnTo>
                  <a:pt x="117" y="186"/>
                </a:lnTo>
                <a:lnTo>
                  <a:pt x="118" y="187"/>
                </a:lnTo>
                <a:lnTo>
                  <a:pt x="118" y="188"/>
                </a:lnTo>
                <a:lnTo>
                  <a:pt x="118" y="189"/>
                </a:lnTo>
                <a:lnTo>
                  <a:pt x="118" y="192"/>
                </a:lnTo>
                <a:lnTo>
                  <a:pt x="115" y="190"/>
                </a:lnTo>
                <a:lnTo>
                  <a:pt x="111" y="191"/>
                </a:lnTo>
                <a:lnTo>
                  <a:pt x="109" y="191"/>
                </a:lnTo>
                <a:lnTo>
                  <a:pt x="108" y="189"/>
                </a:lnTo>
                <a:lnTo>
                  <a:pt x="109" y="188"/>
                </a:lnTo>
                <a:lnTo>
                  <a:pt x="113" y="187"/>
                </a:lnTo>
                <a:lnTo>
                  <a:pt x="114" y="187"/>
                </a:lnTo>
                <a:lnTo>
                  <a:pt x="116" y="187"/>
                </a:lnTo>
                <a:lnTo>
                  <a:pt x="117" y="186"/>
                </a:lnTo>
                <a:close/>
                <a:moveTo>
                  <a:pt x="93" y="268"/>
                </a:moveTo>
                <a:lnTo>
                  <a:pt x="93" y="268"/>
                </a:lnTo>
                <a:lnTo>
                  <a:pt x="95" y="271"/>
                </a:lnTo>
                <a:lnTo>
                  <a:pt x="99" y="281"/>
                </a:lnTo>
                <a:lnTo>
                  <a:pt x="99" y="284"/>
                </a:lnTo>
                <a:lnTo>
                  <a:pt x="98" y="286"/>
                </a:lnTo>
                <a:lnTo>
                  <a:pt x="97" y="288"/>
                </a:lnTo>
                <a:lnTo>
                  <a:pt x="94" y="293"/>
                </a:lnTo>
                <a:lnTo>
                  <a:pt x="94" y="298"/>
                </a:lnTo>
                <a:lnTo>
                  <a:pt x="96" y="300"/>
                </a:lnTo>
                <a:lnTo>
                  <a:pt x="96" y="303"/>
                </a:lnTo>
                <a:lnTo>
                  <a:pt x="95" y="307"/>
                </a:lnTo>
                <a:lnTo>
                  <a:pt x="93" y="330"/>
                </a:lnTo>
                <a:lnTo>
                  <a:pt x="92" y="334"/>
                </a:lnTo>
                <a:lnTo>
                  <a:pt x="91" y="338"/>
                </a:lnTo>
                <a:lnTo>
                  <a:pt x="89" y="339"/>
                </a:lnTo>
                <a:lnTo>
                  <a:pt x="86" y="338"/>
                </a:lnTo>
                <a:lnTo>
                  <a:pt x="82" y="336"/>
                </a:lnTo>
                <a:lnTo>
                  <a:pt x="80" y="336"/>
                </a:lnTo>
                <a:lnTo>
                  <a:pt x="78" y="336"/>
                </a:lnTo>
                <a:lnTo>
                  <a:pt x="77" y="336"/>
                </a:lnTo>
                <a:lnTo>
                  <a:pt x="75" y="335"/>
                </a:lnTo>
                <a:lnTo>
                  <a:pt x="74" y="343"/>
                </a:lnTo>
                <a:lnTo>
                  <a:pt x="73" y="346"/>
                </a:lnTo>
                <a:lnTo>
                  <a:pt x="70" y="348"/>
                </a:lnTo>
                <a:lnTo>
                  <a:pt x="68" y="348"/>
                </a:lnTo>
                <a:lnTo>
                  <a:pt x="65" y="347"/>
                </a:lnTo>
                <a:lnTo>
                  <a:pt x="63" y="347"/>
                </a:lnTo>
                <a:lnTo>
                  <a:pt x="61" y="346"/>
                </a:lnTo>
                <a:lnTo>
                  <a:pt x="60" y="343"/>
                </a:lnTo>
                <a:lnTo>
                  <a:pt x="58" y="340"/>
                </a:lnTo>
                <a:lnTo>
                  <a:pt x="56" y="336"/>
                </a:lnTo>
                <a:lnTo>
                  <a:pt x="55" y="333"/>
                </a:lnTo>
                <a:lnTo>
                  <a:pt x="55" y="325"/>
                </a:lnTo>
                <a:lnTo>
                  <a:pt x="56" y="323"/>
                </a:lnTo>
                <a:lnTo>
                  <a:pt x="56" y="322"/>
                </a:lnTo>
                <a:lnTo>
                  <a:pt x="57" y="318"/>
                </a:lnTo>
                <a:lnTo>
                  <a:pt x="57" y="315"/>
                </a:lnTo>
                <a:lnTo>
                  <a:pt x="57" y="314"/>
                </a:lnTo>
                <a:lnTo>
                  <a:pt x="58" y="315"/>
                </a:lnTo>
                <a:lnTo>
                  <a:pt x="59" y="315"/>
                </a:lnTo>
                <a:lnTo>
                  <a:pt x="59" y="313"/>
                </a:lnTo>
                <a:lnTo>
                  <a:pt x="60" y="311"/>
                </a:lnTo>
                <a:lnTo>
                  <a:pt x="58" y="308"/>
                </a:lnTo>
                <a:lnTo>
                  <a:pt x="55" y="307"/>
                </a:lnTo>
                <a:lnTo>
                  <a:pt x="55" y="305"/>
                </a:lnTo>
                <a:lnTo>
                  <a:pt x="55" y="303"/>
                </a:lnTo>
                <a:lnTo>
                  <a:pt x="57" y="301"/>
                </a:lnTo>
                <a:lnTo>
                  <a:pt x="57" y="299"/>
                </a:lnTo>
                <a:lnTo>
                  <a:pt x="57" y="292"/>
                </a:lnTo>
                <a:lnTo>
                  <a:pt x="55" y="290"/>
                </a:lnTo>
                <a:lnTo>
                  <a:pt x="55" y="286"/>
                </a:lnTo>
                <a:lnTo>
                  <a:pt x="54" y="284"/>
                </a:lnTo>
                <a:lnTo>
                  <a:pt x="52" y="281"/>
                </a:lnTo>
                <a:lnTo>
                  <a:pt x="50" y="279"/>
                </a:lnTo>
                <a:lnTo>
                  <a:pt x="48" y="278"/>
                </a:lnTo>
                <a:lnTo>
                  <a:pt x="48" y="273"/>
                </a:lnTo>
                <a:lnTo>
                  <a:pt x="49" y="269"/>
                </a:lnTo>
                <a:lnTo>
                  <a:pt x="50" y="267"/>
                </a:lnTo>
                <a:lnTo>
                  <a:pt x="50" y="267"/>
                </a:lnTo>
                <a:lnTo>
                  <a:pt x="52" y="269"/>
                </a:lnTo>
                <a:lnTo>
                  <a:pt x="54" y="270"/>
                </a:lnTo>
                <a:lnTo>
                  <a:pt x="57" y="270"/>
                </a:lnTo>
                <a:lnTo>
                  <a:pt x="60" y="269"/>
                </a:lnTo>
                <a:lnTo>
                  <a:pt x="64" y="268"/>
                </a:lnTo>
                <a:lnTo>
                  <a:pt x="68" y="265"/>
                </a:lnTo>
                <a:lnTo>
                  <a:pt x="74" y="259"/>
                </a:lnTo>
                <a:lnTo>
                  <a:pt x="77" y="257"/>
                </a:lnTo>
                <a:lnTo>
                  <a:pt x="79" y="256"/>
                </a:lnTo>
                <a:lnTo>
                  <a:pt x="79" y="253"/>
                </a:lnTo>
                <a:lnTo>
                  <a:pt x="81" y="253"/>
                </a:lnTo>
                <a:lnTo>
                  <a:pt x="83" y="255"/>
                </a:lnTo>
                <a:lnTo>
                  <a:pt x="85" y="255"/>
                </a:lnTo>
                <a:lnTo>
                  <a:pt x="88" y="257"/>
                </a:lnTo>
                <a:lnTo>
                  <a:pt x="89" y="259"/>
                </a:lnTo>
                <a:lnTo>
                  <a:pt x="91" y="261"/>
                </a:lnTo>
                <a:lnTo>
                  <a:pt x="92" y="262"/>
                </a:lnTo>
                <a:lnTo>
                  <a:pt x="93" y="262"/>
                </a:lnTo>
                <a:lnTo>
                  <a:pt x="93" y="263"/>
                </a:lnTo>
                <a:lnTo>
                  <a:pt x="92" y="264"/>
                </a:lnTo>
                <a:lnTo>
                  <a:pt x="91" y="266"/>
                </a:lnTo>
                <a:lnTo>
                  <a:pt x="92" y="267"/>
                </a:lnTo>
                <a:lnTo>
                  <a:pt x="93" y="268"/>
                </a:lnTo>
                <a:close/>
                <a:moveTo>
                  <a:pt x="52" y="262"/>
                </a:moveTo>
                <a:lnTo>
                  <a:pt x="52" y="262"/>
                </a:lnTo>
                <a:lnTo>
                  <a:pt x="50" y="264"/>
                </a:lnTo>
                <a:lnTo>
                  <a:pt x="49" y="263"/>
                </a:lnTo>
                <a:lnTo>
                  <a:pt x="50" y="262"/>
                </a:lnTo>
                <a:lnTo>
                  <a:pt x="51" y="259"/>
                </a:lnTo>
                <a:lnTo>
                  <a:pt x="53" y="258"/>
                </a:lnTo>
                <a:lnTo>
                  <a:pt x="53" y="259"/>
                </a:lnTo>
                <a:lnTo>
                  <a:pt x="53" y="261"/>
                </a:lnTo>
                <a:lnTo>
                  <a:pt x="52" y="262"/>
                </a:lnTo>
                <a:close/>
                <a:moveTo>
                  <a:pt x="228" y="275"/>
                </a:moveTo>
                <a:lnTo>
                  <a:pt x="228" y="275"/>
                </a:lnTo>
                <a:lnTo>
                  <a:pt x="226" y="276"/>
                </a:lnTo>
                <a:lnTo>
                  <a:pt x="226" y="275"/>
                </a:lnTo>
                <a:lnTo>
                  <a:pt x="225" y="275"/>
                </a:lnTo>
                <a:lnTo>
                  <a:pt x="226" y="273"/>
                </a:lnTo>
                <a:lnTo>
                  <a:pt x="228" y="274"/>
                </a:lnTo>
                <a:lnTo>
                  <a:pt x="228" y="275"/>
                </a:lnTo>
                <a:lnTo>
                  <a:pt x="228" y="275"/>
                </a:lnTo>
                <a:close/>
                <a:moveTo>
                  <a:pt x="58" y="342"/>
                </a:moveTo>
                <a:lnTo>
                  <a:pt x="58" y="342"/>
                </a:lnTo>
                <a:lnTo>
                  <a:pt x="56" y="346"/>
                </a:lnTo>
                <a:lnTo>
                  <a:pt x="54" y="343"/>
                </a:lnTo>
                <a:lnTo>
                  <a:pt x="54" y="340"/>
                </a:lnTo>
                <a:lnTo>
                  <a:pt x="54" y="340"/>
                </a:lnTo>
                <a:lnTo>
                  <a:pt x="56" y="341"/>
                </a:lnTo>
                <a:lnTo>
                  <a:pt x="58" y="342"/>
                </a:lnTo>
                <a:close/>
                <a:moveTo>
                  <a:pt x="279" y="375"/>
                </a:moveTo>
                <a:lnTo>
                  <a:pt x="279" y="375"/>
                </a:lnTo>
                <a:lnTo>
                  <a:pt x="277" y="380"/>
                </a:lnTo>
                <a:lnTo>
                  <a:pt x="276" y="382"/>
                </a:lnTo>
                <a:lnTo>
                  <a:pt x="268" y="393"/>
                </a:lnTo>
                <a:lnTo>
                  <a:pt x="267" y="395"/>
                </a:lnTo>
                <a:lnTo>
                  <a:pt x="267" y="398"/>
                </a:lnTo>
                <a:lnTo>
                  <a:pt x="266" y="400"/>
                </a:lnTo>
                <a:lnTo>
                  <a:pt x="265" y="402"/>
                </a:lnTo>
                <a:lnTo>
                  <a:pt x="264" y="405"/>
                </a:lnTo>
                <a:lnTo>
                  <a:pt x="264" y="409"/>
                </a:lnTo>
                <a:lnTo>
                  <a:pt x="264" y="410"/>
                </a:lnTo>
                <a:lnTo>
                  <a:pt x="265" y="411"/>
                </a:lnTo>
                <a:lnTo>
                  <a:pt x="267" y="412"/>
                </a:lnTo>
                <a:lnTo>
                  <a:pt x="268" y="414"/>
                </a:lnTo>
                <a:lnTo>
                  <a:pt x="266" y="415"/>
                </a:lnTo>
                <a:lnTo>
                  <a:pt x="268" y="418"/>
                </a:lnTo>
                <a:lnTo>
                  <a:pt x="270" y="419"/>
                </a:lnTo>
                <a:lnTo>
                  <a:pt x="270" y="421"/>
                </a:lnTo>
                <a:lnTo>
                  <a:pt x="270" y="423"/>
                </a:lnTo>
                <a:lnTo>
                  <a:pt x="267" y="426"/>
                </a:lnTo>
                <a:lnTo>
                  <a:pt x="265" y="427"/>
                </a:lnTo>
                <a:lnTo>
                  <a:pt x="264" y="429"/>
                </a:lnTo>
                <a:lnTo>
                  <a:pt x="264" y="431"/>
                </a:lnTo>
                <a:lnTo>
                  <a:pt x="264" y="433"/>
                </a:lnTo>
                <a:lnTo>
                  <a:pt x="264" y="435"/>
                </a:lnTo>
                <a:lnTo>
                  <a:pt x="261" y="435"/>
                </a:lnTo>
                <a:lnTo>
                  <a:pt x="257" y="434"/>
                </a:lnTo>
                <a:lnTo>
                  <a:pt x="254" y="434"/>
                </a:lnTo>
                <a:lnTo>
                  <a:pt x="249" y="432"/>
                </a:lnTo>
                <a:lnTo>
                  <a:pt x="247" y="432"/>
                </a:lnTo>
                <a:lnTo>
                  <a:pt x="245" y="431"/>
                </a:lnTo>
                <a:lnTo>
                  <a:pt x="241" y="424"/>
                </a:lnTo>
                <a:lnTo>
                  <a:pt x="238" y="421"/>
                </a:lnTo>
                <a:lnTo>
                  <a:pt x="234" y="419"/>
                </a:lnTo>
                <a:lnTo>
                  <a:pt x="230" y="419"/>
                </a:lnTo>
                <a:lnTo>
                  <a:pt x="227" y="419"/>
                </a:lnTo>
                <a:lnTo>
                  <a:pt x="223" y="418"/>
                </a:lnTo>
                <a:lnTo>
                  <a:pt x="217" y="413"/>
                </a:lnTo>
                <a:lnTo>
                  <a:pt x="210" y="410"/>
                </a:lnTo>
                <a:lnTo>
                  <a:pt x="207" y="407"/>
                </a:lnTo>
                <a:lnTo>
                  <a:pt x="205" y="405"/>
                </a:lnTo>
                <a:lnTo>
                  <a:pt x="204" y="404"/>
                </a:lnTo>
                <a:lnTo>
                  <a:pt x="200" y="403"/>
                </a:lnTo>
                <a:lnTo>
                  <a:pt x="196" y="401"/>
                </a:lnTo>
                <a:lnTo>
                  <a:pt x="195" y="401"/>
                </a:lnTo>
                <a:lnTo>
                  <a:pt x="191" y="401"/>
                </a:lnTo>
                <a:lnTo>
                  <a:pt x="189" y="401"/>
                </a:lnTo>
                <a:lnTo>
                  <a:pt x="187" y="400"/>
                </a:lnTo>
                <a:lnTo>
                  <a:pt x="184" y="397"/>
                </a:lnTo>
                <a:lnTo>
                  <a:pt x="182" y="393"/>
                </a:lnTo>
                <a:lnTo>
                  <a:pt x="181" y="391"/>
                </a:lnTo>
                <a:lnTo>
                  <a:pt x="183" y="386"/>
                </a:lnTo>
                <a:lnTo>
                  <a:pt x="184" y="382"/>
                </a:lnTo>
                <a:lnTo>
                  <a:pt x="186" y="381"/>
                </a:lnTo>
                <a:lnTo>
                  <a:pt x="188" y="380"/>
                </a:lnTo>
                <a:lnTo>
                  <a:pt x="189" y="378"/>
                </a:lnTo>
                <a:lnTo>
                  <a:pt x="190" y="377"/>
                </a:lnTo>
                <a:lnTo>
                  <a:pt x="194" y="381"/>
                </a:lnTo>
                <a:lnTo>
                  <a:pt x="195" y="383"/>
                </a:lnTo>
                <a:lnTo>
                  <a:pt x="197" y="382"/>
                </a:lnTo>
                <a:lnTo>
                  <a:pt x="200" y="381"/>
                </a:lnTo>
                <a:lnTo>
                  <a:pt x="200" y="379"/>
                </a:lnTo>
                <a:lnTo>
                  <a:pt x="204" y="376"/>
                </a:lnTo>
                <a:lnTo>
                  <a:pt x="208" y="376"/>
                </a:lnTo>
                <a:lnTo>
                  <a:pt x="209" y="377"/>
                </a:lnTo>
                <a:lnTo>
                  <a:pt x="211" y="379"/>
                </a:lnTo>
                <a:lnTo>
                  <a:pt x="212" y="380"/>
                </a:lnTo>
                <a:lnTo>
                  <a:pt x="214" y="380"/>
                </a:lnTo>
                <a:lnTo>
                  <a:pt x="220" y="384"/>
                </a:lnTo>
                <a:lnTo>
                  <a:pt x="221" y="385"/>
                </a:lnTo>
                <a:lnTo>
                  <a:pt x="223" y="385"/>
                </a:lnTo>
                <a:lnTo>
                  <a:pt x="228" y="383"/>
                </a:lnTo>
                <a:lnTo>
                  <a:pt x="231" y="382"/>
                </a:lnTo>
                <a:lnTo>
                  <a:pt x="239" y="383"/>
                </a:lnTo>
                <a:lnTo>
                  <a:pt x="243" y="382"/>
                </a:lnTo>
                <a:lnTo>
                  <a:pt x="245" y="382"/>
                </a:lnTo>
                <a:lnTo>
                  <a:pt x="250" y="381"/>
                </a:lnTo>
                <a:lnTo>
                  <a:pt x="253" y="378"/>
                </a:lnTo>
                <a:lnTo>
                  <a:pt x="254" y="377"/>
                </a:lnTo>
                <a:lnTo>
                  <a:pt x="256" y="377"/>
                </a:lnTo>
                <a:lnTo>
                  <a:pt x="260" y="377"/>
                </a:lnTo>
                <a:lnTo>
                  <a:pt x="265" y="378"/>
                </a:lnTo>
                <a:lnTo>
                  <a:pt x="266" y="377"/>
                </a:lnTo>
                <a:lnTo>
                  <a:pt x="268" y="376"/>
                </a:lnTo>
                <a:lnTo>
                  <a:pt x="270" y="375"/>
                </a:lnTo>
                <a:lnTo>
                  <a:pt x="271" y="375"/>
                </a:lnTo>
                <a:lnTo>
                  <a:pt x="276" y="372"/>
                </a:lnTo>
                <a:lnTo>
                  <a:pt x="279" y="372"/>
                </a:lnTo>
                <a:lnTo>
                  <a:pt x="281" y="373"/>
                </a:lnTo>
                <a:lnTo>
                  <a:pt x="279" y="375"/>
                </a:lnTo>
                <a:close/>
                <a:moveTo>
                  <a:pt x="169" y="433"/>
                </a:moveTo>
                <a:lnTo>
                  <a:pt x="169" y="433"/>
                </a:lnTo>
                <a:lnTo>
                  <a:pt x="167" y="433"/>
                </a:lnTo>
                <a:lnTo>
                  <a:pt x="165" y="432"/>
                </a:lnTo>
                <a:lnTo>
                  <a:pt x="165" y="430"/>
                </a:lnTo>
                <a:lnTo>
                  <a:pt x="166" y="429"/>
                </a:lnTo>
                <a:lnTo>
                  <a:pt x="168" y="430"/>
                </a:lnTo>
                <a:lnTo>
                  <a:pt x="169" y="432"/>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1253" name="Luxembourg">
            <a:extLst>
              <a:ext uri="{FF2B5EF4-FFF2-40B4-BE49-F238E27FC236}">
                <a16:creationId xmlns:a16="http://schemas.microsoft.com/office/drawing/2014/main" id="{D944995B-379D-49D2-B17F-C3D1246E1E21}"/>
              </a:ext>
            </a:extLst>
          </p:cNvPr>
          <p:cNvSpPr>
            <a:spLocks/>
          </p:cNvSpPr>
          <p:nvPr/>
        </p:nvSpPr>
        <p:spPr bwMode="auto">
          <a:xfrm>
            <a:off x="5990334" y="3111070"/>
            <a:ext cx="22513" cy="31657"/>
          </a:xfrm>
          <a:custGeom>
            <a:avLst/>
            <a:gdLst>
              <a:gd name="T0" fmla="*/ 12 w 24"/>
              <a:gd name="T1" fmla="*/ 2 h 35"/>
              <a:gd name="T2" fmla="*/ 12 w 24"/>
              <a:gd name="T3" fmla="*/ 2 h 35"/>
              <a:gd name="T4" fmla="*/ 12 w 24"/>
              <a:gd name="T5" fmla="*/ 3 h 35"/>
              <a:gd name="T6" fmla="*/ 12 w 24"/>
              <a:gd name="T7" fmla="*/ 6 h 35"/>
              <a:gd name="T8" fmla="*/ 13 w 24"/>
              <a:gd name="T9" fmla="*/ 9 h 35"/>
              <a:gd name="T10" fmla="*/ 15 w 24"/>
              <a:gd name="T11" fmla="*/ 12 h 35"/>
              <a:gd name="T12" fmla="*/ 16 w 24"/>
              <a:gd name="T13" fmla="*/ 14 h 35"/>
              <a:gd name="T14" fmla="*/ 18 w 24"/>
              <a:gd name="T15" fmla="*/ 16 h 35"/>
              <a:gd name="T16" fmla="*/ 22 w 24"/>
              <a:gd name="T17" fmla="*/ 17 h 35"/>
              <a:gd name="T18" fmla="*/ 23 w 24"/>
              <a:gd name="T19" fmla="*/ 18 h 35"/>
              <a:gd name="T20" fmla="*/ 24 w 24"/>
              <a:gd name="T21" fmla="*/ 20 h 35"/>
              <a:gd name="T22" fmla="*/ 23 w 24"/>
              <a:gd name="T23" fmla="*/ 22 h 35"/>
              <a:gd name="T24" fmla="*/ 22 w 24"/>
              <a:gd name="T25" fmla="*/ 23 h 35"/>
              <a:gd name="T26" fmla="*/ 21 w 24"/>
              <a:gd name="T27" fmla="*/ 25 h 35"/>
              <a:gd name="T28" fmla="*/ 20 w 24"/>
              <a:gd name="T29" fmla="*/ 27 h 35"/>
              <a:gd name="T30" fmla="*/ 19 w 24"/>
              <a:gd name="T31" fmla="*/ 31 h 35"/>
              <a:gd name="T32" fmla="*/ 19 w 24"/>
              <a:gd name="T33" fmla="*/ 34 h 35"/>
              <a:gd name="T34" fmla="*/ 17 w 24"/>
              <a:gd name="T35" fmla="*/ 33 h 35"/>
              <a:gd name="T36" fmla="*/ 16 w 24"/>
              <a:gd name="T37" fmla="*/ 32 h 35"/>
              <a:gd name="T38" fmla="*/ 14 w 24"/>
              <a:gd name="T39" fmla="*/ 32 h 35"/>
              <a:gd name="T40" fmla="*/ 12 w 24"/>
              <a:gd name="T41" fmla="*/ 33 h 35"/>
              <a:gd name="T42" fmla="*/ 11 w 24"/>
              <a:gd name="T43" fmla="*/ 34 h 35"/>
              <a:gd name="T44" fmla="*/ 9 w 24"/>
              <a:gd name="T45" fmla="*/ 35 h 35"/>
              <a:gd name="T46" fmla="*/ 7 w 24"/>
              <a:gd name="T47" fmla="*/ 34 h 35"/>
              <a:gd name="T48" fmla="*/ 6 w 24"/>
              <a:gd name="T49" fmla="*/ 33 h 35"/>
              <a:gd name="T50" fmla="*/ 5 w 24"/>
              <a:gd name="T51" fmla="*/ 32 h 35"/>
              <a:gd name="T52" fmla="*/ 3 w 24"/>
              <a:gd name="T53" fmla="*/ 32 h 35"/>
              <a:gd name="T54" fmla="*/ 2 w 24"/>
              <a:gd name="T55" fmla="*/ 30 h 35"/>
              <a:gd name="T56" fmla="*/ 2 w 24"/>
              <a:gd name="T57" fmla="*/ 29 h 35"/>
              <a:gd name="T58" fmla="*/ 3 w 24"/>
              <a:gd name="T59" fmla="*/ 28 h 35"/>
              <a:gd name="T60" fmla="*/ 4 w 24"/>
              <a:gd name="T61" fmla="*/ 27 h 35"/>
              <a:gd name="T62" fmla="*/ 4 w 24"/>
              <a:gd name="T63" fmla="*/ 25 h 35"/>
              <a:gd name="T64" fmla="*/ 2 w 24"/>
              <a:gd name="T65" fmla="*/ 21 h 35"/>
              <a:gd name="T66" fmla="*/ 2 w 24"/>
              <a:gd name="T67" fmla="*/ 20 h 35"/>
              <a:gd name="T68" fmla="*/ 0 w 24"/>
              <a:gd name="T69" fmla="*/ 17 h 35"/>
              <a:gd name="T70" fmla="*/ 0 w 24"/>
              <a:gd name="T71" fmla="*/ 16 h 35"/>
              <a:gd name="T72" fmla="*/ 0 w 24"/>
              <a:gd name="T73" fmla="*/ 15 h 35"/>
              <a:gd name="T74" fmla="*/ 0 w 24"/>
              <a:gd name="T75" fmla="*/ 14 h 35"/>
              <a:gd name="T76" fmla="*/ 0 w 24"/>
              <a:gd name="T77" fmla="*/ 12 h 35"/>
              <a:gd name="T78" fmla="*/ 2 w 24"/>
              <a:gd name="T79" fmla="*/ 10 h 35"/>
              <a:gd name="T80" fmla="*/ 3 w 24"/>
              <a:gd name="T81" fmla="*/ 7 h 35"/>
              <a:gd name="T82" fmla="*/ 4 w 24"/>
              <a:gd name="T83" fmla="*/ 4 h 35"/>
              <a:gd name="T84" fmla="*/ 8 w 24"/>
              <a:gd name="T85" fmla="*/ 0 h 35"/>
              <a:gd name="T86" fmla="*/ 10 w 24"/>
              <a:gd name="T87" fmla="*/ 0 h 35"/>
              <a:gd name="T88" fmla="*/ 11 w 24"/>
              <a:gd name="T89" fmla="*/ 0 h 35"/>
              <a:gd name="T90" fmla="*/ 12 w 24"/>
              <a:gd name="T91" fmla="*/ 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 h="35">
                <a:moveTo>
                  <a:pt x="12" y="2"/>
                </a:moveTo>
                <a:lnTo>
                  <a:pt x="12" y="2"/>
                </a:lnTo>
                <a:lnTo>
                  <a:pt x="12" y="3"/>
                </a:lnTo>
                <a:lnTo>
                  <a:pt x="12" y="6"/>
                </a:lnTo>
                <a:lnTo>
                  <a:pt x="13" y="9"/>
                </a:lnTo>
                <a:lnTo>
                  <a:pt x="15" y="12"/>
                </a:lnTo>
                <a:lnTo>
                  <a:pt x="16" y="14"/>
                </a:lnTo>
                <a:lnTo>
                  <a:pt x="18" y="16"/>
                </a:lnTo>
                <a:lnTo>
                  <a:pt x="22" y="17"/>
                </a:lnTo>
                <a:lnTo>
                  <a:pt x="23" y="18"/>
                </a:lnTo>
                <a:lnTo>
                  <a:pt x="24" y="20"/>
                </a:lnTo>
                <a:lnTo>
                  <a:pt x="23" y="22"/>
                </a:lnTo>
                <a:lnTo>
                  <a:pt x="22" y="23"/>
                </a:lnTo>
                <a:lnTo>
                  <a:pt x="21" y="25"/>
                </a:lnTo>
                <a:lnTo>
                  <a:pt x="20" y="27"/>
                </a:lnTo>
                <a:lnTo>
                  <a:pt x="19" y="31"/>
                </a:lnTo>
                <a:lnTo>
                  <a:pt x="19" y="34"/>
                </a:lnTo>
                <a:lnTo>
                  <a:pt x="17" y="33"/>
                </a:lnTo>
                <a:lnTo>
                  <a:pt x="16" y="32"/>
                </a:lnTo>
                <a:lnTo>
                  <a:pt x="14" y="32"/>
                </a:lnTo>
                <a:lnTo>
                  <a:pt x="12" y="33"/>
                </a:lnTo>
                <a:lnTo>
                  <a:pt x="11" y="34"/>
                </a:lnTo>
                <a:lnTo>
                  <a:pt x="9" y="35"/>
                </a:lnTo>
                <a:lnTo>
                  <a:pt x="7" y="34"/>
                </a:lnTo>
                <a:lnTo>
                  <a:pt x="6" y="33"/>
                </a:lnTo>
                <a:lnTo>
                  <a:pt x="5" y="32"/>
                </a:lnTo>
                <a:lnTo>
                  <a:pt x="3" y="32"/>
                </a:lnTo>
                <a:lnTo>
                  <a:pt x="2" y="30"/>
                </a:lnTo>
                <a:lnTo>
                  <a:pt x="2" y="29"/>
                </a:lnTo>
                <a:lnTo>
                  <a:pt x="3" y="28"/>
                </a:lnTo>
                <a:lnTo>
                  <a:pt x="4" y="27"/>
                </a:lnTo>
                <a:lnTo>
                  <a:pt x="4" y="25"/>
                </a:lnTo>
                <a:lnTo>
                  <a:pt x="2" y="21"/>
                </a:lnTo>
                <a:lnTo>
                  <a:pt x="2" y="20"/>
                </a:lnTo>
                <a:lnTo>
                  <a:pt x="0" y="17"/>
                </a:lnTo>
                <a:lnTo>
                  <a:pt x="0" y="16"/>
                </a:lnTo>
                <a:lnTo>
                  <a:pt x="0" y="15"/>
                </a:lnTo>
                <a:lnTo>
                  <a:pt x="0" y="14"/>
                </a:lnTo>
                <a:lnTo>
                  <a:pt x="0" y="12"/>
                </a:lnTo>
                <a:lnTo>
                  <a:pt x="2" y="10"/>
                </a:lnTo>
                <a:lnTo>
                  <a:pt x="3" y="7"/>
                </a:lnTo>
                <a:lnTo>
                  <a:pt x="4" y="4"/>
                </a:lnTo>
                <a:lnTo>
                  <a:pt x="8" y="0"/>
                </a:lnTo>
                <a:lnTo>
                  <a:pt x="10" y="0"/>
                </a:lnTo>
                <a:lnTo>
                  <a:pt x="11" y="0"/>
                </a:lnTo>
                <a:lnTo>
                  <a:pt x="12" y="2"/>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1254" name="Monaco">
            <a:extLst>
              <a:ext uri="{FF2B5EF4-FFF2-40B4-BE49-F238E27FC236}">
                <a16:creationId xmlns:a16="http://schemas.microsoft.com/office/drawing/2014/main" id="{5E5A7D8A-5DDF-4067-BE29-36CA82AD454C}"/>
              </a:ext>
            </a:extLst>
          </p:cNvPr>
          <p:cNvSpPr>
            <a:spLocks/>
          </p:cNvSpPr>
          <p:nvPr/>
        </p:nvSpPr>
        <p:spPr bwMode="auto">
          <a:xfrm>
            <a:off x="6039860" y="3362341"/>
            <a:ext cx="2252" cy="0"/>
          </a:xfrm>
          <a:custGeom>
            <a:avLst/>
            <a:gdLst>
              <a:gd name="T0" fmla="*/ 2 w 2"/>
              <a:gd name="T1" fmla="*/ 1 h 1"/>
              <a:gd name="T2" fmla="*/ 2 w 2"/>
              <a:gd name="T3" fmla="*/ 1 h 1"/>
              <a:gd name="T4" fmla="*/ 0 w 2"/>
              <a:gd name="T5" fmla="*/ 1 h 1"/>
              <a:gd name="T6" fmla="*/ 0 w 2"/>
              <a:gd name="T7" fmla="*/ 0 h 1"/>
              <a:gd name="T8" fmla="*/ 1 w 2"/>
              <a:gd name="T9" fmla="*/ 0 h 1"/>
              <a:gd name="T10" fmla="*/ 1 w 2"/>
              <a:gd name="T11" fmla="*/ 0 h 1"/>
              <a:gd name="T12" fmla="*/ 2 w 2"/>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2" y="1"/>
                </a:moveTo>
                <a:lnTo>
                  <a:pt x="2" y="1"/>
                </a:lnTo>
                <a:lnTo>
                  <a:pt x="0" y="1"/>
                </a:lnTo>
                <a:lnTo>
                  <a:pt x="0" y="0"/>
                </a:lnTo>
                <a:lnTo>
                  <a:pt x="1" y="0"/>
                </a:lnTo>
                <a:lnTo>
                  <a:pt x="1" y="0"/>
                </a:lnTo>
                <a:lnTo>
                  <a:pt x="2" y="0"/>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1255" name="Spain">
            <a:extLst>
              <a:ext uri="{FF2B5EF4-FFF2-40B4-BE49-F238E27FC236}">
                <a16:creationId xmlns:a16="http://schemas.microsoft.com/office/drawing/2014/main" id="{C3DED12F-300B-474A-88DF-6ACAFBB146BE}"/>
              </a:ext>
            </a:extLst>
          </p:cNvPr>
          <p:cNvSpPr>
            <a:spLocks noEditPoints="1"/>
          </p:cNvSpPr>
          <p:nvPr/>
        </p:nvSpPr>
        <p:spPr bwMode="auto">
          <a:xfrm>
            <a:off x="5265434" y="3362341"/>
            <a:ext cx="682126" cy="530241"/>
          </a:xfrm>
          <a:custGeom>
            <a:avLst/>
            <a:gdLst>
              <a:gd name="T0" fmla="*/ 522 w 701"/>
              <a:gd name="T1" fmla="*/ 22 h 620"/>
              <a:gd name="T2" fmla="*/ 524 w 701"/>
              <a:gd name="T3" fmla="*/ 30 h 620"/>
              <a:gd name="T4" fmla="*/ 543 w 701"/>
              <a:gd name="T5" fmla="*/ 36 h 620"/>
              <a:gd name="T6" fmla="*/ 562 w 701"/>
              <a:gd name="T7" fmla="*/ 43 h 620"/>
              <a:gd name="T8" fmla="*/ 586 w 701"/>
              <a:gd name="T9" fmla="*/ 45 h 620"/>
              <a:gd name="T10" fmla="*/ 608 w 701"/>
              <a:gd name="T11" fmla="*/ 46 h 620"/>
              <a:gd name="T12" fmla="*/ 616 w 701"/>
              <a:gd name="T13" fmla="*/ 56 h 620"/>
              <a:gd name="T14" fmla="*/ 635 w 701"/>
              <a:gd name="T15" fmla="*/ 57 h 620"/>
              <a:gd name="T16" fmla="*/ 656 w 701"/>
              <a:gd name="T17" fmla="*/ 56 h 620"/>
              <a:gd name="T18" fmla="*/ 665 w 701"/>
              <a:gd name="T19" fmla="*/ 64 h 620"/>
              <a:gd name="T20" fmla="*/ 633 w 701"/>
              <a:gd name="T21" fmla="*/ 103 h 620"/>
              <a:gd name="T22" fmla="*/ 593 w 701"/>
              <a:gd name="T23" fmla="*/ 129 h 620"/>
              <a:gd name="T24" fmla="*/ 556 w 701"/>
              <a:gd name="T25" fmla="*/ 177 h 620"/>
              <a:gd name="T26" fmla="*/ 554 w 701"/>
              <a:gd name="T27" fmla="*/ 220 h 620"/>
              <a:gd name="T28" fmla="*/ 544 w 701"/>
              <a:gd name="T29" fmla="*/ 252 h 620"/>
              <a:gd name="T30" fmla="*/ 498 w 701"/>
              <a:gd name="T31" fmla="*/ 286 h 620"/>
              <a:gd name="T32" fmla="*/ 459 w 701"/>
              <a:gd name="T33" fmla="*/ 288 h 620"/>
              <a:gd name="T34" fmla="*/ 403 w 701"/>
              <a:gd name="T35" fmla="*/ 300 h 620"/>
              <a:gd name="T36" fmla="*/ 385 w 701"/>
              <a:gd name="T37" fmla="*/ 311 h 620"/>
              <a:gd name="T38" fmla="*/ 366 w 701"/>
              <a:gd name="T39" fmla="*/ 287 h 620"/>
              <a:gd name="T40" fmla="*/ 352 w 701"/>
              <a:gd name="T41" fmla="*/ 265 h 620"/>
              <a:gd name="T42" fmla="*/ 336 w 701"/>
              <a:gd name="T43" fmla="*/ 245 h 620"/>
              <a:gd name="T44" fmla="*/ 337 w 701"/>
              <a:gd name="T45" fmla="*/ 219 h 620"/>
              <a:gd name="T46" fmla="*/ 348 w 701"/>
              <a:gd name="T47" fmla="*/ 195 h 620"/>
              <a:gd name="T48" fmla="*/ 334 w 701"/>
              <a:gd name="T49" fmla="*/ 170 h 620"/>
              <a:gd name="T50" fmla="*/ 347 w 701"/>
              <a:gd name="T51" fmla="*/ 150 h 620"/>
              <a:gd name="T52" fmla="*/ 353 w 701"/>
              <a:gd name="T53" fmla="*/ 132 h 620"/>
              <a:gd name="T54" fmla="*/ 361 w 701"/>
              <a:gd name="T55" fmla="*/ 104 h 620"/>
              <a:gd name="T56" fmla="*/ 364 w 701"/>
              <a:gd name="T57" fmla="*/ 89 h 620"/>
              <a:gd name="T58" fmla="*/ 353 w 701"/>
              <a:gd name="T59" fmla="*/ 76 h 620"/>
              <a:gd name="T60" fmla="*/ 340 w 701"/>
              <a:gd name="T61" fmla="*/ 81 h 620"/>
              <a:gd name="T62" fmla="*/ 314 w 701"/>
              <a:gd name="T63" fmla="*/ 83 h 620"/>
              <a:gd name="T64" fmla="*/ 310 w 701"/>
              <a:gd name="T65" fmla="*/ 70 h 620"/>
              <a:gd name="T66" fmla="*/ 289 w 701"/>
              <a:gd name="T67" fmla="*/ 77 h 620"/>
              <a:gd name="T68" fmla="*/ 293 w 701"/>
              <a:gd name="T69" fmla="*/ 57 h 620"/>
              <a:gd name="T70" fmla="*/ 288 w 701"/>
              <a:gd name="T71" fmla="*/ 41 h 620"/>
              <a:gd name="T72" fmla="*/ 290 w 701"/>
              <a:gd name="T73" fmla="*/ 19 h 620"/>
              <a:gd name="T74" fmla="*/ 312 w 701"/>
              <a:gd name="T75" fmla="*/ 6 h 620"/>
              <a:gd name="T76" fmla="*/ 351 w 701"/>
              <a:gd name="T77" fmla="*/ 8 h 620"/>
              <a:gd name="T78" fmla="*/ 425 w 701"/>
              <a:gd name="T79" fmla="*/ 15 h 620"/>
              <a:gd name="T80" fmla="*/ 474 w 701"/>
              <a:gd name="T81" fmla="*/ 14 h 620"/>
              <a:gd name="T82" fmla="*/ 700 w 701"/>
              <a:gd name="T83" fmla="*/ 164 h 620"/>
              <a:gd name="T84" fmla="*/ 701 w 701"/>
              <a:gd name="T85" fmla="*/ 160 h 620"/>
              <a:gd name="T86" fmla="*/ 674 w 701"/>
              <a:gd name="T87" fmla="*/ 169 h 620"/>
              <a:gd name="T88" fmla="*/ 653 w 701"/>
              <a:gd name="T89" fmla="*/ 181 h 620"/>
              <a:gd name="T90" fmla="*/ 640 w 701"/>
              <a:gd name="T91" fmla="*/ 173 h 620"/>
              <a:gd name="T92" fmla="*/ 665 w 701"/>
              <a:gd name="T93" fmla="*/ 164 h 620"/>
              <a:gd name="T94" fmla="*/ 607 w 701"/>
              <a:gd name="T95" fmla="*/ 196 h 620"/>
              <a:gd name="T96" fmla="*/ 615 w 701"/>
              <a:gd name="T97" fmla="*/ 211 h 620"/>
              <a:gd name="T98" fmla="*/ 138 w 701"/>
              <a:gd name="T99" fmla="*/ 576 h 620"/>
              <a:gd name="T100" fmla="*/ 146 w 701"/>
              <a:gd name="T101" fmla="*/ 564 h 620"/>
              <a:gd name="T102" fmla="*/ 9 w 701"/>
              <a:gd name="T103" fmla="*/ 588 h 620"/>
              <a:gd name="T104" fmla="*/ 10 w 701"/>
              <a:gd name="T105" fmla="*/ 591 h 620"/>
              <a:gd name="T106" fmla="*/ 129 w 701"/>
              <a:gd name="T107" fmla="*/ 586 h 620"/>
              <a:gd name="T108" fmla="*/ 123 w 701"/>
              <a:gd name="T109" fmla="*/ 602 h 620"/>
              <a:gd name="T110" fmla="*/ 39 w 701"/>
              <a:gd name="T111" fmla="*/ 596 h 620"/>
              <a:gd name="T112" fmla="*/ 30 w 701"/>
              <a:gd name="T113" fmla="*/ 607 h 620"/>
              <a:gd name="T114" fmla="*/ 33 w 701"/>
              <a:gd name="T115" fmla="*/ 604 h 620"/>
              <a:gd name="T116" fmla="*/ 81 w 701"/>
              <a:gd name="T117" fmla="*/ 617 h 620"/>
              <a:gd name="T118" fmla="*/ 85 w 701"/>
              <a:gd name="T119" fmla="*/ 602 h 620"/>
              <a:gd name="T120" fmla="*/ 7 w 701"/>
              <a:gd name="T121" fmla="*/ 613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01" h="620">
                <a:moveTo>
                  <a:pt x="510" y="15"/>
                </a:moveTo>
                <a:lnTo>
                  <a:pt x="510" y="15"/>
                </a:lnTo>
                <a:lnTo>
                  <a:pt x="510" y="17"/>
                </a:lnTo>
                <a:lnTo>
                  <a:pt x="511" y="19"/>
                </a:lnTo>
                <a:lnTo>
                  <a:pt x="513" y="20"/>
                </a:lnTo>
                <a:lnTo>
                  <a:pt x="515" y="21"/>
                </a:lnTo>
                <a:lnTo>
                  <a:pt x="517" y="21"/>
                </a:lnTo>
                <a:lnTo>
                  <a:pt x="520" y="21"/>
                </a:lnTo>
                <a:lnTo>
                  <a:pt x="522" y="22"/>
                </a:lnTo>
                <a:lnTo>
                  <a:pt x="522" y="24"/>
                </a:lnTo>
                <a:lnTo>
                  <a:pt x="522" y="26"/>
                </a:lnTo>
                <a:lnTo>
                  <a:pt x="521" y="28"/>
                </a:lnTo>
                <a:lnTo>
                  <a:pt x="520" y="30"/>
                </a:lnTo>
                <a:lnTo>
                  <a:pt x="521" y="30"/>
                </a:lnTo>
                <a:lnTo>
                  <a:pt x="522" y="31"/>
                </a:lnTo>
                <a:lnTo>
                  <a:pt x="523" y="31"/>
                </a:lnTo>
                <a:lnTo>
                  <a:pt x="523" y="31"/>
                </a:lnTo>
                <a:lnTo>
                  <a:pt x="524" y="30"/>
                </a:lnTo>
                <a:lnTo>
                  <a:pt x="525" y="29"/>
                </a:lnTo>
                <a:lnTo>
                  <a:pt x="526" y="28"/>
                </a:lnTo>
                <a:lnTo>
                  <a:pt x="526" y="29"/>
                </a:lnTo>
                <a:lnTo>
                  <a:pt x="526" y="30"/>
                </a:lnTo>
                <a:lnTo>
                  <a:pt x="529" y="32"/>
                </a:lnTo>
                <a:lnTo>
                  <a:pt x="537" y="35"/>
                </a:lnTo>
                <a:lnTo>
                  <a:pt x="540" y="35"/>
                </a:lnTo>
                <a:lnTo>
                  <a:pt x="542" y="35"/>
                </a:lnTo>
                <a:lnTo>
                  <a:pt x="543" y="36"/>
                </a:lnTo>
                <a:lnTo>
                  <a:pt x="548" y="41"/>
                </a:lnTo>
                <a:lnTo>
                  <a:pt x="549" y="41"/>
                </a:lnTo>
                <a:lnTo>
                  <a:pt x="551" y="41"/>
                </a:lnTo>
                <a:lnTo>
                  <a:pt x="554" y="41"/>
                </a:lnTo>
                <a:lnTo>
                  <a:pt x="556" y="40"/>
                </a:lnTo>
                <a:lnTo>
                  <a:pt x="557" y="40"/>
                </a:lnTo>
                <a:lnTo>
                  <a:pt x="558" y="41"/>
                </a:lnTo>
                <a:lnTo>
                  <a:pt x="560" y="42"/>
                </a:lnTo>
                <a:lnTo>
                  <a:pt x="562" y="43"/>
                </a:lnTo>
                <a:lnTo>
                  <a:pt x="564" y="45"/>
                </a:lnTo>
                <a:lnTo>
                  <a:pt x="565" y="46"/>
                </a:lnTo>
                <a:lnTo>
                  <a:pt x="572" y="45"/>
                </a:lnTo>
                <a:lnTo>
                  <a:pt x="574" y="46"/>
                </a:lnTo>
                <a:lnTo>
                  <a:pt x="576" y="46"/>
                </a:lnTo>
                <a:lnTo>
                  <a:pt x="578" y="45"/>
                </a:lnTo>
                <a:lnTo>
                  <a:pt x="582" y="46"/>
                </a:lnTo>
                <a:lnTo>
                  <a:pt x="586" y="46"/>
                </a:lnTo>
                <a:lnTo>
                  <a:pt x="586" y="45"/>
                </a:lnTo>
                <a:lnTo>
                  <a:pt x="586" y="41"/>
                </a:lnTo>
                <a:lnTo>
                  <a:pt x="587" y="40"/>
                </a:lnTo>
                <a:lnTo>
                  <a:pt x="588" y="39"/>
                </a:lnTo>
                <a:lnTo>
                  <a:pt x="590" y="40"/>
                </a:lnTo>
                <a:lnTo>
                  <a:pt x="598" y="42"/>
                </a:lnTo>
                <a:lnTo>
                  <a:pt x="601" y="44"/>
                </a:lnTo>
                <a:lnTo>
                  <a:pt x="604" y="45"/>
                </a:lnTo>
                <a:lnTo>
                  <a:pt x="606" y="45"/>
                </a:lnTo>
                <a:lnTo>
                  <a:pt x="608" y="46"/>
                </a:lnTo>
                <a:lnTo>
                  <a:pt x="611" y="50"/>
                </a:lnTo>
                <a:lnTo>
                  <a:pt x="610" y="52"/>
                </a:lnTo>
                <a:lnTo>
                  <a:pt x="610" y="52"/>
                </a:lnTo>
                <a:lnTo>
                  <a:pt x="611" y="54"/>
                </a:lnTo>
                <a:lnTo>
                  <a:pt x="611" y="55"/>
                </a:lnTo>
                <a:lnTo>
                  <a:pt x="611" y="56"/>
                </a:lnTo>
                <a:lnTo>
                  <a:pt x="612" y="57"/>
                </a:lnTo>
                <a:lnTo>
                  <a:pt x="614" y="56"/>
                </a:lnTo>
                <a:lnTo>
                  <a:pt x="616" y="56"/>
                </a:lnTo>
                <a:lnTo>
                  <a:pt x="618" y="54"/>
                </a:lnTo>
                <a:lnTo>
                  <a:pt x="619" y="54"/>
                </a:lnTo>
                <a:lnTo>
                  <a:pt x="624" y="56"/>
                </a:lnTo>
                <a:lnTo>
                  <a:pt x="626" y="57"/>
                </a:lnTo>
                <a:lnTo>
                  <a:pt x="627" y="58"/>
                </a:lnTo>
                <a:lnTo>
                  <a:pt x="628" y="60"/>
                </a:lnTo>
                <a:lnTo>
                  <a:pt x="630" y="60"/>
                </a:lnTo>
                <a:lnTo>
                  <a:pt x="632" y="59"/>
                </a:lnTo>
                <a:lnTo>
                  <a:pt x="635" y="57"/>
                </a:lnTo>
                <a:lnTo>
                  <a:pt x="640" y="58"/>
                </a:lnTo>
                <a:lnTo>
                  <a:pt x="646" y="60"/>
                </a:lnTo>
                <a:lnTo>
                  <a:pt x="649" y="61"/>
                </a:lnTo>
                <a:lnTo>
                  <a:pt x="649" y="60"/>
                </a:lnTo>
                <a:lnTo>
                  <a:pt x="649" y="58"/>
                </a:lnTo>
                <a:lnTo>
                  <a:pt x="650" y="58"/>
                </a:lnTo>
                <a:lnTo>
                  <a:pt x="652" y="57"/>
                </a:lnTo>
                <a:lnTo>
                  <a:pt x="654" y="57"/>
                </a:lnTo>
                <a:lnTo>
                  <a:pt x="656" y="56"/>
                </a:lnTo>
                <a:lnTo>
                  <a:pt x="659" y="55"/>
                </a:lnTo>
                <a:lnTo>
                  <a:pt x="661" y="56"/>
                </a:lnTo>
                <a:lnTo>
                  <a:pt x="664" y="57"/>
                </a:lnTo>
                <a:lnTo>
                  <a:pt x="666" y="57"/>
                </a:lnTo>
                <a:lnTo>
                  <a:pt x="667" y="59"/>
                </a:lnTo>
                <a:lnTo>
                  <a:pt x="669" y="60"/>
                </a:lnTo>
                <a:lnTo>
                  <a:pt x="669" y="63"/>
                </a:lnTo>
                <a:lnTo>
                  <a:pt x="666" y="64"/>
                </a:lnTo>
                <a:lnTo>
                  <a:pt x="665" y="64"/>
                </a:lnTo>
                <a:lnTo>
                  <a:pt x="664" y="68"/>
                </a:lnTo>
                <a:lnTo>
                  <a:pt x="665" y="69"/>
                </a:lnTo>
                <a:lnTo>
                  <a:pt x="667" y="70"/>
                </a:lnTo>
                <a:lnTo>
                  <a:pt x="667" y="71"/>
                </a:lnTo>
                <a:lnTo>
                  <a:pt x="667" y="77"/>
                </a:lnTo>
                <a:lnTo>
                  <a:pt x="664" y="81"/>
                </a:lnTo>
                <a:lnTo>
                  <a:pt x="660" y="85"/>
                </a:lnTo>
                <a:lnTo>
                  <a:pt x="638" y="97"/>
                </a:lnTo>
                <a:lnTo>
                  <a:pt x="633" y="103"/>
                </a:lnTo>
                <a:lnTo>
                  <a:pt x="631" y="104"/>
                </a:lnTo>
                <a:lnTo>
                  <a:pt x="615" y="108"/>
                </a:lnTo>
                <a:lnTo>
                  <a:pt x="604" y="112"/>
                </a:lnTo>
                <a:lnTo>
                  <a:pt x="598" y="114"/>
                </a:lnTo>
                <a:lnTo>
                  <a:pt x="592" y="121"/>
                </a:lnTo>
                <a:lnTo>
                  <a:pt x="588" y="124"/>
                </a:lnTo>
                <a:lnTo>
                  <a:pt x="591" y="124"/>
                </a:lnTo>
                <a:lnTo>
                  <a:pt x="594" y="128"/>
                </a:lnTo>
                <a:lnTo>
                  <a:pt x="593" y="129"/>
                </a:lnTo>
                <a:lnTo>
                  <a:pt x="589" y="131"/>
                </a:lnTo>
                <a:lnTo>
                  <a:pt x="587" y="132"/>
                </a:lnTo>
                <a:lnTo>
                  <a:pt x="586" y="132"/>
                </a:lnTo>
                <a:lnTo>
                  <a:pt x="585" y="132"/>
                </a:lnTo>
                <a:lnTo>
                  <a:pt x="577" y="144"/>
                </a:lnTo>
                <a:lnTo>
                  <a:pt x="571" y="153"/>
                </a:lnTo>
                <a:lnTo>
                  <a:pt x="568" y="157"/>
                </a:lnTo>
                <a:lnTo>
                  <a:pt x="564" y="162"/>
                </a:lnTo>
                <a:lnTo>
                  <a:pt x="556" y="177"/>
                </a:lnTo>
                <a:lnTo>
                  <a:pt x="556" y="181"/>
                </a:lnTo>
                <a:lnTo>
                  <a:pt x="560" y="195"/>
                </a:lnTo>
                <a:lnTo>
                  <a:pt x="562" y="199"/>
                </a:lnTo>
                <a:lnTo>
                  <a:pt x="565" y="202"/>
                </a:lnTo>
                <a:lnTo>
                  <a:pt x="571" y="204"/>
                </a:lnTo>
                <a:lnTo>
                  <a:pt x="572" y="207"/>
                </a:lnTo>
                <a:lnTo>
                  <a:pt x="570" y="210"/>
                </a:lnTo>
                <a:lnTo>
                  <a:pt x="565" y="214"/>
                </a:lnTo>
                <a:lnTo>
                  <a:pt x="554" y="220"/>
                </a:lnTo>
                <a:lnTo>
                  <a:pt x="550" y="225"/>
                </a:lnTo>
                <a:lnTo>
                  <a:pt x="549" y="229"/>
                </a:lnTo>
                <a:lnTo>
                  <a:pt x="546" y="231"/>
                </a:lnTo>
                <a:lnTo>
                  <a:pt x="545" y="237"/>
                </a:lnTo>
                <a:lnTo>
                  <a:pt x="543" y="242"/>
                </a:lnTo>
                <a:lnTo>
                  <a:pt x="543" y="243"/>
                </a:lnTo>
                <a:lnTo>
                  <a:pt x="541" y="246"/>
                </a:lnTo>
                <a:lnTo>
                  <a:pt x="540" y="248"/>
                </a:lnTo>
                <a:lnTo>
                  <a:pt x="544" y="252"/>
                </a:lnTo>
                <a:lnTo>
                  <a:pt x="542" y="253"/>
                </a:lnTo>
                <a:lnTo>
                  <a:pt x="541" y="254"/>
                </a:lnTo>
                <a:lnTo>
                  <a:pt x="537" y="254"/>
                </a:lnTo>
                <a:lnTo>
                  <a:pt x="525" y="254"/>
                </a:lnTo>
                <a:lnTo>
                  <a:pt x="515" y="261"/>
                </a:lnTo>
                <a:lnTo>
                  <a:pt x="510" y="267"/>
                </a:lnTo>
                <a:lnTo>
                  <a:pt x="506" y="278"/>
                </a:lnTo>
                <a:lnTo>
                  <a:pt x="500" y="285"/>
                </a:lnTo>
                <a:lnTo>
                  <a:pt x="498" y="286"/>
                </a:lnTo>
                <a:lnTo>
                  <a:pt x="494" y="283"/>
                </a:lnTo>
                <a:lnTo>
                  <a:pt x="490" y="283"/>
                </a:lnTo>
                <a:lnTo>
                  <a:pt x="485" y="284"/>
                </a:lnTo>
                <a:lnTo>
                  <a:pt x="483" y="286"/>
                </a:lnTo>
                <a:lnTo>
                  <a:pt x="479" y="287"/>
                </a:lnTo>
                <a:lnTo>
                  <a:pt x="476" y="286"/>
                </a:lnTo>
                <a:lnTo>
                  <a:pt x="468" y="286"/>
                </a:lnTo>
                <a:lnTo>
                  <a:pt x="465" y="286"/>
                </a:lnTo>
                <a:lnTo>
                  <a:pt x="459" y="288"/>
                </a:lnTo>
                <a:lnTo>
                  <a:pt x="455" y="286"/>
                </a:lnTo>
                <a:lnTo>
                  <a:pt x="447" y="286"/>
                </a:lnTo>
                <a:lnTo>
                  <a:pt x="430" y="287"/>
                </a:lnTo>
                <a:lnTo>
                  <a:pt x="428" y="288"/>
                </a:lnTo>
                <a:lnTo>
                  <a:pt x="426" y="291"/>
                </a:lnTo>
                <a:lnTo>
                  <a:pt x="420" y="295"/>
                </a:lnTo>
                <a:lnTo>
                  <a:pt x="412" y="296"/>
                </a:lnTo>
                <a:lnTo>
                  <a:pt x="405" y="299"/>
                </a:lnTo>
                <a:lnTo>
                  <a:pt x="403" y="300"/>
                </a:lnTo>
                <a:lnTo>
                  <a:pt x="400" y="306"/>
                </a:lnTo>
                <a:lnTo>
                  <a:pt x="399" y="310"/>
                </a:lnTo>
                <a:lnTo>
                  <a:pt x="398" y="310"/>
                </a:lnTo>
                <a:lnTo>
                  <a:pt x="398" y="309"/>
                </a:lnTo>
                <a:lnTo>
                  <a:pt x="396" y="309"/>
                </a:lnTo>
                <a:lnTo>
                  <a:pt x="396" y="312"/>
                </a:lnTo>
                <a:lnTo>
                  <a:pt x="393" y="313"/>
                </a:lnTo>
                <a:lnTo>
                  <a:pt x="391" y="314"/>
                </a:lnTo>
                <a:lnTo>
                  <a:pt x="385" y="311"/>
                </a:lnTo>
                <a:lnTo>
                  <a:pt x="380" y="308"/>
                </a:lnTo>
                <a:lnTo>
                  <a:pt x="378" y="308"/>
                </a:lnTo>
                <a:lnTo>
                  <a:pt x="374" y="302"/>
                </a:lnTo>
                <a:lnTo>
                  <a:pt x="372" y="298"/>
                </a:lnTo>
                <a:lnTo>
                  <a:pt x="371" y="295"/>
                </a:lnTo>
                <a:lnTo>
                  <a:pt x="371" y="293"/>
                </a:lnTo>
                <a:lnTo>
                  <a:pt x="371" y="292"/>
                </a:lnTo>
                <a:lnTo>
                  <a:pt x="367" y="290"/>
                </a:lnTo>
                <a:lnTo>
                  <a:pt x="366" y="287"/>
                </a:lnTo>
                <a:lnTo>
                  <a:pt x="369" y="282"/>
                </a:lnTo>
                <a:lnTo>
                  <a:pt x="371" y="280"/>
                </a:lnTo>
                <a:lnTo>
                  <a:pt x="372" y="280"/>
                </a:lnTo>
                <a:lnTo>
                  <a:pt x="369" y="280"/>
                </a:lnTo>
                <a:lnTo>
                  <a:pt x="367" y="283"/>
                </a:lnTo>
                <a:lnTo>
                  <a:pt x="364" y="278"/>
                </a:lnTo>
                <a:lnTo>
                  <a:pt x="352" y="269"/>
                </a:lnTo>
                <a:lnTo>
                  <a:pt x="352" y="267"/>
                </a:lnTo>
                <a:lnTo>
                  <a:pt x="352" y="265"/>
                </a:lnTo>
                <a:lnTo>
                  <a:pt x="350" y="268"/>
                </a:lnTo>
                <a:lnTo>
                  <a:pt x="349" y="269"/>
                </a:lnTo>
                <a:lnTo>
                  <a:pt x="342" y="268"/>
                </a:lnTo>
                <a:lnTo>
                  <a:pt x="335" y="269"/>
                </a:lnTo>
                <a:lnTo>
                  <a:pt x="333" y="260"/>
                </a:lnTo>
                <a:lnTo>
                  <a:pt x="332" y="256"/>
                </a:lnTo>
                <a:lnTo>
                  <a:pt x="332" y="253"/>
                </a:lnTo>
                <a:lnTo>
                  <a:pt x="334" y="248"/>
                </a:lnTo>
                <a:lnTo>
                  <a:pt x="336" y="245"/>
                </a:lnTo>
                <a:lnTo>
                  <a:pt x="339" y="241"/>
                </a:lnTo>
                <a:lnTo>
                  <a:pt x="342" y="237"/>
                </a:lnTo>
                <a:lnTo>
                  <a:pt x="346" y="236"/>
                </a:lnTo>
                <a:lnTo>
                  <a:pt x="347" y="235"/>
                </a:lnTo>
                <a:lnTo>
                  <a:pt x="349" y="232"/>
                </a:lnTo>
                <a:lnTo>
                  <a:pt x="349" y="230"/>
                </a:lnTo>
                <a:lnTo>
                  <a:pt x="349" y="229"/>
                </a:lnTo>
                <a:lnTo>
                  <a:pt x="345" y="230"/>
                </a:lnTo>
                <a:lnTo>
                  <a:pt x="337" y="219"/>
                </a:lnTo>
                <a:lnTo>
                  <a:pt x="337" y="217"/>
                </a:lnTo>
                <a:lnTo>
                  <a:pt x="338" y="215"/>
                </a:lnTo>
                <a:lnTo>
                  <a:pt x="339" y="211"/>
                </a:lnTo>
                <a:lnTo>
                  <a:pt x="339" y="209"/>
                </a:lnTo>
                <a:lnTo>
                  <a:pt x="341" y="207"/>
                </a:lnTo>
                <a:lnTo>
                  <a:pt x="344" y="204"/>
                </a:lnTo>
                <a:lnTo>
                  <a:pt x="347" y="201"/>
                </a:lnTo>
                <a:lnTo>
                  <a:pt x="348" y="198"/>
                </a:lnTo>
                <a:lnTo>
                  <a:pt x="348" y="195"/>
                </a:lnTo>
                <a:lnTo>
                  <a:pt x="347" y="193"/>
                </a:lnTo>
                <a:lnTo>
                  <a:pt x="343" y="192"/>
                </a:lnTo>
                <a:lnTo>
                  <a:pt x="338" y="184"/>
                </a:lnTo>
                <a:lnTo>
                  <a:pt x="337" y="179"/>
                </a:lnTo>
                <a:lnTo>
                  <a:pt x="337" y="178"/>
                </a:lnTo>
                <a:lnTo>
                  <a:pt x="334" y="176"/>
                </a:lnTo>
                <a:lnTo>
                  <a:pt x="332" y="172"/>
                </a:lnTo>
                <a:lnTo>
                  <a:pt x="331" y="171"/>
                </a:lnTo>
                <a:lnTo>
                  <a:pt x="334" y="170"/>
                </a:lnTo>
                <a:lnTo>
                  <a:pt x="344" y="170"/>
                </a:lnTo>
                <a:lnTo>
                  <a:pt x="346" y="169"/>
                </a:lnTo>
                <a:lnTo>
                  <a:pt x="347" y="169"/>
                </a:lnTo>
                <a:lnTo>
                  <a:pt x="349" y="165"/>
                </a:lnTo>
                <a:lnTo>
                  <a:pt x="351" y="160"/>
                </a:lnTo>
                <a:lnTo>
                  <a:pt x="351" y="156"/>
                </a:lnTo>
                <a:lnTo>
                  <a:pt x="351" y="155"/>
                </a:lnTo>
                <a:lnTo>
                  <a:pt x="347" y="151"/>
                </a:lnTo>
                <a:lnTo>
                  <a:pt x="347" y="150"/>
                </a:lnTo>
                <a:lnTo>
                  <a:pt x="347" y="149"/>
                </a:lnTo>
                <a:lnTo>
                  <a:pt x="350" y="147"/>
                </a:lnTo>
                <a:lnTo>
                  <a:pt x="352" y="145"/>
                </a:lnTo>
                <a:lnTo>
                  <a:pt x="354" y="143"/>
                </a:lnTo>
                <a:lnTo>
                  <a:pt x="353" y="142"/>
                </a:lnTo>
                <a:lnTo>
                  <a:pt x="353" y="140"/>
                </a:lnTo>
                <a:lnTo>
                  <a:pt x="353" y="139"/>
                </a:lnTo>
                <a:lnTo>
                  <a:pt x="353" y="138"/>
                </a:lnTo>
                <a:lnTo>
                  <a:pt x="353" y="132"/>
                </a:lnTo>
                <a:lnTo>
                  <a:pt x="354" y="131"/>
                </a:lnTo>
                <a:lnTo>
                  <a:pt x="353" y="126"/>
                </a:lnTo>
                <a:lnTo>
                  <a:pt x="352" y="121"/>
                </a:lnTo>
                <a:lnTo>
                  <a:pt x="350" y="116"/>
                </a:lnTo>
                <a:lnTo>
                  <a:pt x="351" y="115"/>
                </a:lnTo>
                <a:lnTo>
                  <a:pt x="352" y="114"/>
                </a:lnTo>
                <a:lnTo>
                  <a:pt x="355" y="112"/>
                </a:lnTo>
                <a:lnTo>
                  <a:pt x="358" y="108"/>
                </a:lnTo>
                <a:lnTo>
                  <a:pt x="361" y="104"/>
                </a:lnTo>
                <a:lnTo>
                  <a:pt x="367" y="101"/>
                </a:lnTo>
                <a:lnTo>
                  <a:pt x="370" y="98"/>
                </a:lnTo>
                <a:lnTo>
                  <a:pt x="371" y="95"/>
                </a:lnTo>
                <a:lnTo>
                  <a:pt x="373" y="94"/>
                </a:lnTo>
                <a:lnTo>
                  <a:pt x="372" y="93"/>
                </a:lnTo>
                <a:lnTo>
                  <a:pt x="372" y="92"/>
                </a:lnTo>
                <a:lnTo>
                  <a:pt x="370" y="90"/>
                </a:lnTo>
                <a:lnTo>
                  <a:pt x="367" y="89"/>
                </a:lnTo>
                <a:lnTo>
                  <a:pt x="364" y="89"/>
                </a:lnTo>
                <a:lnTo>
                  <a:pt x="362" y="89"/>
                </a:lnTo>
                <a:lnTo>
                  <a:pt x="362" y="87"/>
                </a:lnTo>
                <a:lnTo>
                  <a:pt x="362" y="84"/>
                </a:lnTo>
                <a:lnTo>
                  <a:pt x="362" y="80"/>
                </a:lnTo>
                <a:lnTo>
                  <a:pt x="361" y="79"/>
                </a:lnTo>
                <a:lnTo>
                  <a:pt x="360" y="77"/>
                </a:lnTo>
                <a:lnTo>
                  <a:pt x="357" y="78"/>
                </a:lnTo>
                <a:lnTo>
                  <a:pt x="355" y="77"/>
                </a:lnTo>
                <a:lnTo>
                  <a:pt x="353" y="76"/>
                </a:lnTo>
                <a:lnTo>
                  <a:pt x="352" y="77"/>
                </a:lnTo>
                <a:lnTo>
                  <a:pt x="347" y="77"/>
                </a:lnTo>
                <a:lnTo>
                  <a:pt x="345" y="76"/>
                </a:lnTo>
                <a:lnTo>
                  <a:pt x="343" y="76"/>
                </a:lnTo>
                <a:lnTo>
                  <a:pt x="342" y="76"/>
                </a:lnTo>
                <a:lnTo>
                  <a:pt x="342" y="77"/>
                </a:lnTo>
                <a:lnTo>
                  <a:pt x="342" y="78"/>
                </a:lnTo>
                <a:lnTo>
                  <a:pt x="341" y="79"/>
                </a:lnTo>
                <a:lnTo>
                  <a:pt x="340" y="81"/>
                </a:lnTo>
                <a:lnTo>
                  <a:pt x="335" y="82"/>
                </a:lnTo>
                <a:lnTo>
                  <a:pt x="332" y="82"/>
                </a:lnTo>
                <a:lnTo>
                  <a:pt x="329" y="81"/>
                </a:lnTo>
                <a:lnTo>
                  <a:pt x="328" y="80"/>
                </a:lnTo>
                <a:lnTo>
                  <a:pt x="326" y="80"/>
                </a:lnTo>
                <a:lnTo>
                  <a:pt x="320" y="80"/>
                </a:lnTo>
                <a:lnTo>
                  <a:pt x="319" y="80"/>
                </a:lnTo>
                <a:lnTo>
                  <a:pt x="317" y="81"/>
                </a:lnTo>
                <a:lnTo>
                  <a:pt x="314" y="83"/>
                </a:lnTo>
                <a:lnTo>
                  <a:pt x="312" y="83"/>
                </a:lnTo>
                <a:lnTo>
                  <a:pt x="311" y="82"/>
                </a:lnTo>
                <a:lnTo>
                  <a:pt x="311" y="82"/>
                </a:lnTo>
                <a:lnTo>
                  <a:pt x="310" y="79"/>
                </a:lnTo>
                <a:lnTo>
                  <a:pt x="310" y="78"/>
                </a:lnTo>
                <a:lnTo>
                  <a:pt x="313" y="74"/>
                </a:lnTo>
                <a:lnTo>
                  <a:pt x="312" y="73"/>
                </a:lnTo>
                <a:lnTo>
                  <a:pt x="311" y="72"/>
                </a:lnTo>
                <a:lnTo>
                  <a:pt x="310" y="70"/>
                </a:lnTo>
                <a:lnTo>
                  <a:pt x="310" y="69"/>
                </a:lnTo>
                <a:lnTo>
                  <a:pt x="308" y="69"/>
                </a:lnTo>
                <a:lnTo>
                  <a:pt x="307" y="70"/>
                </a:lnTo>
                <a:lnTo>
                  <a:pt x="300" y="72"/>
                </a:lnTo>
                <a:lnTo>
                  <a:pt x="298" y="73"/>
                </a:lnTo>
                <a:lnTo>
                  <a:pt x="295" y="75"/>
                </a:lnTo>
                <a:lnTo>
                  <a:pt x="292" y="77"/>
                </a:lnTo>
                <a:lnTo>
                  <a:pt x="290" y="78"/>
                </a:lnTo>
                <a:lnTo>
                  <a:pt x="289" y="77"/>
                </a:lnTo>
                <a:lnTo>
                  <a:pt x="289" y="71"/>
                </a:lnTo>
                <a:lnTo>
                  <a:pt x="293" y="66"/>
                </a:lnTo>
                <a:lnTo>
                  <a:pt x="295" y="63"/>
                </a:lnTo>
                <a:lnTo>
                  <a:pt x="294" y="63"/>
                </a:lnTo>
                <a:lnTo>
                  <a:pt x="291" y="63"/>
                </a:lnTo>
                <a:lnTo>
                  <a:pt x="291" y="61"/>
                </a:lnTo>
                <a:lnTo>
                  <a:pt x="293" y="60"/>
                </a:lnTo>
                <a:lnTo>
                  <a:pt x="294" y="58"/>
                </a:lnTo>
                <a:lnTo>
                  <a:pt x="293" y="57"/>
                </a:lnTo>
                <a:lnTo>
                  <a:pt x="291" y="55"/>
                </a:lnTo>
                <a:lnTo>
                  <a:pt x="291" y="51"/>
                </a:lnTo>
                <a:lnTo>
                  <a:pt x="292" y="50"/>
                </a:lnTo>
                <a:lnTo>
                  <a:pt x="291" y="48"/>
                </a:lnTo>
                <a:lnTo>
                  <a:pt x="286" y="50"/>
                </a:lnTo>
                <a:lnTo>
                  <a:pt x="285" y="50"/>
                </a:lnTo>
                <a:lnTo>
                  <a:pt x="284" y="47"/>
                </a:lnTo>
                <a:lnTo>
                  <a:pt x="287" y="43"/>
                </a:lnTo>
                <a:lnTo>
                  <a:pt x="288" y="41"/>
                </a:lnTo>
                <a:lnTo>
                  <a:pt x="284" y="41"/>
                </a:lnTo>
                <a:lnTo>
                  <a:pt x="282" y="39"/>
                </a:lnTo>
                <a:lnTo>
                  <a:pt x="280" y="37"/>
                </a:lnTo>
                <a:lnTo>
                  <a:pt x="278" y="34"/>
                </a:lnTo>
                <a:lnTo>
                  <a:pt x="278" y="31"/>
                </a:lnTo>
                <a:lnTo>
                  <a:pt x="280" y="25"/>
                </a:lnTo>
                <a:lnTo>
                  <a:pt x="283" y="24"/>
                </a:lnTo>
                <a:lnTo>
                  <a:pt x="285" y="23"/>
                </a:lnTo>
                <a:lnTo>
                  <a:pt x="290" y="19"/>
                </a:lnTo>
                <a:lnTo>
                  <a:pt x="296" y="19"/>
                </a:lnTo>
                <a:lnTo>
                  <a:pt x="300" y="18"/>
                </a:lnTo>
                <a:lnTo>
                  <a:pt x="304" y="16"/>
                </a:lnTo>
                <a:lnTo>
                  <a:pt x="306" y="16"/>
                </a:lnTo>
                <a:lnTo>
                  <a:pt x="309" y="14"/>
                </a:lnTo>
                <a:lnTo>
                  <a:pt x="309" y="12"/>
                </a:lnTo>
                <a:lnTo>
                  <a:pt x="308" y="10"/>
                </a:lnTo>
                <a:lnTo>
                  <a:pt x="309" y="8"/>
                </a:lnTo>
                <a:lnTo>
                  <a:pt x="312" y="6"/>
                </a:lnTo>
                <a:lnTo>
                  <a:pt x="317" y="3"/>
                </a:lnTo>
                <a:lnTo>
                  <a:pt x="321" y="3"/>
                </a:lnTo>
                <a:lnTo>
                  <a:pt x="326" y="0"/>
                </a:lnTo>
                <a:lnTo>
                  <a:pt x="329" y="2"/>
                </a:lnTo>
                <a:lnTo>
                  <a:pt x="332" y="1"/>
                </a:lnTo>
                <a:lnTo>
                  <a:pt x="335" y="3"/>
                </a:lnTo>
                <a:lnTo>
                  <a:pt x="340" y="7"/>
                </a:lnTo>
                <a:lnTo>
                  <a:pt x="346" y="9"/>
                </a:lnTo>
                <a:lnTo>
                  <a:pt x="351" y="8"/>
                </a:lnTo>
                <a:lnTo>
                  <a:pt x="360" y="7"/>
                </a:lnTo>
                <a:lnTo>
                  <a:pt x="364" y="8"/>
                </a:lnTo>
                <a:lnTo>
                  <a:pt x="372" y="7"/>
                </a:lnTo>
                <a:lnTo>
                  <a:pt x="377" y="7"/>
                </a:lnTo>
                <a:lnTo>
                  <a:pt x="384" y="5"/>
                </a:lnTo>
                <a:lnTo>
                  <a:pt x="389" y="8"/>
                </a:lnTo>
                <a:lnTo>
                  <a:pt x="400" y="9"/>
                </a:lnTo>
                <a:lnTo>
                  <a:pt x="407" y="11"/>
                </a:lnTo>
                <a:lnTo>
                  <a:pt x="425" y="15"/>
                </a:lnTo>
                <a:lnTo>
                  <a:pt x="432" y="15"/>
                </a:lnTo>
                <a:lnTo>
                  <a:pt x="441" y="13"/>
                </a:lnTo>
                <a:lnTo>
                  <a:pt x="445" y="11"/>
                </a:lnTo>
                <a:lnTo>
                  <a:pt x="448" y="12"/>
                </a:lnTo>
                <a:lnTo>
                  <a:pt x="454" y="11"/>
                </a:lnTo>
                <a:lnTo>
                  <a:pt x="456" y="11"/>
                </a:lnTo>
                <a:lnTo>
                  <a:pt x="460" y="13"/>
                </a:lnTo>
                <a:lnTo>
                  <a:pt x="471" y="17"/>
                </a:lnTo>
                <a:lnTo>
                  <a:pt x="474" y="14"/>
                </a:lnTo>
                <a:lnTo>
                  <a:pt x="477" y="13"/>
                </a:lnTo>
                <a:lnTo>
                  <a:pt x="485" y="15"/>
                </a:lnTo>
                <a:lnTo>
                  <a:pt x="493" y="19"/>
                </a:lnTo>
                <a:lnTo>
                  <a:pt x="498" y="19"/>
                </a:lnTo>
                <a:lnTo>
                  <a:pt x="504" y="18"/>
                </a:lnTo>
                <a:lnTo>
                  <a:pt x="509" y="16"/>
                </a:lnTo>
                <a:lnTo>
                  <a:pt x="510" y="15"/>
                </a:lnTo>
                <a:close/>
                <a:moveTo>
                  <a:pt x="700" y="164"/>
                </a:moveTo>
                <a:lnTo>
                  <a:pt x="700" y="164"/>
                </a:lnTo>
                <a:lnTo>
                  <a:pt x="699" y="164"/>
                </a:lnTo>
                <a:lnTo>
                  <a:pt x="690" y="159"/>
                </a:lnTo>
                <a:lnTo>
                  <a:pt x="687" y="159"/>
                </a:lnTo>
                <a:lnTo>
                  <a:pt x="686" y="158"/>
                </a:lnTo>
                <a:lnTo>
                  <a:pt x="686" y="156"/>
                </a:lnTo>
                <a:lnTo>
                  <a:pt x="686" y="155"/>
                </a:lnTo>
                <a:lnTo>
                  <a:pt x="693" y="154"/>
                </a:lnTo>
                <a:lnTo>
                  <a:pt x="698" y="156"/>
                </a:lnTo>
                <a:lnTo>
                  <a:pt x="701" y="160"/>
                </a:lnTo>
                <a:lnTo>
                  <a:pt x="701" y="161"/>
                </a:lnTo>
                <a:lnTo>
                  <a:pt x="700" y="164"/>
                </a:lnTo>
                <a:close/>
                <a:moveTo>
                  <a:pt x="664" y="166"/>
                </a:moveTo>
                <a:lnTo>
                  <a:pt x="664" y="166"/>
                </a:lnTo>
                <a:lnTo>
                  <a:pt x="667" y="167"/>
                </a:lnTo>
                <a:lnTo>
                  <a:pt x="670" y="166"/>
                </a:lnTo>
                <a:lnTo>
                  <a:pt x="672" y="166"/>
                </a:lnTo>
                <a:lnTo>
                  <a:pt x="674" y="167"/>
                </a:lnTo>
                <a:lnTo>
                  <a:pt x="674" y="169"/>
                </a:lnTo>
                <a:lnTo>
                  <a:pt x="673" y="172"/>
                </a:lnTo>
                <a:lnTo>
                  <a:pt x="671" y="175"/>
                </a:lnTo>
                <a:lnTo>
                  <a:pt x="669" y="178"/>
                </a:lnTo>
                <a:lnTo>
                  <a:pt x="667" y="182"/>
                </a:lnTo>
                <a:lnTo>
                  <a:pt x="665" y="184"/>
                </a:lnTo>
                <a:lnTo>
                  <a:pt x="662" y="185"/>
                </a:lnTo>
                <a:lnTo>
                  <a:pt x="657" y="183"/>
                </a:lnTo>
                <a:lnTo>
                  <a:pt x="653" y="182"/>
                </a:lnTo>
                <a:lnTo>
                  <a:pt x="653" y="181"/>
                </a:lnTo>
                <a:lnTo>
                  <a:pt x="652" y="177"/>
                </a:lnTo>
                <a:lnTo>
                  <a:pt x="650" y="176"/>
                </a:lnTo>
                <a:lnTo>
                  <a:pt x="648" y="175"/>
                </a:lnTo>
                <a:lnTo>
                  <a:pt x="646" y="176"/>
                </a:lnTo>
                <a:lnTo>
                  <a:pt x="644" y="178"/>
                </a:lnTo>
                <a:lnTo>
                  <a:pt x="643" y="176"/>
                </a:lnTo>
                <a:lnTo>
                  <a:pt x="641" y="176"/>
                </a:lnTo>
                <a:lnTo>
                  <a:pt x="640" y="174"/>
                </a:lnTo>
                <a:lnTo>
                  <a:pt x="640" y="173"/>
                </a:lnTo>
                <a:lnTo>
                  <a:pt x="653" y="163"/>
                </a:lnTo>
                <a:lnTo>
                  <a:pt x="657" y="161"/>
                </a:lnTo>
                <a:lnTo>
                  <a:pt x="665" y="158"/>
                </a:lnTo>
                <a:lnTo>
                  <a:pt x="666" y="159"/>
                </a:lnTo>
                <a:lnTo>
                  <a:pt x="665" y="160"/>
                </a:lnTo>
                <a:lnTo>
                  <a:pt x="665" y="161"/>
                </a:lnTo>
                <a:lnTo>
                  <a:pt x="666" y="162"/>
                </a:lnTo>
                <a:lnTo>
                  <a:pt x="666" y="163"/>
                </a:lnTo>
                <a:lnTo>
                  <a:pt x="665" y="164"/>
                </a:lnTo>
                <a:lnTo>
                  <a:pt x="664" y="166"/>
                </a:lnTo>
                <a:close/>
                <a:moveTo>
                  <a:pt x="611" y="201"/>
                </a:moveTo>
                <a:lnTo>
                  <a:pt x="611" y="201"/>
                </a:lnTo>
                <a:lnTo>
                  <a:pt x="610" y="203"/>
                </a:lnTo>
                <a:lnTo>
                  <a:pt x="605" y="202"/>
                </a:lnTo>
                <a:lnTo>
                  <a:pt x="604" y="201"/>
                </a:lnTo>
                <a:lnTo>
                  <a:pt x="605" y="198"/>
                </a:lnTo>
                <a:lnTo>
                  <a:pt x="607" y="198"/>
                </a:lnTo>
                <a:lnTo>
                  <a:pt x="607" y="196"/>
                </a:lnTo>
                <a:lnTo>
                  <a:pt x="608" y="194"/>
                </a:lnTo>
                <a:lnTo>
                  <a:pt x="615" y="193"/>
                </a:lnTo>
                <a:lnTo>
                  <a:pt x="616" y="194"/>
                </a:lnTo>
                <a:lnTo>
                  <a:pt x="617" y="196"/>
                </a:lnTo>
                <a:lnTo>
                  <a:pt x="613" y="200"/>
                </a:lnTo>
                <a:lnTo>
                  <a:pt x="611" y="201"/>
                </a:lnTo>
                <a:close/>
                <a:moveTo>
                  <a:pt x="616" y="210"/>
                </a:moveTo>
                <a:lnTo>
                  <a:pt x="616" y="210"/>
                </a:lnTo>
                <a:lnTo>
                  <a:pt x="615" y="211"/>
                </a:lnTo>
                <a:lnTo>
                  <a:pt x="613" y="210"/>
                </a:lnTo>
                <a:lnTo>
                  <a:pt x="610" y="210"/>
                </a:lnTo>
                <a:lnTo>
                  <a:pt x="610" y="209"/>
                </a:lnTo>
                <a:lnTo>
                  <a:pt x="610" y="208"/>
                </a:lnTo>
                <a:lnTo>
                  <a:pt x="611" y="207"/>
                </a:lnTo>
                <a:lnTo>
                  <a:pt x="613" y="209"/>
                </a:lnTo>
                <a:lnTo>
                  <a:pt x="616" y="209"/>
                </a:lnTo>
                <a:lnTo>
                  <a:pt x="616" y="210"/>
                </a:lnTo>
                <a:close/>
                <a:moveTo>
                  <a:pt x="138" y="576"/>
                </a:moveTo>
                <a:lnTo>
                  <a:pt x="138" y="576"/>
                </a:lnTo>
                <a:lnTo>
                  <a:pt x="136" y="578"/>
                </a:lnTo>
                <a:lnTo>
                  <a:pt x="134" y="577"/>
                </a:lnTo>
                <a:lnTo>
                  <a:pt x="135" y="572"/>
                </a:lnTo>
                <a:lnTo>
                  <a:pt x="136" y="571"/>
                </a:lnTo>
                <a:lnTo>
                  <a:pt x="140" y="568"/>
                </a:lnTo>
                <a:lnTo>
                  <a:pt x="144" y="568"/>
                </a:lnTo>
                <a:lnTo>
                  <a:pt x="145" y="565"/>
                </a:lnTo>
                <a:lnTo>
                  <a:pt x="146" y="564"/>
                </a:lnTo>
                <a:lnTo>
                  <a:pt x="148" y="566"/>
                </a:lnTo>
                <a:lnTo>
                  <a:pt x="147" y="567"/>
                </a:lnTo>
                <a:lnTo>
                  <a:pt x="146" y="572"/>
                </a:lnTo>
                <a:lnTo>
                  <a:pt x="143" y="574"/>
                </a:lnTo>
                <a:lnTo>
                  <a:pt x="138" y="576"/>
                </a:lnTo>
                <a:close/>
                <a:moveTo>
                  <a:pt x="10" y="591"/>
                </a:moveTo>
                <a:lnTo>
                  <a:pt x="10" y="591"/>
                </a:lnTo>
                <a:lnTo>
                  <a:pt x="9" y="591"/>
                </a:lnTo>
                <a:lnTo>
                  <a:pt x="9" y="588"/>
                </a:lnTo>
                <a:lnTo>
                  <a:pt x="5" y="581"/>
                </a:lnTo>
                <a:lnTo>
                  <a:pt x="7" y="578"/>
                </a:lnTo>
                <a:lnTo>
                  <a:pt x="11" y="578"/>
                </a:lnTo>
                <a:lnTo>
                  <a:pt x="13" y="580"/>
                </a:lnTo>
                <a:lnTo>
                  <a:pt x="13" y="582"/>
                </a:lnTo>
                <a:lnTo>
                  <a:pt x="13" y="584"/>
                </a:lnTo>
                <a:lnTo>
                  <a:pt x="13" y="586"/>
                </a:lnTo>
                <a:lnTo>
                  <a:pt x="12" y="588"/>
                </a:lnTo>
                <a:lnTo>
                  <a:pt x="10" y="591"/>
                </a:lnTo>
                <a:close/>
                <a:moveTo>
                  <a:pt x="123" y="602"/>
                </a:moveTo>
                <a:lnTo>
                  <a:pt x="123" y="602"/>
                </a:lnTo>
                <a:lnTo>
                  <a:pt x="119" y="606"/>
                </a:lnTo>
                <a:lnTo>
                  <a:pt x="115" y="605"/>
                </a:lnTo>
                <a:lnTo>
                  <a:pt x="114" y="604"/>
                </a:lnTo>
                <a:lnTo>
                  <a:pt x="118" y="603"/>
                </a:lnTo>
                <a:lnTo>
                  <a:pt x="122" y="600"/>
                </a:lnTo>
                <a:lnTo>
                  <a:pt x="125" y="594"/>
                </a:lnTo>
                <a:lnTo>
                  <a:pt x="129" y="586"/>
                </a:lnTo>
                <a:lnTo>
                  <a:pt x="129" y="583"/>
                </a:lnTo>
                <a:lnTo>
                  <a:pt x="131" y="582"/>
                </a:lnTo>
                <a:lnTo>
                  <a:pt x="133" y="582"/>
                </a:lnTo>
                <a:lnTo>
                  <a:pt x="134" y="582"/>
                </a:lnTo>
                <a:lnTo>
                  <a:pt x="135" y="584"/>
                </a:lnTo>
                <a:lnTo>
                  <a:pt x="135" y="587"/>
                </a:lnTo>
                <a:lnTo>
                  <a:pt x="134" y="594"/>
                </a:lnTo>
                <a:lnTo>
                  <a:pt x="132" y="599"/>
                </a:lnTo>
                <a:lnTo>
                  <a:pt x="123" y="602"/>
                </a:lnTo>
                <a:close/>
                <a:moveTo>
                  <a:pt x="57" y="595"/>
                </a:moveTo>
                <a:lnTo>
                  <a:pt x="57" y="595"/>
                </a:lnTo>
                <a:lnTo>
                  <a:pt x="54" y="603"/>
                </a:lnTo>
                <a:lnTo>
                  <a:pt x="52" y="606"/>
                </a:lnTo>
                <a:lnTo>
                  <a:pt x="50" y="607"/>
                </a:lnTo>
                <a:lnTo>
                  <a:pt x="47" y="608"/>
                </a:lnTo>
                <a:lnTo>
                  <a:pt x="42" y="603"/>
                </a:lnTo>
                <a:lnTo>
                  <a:pt x="40" y="598"/>
                </a:lnTo>
                <a:lnTo>
                  <a:pt x="39" y="596"/>
                </a:lnTo>
                <a:lnTo>
                  <a:pt x="41" y="595"/>
                </a:lnTo>
                <a:lnTo>
                  <a:pt x="44" y="595"/>
                </a:lnTo>
                <a:lnTo>
                  <a:pt x="50" y="594"/>
                </a:lnTo>
                <a:lnTo>
                  <a:pt x="51" y="593"/>
                </a:lnTo>
                <a:lnTo>
                  <a:pt x="57" y="588"/>
                </a:lnTo>
                <a:lnTo>
                  <a:pt x="63" y="588"/>
                </a:lnTo>
                <a:lnTo>
                  <a:pt x="63" y="589"/>
                </a:lnTo>
                <a:lnTo>
                  <a:pt x="57" y="595"/>
                </a:lnTo>
                <a:close/>
                <a:moveTo>
                  <a:pt x="30" y="607"/>
                </a:moveTo>
                <a:lnTo>
                  <a:pt x="30" y="607"/>
                </a:lnTo>
                <a:lnTo>
                  <a:pt x="29" y="608"/>
                </a:lnTo>
                <a:lnTo>
                  <a:pt x="27" y="607"/>
                </a:lnTo>
                <a:lnTo>
                  <a:pt x="26" y="604"/>
                </a:lnTo>
                <a:lnTo>
                  <a:pt x="27" y="602"/>
                </a:lnTo>
                <a:lnTo>
                  <a:pt x="28" y="601"/>
                </a:lnTo>
                <a:lnTo>
                  <a:pt x="29" y="601"/>
                </a:lnTo>
                <a:lnTo>
                  <a:pt x="32" y="603"/>
                </a:lnTo>
                <a:lnTo>
                  <a:pt x="33" y="604"/>
                </a:lnTo>
                <a:lnTo>
                  <a:pt x="33" y="605"/>
                </a:lnTo>
                <a:lnTo>
                  <a:pt x="30" y="607"/>
                </a:lnTo>
                <a:close/>
                <a:moveTo>
                  <a:pt x="86" y="603"/>
                </a:moveTo>
                <a:lnTo>
                  <a:pt x="86" y="603"/>
                </a:lnTo>
                <a:lnTo>
                  <a:pt x="86" y="605"/>
                </a:lnTo>
                <a:lnTo>
                  <a:pt x="86" y="608"/>
                </a:lnTo>
                <a:lnTo>
                  <a:pt x="86" y="612"/>
                </a:lnTo>
                <a:lnTo>
                  <a:pt x="85" y="615"/>
                </a:lnTo>
                <a:lnTo>
                  <a:pt x="81" y="617"/>
                </a:lnTo>
                <a:lnTo>
                  <a:pt x="78" y="616"/>
                </a:lnTo>
                <a:lnTo>
                  <a:pt x="76" y="616"/>
                </a:lnTo>
                <a:lnTo>
                  <a:pt x="73" y="612"/>
                </a:lnTo>
                <a:lnTo>
                  <a:pt x="73" y="608"/>
                </a:lnTo>
                <a:lnTo>
                  <a:pt x="76" y="606"/>
                </a:lnTo>
                <a:lnTo>
                  <a:pt x="77" y="603"/>
                </a:lnTo>
                <a:lnTo>
                  <a:pt x="84" y="603"/>
                </a:lnTo>
                <a:lnTo>
                  <a:pt x="85" y="603"/>
                </a:lnTo>
                <a:lnTo>
                  <a:pt x="85" y="602"/>
                </a:lnTo>
                <a:lnTo>
                  <a:pt x="86" y="603"/>
                </a:lnTo>
                <a:close/>
                <a:moveTo>
                  <a:pt x="8" y="615"/>
                </a:moveTo>
                <a:lnTo>
                  <a:pt x="8" y="615"/>
                </a:lnTo>
                <a:lnTo>
                  <a:pt x="5" y="620"/>
                </a:lnTo>
                <a:lnTo>
                  <a:pt x="2" y="618"/>
                </a:lnTo>
                <a:lnTo>
                  <a:pt x="1" y="618"/>
                </a:lnTo>
                <a:lnTo>
                  <a:pt x="0" y="616"/>
                </a:lnTo>
                <a:lnTo>
                  <a:pt x="3" y="616"/>
                </a:lnTo>
                <a:lnTo>
                  <a:pt x="7" y="613"/>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291" name="Title 1">
            <a:extLst>
              <a:ext uri="{FF2B5EF4-FFF2-40B4-BE49-F238E27FC236}">
                <a16:creationId xmlns:a16="http://schemas.microsoft.com/office/drawing/2014/main" id="{8FDEC97F-9573-42E2-BDD9-53C71E97607F}"/>
              </a:ext>
            </a:extLst>
          </p:cNvPr>
          <p:cNvSpPr>
            <a:spLocks noGrp="1"/>
          </p:cNvSpPr>
          <p:nvPr>
            <p:ph type="title"/>
          </p:nvPr>
        </p:nvSpPr>
        <p:spPr>
          <a:xfrm>
            <a:off x="2964088" y="2303153"/>
            <a:ext cx="10744200" cy="866648"/>
          </a:xfrm>
        </p:spPr>
        <p:txBody>
          <a:bodyPr vert="horz" lIns="0" tIns="0" rIns="0" bIns="0" rtlCol="0" anchor="t" anchorCtr="0">
            <a:noAutofit/>
          </a:bodyPr>
          <a:lstStyle/>
          <a:p>
            <a:r>
              <a:rPr lang="en-US" sz="4400" dirty="0">
                <a:ea typeface="+mj-lt"/>
                <a:cs typeface="+mj-lt"/>
              </a:rPr>
              <a:t>Environmental</a:t>
            </a:r>
            <a:r>
              <a:rPr lang="en-US" dirty="0">
                <a:ea typeface="+mj-lt"/>
                <a:cs typeface="+mj-lt"/>
              </a:rPr>
              <a:t> </a:t>
            </a:r>
            <a:r>
              <a:rPr lang="en-US" sz="4800" dirty="0">
                <a:ea typeface="+mj-lt"/>
                <a:cs typeface="+mj-lt"/>
              </a:rPr>
              <a:t>Problems</a:t>
            </a:r>
            <a:r>
              <a:rPr lang="en-US" dirty="0">
                <a:ea typeface="+mj-lt"/>
                <a:cs typeface="+mj-lt"/>
              </a:rPr>
              <a:t> </a:t>
            </a:r>
            <a:endParaRPr lang="en-US" dirty="0"/>
          </a:p>
        </p:txBody>
      </p:sp>
    </p:spTree>
    <p:extLst>
      <p:ext uri="{BB962C8B-B14F-4D97-AF65-F5344CB8AC3E}">
        <p14:creationId xmlns:p14="http://schemas.microsoft.com/office/powerpoint/2010/main" val="2236037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C0C3DEB5-6F74-44F6-8871-3499AE717838}"/>
              </a:ext>
            </a:extLst>
          </p:cNvPr>
          <p:cNvSpPr txBox="1"/>
          <p:nvPr/>
        </p:nvSpPr>
        <p:spPr>
          <a:xfrm>
            <a:off x="4580626" y="615318"/>
            <a:ext cx="6892505" cy="430887"/>
          </a:xfrm>
          <a:prstGeom prst="rect">
            <a:avLst/>
          </a:prstGeom>
          <a:noFill/>
        </p:spPr>
        <p:txBody>
          <a:bodyPr wrap="square" lIns="0" tIns="0" rIns="0" bIns="0" rtlCol="0">
            <a:spAutoFit/>
          </a:bodyPr>
          <a:lstStyle/>
          <a:p>
            <a:r>
              <a:rPr lang="en-US" sz="2000" dirty="0">
                <a:solidFill>
                  <a:srgbClr val="D42B2B"/>
                </a:solidFill>
              </a:rPr>
              <a:t> </a:t>
            </a:r>
            <a:r>
              <a:rPr lang="en-US" sz="2800" dirty="0">
                <a:solidFill>
                  <a:srgbClr val="D42B2B"/>
                </a:solidFill>
              </a:rPr>
              <a:t>|  Environmental Concerns in Bangladesh</a:t>
            </a:r>
            <a:endParaRPr lang="en-US" sz="2800" kern="0" dirty="0">
              <a:solidFill>
                <a:srgbClr val="D42B2B"/>
              </a:solidFill>
            </a:endParaRPr>
          </a:p>
        </p:txBody>
      </p:sp>
      <p:pic>
        <p:nvPicPr>
          <p:cNvPr id="6" name="Picture 5">
            <a:extLst>
              <a:ext uri="{FF2B5EF4-FFF2-40B4-BE49-F238E27FC236}">
                <a16:creationId xmlns:a16="http://schemas.microsoft.com/office/drawing/2014/main" id="{91F74D4A-9E16-4275-90C5-F97189B724F9}"/>
              </a:ext>
            </a:extLst>
          </p:cNvPr>
          <p:cNvPicPr>
            <a:picLocks noChangeAspect="1"/>
          </p:cNvPicPr>
          <p:nvPr/>
        </p:nvPicPr>
        <p:blipFill>
          <a:blip r:embed="rId4">
            <a:extLst>
              <a:ext uri="{BEBA8EAE-BF5A-486C-A8C5-ECC9F3942E4B}">
                <a14:imgProps xmlns:a14="http://schemas.microsoft.com/office/drawing/2010/main">
                  <a14:imgLayer r:embed="rId5">
                    <a14:imgEffect>
                      <a14:saturation sat="66000"/>
                    </a14:imgEffect>
                  </a14:imgLayer>
                </a14:imgProps>
              </a:ext>
            </a:extLst>
          </a:blip>
          <a:stretch>
            <a:fillRect/>
          </a:stretch>
        </p:blipFill>
        <p:spPr>
          <a:xfrm>
            <a:off x="7790301" y="2089174"/>
            <a:ext cx="7840443" cy="10074052"/>
          </a:xfrm>
          <a:prstGeom prst="rect">
            <a:avLst/>
          </a:prstGeom>
        </p:spPr>
      </p:pic>
      <p:graphicFrame>
        <p:nvGraphicFramePr>
          <p:cNvPr id="3" name="Object 2" hidden="1">
            <a:extLst>
              <a:ext uri="{FF2B5EF4-FFF2-40B4-BE49-F238E27FC236}">
                <a16:creationId xmlns:a16="http://schemas.microsoft.com/office/drawing/2014/main" id="{29F5A9FD-BD4B-41CD-9545-C14EE113DFB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8" name="think-cell Slide" r:id="rId6" imgW="360" imgH="360" progId="TCLayout.ActiveDocument.1">
                  <p:embed/>
                </p:oleObj>
              </mc:Choice>
              <mc:Fallback>
                <p:oleObj name="think-cell Slide" r:id="rId6" imgW="360" imgH="360" progId="TCLayout.ActiveDocument.1">
                  <p:embed/>
                  <p:pic>
                    <p:nvPicPr>
                      <p:cNvPr id="3" name="Object 2" hidden="1">
                        <a:extLst>
                          <a:ext uri="{FF2B5EF4-FFF2-40B4-BE49-F238E27FC236}">
                            <a16:creationId xmlns:a16="http://schemas.microsoft.com/office/drawing/2014/main" id="{29F5A9FD-BD4B-41CD-9545-C14EE113DFB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26F784E-485C-46E9-A476-2051D18874E2}"/>
              </a:ext>
            </a:extLst>
          </p:cNvPr>
          <p:cNvSpPr>
            <a:spLocks noGrp="1"/>
          </p:cNvSpPr>
          <p:nvPr>
            <p:ph type="title"/>
          </p:nvPr>
        </p:nvSpPr>
        <p:spPr>
          <a:xfrm>
            <a:off x="282770" y="357691"/>
            <a:ext cx="2180344" cy="688514"/>
          </a:xfrm>
        </p:spPr>
        <p:txBody>
          <a:bodyPr vert="horz" lIns="0" tIns="0" rIns="0" bIns="0" rtlCol="0" anchor="t" anchorCtr="0">
            <a:noAutofit/>
          </a:bodyPr>
          <a:lstStyle/>
          <a:p>
            <a:r>
              <a:rPr lang="en-US" sz="1200" dirty="0">
                <a:ea typeface="+mj-lt"/>
                <a:cs typeface="+mj-lt"/>
              </a:rPr>
              <a:t>Environmental Problems </a:t>
            </a:r>
            <a:br>
              <a:rPr lang="en-US" sz="1200" dirty="0">
                <a:ea typeface="+mj-lt"/>
                <a:cs typeface="+mj-lt"/>
              </a:rPr>
            </a:br>
            <a:br>
              <a:rPr lang="en-US" sz="1200" dirty="0">
                <a:ea typeface="+mj-lt"/>
                <a:cs typeface="+mj-lt"/>
              </a:rPr>
            </a:br>
            <a:endParaRPr lang="en-US" sz="1200" dirty="0"/>
          </a:p>
        </p:txBody>
      </p:sp>
      <p:sp>
        <p:nvSpPr>
          <p:cNvPr id="4" name="TextBox 3">
            <a:extLst>
              <a:ext uri="{FF2B5EF4-FFF2-40B4-BE49-F238E27FC236}">
                <a16:creationId xmlns:a16="http://schemas.microsoft.com/office/drawing/2014/main" id="{32DF85C0-3BEE-4729-9C07-A4274FBB1381}"/>
              </a:ext>
            </a:extLst>
          </p:cNvPr>
          <p:cNvSpPr txBox="1"/>
          <p:nvPr/>
        </p:nvSpPr>
        <p:spPr>
          <a:xfrm>
            <a:off x="282770" y="486504"/>
            <a:ext cx="4879445" cy="430887"/>
          </a:xfrm>
          <a:prstGeom prst="rect">
            <a:avLst/>
          </a:prstGeom>
          <a:noFill/>
        </p:spPr>
        <p:txBody>
          <a:bodyPr wrap="square" lIns="0" tIns="0" rIns="0" bIns="0" rtlCol="0">
            <a:spAutoFit/>
          </a:bodyPr>
          <a:lstStyle/>
          <a:p>
            <a:r>
              <a:rPr lang="en-US" sz="1400" b="1" dirty="0">
                <a:ea typeface="+mj-lt"/>
                <a:cs typeface="+mj-lt"/>
              </a:rPr>
              <a:t>in</a:t>
            </a:r>
            <a:br>
              <a:rPr lang="en-US" sz="1400" b="1" dirty="0">
                <a:ea typeface="+mj-lt"/>
                <a:cs typeface="+mj-lt"/>
              </a:rPr>
            </a:br>
            <a:r>
              <a:rPr lang="en-US" sz="1400" b="1" dirty="0">
                <a:ea typeface="+mj-lt"/>
                <a:cs typeface="+mj-lt"/>
              </a:rPr>
              <a:t>Bangladesh</a:t>
            </a:r>
            <a:endParaRPr lang="en-US" sz="1400" b="1" kern="0" dirty="0"/>
          </a:p>
        </p:txBody>
      </p:sp>
      <p:sp>
        <p:nvSpPr>
          <p:cNvPr id="7" name="TextBox 6">
            <a:extLst>
              <a:ext uri="{FF2B5EF4-FFF2-40B4-BE49-F238E27FC236}">
                <a16:creationId xmlns:a16="http://schemas.microsoft.com/office/drawing/2014/main" id="{1DECC707-350A-467D-993C-887087B1AD54}"/>
              </a:ext>
            </a:extLst>
          </p:cNvPr>
          <p:cNvSpPr txBox="1"/>
          <p:nvPr/>
        </p:nvSpPr>
        <p:spPr>
          <a:xfrm>
            <a:off x="712177" y="1916723"/>
            <a:ext cx="6892505" cy="3908762"/>
          </a:xfrm>
          <a:prstGeom prst="rect">
            <a:avLst/>
          </a:prstGeom>
          <a:noFill/>
        </p:spPr>
        <p:txBody>
          <a:bodyPr wrap="square" lIns="0" tIns="0" rIns="0" bIns="0" rtlCol="0">
            <a:spAutoFit/>
          </a:bodyPr>
          <a:lstStyle/>
          <a:p>
            <a:r>
              <a:rPr lang="en-US" sz="8000" dirty="0">
                <a:solidFill>
                  <a:srgbClr val="D42B2B"/>
                </a:solidFill>
              </a:rPr>
              <a:t>“</a:t>
            </a:r>
            <a:r>
              <a:rPr lang="en-US" sz="2000" dirty="0">
                <a:solidFill>
                  <a:srgbClr val="D42B2B"/>
                </a:solidFill>
              </a:rPr>
              <a:t>around </a:t>
            </a:r>
            <a:r>
              <a:rPr lang="en-US" sz="4800" dirty="0">
                <a:solidFill>
                  <a:srgbClr val="D42B2B"/>
                </a:solidFill>
              </a:rPr>
              <a:t>234,000</a:t>
            </a:r>
            <a:r>
              <a:rPr lang="en-US" sz="2000" dirty="0">
                <a:solidFill>
                  <a:srgbClr val="D42B2B"/>
                </a:solidFill>
              </a:rPr>
              <a:t> deaths, including </a:t>
            </a:r>
            <a:r>
              <a:rPr lang="en-US" sz="4800" dirty="0">
                <a:solidFill>
                  <a:srgbClr val="D42B2B"/>
                </a:solidFill>
              </a:rPr>
              <a:t>80,000</a:t>
            </a:r>
            <a:r>
              <a:rPr lang="en-US" sz="2000" dirty="0">
                <a:solidFill>
                  <a:srgbClr val="D42B2B"/>
                </a:solidFill>
              </a:rPr>
              <a:t> in urban areas, due to </a:t>
            </a:r>
            <a:r>
              <a:rPr lang="en-US" sz="5400" dirty="0">
                <a:solidFill>
                  <a:srgbClr val="D42B2B"/>
                </a:solidFill>
              </a:rPr>
              <a:t>environmental </a:t>
            </a:r>
            <a:r>
              <a:rPr lang="en-US" sz="4400" dirty="0">
                <a:solidFill>
                  <a:srgbClr val="D42B2B"/>
                </a:solidFill>
              </a:rPr>
              <a:t>pollution</a:t>
            </a:r>
            <a:r>
              <a:rPr lang="en-US" sz="2000" dirty="0">
                <a:solidFill>
                  <a:srgbClr val="D42B2B"/>
                </a:solidFill>
              </a:rPr>
              <a:t> </a:t>
            </a:r>
            <a:r>
              <a:rPr lang="en-US" sz="1600" dirty="0">
                <a:solidFill>
                  <a:srgbClr val="D42B2B"/>
                </a:solidFill>
              </a:rPr>
              <a:t>and related health risks in </a:t>
            </a:r>
            <a:r>
              <a:rPr lang="en-US" sz="5400" dirty="0">
                <a:solidFill>
                  <a:srgbClr val="D42B2B"/>
                </a:solidFill>
              </a:rPr>
              <a:t>2015 </a:t>
            </a:r>
            <a:r>
              <a:rPr lang="en-US" sz="7200" dirty="0">
                <a:solidFill>
                  <a:srgbClr val="D42B2B"/>
                </a:solidFill>
              </a:rPr>
              <a:t>“</a:t>
            </a:r>
            <a:endParaRPr lang="en-US" sz="1400" kern="0" dirty="0">
              <a:solidFill>
                <a:srgbClr val="D42B2B"/>
              </a:solidFill>
            </a:endParaRPr>
          </a:p>
        </p:txBody>
      </p:sp>
    </p:spTree>
    <p:extLst>
      <p:ext uri="{BB962C8B-B14F-4D97-AF65-F5344CB8AC3E}">
        <p14:creationId xmlns:p14="http://schemas.microsoft.com/office/powerpoint/2010/main" val="4271801536"/>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C0C3DEB5-6F74-44F6-8871-3499AE717838}"/>
              </a:ext>
            </a:extLst>
          </p:cNvPr>
          <p:cNvSpPr txBox="1"/>
          <p:nvPr/>
        </p:nvSpPr>
        <p:spPr>
          <a:xfrm>
            <a:off x="4580626" y="615318"/>
            <a:ext cx="6892505" cy="430887"/>
          </a:xfrm>
          <a:prstGeom prst="rect">
            <a:avLst/>
          </a:prstGeom>
          <a:noFill/>
        </p:spPr>
        <p:txBody>
          <a:bodyPr wrap="square" lIns="0" tIns="0" rIns="0" bIns="0" rtlCol="0">
            <a:spAutoFit/>
          </a:bodyPr>
          <a:lstStyle/>
          <a:p>
            <a:r>
              <a:rPr lang="en-US" sz="2000" dirty="0">
                <a:solidFill>
                  <a:srgbClr val="D42B2B"/>
                </a:solidFill>
              </a:rPr>
              <a:t> </a:t>
            </a:r>
            <a:r>
              <a:rPr lang="en-US" sz="2800" dirty="0">
                <a:solidFill>
                  <a:srgbClr val="D42B2B"/>
                </a:solidFill>
              </a:rPr>
              <a:t>|  Environmental Concerns in Bangladesh</a:t>
            </a:r>
            <a:endParaRPr lang="en-US" sz="2800" kern="0" dirty="0">
              <a:solidFill>
                <a:srgbClr val="D42B2B"/>
              </a:solidFill>
            </a:endParaRPr>
          </a:p>
        </p:txBody>
      </p:sp>
      <p:pic>
        <p:nvPicPr>
          <p:cNvPr id="6" name="Picture 5">
            <a:extLst>
              <a:ext uri="{FF2B5EF4-FFF2-40B4-BE49-F238E27FC236}">
                <a16:creationId xmlns:a16="http://schemas.microsoft.com/office/drawing/2014/main" id="{91F74D4A-9E16-4275-90C5-F97189B724F9}"/>
              </a:ext>
            </a:extLst>
          </p:cNvPr>
          <p:cNvPicPr>
            <a:picLocks noChangeAspect="1"/>
          </p:cNvPicPr>
          <p:nvPr/>
        </p:nvPicPr>
        <p:blipFill>
          <a:blip r:embed="rId4">
            <a:extLst>
              <a:ext uri="{BEBA8EAE-BF5A-486C-A8C5-ECC9F3942E4B}">
                <a14:imgProps xmlns:a14="http://schemas.microsoft.com/office/drawing/2010/main">
                  <a14:imgLayer r:embed="rId5">
                    <a14:imgEffect>
                      <a14:saturation sat="66000"/>
                    </a14:imgEffect>
                  </a14:imgLayer>
                </a14:imgProps>
              </a:ext>
            </a:extLst>
          </a:blip>
          <a:stretch>
            <a:fillRect/>
          </a:stretch>
        </p:blipFill>
        <p:spPr>
          <a:xfrm>
            <a:off x="7790301" y="2089174"/>
            <a:ext cx="7840443" cy="10074052"/>
          </a:xfrm>
          <a:prstGeom prst="rect">
            <a:avLst/>
          </a:prstGeom>
        </p:spPr>
      </p:pic>
      <p:graphicFrame>
        <p:nvGraphicFramePr>
          <p:cNvPr id="3" name="Object 2" hidden="1">
            <a:extLst>
              <a:ext uri="{FF2B5EF4-FFF2-40B4-BE49-F238E27FC236}">
                <a16:creationId xmlns:a16="http://schemas.microsoft.com/office/drawing/2014/main" id="{29F5A9FD-BD4B-41CD-9545-C14EE113DFB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5" name="think-cell Slide" r:id="rId6" imgW="360" imgH="360" progId="TCLayout.ActiveDocument.1">
                  <p:embed/>
                </p:oleObj>
              </mc:Choice>
              <mc:Fallback>
                <p:oleObj name="think-cell Slide" r:id="rId6" imgW="360" imgH="360" progId="TCLayout.ActiveDocument.1">
                  <p:embed/>
                  <p:pic>
                    <p:nvPicPr>
                      <p:cNvPr id="3" name="Object 2" hidden="1">
                        <a:extLst>
                          <a:ext uri="{FF2B5EF4-FFF2-40B4-BE49-F238E27FC236}">
                            <a16:creationId xmlns:a16="http://schemas.microsoft.com/office/drawing/2014/main" id="{29F5A9FD-BD4B-41CD-9545-C14EE113DFB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26F784E-485C-46E9-A476-2051D18874E2}"/>
              </a:ext>
            </a:extLst>
          </p:cNvPr>
          <p:cNvSpPr>
            <a:spLocks noGrp="1"/>
          </p:cNvSpPr>
          <p:nvPr>
            <p:ph type="title"/>
          </p:nvPr>
        </p:nvSpPr>
        <p:spPr>
          <a:xfrm>
            <a:off x="282770" y="357691"/>
            <a:ext cx="2180344" cy="688514"/>
          </a:xfrm>
        </p:spPr>
        <p:txBody>
          <a:bodyPr vert="horz" lIns="0" tIns="0" rIns="0" bIns="0" rtlCol="0" anchor="t" anchorCtr="0">
            <a:noAutofit/>
          </a:bodyPr>
          <a:lstStyle/>
          <a:p>
            <a:r>
              <a:rPr lang="en-US" sz="1200" dirty="0">
                <a:ea typeface="+mj-lt"/>
                <a:cs typeface="+mj-lt"/>
              </a:rPr>
              <a:t>Environmental Problems </a:t>
            </a:r>
            <a:br>
              <a:rPr lang="en-US" sz="1200" dirty="0">
                <a:ea typeface="+mj-lt"/>
                <a:cs typeface="+mj-lt"/>
              </a:rPr>
            </a:br>
            <a:br>
              <a:rPr lang="en-US" sz="1200" dirty="0">
                <a:ea typeface="+mj-lt"/>
                <a:cs typeface="+mj-lt"/>
              </a:rPr>
            </a:br>
            <a:endParaRPr lang="en-US" sz="1200" dirty="0"/>
          </a:p>
        </p:txBody>
      </p:sp>
      <p:sp>
        <p:nvSpPr>
          <p:cNvPr id="4" name="TextBox 3">
            <a:extLst>
              <a:ext uri="{FF2B5EF4-FFF2-40B4-BE49-F238E27FC236}">
                <a16:creationId xmlns:a16="http://schemas.microsoft.com/office/drawing/2014/main" id="{32DF85C0-3BEE-4729-9C07-A4274FBB1381}"/>
              </a:ext>
            </a:extLst>
          </p:cNvPr>
          <p:cNvSpPr txBox="1"/>
          <p:nvPr/>
        </p:nvSpPr>
        <p:spPr>
          <a:xfrm>
            <a:off x="282770" y="486504"/>
            <a:ext cx="4879445" cy="430887"/>
          </a:xfrm>
          <a:prstGeom prst="rect">
            <a:avLst/>
          </a:prstGeom>
          <a:noFill/>
        </p:spPr>
        <p:txBody>
          <a:bodyPr wrap="square" lIns="0" tIns="0" rIns="0" bIns="0" rtlCol="0">
            <a:spAutoFit/>
          </a:bodyPr>
          <a:lstStyle/>
          <a:p>
            <a:r>
              <a:rPr lang="en-US" sz="1400" b="1" dirty="0">
                <a:ea typeface="+mj-lt"/>
                <a:cs typeface="+mj-lt"/>
              </a:rPr>
              <a:t>in</a:t>
            </a:r>
            <a:br>
              <a:rPr lang="en-US" sz="1400" b="1" dirty="0">
                <a:ea typeface="+mj-lt"/>
                <a:cs typeface="+mj-lt"/>
              </a:rPr>
            </a:br>
            <a:r>
              <a:rPr lang="en-US" sz="1400" b="1" dirty="0">
                <a:ea typeface="+mj-lt"/>
                <a:cs typeface="+mj-lt"/>
              </a:rPr>
              <a:t>Bangladesh</a:t>
            </a:r>
            <a:endParaRPr lang="en-US" sz="1400" b="1" kern="0" dirty="0"/>
          </a:p>
        </p:txBody>
      </p:sp>
      <p:sp>
        <p:nvSpPr>
          <p:cNvPr id="8" name="Rectangle 7">
            <a:extLst>
              <a:ext uri="{FF2B5EF4-FFF2-40B4-BE49-F238E27FC236}">
                <a16:creationId xmlns:a16="http://schemas.microsoft.com/office/drawing/2014/main" id="{1D47B61C-340A-4FB1-A0C7-8FBDBE195AF8}"/>
              </a:ext>
            </a:extLst>
          </p:cNvPr>
          <p:cNvSpPr/>
          <p:nvPr/>
        </p:nvSpPr>
        <p:spPr>
          <a:xfrm>
            <a:off x="1769209" y="2409063"/>
            <a:ext cx="4543668" cy="2985433"/>
          </a:xfrm>
          <a:prstGeom prst="rect">
            <a:avLst/>
          </a:prstGeom>
        </p:spPr>
        <p:txBody>
          <a:bodyPr wrap="square">
            <a:spAutoFit/>
          </a:bodyPr>
          <a:lstStyle/>
          <a:p>
            <a:r>
              <a:rPr lang="en-US" sz="7200" dirty="0">
                <a:solidFill>
                  <a:srgbClr val="D42B2B"/>
                </a:solidFill>
              </a:rPr>
              <a:t>“</a:t>
            </a:r>
            <a:r>
              <a:rPr lang="en-US" sz="3200" dirty="0">
                <a:solidFill>
                  <a:srgbClr val="D42B2B"/>
                </a:solidFill>
              </a:rPr>
              <a:t>Dhaka</a:t>
            </a:r>
            <a:r>
              <a:rPr lang="en-US" dirty="0">
                <a:solidFill>
                  <a:srgbClr val="D42B2B"/>
                </a:solidFill>
              </a:rPr>
              <a:t> city </a:t>
            </a:r>
            <a:r>
              <a:rPr lang="en-US" sz="3600" dirty="0">
                <a:solidFill>
                  <a:srgbClr val="D42B2B"/>
                </a:solidFill>
              </a:rPr>
              <a:t>in 2015 </a:t>
            </a:r>
            <a:r>
              <a:rPr lang="en-US" dirty="0">
                <a:solidFill>
                  <a:srgbClr val="D42B2B"/>
                </a:solidFill>
              </a:rPr>
              <a:t>– the </a:t>
            </a:r>
            <a:r>
              <a:rPr lang="en-US" sz="4400" dirty="0">
                <a:solidFill>
                  <a:srgbClr val="D42B2B"/>
                </a:solidFill>
              </a:rPr>
              <a:t>second</a:t>
            </a:r>
            <a:r>
              <a:rPr lang="en-US" dirty="0">
                <a:solidFill>
                  <a:srgbClr val="D42B2B"/>
                </a:solidFill>
              </a:rPr>
              <a:t> </a:t>
            </a:r>
            <a:r>
              <a:rPr lang="en-US" sz="3600" dirty="0">
                <a:solidFill>
                  <a:srgbClr val="D42B2B"/>
                </a:solidFill>
              </a:rPr>
              <a:t>least</a:t>
            </a:r>
            <a:r>
              <a:rPr lang="en-US" dirty="0">
                <a:solidFill>
                  <a:srgbClr val="D42B2B"/>
                </a:solidFill>
              </a:rPr>
              <a:t> </a:t>
            </a:r>
            <a:r>
              <a:rPr lang="en-US" sz="4400" dirty="0">
                <a:solidFill>
                  <a:srgbClr val="D42B2B"/>
                </a:solidFill>
              </a:rPr>
              <a:t>livable</a:t>
            </a:r>
            <a:r>
              <a:rPr lang="en-US" dirty="0">
                <a:solidFill>
                  <a:srgbClr val="D42B2B"/>
                </a:solidFill>
              </a:rPr>
              <a:t> </a:t>
            </a:r>
            <a:r>
              <a:rPr lang="en-US" sz="2400" dirty="0">
                <a:solidFill>
                  <a:srgbClr val="D42B2B"/>
                </a:solidFill>
              </a:rPr>
              <a:t>city     </a:t>
            </a:r>
            <a:r>
              <a:rPr lang="en-US" sz="7200" dirty="0">
                <a:solidFill>
                  <a:srgbClr val="D42B2B"/>
                </a:solidFill>
              </a:rPr>
              <a:t>”</a:t>
            </a:r>
          </a:p>
        </p:txBody>
      </p:sp>
    </p:spTree>
    <p:extLst>
      <p:ext uri="{BB962C8B-B14F-4D97-AF65-F5344CB8AC3E}">
        <p14:creationId xmlns:p14="http://schemas.microsoft.com/office/powerpoint/2010/main" val="4276018305"/>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C0C3DEB5-6F74-44F6-8871-3499AE717838}"/>
              </a:ext>
            </a:extLst>
          </p:cNvPr>
          <p:cNvSpPr txBox="1"/>
          <p:nvPr/>
        </p:nvSpPr>
        <p:spPr>
          <a:xfrm>
            <a:off x="6883878" y="603849"/>
            <a:ext cx="5124091" cy="430887"/>
          </a:xfrm>
          <a:prstGeom prst="rect">
            <a:avLst/>
          </a:prstGeom>
          <a:noFill/>
        </p:spPr>
        <p:txBody>
          <a:bodyPr wrap="square" lIns="0" tIns="0" rIns="0" bIns="0" rtlCol="0">
            <a:spAutoFit/>
          </a:bodyPr>
          <a:lstStyle/>
          <a:p>
            <a:r>
              <a:rPr lang="en-US" sz="2000" dirty="0">
                <a:solidFill>
                  <a:srgbClr val="D42B2B"/>
                </a:solidFill>
              </a:rPr>
              <a:t> </a:t>
            </a:r>
            <a:r>
              <a:rPr lang="en-US" sz="2800" dirty="0">
                <a:solidFill>
                  <a:srgbClr val="D42B2B"/>
                </a:solidFill>
              </a:rPr>
              <a:t>|</a:t>
            </a:r>
            <a:r>
              <a:rPr lang="en-US" sz="2000" dirty="0">
                <a:solidFill>
                  <a:srgbClr val="D42B2B"/>
                </a:solidFill>
              </a:rPr>
              <a:t>  Environmental Concerns in Bangladesh</a:t>
            </a:r>
            <a:endParaRPr lang="en-US" sz="2000" kern="0" dirty="0">
              <a:solidFill>
                <a:srgbClr val="D42B2B"/>
              </a:solidFill>
            </a:endParaRPr>
          </a:p>
        </p:txBody>
      </p:sp>
      <p:pic>
        <p:nvPicPr>
          <p:cNvPr id="6" name="Picture 5">
            <a:extLst>
              <a:ext uri="{FF2B5EF4-FFF2-40B4-BE49-F238E27FC236}">
                <a16:creationId xmlns:a16="http://schemas.microsoft.com/office/drawing/2014/main" id="{91F74D4A-9E16-4275-90C5-F97189B724F9}"/>
              </a:ext>
            </a:extLst>
          </p:cNvPr>
          <p:cNvPicPr>
            <a:picLocks noChangeAspect="1"/>
          </p:cNvPicPr>
          <p:nvPr/>
        </p:nvPicPr>
        <p:blipFill>
          <a:blip r:embed="rId4">
            <a:extLst>
              <a:ext uri="{BEBA8EAE-BF5A-486C-A8C5-ECC9F3942E4B}">
                <a14:imgProps xmlns:a14="http://schemas.microsoft.com/office/drawing/2010/main">
                  <a14:imgLayer r:embed="rId5">
                    <a14:imgEffect>
                      <a14:saturation sat="66000"/>
                    </a14:imgEffect>
                  </a14:imgLayer>
                </a14:imgProps>
              </a:ext>
            </a:extLst>
          </a:blip>
          <a:stretch>
            <a:fillRect/>
          </a:stretch>
        </p:blipFill>
        <p:spPr>
          <a:xfrm>
            <a:off x="1097239" y="445535"/>
            <a:ext cx="551406" cy="708492"/>
          </a:xfrm>
          <a:prstGeom prst="rect">
            <a:avLst/>
          </a:prstGeom>
        </p:spPr>
      </p:pic>
      <p:graphicFrame>
        <p:nvGraphicFramePr>
          <p:cNvPr id="3" name="Object 2" hidden="1">
            <a:extLst>
              <a:ext uri="{FF2B5EF4-FFF2-40B4-BE49-F238E27FC236}">
                <a16:creationId xmlns:a16="http://schemas.microsoft.com/office/drawing/2014/main" id="{29F5A9FD-BD4B-41CD-9545-C14EE113DFB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6" name="think-cell Slide" r:id="rId6" imgW="360" imgH="360" progId="TCLayout.ActiveDocument.1">
                  <p:embed/>
                </p:oleObj>
              </mc:Choice>
              <mc:Fallback>
                <p:oleObj name="think-cell Slide" r:id="rId6" imgW="360" imgH="360" progId="TCLayout.ActiveDocument.1">
                  <p:embed/>
                  <p:pic>
                    <p:nvPicPr>
                      <p:cNvPr id="3" name="Object 2" hidden="1">
                        <a:extLst>
                          <a:ext uri="{FF2B5EF4-FFF2-40B4-BE49-F238E27FC236}">
                            <a16:creationId xmlns:a16="http://schemas.microsoft.com/office/drawing/2014/main" id="{29F5A9FD-BD4B-41CD-9545-C14EE113DFB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26F784E-485C-46E9-A476-2051D18874E2}"/>
              </a:ext>
            </a:extLst>
          </p:cNvPr>
          <p:cNvSpPr>
            <a:spLocks noGrp="1"/>
          </p:cNvSpPr>
          <p:nvPr>
            <p:ph type="title"/>
          </p:nvPr>
        </p:nvSpPr>
        <p:spPr>
          <a:xfrm>
            <a:off x="282770" y="346222"/>
            <a:ext cx="2180344" cy="688514"/>
          </a:xfrm>
        </p:spPr>
        <p:txBody>
          <a:bodyPr vert="horz" lIns="0" tIns="0" rIns="0" bIns="0" rtlCol="0" anchor="t" anchorCtr="0">
            <a:noAutofit/>
          </a:bodyPr>
          <a:lstStyle/>
          <a:p>
            <a:r>
              <a:rPr lang="en-US" sz="1200" dirty="0">
                <a:ea typeface="+mj-lt"/>
                <a:cs typeface="+mj-lt"/>
              </a:rPr>
              <a:t>Environmental Problems </a:t>
            </a:r>
            <a:br>
              <a:rPr lang="en-US" sz="1200" dirty="0">
                <a:ea typeface="+mj-lt"/>
                <a:cs typeface="+mj-lt"/>
              </a:rPr>
            </a:br>
            <a:br>
              <a:rPr lang="en-US" sz="1200" dirty="0">
                <a:ea typeface="+mj-lt"/>
                <a:cs typeface="+mj-lt"/>
              </a:rPr>
            </a:br>
            <a:endParaRPr lang="en-US" sz="1200" dirty="0"/>
          </a:p>
        </p:txBody>
      </p:sp>
      <p:sp>
        <p:nvSpPr>
          <p:cNvPr id="4" name="TextBox 3">
            <a:extLst>
              <a:ext uri="{FF2B5EF4-FFF2-40B4-BE49-F238E27FC236}">
                <a16:creationId xmlns:a16="http://schemas.microsoft.com/office/drawing/2014/main" id="{32DF85C0-3BEE-4729-9C07-A4274FBB1381}"/>
              </a:ext>
            </a:extLst>
          </p:cNvPr>
          <p:cNvSpPr txBox="1"/>
          <p:nvPr/>
        </p:nvSpPr>
        <p:spPr>
          <a:xfrm>
            <a:off x="282770" y="495287"/>
            <a:ext cx="4879445" cy="430887"/>
          </a:xfrm>
          <a:prstGeom prst="rect">
            <a:avLst/>
          </a:prstGeom>
          <a:noFill/>
        </p:spPr>
        <p:txBody>
          <a:bodyPr wrap="square" lIns="0" tIns="0" rIns="0" bIns="0" rtlCol="0">
            <a:spAutoFit/>
          </a:bodyPr>
          <a:lstStyle/>
          <a:p>
            <a:r>
              <a:rPr lang="en-US" sz="1400" b="1" dirty="0">
                <a:ea typeface="+mj-lt"/>
                <a:cs typeface="+mj-lt"/>
              </a:rPr>
              <a:t>in</a:t>
            </a:r>
            <a:br>
              <a:rPr lang="en-US" sz="1400" b="1" dirty="0">
                <a:ea typeface="+mj-lt"/>
                <a:cs typeface="+mj-lt"/>
              </a:rPr>
            </a:br>
            <a:r>
              <a:rPr lang="en-US" sz="1400" b="1" dirty="0">
                <a:ea typeface="+mj-lt"/>
                <a:cs typeface="+mj-lt"/>
              </a:rPr>
              <a:t>Bangladesh</a:t>
            </a:r>
            <a:endParaRPr lang="en-US" sz="1400" b="1" kern="0" dirty="0"/>
          </a:p>
        </p:txBody>
      </p:sp>
      <p:sp>
        <p:nvSpPr>
          <p:cNvPr id="9" name="Parallelogram 8">
            <a:extLst>
              <a:ext uri="{FF2B5EF4-FFF2-40B4-BE49-F238E27FC236}">
                <a16:creationId xmlns:a16="http://schemas.microsoft.com/office/drawing/2014/main" id="{73E2F555-5DF8-45D5-9F96-865FECD6B3AB}"/>
              </a:ext>
            </a:extLst>
          </p:cNvPr>
          <p:cNvSpPr/>
          <p:nvPr/>
        </p:nvSpPr>
        <p:spPr>
          <a:xfrm>
            <a:off x="-10911219" y="1398588"/>
            <a:ext cx="10911219" cy="952773"/>
          </a:xfrm>
          <a:prstGeom prst="parallelogram">
            <a:avLst>
              <a:gd name="adj" fmla="val 67857"/>
            </a:avLst>
          </a:prstGeom>
          <a:solidFill>
            <a:srgbClr val="810020"/>
          </a:solidFill>
          <a:ln w="9525">
            <a:noFill/>
          </a:ln>
          <a:effectLst>
            <a:outerShdw blurRad="50800" dist="38100" dir="13500000" algn="b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r>
              <a:rPr lang="en-US" sz="2400" dirty="0"/>
              <a:t>Jeopardized public health due to particulate air pollution</a:t>
            </a:r>
            <a:endParaRPr lang="en-US" sz="2400" kern="0" dirty="0">
              <a:solidFill>
                <a:schemeClr val="tx1"/>
              </a:solidFill>
            </a:endParaRPr>
          </a:p>
        </p:txBody>
      </p:sp>
      <p:sp>
        <p:nvSpPr>
          <p:cNvPr id="10" name="Parallelogram 9">
            <a:extLst>
              <a:ext uri="{FF2B5EF4-FFF2-40B4-BE49-F238E27FC236}">
                <a16:creationId xmlns:a16="http://schemas.microsoft.com/office/drawing/2014/main" id="{190ADCF1-48A0-470C-9452-636F03990BA6}"/>
              </a:ext>
            </a:extLst>
          </p:cNvPr>
          <p:cNvSpPr/>
          <p:nvPr/>
        </p:nvSpPr>
        <p:spPr>
          <a:xfrm>
            <a:off x="-10911219" y="2144578"/>
            <a:ext cx="10911218" cy="952773"/>
          </a:xfrm>
          <a:prstGeom prst="parallelogram">
            <a:avLst>
              <a:gd name="adj" fmla="val 67857"/>
            </a:avLst>
          </a:prstGeom>
          <a:solidFill>
            <a:srgbClr val="900A22"/>
          </a:solidFill>
          <a:ln w="9525">
            <a:noFill/>
          </a:ln>
          <a:effectLst>
            <a:outerShdw blurRad="50800" dist="38100" dir="13500000" algn="b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r>
              <a:rPr lang="en-US" sz="2000" dirty="0"/>
              <a:t>Loss of significant amount of water resources</a:t>
            </a:r>
            <a:endParaRPr lang="en-US" sz="2000" kern="0" dirty="0">
              <a:solidFill>
                <a:schemeClr val="tx1"/>
              </a:solidFill>
            </a:endParaRPr>
          </a:p>
        </p:txBody>
      </p:sp>
      <p:sp>
        <p:nvSpPr>
          <p:cNvPr id="11" name="Parallelogram 10">
            <a:extLst>
              <a:ext uri="{FF2B5EF4-FFF2-40B4-BE49-F238E27FC236}">
                <a16:creationId xmlns:a16="http://schemas.microsoft.com/office/drawing/2014/main" id="{C9B30781-DB2F-4D22-982B-39D30DE0C639}"/>
              </a:ext>
            </a:extLst>
          </p:cNvPr>
          <p:cNvSpPr/>
          <p:nvPr/>
        </p:nvSpPr>
        <p:spPr>
          <a:xfrm>
            <a:off x="-10954586" y="2952614"/>
            <a:ext cx="10954585" cy="952772"/>
          </a:xfrm>
          <a:prstGeom prst="parallelogram">
            <a:avLst>
              <a:gd name="adj" fmla="val 67857"/>
            </a:avLst>
          </a:prstGeom>
          <a:solidFill>
            <a:srgbClr val="A41726"/>
          </a:solidFill>
          <a:ln w="9525">
            <a:noFill/>
          </a:ln>
          <a:effectLst>
            <a:outerShdw blurRad="50800" dist="38100" dir="13500000" algn="b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r>
              <a:rPr lang="en-US" sz="2000" dirty="0"/>
              <a:t>Groundwater contamination by trace elements</a:t>
            </a:r>
            <a:endParaRPr lang="en-US" sz="2000" kern="0" dirty="0">
              <a:solidFill>
                <a:schemeClr val="tx1"/>
              </a:solidFill>
            </a:endParaRPr>
          </a:p>
        </p:txBody>
      </p:sp>
      <p:sp>
        <p:nvSpPr>
          <p:cNvPr id="12" name="Parallelogram 11">
            <a:extLst>
              <a:ext uri="{FF2B5EF4-FFF2-40B4-BE49-F238E27FC236}">
                <a16:creationId xmlns:a16="http://schemas.microsoft.com/office/drawing/2014/main" id="{348A2DA0-750A-49F1-95CE-D764C56BBC66}"/>
              </a:ext>
            </a:extLst>
          </p:cNvPr>
          <p:cNvSpPr/>
          <p:nvPr/>
        </p:nvSpPr>
        <p:spPr>
          <a:xfrm>
            <a:off x="-11086380" y="3757435"/>
            <a:ext cx="11086380" cy="955987"/>
          </a:xfrm>
          <a:prstGeom prst="parallelogram">
            <a:avLst>
              <a:gd name="adj" fmla="val 67857"/>
            </a:avLst>
          </a:prstGeom>
          <a:solidFill>
            <a:srgbClr val="BA262B"/>
          </a:solidFill>
          <a:ln w="9525">
            <a:noFill/>
          </a:ln>
          <a:effectLst>
            <a:outerShdw blurRad="50800" dist="38100" dir="13500000" algn="b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r>
              <a:rPr lang="en-US" sz="2000" dirty="0"/>
              <a:t>Biodiversity depletion (Chalan </a:t>
            </a:r>
            <a:r>
              <a:rPr lang="en-US" sz="2000" dirty="0" err="1"/>
              <a:t>Beel</a:t>
            </a:r>
            <a:r>
              <a:rPr lang="en-US" sz="2000" dirty="0"/>
              <a:t>, Sundarbans, </a:t>
            </a:r>
            <a:r>
              <a:rPr lang="en-US" sz="2000" dirty="0" err="1"/>
              <a:t>Modhupur</a:t>
            </a:r>
            <a:r>
              <a:rPr lang="en-US" sz="2000" dirty="0"/>
              <a:t> forest and </a:t>
            </a:r>
            <a:r>
              <a:rPr lang="en-US" sz="2000" dirty="0" err="1"/>
              <a:t>Chokoria</a:t>
            </a:r>
            <a:r>
              <a:rPr lang="en-US" sz="2000" dirty="0"/>
              <a:t> mangrove forest)</a:t>
            </a:r>
            <a:endParaRPr lang="en-US" sz="2000" kern="0" dirty="0">
              <a:solidFill>
                <a:schemeClr val="tx1"/>
              </a:solidFill>
            </a:endParaRPr>
          </a:p>
        </p:txBody>
      </p:sp>
      <p:sp>
        <p:nvSpPr>
          <p:cNvPr id="17" name="Parallelogram 16">
            <a:extLst>
              <a:ext uri="{FF2B5EF4-FFF2-40B4-BE49-F238E27FC236}">
                <a16:creationId xmlns:a16="http://schemas.microsoft.com/office/drawing/2014/main" id="{64BB4C73-4923-479D-B935-402B5D58C92E}"/>
              </a:ext>
            </a:extLst>
          </p:cNvPr>
          <p:cNvSpPr/>
          <p:nvPr/>
        </p:nvSpPr>
        <p:spPr>
          <a:xfrm>
            <a:off x="-11086380" y="4710207"/>
            <a:ext cx="11086380" cy="955987"/>
          </a:xfrm>
          <a:prstGeom prst="parallelogram">
            <a:avLst>
              <a:gd name="adj" fmla="val 67857"/>
            </a:avLst>
          </a:prstGeom>
          <a:solidFill>
            <a:srgbClr val="CA302D"/>
          </a:solidFill>
          <a:ln w="9525">
            <a:noFill/>
          </a:ln>
          <a:effectLst>
            <a:outerShdw blurRad="50800" dist="38100" dir="13500000" algn="b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r>
              <a:rPr lang="en-US" sz="2000" dirty="0"/>
              <a:t>Reduction of fertility and cultivable lands due to heavy metalloid contamination in soil</a:t>
            </a:r>
            <a:endParaRPr lang="en-US" sz="2000" kern="0" dirty="0">
              <a:solidFill>
                <a:schemeClr val="tx1"/>
              </a:solidFill>
            </a:endParaRPr>
          </a:p>
        </p:txBody>
      </p:sp>
      <p:sp>
        <p:nvSpPr>
          <p:cNvPr id="19" name="Parallelogram 18">
            <a:extLst>
              <a:ext uri="{FF2B5EF4-FFF2-40B4-BE49-F238E27FC236}">
                <a16:creationId xmlns:a16="http://schemas.microsoft.com/office/drawing/2014/main" id="{A460B189-D5D2-4143-9EBD-07EFB403C6CE}"/>
              </a:ext>
            </a:extLst>
          </p:cNvPr>
          <p:cNvSpPr/>
          <p:nvPr/>
        </p:nvSpPr>
        <p:spPr>
          <a:xfrm>
            <a:off x="-11080711" y="5454568"/>
            <a:ext cx="11086380" cy="955987"/>
          </a:xfrm>
          <a:prstGeom prst="parallelogram">
            <a:avLst>
              <a:gd name="adj" fmla="val 67857"/>
            </a:avLst>
          </a:prstGeom>
          <a:solidFill>
            <a:srgbClr val="D54643"/>
          </a:solidFill>
          <a:ln w="9525">
            <a:noFill/>
          </a:ln>
          <a:effectLst>
            <a:outerShdw blurRad="50800" dist="38100" dir="13500000" algn="b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r>
              <a:rPr lang="en-US" sz="2000" dirty="0"/>
              <a:t>Increase in natural disasters due to climate change</a:t>
            </a:r>
            <a:endParaRPr lang="en-US" sz="2000" kern="0" dirty="0">
              <a:solidFill>
                <a:schemeClr val="tx1"/>
              </a:solidFill>
            </a:endParaRPr>
          </a:p>
        </p:txBody>
      </p:sp>
    </p:spTree>
    <p:extLst>
      <p:ext uri="{BB962C8B-B14F-4D97-AF65-F5344CB8AC3E}">
        <p14:creationId xmlns:p14="http://schemas.microsoft.com/office/powerpoint/2010/main" val="3822349095"/>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grpId="0" nodeType="clickEffect">
                                  <p:stCondLst>
                                    <p:cond delay="0"/>
                                  </p:stCondLst>
                                  <p:childTnLst>
                                    <p:animMotion origin="layout" path="M 0.00651 0.00046 L 0.82097 0.00069 " pathEditMode="relative" rAng="0" ptsTypes="AA">
                                      <p:cBhvr>
                                        <p:cTn id="6" dur="2000" fill="hold"/>
                                        <p:tgtEl>
                                          <p:spTgt spid="9"/>
                                        </p:tgtEl>
                                        <p:attrNameLst>
                                          <p:attrName>ppt_x</p:attrName>
                                          <p:attrName>ppt_y</p:attrName>
                                        </p:attrNameLst>
                                      </p:cBhvr>
                                      <p:rCtr x="40729" y="0"/>
                                    </p:animMotion>
                                  </p:childTnLst>
                                </p:cTn>
                              </p:par>
                            </p:childTnLst>
                          </p:cTn>
                        </p:par>
                      </p:childTnLst>
                    </p:cTn>
                  </p:par>
                  <p:par>
                    <p:cTn id="7" fill="hold">
                      <p:stCondLst>
                        <p:cond delay="indefinite"/>
                      </p:stCondLst>
                      <p:childTnLst>
                        <p:par>
                          <p:cTn id="8" fill="hold">
                            <p:stCondLst>
                              <p:cond delay="0"/>
                            </p:stCondLst>
                            <p:childTnLst>
                              <p:par>
                                <p:cTn id="9" presetID="42" presetClass="path" presetSubtype="0" accel="50000" decel="50000" fill="hold" grpId="0" nodeType="clickEffect">
                                  <p:stCondLst>
                                    <p:cond delay="0"/>
                                  </p:stCondLst>
                                  <p:childTnLst>
                                    <p:animMotion origin="layout" path="M 8.33333E-7 1.11111E-6 L 0.82422 0.01157 " pathEditMode="relative" rAng="0" ptsTypes="AA">
                                      <p:cBhvr>
                                        <p:cTn id="10" dur="2000" fill="hold"/>
                                        <p:tgtEl>
                                          <p:spTgt spid="10"/>
                                        </p:tgtEl>
                                        <p:attrNameLst>
                                          <p:attrName>ppt_x</p:attrName>
                                          <p:attrName>ppt_y</p:attrName>
                                        </p:attrNameLst>
                                      </p:cBhvr>
                                      <p:rCtr x="41211" y="579"/>
                                    </p:animMotion>
                                  </p:childTnLst>
                                </p:cTn>
                              </p:par>
                            </p:childTnLst>
                          </p:cTn>
                        </p:par>
                      </p:childTnLst>
                    </p:cTn>
                  </p:par>
                  <p:par>
                    <p:cTn id="11" fill="hold">
                      <p:stCondLst>
                        <p:cond delay="indefinite"/>
                      </p:stCondLst>
                      <p:childTnLst>
                        <p:par>
                          <p:cTn id="12" fill="hold">
                            <p:stCondLst>
                              <p:cond delay="0"/>
                            </p:stCondLst>
                            <p:childTnLst>
                              <p:par>
                                <p:cTn id="13" presetID="42" presetClass="path" presetSubtype="0" accel="50000" decel="50000" fill="hold" grpId="0" nodeType="clickEffect">
                                  <p:stCondLst>
                                    <p:cond delay="0"/>
                                  </p:stCondLst>
                                  <p:childTnLst>
                                    <p:animMotion origin="layout" path="M 0.01016 0 L 0.82787 0 " pathEditMode="relative" rAng="0" ptsTypes="AA">
                                      <p:cBhvr>
                                        <p:cTn id="14" dur="2000" fill="hold"/>
                                        <p:tgtEl>
                                          <p:spTgt spid="11"/>
                                        </p:tgtEl>
                                        <p:attrNameLst>
                                          <p:attrName>ppt_x</p:attrName>
                                          <p:attrName>ppt_y</p:attrName>
                                        </p:attrNameLst>
                                      </p:cBhvr>
                                      <p:rCtr x="40885" y="0"/>
                                    </p:animMotion>
                                  </p:childTnLst>
                                </p:cTn>
                              </p:par>
                            </p:childTnLst>
                          </p:cTn>
                        </p:par>
                      </p:childTnLst>
                    </p:cTn>
                  </p:par>
                  <p:par>
                    <p:cTn id="15" fill="hold">
                      <p:stCondLst>
                        <p:cond delay="indefinite"/>
                      </p:stCondLst>
                      <p:childTnLst>
                        <p:par>
                          <p:cTn id="16" fill="hold">
                            <p:stCondLst>
                              <p:cond delay="0"/>
                            </p:stCondLst>
                            <p:childTnLst>
                              <p:par>
                                <p:cTn id="17" presetID="42" presetClass="path" presetSubtype="0" accel="50000" decel="50000" fill="hold" grpId="0" nodeType="clickEffect">
                                  <p:stCondLst>
                                    <p:cond delay="0"/>
                                  </p:stCondLst>
                                  <p:childTnLst>
                                    <p:animMotion origin="layout" path="M 0.00716 -0.00046 L 0.83321 0.00324 " pathEditMode="relative" rAng="0" ptsTypes="AA">
                                      <p:cBhvr>
                                        <p:cTn id="18" dur="2000" fill="hold"/>
                                        <p:tgtEl>
                                          <p:spTgt spid="12"/>
                                        </p:tgtEl>
                                        <p:attrNameLst>
                                          <p:attrName>ppt_x</p:attrName>
                                          <p:attrName>ppt_y</p:attrName>
                                        </p:attrNameLst>
                                      </p:cBhvr>
                                      <p:rCtr x="41302" y="185"/>
                                    </p:animMotion>
                                  </p:childTnLst>
                                </p:cTn>
                              </p:par>
                            </p:childTnLst>
                          </p:cTn>
                        </p:par>
                      </p:childTnLst>
                    </p:cTn>
                  </p:par>
                  <p:par>
                    <p:cTn id="19" fill="hold">
                      <p:stCondLst>
                        <p:cond delay="indefinite"/>
                      </p:stCondLst>
                      <p:childTnLst>
                        <p:par>
                          <p:cTn id="20" fill="hold">
                            <p:stCondLst>
                              <p:cond delay="0"/>
                            </p:stCondLst>
                            <p:childTnLst>
                              <p:par>
                                <p:cTn id="21" presetID="42" presetClass="path" presetSubtype="0" accel="50000" decel="50000" fill="hold" grpId="0" nodeType="clickEffect">
                                  <p:stCondLst>
                                    <p:cond delay="0"/>
                                  </p:stCondLst>
                                  <p:childTnLst>
                                    <p:animMotion origin="layout" path="M 0.0086 0.00023 L 0.82891 -0.00879 " pathEditMode="relative" rAng="0" ptsTypes="AA">
                                      <p:cBhvr>
                                        <p:cTn id="22" dur="2000" fill="hold"/>
                                        <p:tgtEl>
                                          <p:spTgt spid="17"/>
                                        </p:tgtEl>
                                        <p:attrNameLst>
                                          <p:attrName>ppt_x</p:attrName>
                                          <p:attrName>ppt_y</p:attrName>
                                        </p:attrNameLst>
                                      </p:cBhvr>
                                      <p:rCtr x="41016" y="-463"/>
                                    </p:animMotion>
                                  </p:childTnLst>
                                </p:cTn>
                              </p:par>
                            </p:childTnLst>
                          </p:cTn>
                        </p:par>
                      </p:childTnLst>
                    </p:cTn>
                  </p:par>
                  <p:par>
                    <p:cTn id="23" fill="hold">
                      <p:stCondLst>
                        <p:cond delay="indefinite"/>
                      </p:stCondLst>
                      <p:childTnLst>
                        <p:par>
                          <p:cTn id="24" fill="hold">
                            <p:stCondLst>
                              <p:cond delay="0"/>
                            </p:stCondLst>
                            <p:childTnLst>
                              <p:par>
                                <p:cTn id="25" presetID="42" presetClass="path" presetSubtype="0" accel="50000" decel="50000" fill="hold" grpId="0" nodeType="clickEffect">
                                  <p:stCondLst>
                                    <p:cond delay="0"/>
                                  </p:stCondLst>
                                  <p:childTnLst>
                                    <p:animMotion origin="layout" path="M 0.01797 3.7037E-6 L 0.83412 -0.00996 " pathEditMode="relative" rAng="0" ptsTypes="AA">
                                      <p:cBhvr>
                                        <p:cTn id="26" dur="2000" fill="hold"/>
                                        <p:tgtEl>
                                          <p:spTgt spid="19"/>
                                        </p:tgtEl>
                                        <p:attrNameLst>
                                          <p:attrName>ppt_x</p:attrName>
                                          <p:attrName>ppt_y</p:attrName>
                                        </p:attrNameLst>
                                      </p:cBhvr>
                                      <p:rCtr x="40807" y="-50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P spid="12" grpId="0" animBg="1"/>
      <p:bldP spid="17" grpId="0" animBg="1"/>
      <p:bldP spid="19"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C0C3DEB5-6F74-44F6-8871-3499AE717838}"/>
              </a:ext>
            </a:extLst>
          </p:cNvPr>
          <p:cNvSpPr txBox="1"/>
          <p:nvPr/>
        </p:nvSpPr>
        <p:spPr>
          <a:xfrm>
            <a:off x="6883878" y="603849"/>
            <a:ext cx="5124091" cy="430887"/>
          </a:xfrm>
          <a:prstGeom prst="rect">
            <a:avLst/>
          </a:prstGeom>
          <a:noFill/>
        </p:spPr>
        <p:txBody>
          <a:bodyPr wrap="square" lIns="0" tIns="0" rIns="0" bIns="0" rtlCol="0">
            <a:spAutoFit/>
          </a:bodyPr>
          <a:lstStyle/>
          <a:p>
            <a:r>
              <a:rPr lang="en-US" sz="2000" dirty="0">
                <a:solidFill>
                  <a:srgbClr val="D42B2B"/>
                </a:solidFill>
              </a:rPr>
              <a:t> </a:t>
            </a:r>
            <a:r>
              <a:rPr lang="en-US" sz="2800" dirty="0">
                <a:solidFill>
                  <a:srgbClr val="D42B2B"/>
                </a:solidFill>
              </a:rPr>
              <a:t>|</a:t>
            </a:r>
            <a:r>
              <a:rPr lang="en-US" sz="2000" dirty="0">
                <a:solidFill>
                  <a:srgbClr val="D42B2B"/>
                </a:solidFill>
              </a:rPr>
              <a:t>  Environmental Concerns in Bangladesh</a:t>
            </a:r>
            <a:endParaRPr lang="en-US" sz="2000" kern="0" dirty="0">
              <a:solidFill>
                <a:srgbClr val="D42B2B"/>
              </a:solidFill>
            </a:endParaRPr>
          </a:p>
        </p:txBody>
      </p:sp>
      <p:pic>
        <p:nvPicPr>
          <p:cNvPr id="6" name="Picture 5">
            <a:extLst>
              <a:ext uri="{FF2B5EF4-FFF2-40B4-BE49-F238E27FC236}">
                <a16:creationId xmlns:a16="http://schemas.microsoft.com/office/drawing/2014/main" id="{91F74D4A-9E16-4275-90C5-F97189B724F9}"/>
              </a:ext>
            </a:extLst>
          </p:cNvPr>
          <p:cNvPicPr>
            <a:picLocks noChangeAspect="1"/>
          </p:cNvPicPr>
          <p:nvPr/>
        </p:nvPicPr>
        <p:blipFill>
          <a:blip r:embed="rId4">
            <a:extLst>
              <a:ext uri="{BEBA8EAE-BF5A-486C-A8C5-ECC9F3942E4B}">
                <a14:imgProps xmlns:a14="http://schemas.microsoft.com/office/drawing/2010/main">
                  <a14:imgLayer r:embed="rId5">
                    <a14:imgEffect>
                      <a14:saturation sat="66000"/>
                    </a14:imgEffect>
                  </a14:imgLayer>
                </a14:imgProps>
              </a:ext>
            </a:extLst>
          </a:blip>
          <a:stretch>
            <a:fillRect/>
          </a:stretch>
        </p:blipFill>
        <p:spPr>
          <a:xfrm>
            <a:off x="1097239" y="445535"/>
            <a:ext cx="551406" cy="708492"/>
          </a:xfrm>
          <a:prstGeom prst="rect">
            <a:avLst/>
          </a:prstGeom>
        </p:spPr>
      </p:pic>
      <p:graphicFrame>
        <p:nvGraphicFramePr>
          <p:cNvPr id="3" name="Object 2" hidden="1">
            <a:extLst>
              <a:ext uri="{FF2B5EF4-FFF2-40B4-BE49-F238E27FC236}">
                <a16:creationId xmlns:a16="http://schemas.microsoft.com/office/drawing/2014/main" id="{29F5A9FD-BD4B-41CD-9545-C14EE113DFB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0" name="think-cell Slide" r:id="rId6" imgW="360" imgH="360" progId="TCLayout.ActiveDocument.1">
                  <p:embed/>
                </p:oleObj>
              </mc:Choice>
              <mc:Fallback>
                <p:oleObj name="think-cell Slide" r:id="rId6" imgW="360" imgH="360" progId="TCLayout.ActiveDocument.1">
                  <p:embed/>
                  <p:pic>
                    <p:nvPicPr>
                      <p:cNvPr id="3" name="Object 2" hidden="1">
                        <a:extLst>
                          <a:ext uri="{FF2B5EF4-FFF2-40B4-BE49-F238E27FC236}">
                            <a16:creationId xmlns:a16="http://schemas.microsoft.com/office/drawing/2014/main" id="{29F5A9FD-BD4B-41CD-9545-C14EE113DFB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26F784E-485C-46E9-A476-2051D18874E2}"/>
              </a:ext>
            </a:extLst>
          </p:cNvPr>
          <p:cNvSpPr>
            <a:spLocks noGrp="1"/>
          </p:cNvSpPr>
          <p:nvPr>
            <p:ph type="title"/>
          </p:nvPr>
        </p:nvSpPr>
        <p:spPr>
          <a:xfrm>
            <a:off x="282770" y="346222"/>
            <a:ext cx="2180344" cy="688514"/>
          </a:xfrm>
        </p:spPr>
        <p:txBody>
          <a:bodyPr vert="horz" lIns="0" tIns="0" rIns="0" bIns="0" rtlCol="0" anchor="t" anchorCtr="0">
            <a:noAutofit/>
          </a:bodyPr>
          <a:lstStyle/>
          <a:p>
            <a:r>
              <a:rPr lang="en-US" sz="1200" dirty="0">
                <a:ea typeface="+mj-lt"/>
                <a:cs typeface="+mj-lt"/>
              </a:rPr>
              <a:t>Environmental Problems </a:t>
            </a:r>
            <a:br>
              <a:rPr lang="en-US" sz="1200" dirty="0">
                <a:ea typeface="+mj-lt"/>
                <a:cs typeface="+mj-lt"/>
              </a:rPr>
            </a:br>
            <a:br>
              <a:rPr lang="en-US" sz="1200" dirty="0">
                <a:ea typeface="+mj-lt"/>
                <a:cs typeface="+mj-lt"/>
              </a:rPr>
            </a:br>
            <a:endParaRPr lang="en-US" sz="1200" dirty="0"/>
          </a:p>
        </p:txBody>
      </p:sp>
      <p:sp>
        <p:nvSpPr>
          <p:cNvPr id="4" name="TextBox 3">
            <a:extLst>
              <a:ext uri="{FF2B5EF4-FFF2-40B4-BE49-F238E27FC236}">
                <a16:creationId xmlns:a16="http://schemas.microsoft.com/office/drawing/2014/main" id="{32DF85C0-3BEE-4729-9C07-A4274FBB1381}"/>
              </a:ext>
            </a:extLst>
          </p:cNvPr>
          <p:cNvSpPr txBox="1"/>
          <p:nvPr/>
        </p:nvSpPr>
        <p:spPr>
          <a:xfrm>
            <a:off x="282770" y="495287"/>
            <a:ext cx="4879445" cy="430887"/>
          </a:xfrm>
          <a:prstGeom prst="rect">
            <a:avLst/>
          </a:prstGeom>
          <a:noFill/>
        </p:spPr>
        <p:txBody>
          <a:bodyPr wrap="square" lIns="0" tIns="0" rIns="0" bIns="0" rtlCol="0">
            <a:spAutoFit/>
          </a:bodyPr>
          <a:lstStyle/>
          <a:p>
            <a:r>
              <a:rPr lang="en-US" sz="1400" b="1" dirty="0">
                <a:ea typeface="+mj-lt"/>
                <a:cs typeface="+mj-lt"/>
              </a:rPr>
              <a:t>in</a:t>
            </a:r>
            <a:br>
              <a:rPr lang="en-US" sz="1400" b="1" dirty="0">
                <a:ea typeface="+mj-lt"/>
                <a:cs typeface="+mj-lt"/>
              </a:rPr>
            </a:br>
            <a:r>
              <a:rPr lang="en-US" sz="1400" b="1" dirty="0">
                <a:ea typeface="+mj-lt"/>
                <a:cs typeface="+mj-lt"/>
              </a:rPr>
              <a:t>Bangladesh</a:t>
            </a:r>
            <a:endParaRPr lang="en-US" sz="1400" b="1" kern="0" dirty="0"/>
          </a:p>
        </p:txBody>
      </p:sp>
      <p:sp>
        <p:nvSpPr>
          <p:cNvPr id="19" name="Parallelogram 18">
            <a:extLst>
              <a:ext uri="{FF2B5EF4-FFF2-40B4-BE49-F238E27FC236}">
                <a16:creationId xmlns:a16="http://schemas.microsoft.com/office/drawing/2014/main" id="{A460B189-D5D2-4143-9EBD-07EFB403C6CE}"/>
              </a:ext>
            </a:extLst>
          </p:cNvPr>
          <p:cNvSpPr/>
          <p:nvPr/>
        </p:nvSpPr>
        <p:spPr>
          <a:xfrm>
            <a:off x="0" y="1398588"/>
            <a:ext cx="12192000" cy="533729"/>
          </a:xfrm>
          <a:prstGeom prst="parallelogram">
            <a:avLst>
              <a:gd name="adj" fmla="val 0"/>
            </a:avLst>
          </a:prstGeom>
          <a:solidFill>
            <a:srgbClr val="D54643"/>
          </a:solidFill>
          <a:ln w="9525">
            <a:noFill/>
          </a:ln>
          <a:effectLst>
            <a:outerShdw blurRad="50800" dist="38100" dir="13500000" algn="b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US" sz="2000" dirty="0"/>
              <a:t>Increase in natural disasters due to climate change</a:t>
            </a:r>
            <a:endParaRPr lang="en-US" sz="2000" kern="0" dirty="0">
              <a:solidFill>
                <a:schemeClr val="tx1"/>
              </a:solidFill>
            </a:endParaRPr>
          </a:p>
        </p:txBody>
      </p:sp>
      <p:pic>
        <p:nvPicPr>
          <p:cNvPr id="15" name="Picture 14">
            <a:extLst>
              <a:ext uri="{FF2B5EF4-FFF2-40B4-BE49-F238E27FC236}">
                <a16:creationId xmlns:a16="http://schemas.microsoft.com/office/drawing/2014/main" id="{5C0B2945-50ED-4E8C-A9C3-89CE5077332A}"/>
              </a:ext>
            </a:extLst>
          </p:cNvPr>
          <p:cNvPicPr>
            <a:picLocks noChangeAspect="1"/>
          </p:cNvPicPr>
          <p:nvPr/>
        </p:nvPicPr>
        <p:blipFill>
          <a:blip r:embed="rId8"/>
          <a:stretch>
            <a:fillRect/>
          </a:stretch>
        </p:blipFill>
        <p:spPr>
          <a:xfrm>
            <a:off x="12262946" y="2930"/>
            <a:ext cx="2785230" cy="1846488"/>
          </a:xfrm>
          <a:prstGeom prst="rect">
            <a:avLst/>
          </a:prstGeom>
        </p:spPr>
      </p:pic>
      <p:pic>
        <p:nvPicPr>
          <p:cNvPr id="16" name="Picture 15">
            <a:extLst>
              <a:ext uri="{FF2B5EF4-FFF2-40B4-BE49-F238E27FC236}">
                <a16:creationId xmlns:a16="http://schemas.microsoft.com/office/drawing/2014/main" id="{7AFEB520-7038-4B33-BF16-8CC0CD44B28F}"/>
              </a:ext>
            </a:extLst>
          </p:cNvPr>
          <p:cNvPicPr>
            <a:picLocks noChangeAspect="1"/>
          </p:cNvPicPr>
          <p:nvPr/>
        </p:nvPicPr>
        <p:blipFill>
          <a:blip r:embed="rId9"/>
          <a:stretch>
            <a:fillRect/>
          </a:stretch>
        </p:blipFill>
        <p:spPr>
          <a:xfrm>
            <a:off x="12262946" y="1884587"/>
            <a:ext cx="2461983" cy="1846488"/>
          </a:xfrm>
          <a:prstGeom prst="rect">
            <a:avLst/>
          </a:prstGeom>
        </p:spPr>
      </p:pic>
    </p:spTree>
    <p:extLst>
      <p:ext uri="{BB962C8B-B14F-4D97-AF65-F5344CB8AC3E}">
        <p14:creationId xmlns:p14="http://schemas.microsoft.com/office/powerpoint/2010/main" val="2110648196"/>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C0C3DEB5-6F74-44F6-8871-3499AE717838}"/>
              </a:ext>
            </a:extLst>
          </p:cNvPr>
          <p:cNvSpPr txBox="1"/>
          <p:nvPr/>
        </p:nvSpPr>
        <p:spPr>
          <a:xfrm>
            <a:off x="6883878" y="603849"/>
            <a:ext cx="5124091" cy="430887"/>
          </a:xfrm>
          <a:prstGeom prst="rect">
            <a:avLst/>
          </a:prstGeom>
          <a:noFill/>
        </p:spPr>
        <p:txBody>
          <a:bodyPr wrap="square" lIns="0" tIns="0" rIns="0" bIns="0" rtlCol="0">
            <a:spAutoFit/>
          </a:bodyPr>
          <a:lstStyle/>
          <a:p>
            <a:r>
              <a:rPr lang="en-US" sz="2000" dirty="0">
                <a:solidFill>
                  <a:srgbClr val="D42B2B"/>
                </a:solidFill>
              </a:rPr>
              <a:t> </a:t>
            </a:r>
            <a:r>
              <a:rPr lang="en-US" sz="2800" dirty="0">
                <a:solidFill>
                  <a:srgbClr val="D42B2B"/>
                </a:solidFill>
              </a:rPr>
              <a:t>|</a:t>
            </a:r>
            <a:r>
              <a:rPr lang="en-US" sz="2000" dirty="0">
                <a:solidFill>
                  <a:srgbClr val="D42B2B"/>
                </a:solidFill>
              </a:rPr>
              <a:t>  Environmental Concerns in Bangladesh</a:t>
            </a:r>
            <a:endParaRPr lang="en-US" sz="2000" kern="0" dirty="0">
              <a:solidFill>
                <a:srgbClr val="D42B2B"/>
              </a:solidFill>
            </a:endParaRPr>
          </a:p>
        </p:txBody>
      </p:sp>
      <p:pic>
        <p:nvPicPr>
          <p:cNvPr id="6" name="Picture 5">
            <a:extLst>
              <a:ext uri="{FF2B5EF4-FFF2-40B4-BE49-F238E27FC236}">
                <a16:creationId xmlns:a16="http://schemas.microsoft.com/office/drawing/2014/main" id="{91F74D4A-9E16-4275-90C5-F97189B724F9}"/>
              </a:ext>
            </a:extLst>
          </p:cNvPr>
          <p:cNvPicPr>
            <a:picLocks noChangeAspect="1"/>
          </p:cNvPicPr>
          <p:nvPr/>
        </p:nvPicPr>
        <p:blipFill>
          <a:blip r:embed="rId4">
            <a:extLst>
              <a:ext uri="{BEBA8EAE-BF5A-486C-A8C5-ECC9F3942E4B}">
                <a14:imgProps xmlns:a14="http://schemas.microsoft.com/office/drawing/2010/main">
                  <a14:imgLayer r:embed="rId5">
                    <a14:imgEffect>
                      <a14:saturation sat="66000"/>
                    </a14:imgEffect>
                  </a14:imgLayer>
                </a14:imgProps>
              </a:ext>
            </a:extLst>
          </a:blip>
          <a:stretch>
            <a:fillRect/>
          </a:stretch>
        </p:blipFill>
        <p:spPr>
          <a:xfrm>
            <a:off x="1097239" y="445535"/>
            <a:ext cx="551406" cy="708492"/>
          </a:xfrm>
          <a:prstGeom prst="rect">
            <a:avLst/>
          </a:prstGeom>
        </p:spPr>
      </p:pic>
      <p:graphicFrame>
        <p:nvGraphicFramePr>
          <p:cNvPr id="3" name="Object 2" hidden="1">
            <a:extLst>
              <a:ext uri="{FF2B5EF4-FFF2-40B4-BE49-F238E27FC236}">
                <a16:creationId xmlns:a16="http://schemas.microsoft.com/office/drawing/2014/main" id="{29F5A9FD-BD4B-41CD-9545-C14EE113DFB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3" name="think-cell Slide" r:id="rId6" imgW="360" imgH="360" progId="TCLayout.ActiveDocument.1">
                  <p:embed/>
                </p:oleObj>
              </mc:Choice>
              <mc:Fallback>
                <p:oleObj name="think-cell Slide" r:id="rId6" imgW="360" imgH="360" progId="TCLayout.ActiveDocument.1">
                  <p:embed/>
                  <p:pic>
                    <p:nvPicPr>
                      <p:cNvPr id="3" name="Object 2" hidden="1">
                        <a:extLst>
                          <a:ext uri="{FF2B5EF4-FFF2-40B4-BE49-F238E27FC236}">
                            <a16:creationId xmlns:a16="http://schemas.microsoft.com/office/drawing/2014/main" id="{29F5A9FD-BD4B-41CD-9545-C14EE113DFB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26F784E-485C-46E9-A476-2051D18874E2}"/>
              </a:ext>
            </a:extLst>
          </p:cNvPr>
          <p:cNvSpPr>
            <a:spLocks noGrp="1"/>
          </p:cNvSpPr>
          <p:nvPr>
            <p:ph type="title"/>
          </p:nvPr>
        </p:nvSpPr>
        <p:spPr>
          <a:xfrm>
            <a:off x="282770" y="346222"/>
            <a:ext cx="2180344" cy="688514"/>
          </a:xfrm>
        </p:spPr>
        <p:txBody>
          <a:bodyPr vert="horz" lIns="0" tIns="0" rIns="0" bIns="0" rtlCol="0" anchor="t" anchorCtr="0">
            <a:noAutofit/>
          </a:bodyPr>
          <a:lstStyle/>
          <a:p>
            <a:r>
              <a:rPr lang="en-US" sz="1200" dirty="0">
                <a:ea typeface="+mj-lt"/>
                <a:cs typeface="+mj-lt"/>
              </a:rPr>
              <a:t>Environmental Problems </a:t>
            </a:r>
            <a:br>
              <a:rPr lang="en-US" sz="1200" dirty="0">
                <a:ea typeface="+mj-lt"/>
                <a:cs typeface="+mj-lt"/>
              </a:rPr>
            </a:br>
            <a:br>
              <a:rPr lang="en-US" sz="1200" dirty="0">
                <a:ea typeface="+mj-lt"/>
                <a:cs typeface="+mj-lt"/>
              </a:rPr>
            </a:br>
            <a:endParaRPr lang="en-US" sz="1200" dirty="0"/>
          </a:p>
        </p:txBody>
      </p:sp>
      <p:sp>
        <p:nvSpPr>
          <p:cNvPr id="4" name="TextBox 3">
            <a:extLst>
              <a:ext uri="{FF2B5EF4-FFF2-40B4-BE49-F238E27FC236}">
                <a16:creationId xmlns:a16="http://schemas.microsoft.com/office/drawing/2014/main" id="{32DF85C0-3BEE-4729-9C07-A4274FBB1381}"/>
              </a:ext>
            </a:extLst>
          </p:cNvPr>
          <p:cNvSpPr txBox="1"/>
          <p:nvPr/>
        </p:nvSpPr>
        <p:spPr>
          <a:xfrm>
            <a:off x="282770" y="495287"/>
            <a:ext cx="4879445" cy="430887"/>
          </a:xfrm>
          <a:prstGeom prst="rect">
            <a:avLst/>
          </a:prstGeom>
          <a:noFill/>
        </p:spPr>
        <p:txBody>
          <a:bodyPr wrap="square" lIns="0" tIns="0" rIns="0" bIns="0" rtlCol="0">
            <a:spAutoFit/>
          </a:bodyPr>
          <a:lstStyle/>
          <a:p>
            <a:r>
              <a:rPr lang="en-US" sz="1400" b="1" dirty="0">
                <a:ea typeface="+mj-lt"/>
                <a:cs typeface="+mj-lt"/>
              </a:rPr>
              <a:t>in</a:t>
            </a:r>
            <a:br>
              <a:rPr lang="en-US" sz="1400" b="1" dirty="0">
                <a:ea typeface="+mj-lt"/>
                <a:cs typeface="+mj-lt"/>
              </a:rPr>
            </a:br>
            <a:r>
              <a:rPr lang="en-US" sz="1400" b="1" dirty="0">
                <a:ea typeface="+mj-lt"/>
                <a:cs typeface="+mj-lt"/>
              </a:rPr>
              <a:t>Bangladesh</a:t>
            </a:r>
            <a:endParaRPr lang="en-US" sz="1400" b="1" kern="0" dirty="0"/>
          </a:p>
        </p:txBody>
      </p:sp>
      <p:sp>
        <p:nvSpPr>
          <p:cNvPr id="19" name="Parallelogram 18">
            <a:extLst>
              <a:ext uri="{FF2B5EF4-FFF2-40B4-BE49-F238E27FC236}">
                <a16:creationId xmlns:a16="http://schemas.microsoft.com/office/drawing/2014/main" id="{A460B189-D5D2-4143-9EBD-07EFB403C6CE}"/>
              </a:ext>
            </a:extLst>
          </p:cNvPr>
          <p:cNvSpPr/>
          <p:nvPr/>
        </p:nvSpPr>
        <p:spPr>
          <a:xfrm>
            <a:off x="0" y="1398588"/>
            <a:ext cx="12192000" cy="533729"/>
          </a:xfrm>
          <a:prstGeom prst="parallelogram">
            <a:avLst>
              <a:gd name="adj" fmla="val 0"/>
            </a:avLst>
          </a:prstGeom>
          <a:solidFill>
            <a:srgbClr val="D54643"/>
          </a:solidFill>
          <a:ln w="9525">
            <a:noFill/>
          </a:ln>
          <a:effectLst>
            <a:outerShdw blurRad="50800" dist="38100" dir="13500000" algn="b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US" sz="2000" dirty="0"/>
              <a:t>Increase in natural disasters due to climate change</a:t>
            </a:r>
            <a:endParaRPr lang="en-US" sz="2000" kern="0" dirty="0">
              <a:solidFill>
                <a:schemeClr val="tx1"/>
              </a:solidFill>
            </a:endParaRPr>
          </a:p>
        </p:txBody>
      </p:sp>
      <p:pic>
        <p:nvPicPr>
          <p:cNvPr id="15" name="Picture 14">
            <a:extLst>
              <a:ext uri="{FF2B5EF4-FFF2-40B4-BE49-F238E27FC236}">
                <a16:creationId xmlns:a16="http://schemas.microsoft.com/office/drawing/2014/main" id="{5C0B2945-50ED-4E8C-A9C3-89CE5077332A}"/>
              </a:ext>
            </a:extLst>
          </p:cNvPr>
          <p:cNvPicPr>
            <a:picLocks noChangeAspect="1"/>
          </p:cNvPicPr>
          <p:nvPr/>
        </p:nvPicPr>
        <p:blipFill>
          <a:blip r:embed="rId8"/>
          <a:stretch>
            <a:fillRect/>
          </a:stretch>
        </p:blipFill>
        <p:spPr>
          <a:xfrm>
            <a:off x="12289323" y="4970532"/>
            <a:ext cx="2785230" cy="1846488"/>
          </a:xfrm>
          <a:prstGeom prst="rect">
            <a:avLst/>
          </a:prstGeom>
        </p:spPr>
      </p:pic>
      <p:pic>
        <p:nvPicPr>
          <p:cNvPr id="16" name="Picture 15">
            <a:extLst>
              <a:ext uri="{FF2B5EF4-FFF2-40B4-BE49-F238E27FC236}">
                <a16:creationId xmlns:a16="http://schemas.microsoft.com/office/drawing/2014/main" id="{7AFEB520-7038-4B33-BF16-8CC0CD44B28F}"/>
              </a:ext>
            </a:extLst>
          </p:cNvPr>
          <p:cNvPicPr>
            <a:picLocks noChangeAspect="1"/>
          </p:cNvPicPr>
          <p:nvPr/>
        </p:nvPicPr>
        <p:blipFill>
          <a:blip r:embed="rId9"/>
          <a:stretch>
            <a:fillRect/>
          </a:stretch>
        </p:blipFill>
        <p:spPr>
          <a:xfrm>
            <a:off x="1648645" y="196854"/>
            <a:ext cx="8619052" cy="6464292"/>
          </a:xfrm>
          <a:prstGeom prst="rect">
            <a:avLst/>
          </a:prstGeom>
        </p:spPr>
      </p:pic>
    </p:spTree>
    <p:extLst>
      <p:ext uri="{BB962C8B-B14F-4D97-AF65-F5344CB8AC3E}">
        <p14:creationId xmlns:p14="http://schemas.microsoft.com/office/powerpoint/2010/main" val="3602281331"/>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C0C3DEB5-6F74-44F6-8871-3499AE717838}"/>
              </a:ext>
            </a:extLst>
          </p:cNvPr>
          <p:cNvSpPr txBox="1"/>
          <p:nvPr/>
        </p:nvSpPr>
        <p:spPr>
          <a:xfrm>
            <a:off x="6883878" y="603849"/>
            <a:ext cx="5124091" cy="430887"/>
          </a:xfrm>
          <a:prstGeom prst="rect">
            <a:avLst/>
          </a:prstGeom>
          <a:noFill/>
        </p:spPr>
        <p:txBody>
          <a:bodyPr wrap="square" lIns="0" tIns="0" rIns="0" bIns="0" rtlCol="0">
            <a:spAutoFit/>
          </a:bodyPr>
          <a:lstStyle/>
          <a:p>
            <a:r>
              <a:rPr lang="en-US" sz="2000" dirty="0">
                <a:solidFill>
                  <a:srgbClr val="D42B2B"/>
                </a:solidFill>
              </a:rPr>
              <a:t> </a:t>
            </a:r>
            <a:r>
              <a:rPr lang="en-US" sz="2800" dirty="0">
                <a:solidFill>
                  <a:srgbClr val="D42B2B"/>
                </a:solidFill>
              </a:rPr>
              <a:t>|</a:t>
            </a:r>
            <a:r>
              <a:rPr lang="en-US" sz="2000" dirty="0">
                <a:solidFill>
                  <a:srgbClr val="D42B2B"/>
                </a:solidFill>
              </a:rPr>
              <a:t>  Environmental Concerns in Bangladesh</a:t>
            </a:r>
            <a:endParaRPr lang="en-US" sz="2000" kern="0" dirty="0">
              <a:solidFill>
                <a:srgbClr val="D42B2B"/>
              </a:solidFill>
            </a:endParaRPr>
          </a:p>
        </p:txBody>
      </p:sp>
      <p:pic>
        <p:nvPicPr>
          <p:cNvPr id="6" name="Picture 5">
            <a:extLst>
              <a:ext uri="{FF2B5EF4-FFF2-40B4-BE49-F238E27FC236}">
                <a16:creationId xmlns:a16="http://schemas.microsoft.com/office/drawing/2014/main" id="{91F74D4A-9E16-4275-90C5-F97189B724F9}"/>
              </a:ext>
            </a:extLst>
          </p:cNvPr>
          <p:cNvPicPr>
            <a:picLocks noChangeAspect="1"/>
          </p:cNvPicPr>
          <p:nvPr/>
        </p:nvPicPr>
        <p:blipFill>
          <a:blip r:embed="rId4">
            <a:extLst>
              <a:ext uri="{BEBA8EAE-BF5A-486C-A8C5-ECC9F3942E4B}">
                <a14:imgProps xmlns:a14="http://schemas.microsoft.com/office/drawing/2010/main">
                  <a14:imgLayer r:embed="rId5">
                    <a14:imgEffect>
                      <a14:saturation sat="66000"/>
                    </a14:imgEffect>
                  </a14:imgLayer>
                </a14:imgProps>
              </a:ext>
            </a:extLst>
          </a:blip>
          <a:stretch>
            <a:fillRect/>
          </a:stretch>
        </p:blipFill>
        <p:spPr>
          <a:xfrm>
            <a:off x="1097239" y="445535"/>
            <a:ext cx="551406" cy="708492"/>
          </a:xfrm>
          <a:prstGeom prst="rect">
            <a:avLst/>
          </a:prstGeom>
        </p:spPr>
      </p:pic>
      <p:graphicFrame>
        <p:nvGraphicFramePr>
          <p:cNvPr id="3" name="Object 2" hidden="1">
            <a:extLst>
              <a:ext uri="{FF2B5EF4-FFF2-40B4-BE49-F238E27FC236}">
                <a16:creationId xmlns:a16="http://schemas.microsoft.com/office/drawing/2014/main" id="{29F5A9FD-BD4B-41CD-9545-C14EE113DFB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8" name="think-cell Slide" r:id="rId6" imgW="360" imgH="360" progId="TCLayout.ActiveDocument.1">
                  <p:embed/>
                </p:oleObj>
              </mc:Choice>
              <mc:Fallback>
                <p:oleObj name="think-cell Slide" r:id="rId6" imgW="360" imgH="360" progId="TCLayout.ActiveDocument.1">
                  <p:embed/>
                  <p:pic>
                    <p:nvPicPr>
                      <p:cNvPr id="3" name="Object 2" hidden="1">
                        <a:extLst>
                          <a:ext uri="{FF2B5EF4-FFF2-40B4-BE49-F238E27FC236}">
                            <a16:creationId xmlns:a16="http://schemas.microsoft.com/office/drawing/2014/main" id="{29F5A9FD-BD4B-41CD-9545-C14EE113DFB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26F784E-485C-46E9-A476-2051D18874E2}"/>
              </a:ext>
            </a:extLst>
          </p:cNvPr>
          <p:cNvSpPr>
            <a:spLocks noGrp="1"/>
          </p:cNvSpPr>
          <p:nvPr>
            <p:ph type="title"/>
          </p:nvPr>
        </p:nvSpPr>
        <p:spPr>
          <a:xfrm>
            <a:off x="282770" y="346222"/>
            <a:ext cx="2180344" cy="688514"/>
          </a:xfrm>
        </p:spPr>
        <p:txBody>
          <a:bodyPr vert="horz" lIns="0" tIns="0" rIns="0" bIns="0" rtlCol="0" anchor="t" anchorCtr="0">
            <a:noAutofit/>
          </a:bodyPr>
          <a:lstStyle/>
          <a:p>
            <a:r>
              <a:rPr lang="en-US" sz="1200" dirty="0">
                <a:ea typeface="+mj-lt"/>
                <a:cs typeface="+mj-lt"/>
              </a:rPr>
              <a:t>Environmental Problems </a:t>
            </a:r>
            <a:br>
              <a:rPr lang="en-US" sz="1200" dirty="0">
                <a:ea typeface="+mj-lt"/>
                <a:cs typeface="+mj-lt"/>
              </a:rPr>
            </a:br>
            <a:br>
              <a:rPr lang="en-US" sz="1200" dirty="0">
                <a:ea typeface="+mj-lt"/>
                <a:cs typeface="+mj-lt"/>
              </a:rPr>
            </a:br>
            <a:endParaRPr lang="en-US" sz="1200" dirty="0"/>
          </a:p>
        </p:txBody>
      </p:sp>
      <p:sp>
        <p:nvSpPr>
          <p:cNvPr id="4" name="TextBox 3">
            <a:extLst>
              <a:ext uri="{FF2B5EF4-FFF2-40B4-BE49-F238E27FC236}">
                <a16:creationId xmlns:a16="http://schemas.microsoft.com/office/drawing/2014/main" id="{32DF85C0-3BEE-4729-9C07-A4274FBB1381}"/>
              </a:ext>
            </a:extLst>
          </p:cNvPr>
          <p:cNvSpPr txBox="1"/>
          <p:nvPr/>
        </p:nvSpPr>
        <p:spPr>
          <a:xfrm>
            <a:off x="282770" y="495287"/>
            <a:ext cx="4879445" cy="430887"/>
          </a:xfrm>
          <a:prstGeom prst="rect">
            <a:avLst/>
          </a:prstGeom>
          <a:noFill/>
        </p:spPr>
        <p:txBody>
          <a:bodyPr wrap="square" lIns="0" tIns="0" rIns="0" bIns="0" rtlCol="0">
            <a:spAutoFit/>
          </a:bodyPr>
          <a:lstStyle/>
          <a:p>
            <a:r>
              <a:rPr lang="en-US" sz="1400" b="1" dirty="0">
                <a:ea typeface="+mj-lt"/>
                <a:cs typeface="+mj-lt"/>
              </a:rPr>
              <a:t>in</a:t>
            </a:r>
            <a:br>
              <a:rPr lang="en-US" sz="1400" b="1" dirty="0">
                <a:ea typeface="+mj-lt"/>
                <a:cs typeface="+mj-lt"/>
              </a:rPr>
            </a:br>
            <a:r>
              <a:rPr lang="en-US" sz="1400" b="1" dirty="0">
                <a:ea typeface="+mj-lt"/>
                <a:cs typeface="+mj-lt"/>
              </a:rPr>
              <a:t>Bangladesh</a:t>
            </a:r>
            <a:endParaRPr lang="en-US" sz="1400" b="1" kern="0" dirty="0"/>
          </a:p>
        </p:txBody>
      </p:sp>
      <p:sp>
        <p:nvSpPr>
          <p:cNvPr id="19" name="Parallelogram 18">
            <a:extLst>
              <a:ext uri="{FF2B5EF4-FFF2-40B4-BE49-F238E27FC236}">
                <a16:creationId xmlns:a16="http://schemas.microsoft.com/office/drawing/2014/main" id="{A460B189-D5D2-4143-9EBD-07EFB403C6CE}"/>
              </a:ext>
            </a:extLst>
          </p:cNvPr>
          <p:cNvSpPr/>
          <p:nvPr/>
        </p:nvSpPr>
        <p:spPr>
          <a:xfrm>
            <a:off x="0" y="1398588"/>
            <a:ext cx="12192000" cy="533729"/>
          </a:xfrm>
          <a:prstGeom prst="parallelogram">
            <a:avLst>
              <a:gd name="adj" fmla="val 0"/>
            </a:avLst>
          </a:prstGeom>
          <a:solidFill>
            <a:srgbClr val="D54643"/>
          </a:solidFill>
          <a:ln w="9525">
            <a:noFill/>
          </a:ln>
          <a:effectLst>
            <a:outerShdw blurRad="50800" dist="38100" dir="13500000" algn="b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US" sz="2000" dirty="0"/>
              <a:t>Increase in natural disasters due to climate change</a:t>
            </a:r>
            <a:endParaRPr lang="en-US" sz="2000" kern="0" dirty="0">
              <a:solidFill>
                <a:schemeClr val="tx1"/>
              </a:solidFill>
            </a:endParaRPr>
          </a:p>
        </p:txBody>
      </p:sp>
      <p:pic>
        <p:nvPicPr>
          <p:cNvPr id="8" name="Picture 7">
            <a:extLst>
              <a:ext uri="{FF2B5EF4-FFF2-40B4-BE49-F238E27FC236}">
                <a16:creationId xmlns:a16="http://schemas.microsoft.com/office/drawing/2014/main" id="{F1647F65-8474-49B7-96F0-E2BAA5417298}"/>
              </a:ext>
            </a:extLst>
          </p:cNvPr>
          <p:cNvPicPr>
            <a:picLocks noChangeAspect="1"/>
          </p:cNvPicPr>
          <p:nvPr/>
        </p:nvPicPr>
        <p:blipFill>
          <a:blip r:embed="rId8"/>
          <a:stretch>
            <a:fillRect/>
          </a:stretch>
        </p:blipFill>
        <p:spPr>
          <a:xfrm>
            <a:off x="238085" y="2143481"/>
            <a:ext cx="2461983" cy="1846488"/>
          </a:xfrm>
          <a:prstGeom prst="rect">
            <a:avLst/>
          </a:prstGeom>
        </p:spPr>
      </p:pic>
      <p:pic>
        <p:nvPicPr>
          <p:cNvPr id="9" name="Picture 8">
            <a:extLst>
              <a:ext uri="{FF2B5EF4-FFF2-40B4-BE49-F238E27FC236}">
                <a16:creationId xmlns:a16="http://schemas.microsoft.com/office/drawing/2014/main" id="{ECEC9A21-2B0C-42AF-9E76-3A8E27641532}"/>
              </a:ext>
            </a:extLst>
          </p:cNvPr>
          <p:cNvPicPr>
            <a:picLocks noChangeAspect="1"/>
          </p:cNvPicPr>
          <p:nvPr/>
        </p:nvPicPr>
        <p:blipFill>
          <a:blip r:embed="rId9"/>
          <a:stretch>
            <a:fillRect/>
          </a:stretch>
        </p:blipFill>
        <p:spPr>
          <a:xfrm>
            <a:off x="1648645" y="445535"/>
            <a:ext cx="9111147" cy="6040300"/>
          </a:xfrm>
          <a:prstGeom prst="rect">
            <a:avLst/>
          </a:prstGeom>
        </p:spPr>
      </p:pic>
      <p:pic>
        <p:nvPicPr>
          <p:cNvPr id="11" name="Picture 10">
            <a:extLst>
              <a:ext uri="{FF2B5EF4-FFF2-40B4-BE49-F238E27FC236}">
                <a16:creationId xmlns:a16="http://schemas.microsoft.com/office/drawing/2014/main" id="{21586498-094C-418E-B60F-913EA4BAEC49}"/>
              </a:ext>
            </a:extLst>
          </p:cNvPr>
          <p:cNvPicPr>
            <a:picLocks noChangeAspect="1"/>
          </p:cNvPicPr>
          <p:nvPr/>
        </p:nvPicPr>
        <p:blipFill rotWithShape="1">
          <a:blip r:embed="rId10"/>
          <a:srcRect l="4983" r="6776"/>
          <a:stretch/>
        </p:blipFill>
        <p:spPr>
          <a:xfrm>
            <a:off x="12315700" y="5424927"/>
            <a:ext cx="2247040" cy="1433073"/>
          </a:xfrm>
          <a:prstGeom prst="rect">
            <a:avLst/>
          </a:prstGeom>
        </p:spPr>
      </p:pic>
    </p:spTree>
    <p:extLst>
      <p:ext uri="{BB962C8B-B14F-4D97-AF65-F5344CB8AC3E}">
        <p14:creationId xmlns:p14="http://schemas.microsoft.com/office/powerpoint/2010/main" val="71430629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C0C3DEB5-6F74-44F6-8871-3499AE717838}"/>
              </a:ext>
            </a:extLst>
          </p:cNvPr>
          <p:cNvSpPr txBox="1"/>
          <p:nvPr/>
        </p:nvSpPr>
        <p:spPr>
          <a:xfrm>
            <a:off x="6883878" y="603849"/>
            <a:ext cx="5124091" cy="430887"/>
          </a:xfrm>
          <a:prstGeom prst="rect">
            <a:avLst/>
          </a:prstGeom>
          <a:noFill/>
        </p:spPr>
        <p:txBody>
          <a:bodyPr wrap="square" lIns="0" tIns="0" rIns="0" bIns="0" rtlCol="0">
            <a:spAutoFit/>
          </a:bodyPr>
          <a:lstStyle/>
          <a:p>
            <a:r>
              <a:rPr lang="en-US" sz="2000" dirty="0">
                <a:solidFill>
                  <a:srgbClr val="D42B2B"/>
                </a:solidFill>
              </a:rPr>
              <a:t> </a:t>
            </a:r>
            <a:r>
              <a:rPr lang="en-US" sz="2800" dirty="0">
                <a:solidFill>
                  <a:srgbClr val="D42B2B"/>
                </a:solidFill>
              </a:rPr>
              <a:t>|</a:t>
            </a:r>
            <a:r>
              <a:rPr lang="en-US" sz="2000" dirty="0">
                <a:solidFill>
                  <a:srgbClr val="D42B2B"/>
                </a:solidFill>
              </a:rPr>
              <a:t>  Environmental Concerns in Bangladesh</a:t>
            </a:r>
            <a:endParaRPr lang="en-US" sz="2000" kern="0" dirty="0">
              <a:solidFill>
                <a:srgbClr val="D42B2B"/>
              </a:solidFill>
            </a:endParaRPr>
          </a:p>
        </p:txBody>
      </p:sp>
      <p:pic>
        <p:nvPicPr>
          <p:cNvPr id="6" name="Picture 5">
            <a:extLst>
              <a:ext uri="{FF2B5EF4-FFF2-40B4-BE49-F238E27FC236}">
                <a16:creationId xmlns:a16="http://schemas.microsoft.com/office/drawing/2014/main" id="{91F74D4A-9E16-4275-90C5-F97189B724F9}"/>
              </a:ext>
            </a:extLst>
          </p:cNvPr>
          <p:cNvPicPr>
            <a:picLocks noChangeAspect="1"/>
          </p:cNvPicPr>
          <p:nvPr/>
        </p:nvPicPr>
        <p:blipFill>
          <a:blip r:embed="rId4">
            <a:extLst>
              <a:ext uri="{BEBA8EAE-BF5A-486C-A8C5-ECC9F3942E4B}">
                <a14:imgProps xmlns:a14="http://schemas.microsoft.com/office/drawing/2010/main">
                  <a14:imgLayer r:embed="rId5">
                    <a14:imgEffect>
                      <a14:saturation sat="66000"/>
                    </a14:imgEffect>
                  </a14:imgLayer>
                </a14:imgProps>
              </a:ext>
            </a:extLst>
          </a:blip>
          <a:stretch>
            <a:fillRect/>
          </a:stretch>
        </p:blipFill>
        <p:spPr>
          <a:xfrm>
            <a:off x="1097239" y="445535"/>
            <a:ext cx="551406" cy="708492"/>
          </a:xfrm>
          <a:prstGeom prst="rect">
            <a:avLst/>
          </a:prstGeom>
        </p:spPr>
      </p:pic>
      <p:graphicFrame>
        <p:nvGraphicFramePr>
          <p:cNvPr id="3" name="Object 2" hidden="1">
            <a:extLst>
              <a:ext uri="{FF2B5EF4-FFF2-40B4-BE49-F238E27FC236}">
                <a16:creationId xmlns:a16="http://schemas.microsoft.com/office/drawing/2014/main" id="{29F5A9FD-BD4B-41CD-9545-C14EE113DFB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3" name="think-cell Slide" r:id="rId6" imgW="360" imgH="360" progId="TCLayout.ActiveDocument.1">
                  <p:embed/>
                </p:oleObj>
              </mc:Choice>
              <mc:Fallback>
                <p:oleObj name="think-cell Slide" r:id="rId6" imgW="360" imgH="360" progId="TCLayout.ActiveDocument.1">
                  <p:embed/>
                  <p:pic>
                    <p:nvPicPr>
                      <p:cNvPr id="3" name="Object 2" hidden="1">
                        <a:extLst>
                          <a:ext uri="{FF2B5EF4-FFF2-40B4-BE49-F238E27FC236}">
                            <a16:creationId xmlns:a16="http://schemas.microsoft.com/office/drawing/2014/main" id="{29F5A9FD-BD4B-41CD-9545-C14EE113DFB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26F784E-485C-46E9-A476-2051D18874E2}"/>
              </a:ext>
            </a:extLst>
          </p:cNvPr>
          <p:cNvSpPr>
            <a:spLocks noGrp="1"/>
          </p:cNvSpPr>
          <p:nvPr>
            <p:ph type="title"/>
          </p:nvPr>
        </p:nvSpPr>
        <p:spPr>
          <a:xfrm>
            <a:off x="282770" y="346222"/>
            <a:ext cx="2180344" cy="688514"/>
          </a:xfrm>
        </p:spPr>
        <p:txBody>
          <a:bodyPr vert="horz" lIns="0" tIns="0" rIns="0" bIns="0" rtlCol="0" anchor="t" anchorCtr="0">
            <a:noAutofit/>
          </a:bodyPr>
          <a:lstStyle/>
          <a:p>
            <a:r>
              <a:rPr lang="en-US" sz="1200" dirty="0">
                <a:ea typeface="+mj-lt"/>
                <a:cs typeface="+mj-lt"/>
              </a:rPr>
              <a:t>Environmental Problems </a:t>
            </a:r>
            <a:br>
              <a:rPr lang="en-US" sz="1200" dirty="0">
                <a:ea typeface="+mj-lt"/>
                <a:cs typeface="+mj-lt"/>
              </a:rPr>
            </a:br>
            <a:br>
              <a:rPr lang="en-US" sz="1200" dirty="0">
                <a:ea typeface="+mj-lt"/>
                <a:cs typeface="+mj-lt"/>
              </a:rPr>
            </a:br>
            <a:endParaRPr lang="en-US" sz="1200" dirty="0"/>
          </a:p>
        </p:txBody>
      </p:sp>
      <p:sp>
        <p:nvSpPr>
          <p:cNvPr id="4" name="TextBox 3">
            <a:extLst>
              <a:ext uri="{FF2B5EF4-FFF2-40B4-BE49-F238E27FC236}">
                <a16:creationId xmlns:a16="http://schemas.microsoft.com/office/drawing/2014/main" id="{32DF85C0-3BEE-4729-9C07-A4274FBB1381}"/>
              </a:ext>
            </a:extLst>
          </p:cNvPr>
          <p:cNvSpPr txBox="1"/>
          <p:nvPr/>
        </p:nvSpPr>
        <p:spPr>
          <a:xfrm>
            <a:off x="282770" y="495287"/>
            <a:ext cx="4879445" cy="430887"/>
          </a:xfrm>
          <a:prstGeom prst="rect">
            <a:avLst/>
          </a:prstGeom>
          <a:noFill/>
        </p:spPr>
        <p:txBody>
          <a:bodyPr wrap="square" lIns="0" tIns="0" rIns="0" bIns="0" rtlCol="0">
            <a:spAutoFit/>
          </a:bodyPr>
          <a:lstStyle/>
          <a:p>
            <a:r>
              <a:rPr lang="en-US" sz="1400" b="1" dirty="0">
                <a:ea typeface="+mj-lt"/>
                <a:cs typeface="+mj-lt"/>
              </a:rPr>
              <a:t>in</a:t>
            </a:r>
            <a:br>
              <a:rPr lang="en-US" sz="1400" b="1" dirty="0">
                <a:ea typeface="+mj-lt"/>
                <a:cs typeface="+mj-lt"/>
              </a:rPr>
            </a:br>
            <a:r>
              <a:rPr lang="en-US" sz="1400" b="1" dirty="0">
                <a:ea typeface="+mj-lt"/>
                <a:cs typeface="+mj-lt"/>
              </a:rPr>
              <a:t>Bangladesh</a:t>
            </a:r>
            <a:endParaRPr lang="en-US" sz="1400" b="1" kern="0" dirty="0"/>
          </a:p>
        </p:txBody>
      </p:sp>
      <p:sp>
        <p:nvSpPr>
          <p:cNvPr id="19" name="Parallelogram 18">
            <a:extLst>
              <a:ext uri="{FF2B5EF4-FFF2-40B4-BE49-F238E27FC236}">
                <a16:creationId xmlns:a16="http://schemas.microsoft.com/office/drawing/2014/main" id="{A460B189-D5D2-4143-9EBD-07EFB403C6CE}"/>
              </a:ext>
            </a:extLst>
          </p:cNvPr>
          <p:cNvSpPr/>
          <p:nvPr/>
        </p:nvSpPr>
        <p:spPr>
          <a:xfrm>
            <a:off x="0" y="1398588"/>
            <a:ext cx="12192000" cy="533729"/>
          </a:xfrm>
          <a:prstGeom prst="parallelogram">
            <a:avLst>
              <a:gd name="adj" fmla="val 0"/>
            </a:avLst>
          </a:prstGeom>
          <a:solidFill>
            <a:srgbClr val="D54643"/>
          </a:solidFill>
          <a:ln w="9525">
            <a:noFill/>
          </a:ln>
          <a:effectLst>
            <a:outerShdw blurRad="50800" dist="38100" dir="13500000" algn="b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US" sz="2000" dirty="0"/>
              <a:t>Increase in natural disasters due to climate change</a:t>
            </a:r>
            <a:endParaRPr lang="en-US" sz="2000" kern="0" dirty="0">
              <a:solidFill>
                <a:schemeClr val="tx1"/>
              </a:solidFill>
            </a:endParaRPr>
          </a:p>
        </p:txBody>
      </p:sp>
      <p:pic>
        <p:nvPicPr>
          <p:cNvPr id="8" name="Picture 7">
            <a:extLst>
              <a:ext uri="{FF2B5EF4-FFF2-40B4-BE49-F238E27FC236}">
                <a16:creationId xmlns:a16="http://schemas.microsoft.com/office/drawing/2014/main" id="{F1647F65-8474-49B7-96F0-E2BAA5417298}"/>
              </a:ext>
            </a:extLst>
          </p:cNvPr>
          <p:cNvPicPr>
            <a:picLocks noChangeAspect="1"/>
          </p:cNvPicPr>
          <p:nvPr/>
        </p:nvPicPr>
        <p:blipFill>
          <a:blip r:embed="rId8"/>
          <a:stretch>
            <a:fillRect/>
          </a:stretch>
        </p:blipFill>
        <p:spPr>
          <a:xfrm>
            <a:off x="238085" y="2143481"/>
            <a:ext cx="2461983" cy="1846488"/>
          </a:xfrm>
          <a:prstGeom prst="rect">
            <a:avLst/>
          </a:prstGeom>
        </p:spPr>
      </p:pic>
      <p:pic>
        <p:nvPicPr>
          <p:cNvPr id="9" name="Picture 8">
            <a:extLst>
              <a:ext uri="{FF2B5EF4-FFF2-40B4-BE49-F238E27FC236}">
                <a16:creationId xmlns:a16="http://schemas.microsoft.com/office/drawing/2014/main" id="{ECEC9A21-2B0C-42AF-9E76-3A8E27641532}"/>
              </a:ext>
            </a:extLst>
          </p:cNvPr>
          <p:cNvPicPr>
            <a:picLocks noChangeAspect="1"/>
          </p:cNvPicPr>
          <p:nvPr/>
        </p:nvPicPr>
        <p:blipFill>
          <a:blip r:embed="rId9"/>
          <a:stretch>
            <a:fillRect/>
          </a:stretch>
        </p:blipFill>
        <p:spPr>
          <a:xfrm>
            <a:off x="2919045" y="2143481"/>
            <a:ext cx="2478813" cy="1846488"/>
          </a:xfrm>
          <a:prstGeom prst="rect">
            <a:avLst/>
          </a:prstGeom>
        </p:spPr>
      </p:pic>
      <p:pic>
        <p:nvPicPr>
          <p:cNvPr id="11" name="Picture 10">
            <a:extLst>
              <a:ext uri="{FF2B5EF4-FFF2-40B4-BE49-F238E27FC236}">
                <a16:creationId xmlns:a16="http://schemas.microsoft.com/office/drawing/2014/main" id="{21586498-094C-418E-B60F-913EA4BAEC49}"/>
              </a:ext>
            </a:extLst>
          </p:cNvPr>
          <p:cNvPicPr>
            <a:picLocks noChangeAspect="1"/>
          </p:cNvPicPr>
          <p:nvPr/>
        </p:nvPicPr>
        <p:blipFill rotWithShape="1">
          <a:blip r:embed="rId10"/>
          <a:srcRect l="4983" r="6776"/>
          <a:stretch/>
        </p:blipFill>
        <p:spPr>
          <a:xfrm>
            <a:off x="1517636" y="495287"/>
            <a:ext cx="8918096" cy="5687608"/>
          </a:xfrm>
          <a:prstGeom prst="rect">
            <a:avLst/>
          </a:prstGeom>
        </p:spPr>
      </p:pic>
      <p:pic>
        <p:nvPicPr>
          <p:cNvPr id="16" name="Picture 15">
            <a:extLst>
              <a:ext uri="{FF2B5EF4-FFF2-40B4-BE49-F238E27FC236}">
                <a16:creationId xmlns:a16="http://schemas.microsoft.com/office/drawing/2014/main" id="{D2AF7B28-271B-423D-B52B-B6E1C565E0AF}"/>
              </a:ext>
            </a:extLst>
          </p:cNvPr>
          <p:cNvPicPr>
            <a:picLocks noChangeAspect="1"/>
          </p:cNvPicPr>
          <p:nvPr/>
        </p:nvPicPr>
        <p:blipFill rotWithShape="1">
          <a:blip r:embed="rId11"/>
          <a:srcRect r="15373"/>
          <a:stretch/>
        </p:blipFill>
        <p:spPr>
          <a:xfrm>
            <a:off x="12293018" y="5179893"/>
            <a:ext cx="2760740" cy="1678107"/>
          </a:xfrm>
          <a:prstGeom prst="rect">
            <a:avLst/>
          </a:prstGeom>
        </p:spPr>
      </p:pic>
    </p:spTree>
    <p:extLst>
      <p:ext uri="{BB962C8B-B14F-4D97-AF65-F5344CB8AC3E}">
        <p14:creationId xmlns:p14="http://schemas.microsoft.com/office/powerpoint/2010/main" val="1963687356"/>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C0C3DEB5-6F74-44F6-8871-3499AE717838}"/>
              </a:ext>
            </a:extLst>
          </p:cNvPr>
          <p:cNvSpPr txBox="1"/>
          <p:nvPr/>
        </p:nvSpPr>
        <p:spPr>
          <a:xfrm>
            <a:off x="6883878" y="603849"/>
            <a:ext cx="5124091" cy="430887"/>
          </a:xfrm>
          <a:prstGeom prst="rect">
            <a:avLst/>
          </a:prstGeom>
          <a:noFill/>
        </p:spPr>
        <p:txBody>
          <a:bodyPr wrap="square" lIns="0" tIns="0" rIns="0" bIns="0" rtlCol="0">
            <a:spAutoFit/>
          </a:bodyPr>
          <a:lstStyle/>
          <a:p>
            <a:r>
              <a:rPr lang="en-US" sz="2000" dirty="0">
                <a:solidFill>
                  <a:srgbClr val="D42B2B"/>
                </a:solidFill>
              </a:rPr>
              <a:t> </a:t>
            </a:r>
            <a:r>
              <a:rPr lang="en-US" sz="2800" dirty="0">
                <a:solidFill>
                  <a:srgbClr val="D42B2B"/>
                </a:solidFill>
              </a:rPr>
              <a:t>|</a:t>
            </a:r>
            <a:r>
              <a:rPr lang="en-US" sz="2000" dirty="0">
                <a:solidFill>
                  <a:srgbClr val="D42B2B"/>
                </a:solidFill>
              </a:rPr>
              <a:t>  Environmental Concerns in Bangladesh</a:t>
            </a:r>
            <a:endParaRPr lang="en-US" sz="2000" kern="0" dirty="0">
              <a:solidFill>
                <a:srgbClr val="D42B2B"/>
              </a:solidFill>
            </a:endParaRPr>
          </a:p>
        </p:txBody>
      </p:sp>
      <p:pic>
        <p:nvPicPr>
          <p:cNvPr id="6" name="Picture 5">
            <a:extLst>
              <a:ext uri="{FF2B5EF4-FFF2-40B4-BE49-F238E27FC236}">
                <a16:creationId xmlns:a16="http://schemas.microsoft.com/office/drawing/2014/main" id="{91F74D4A-9E16-4275-90C5-F97189B724F9}"/>
              </a:ext>
            </a:extLst>
          </p:cNvPr>
          <p:cNvPicPr>
            <a:picLocks noChangeAspect="1"/>
          </p:cNvPicPr>
          <p:nvPr/>
        </p:nvPicPr>
        <p:blipFill>
          <a:blip r:embed="rId4">
            <a:extLst>
              <a:ext uri="{BEBA8EAE-BF5A-486C-A8C5-ECC9F3942E4B}">
                <a14:imgProps xmlns:a14="http://schemas.microsoft.com/office/drawing/2010/main">
                  <a14:imgLayer r:embed="rId5">
                    <a14:imgEffect>
                      <a14:saturation sat="66000"/>
                    </a14:imgEffect>
                  </a14:imgLayer>
                </a14:imgProps>
              </a:ext>
            </a:extLst>
          </a:blip>
          <a:stretch>
            <a:fillRect/>
          </a:stretch>
        </p:blipFill>
        <p:spPr>
          <a:xfrm>
            <a:off x="1097239" y="445535"/>
            <a:ext cx="551406" cy="708492"/>
          </a:xfrm>
          <a:prstGeom prst="rect">
            <a:avLst/>
          </a:prstGeom>
        </p:spPr>
      </p:pic>
      <p:graphicFrame>
        <p:nvGraphicFramePr>
          <p:cNvPr id="3" name="Object 2" hidden="1">
            <a:extLst>
              <a:ext uri="{FF2B5EF4-FFF2-40B4-BE49-F238E27FC236}">
                <a16:creationId xmlns:a16="http://schemas.microsoft.com/office/drawing/2014/main" id="{29F5A9FD-BD4B-41CD-9545-C14EE113DFB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6" name="think-cell Slide" r:id="rId6" imgW="360" imgH="360" progId="TCLayout.ActiveDocument.1">
                  <p:embed/>
                </p:oleObj>
              </mc:Choice>
              <mc:Fallback>
                <p:oleObj name="think-cell Slide" r:id="rId6" imgW="360" imgH="360" progId="TCLayout.ActiveDocument.1">
                  <p:embed/>
                  <p:pic>
                    <p:nvPicPr>
                      <p:cNvPr id="3" name="Object 2" hidden="1">
                        <a:extLst>
                          <a:ext uri="{FF2B5EF4-FFF2-40B4-BE49-F238E27FC236}">
                            <a16:creationId xmlns:a16="http://schemas.microsoft.com/office/drawing/2014/main" id="{29F5A9FD-BD4B-41CD-9545-C14EE113DFB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26F784E-485C-46E9-A476-2051D18874E2}"/>
              </a:ext>
            </a:extLst>
          </p:cNvPr>
          <p:cNvSpPr>
            <a:spLocks noGrp="1"/>
          </p:cNvSpPr>
          <p:nvPr>
            <p:ph type="title"/>
          </p:nvPr>
        </p:nvSpPr>
        <p:spPr>
          <a:xfrm>
            <a:off x="282770" y="346222"/>
            <a:ext cx="2180344" cy="688514"/>
          </a:xfrm>
        </p:spPr>
        <p:txBody>
          <a:bodyPr vert="horz" lIns="0" tIns="0" rIns="0" bIns="0" rtlCol="0" anchor="t" anchorCtr="0">
            <a:noAutofit/>
          </a:bodyPr>
          <a:lstStyle/>
          <a:p>
            <a:r>
              <a:rPr lang="en-US" sz="1200" dirty="0">
                <a:ea typeface="+mj-lt"/>
                <a:cs typeface="+mj-lt"/>
              </a:rPr>
              <a:t>Environmental Problems </a:t>
            </a:r>
            <a:br>
              <a:rPr lang="en-US" sz="1200" dirty="0">
                <a:ea typeface="+mj-lt"/>
                <a:cs typeface="+mj-lt"/>
              </a:rPr>
            </a:br>
            <a:br>
              <a:rPr lang="en-US" sz="1200" dirty="0">
                <a:ea typeface="+mj-lt"/>
                <a:cs typeface="+mj-lt"/>
              </a:rPr>
            </a:br>
            <a:endParaRPr lang="en-US" sz="1200" dirty="0"/>
          </a:p>
        </p:txBody>
      </p:sp>
      <p:sp>
        <p:nvSpPr>
          <p:cNvPr id="4" name="TextBox 3">
            <a:extLst>
              <a:ext uri="{FF2B5EF4-FFF2-40B4-BE49-F238E27FC236}">
                <a16:creationId xmlns:a16="http://schemas.microsoft.com/office/drawing/2014/main" id="{32DF85C0-3BEE-4729-9C07-A4274FBB1381}"/>
              </a:ext>
            </a:extLst>
          </p:cNvPr>
          <p:cNvSpPr txBox="1"/>
          <p:nvPr/>
        </p:nvSpPr>
        <p:spPr>
          <a:xfrm>
            <a:off x="282770" y="495287"/>
            <a:ext cx="4879445" cy="430887"/>
          </a:xfrm>
          <a:prstGeom prst="rect">
            <a:avLst/>
          </a:prstGeom>
          <a:noFill/>
        </p:spPr>
        <p:txBody>
          <a:bodyPr wrap="square" lIns="0" tIns="0" rIns="0" bIns="0" rtlCol="0">
            <a:spAutoFit/>
          </a:bodyPr>
          <a:lstStyle/>
          <a:p>
            <a:r>
              <a:rPr lang="en-US" sz="1400" b="1" dirty="0">
                <a:ea typeface="+mj-lt"/>
                <a:cs typeface="+mj-lt"/>
              </a:rPr>
              <a:t>in</a:t>
            </a:r>
            <a:br>
              <a:rPr lang="en-US" sz="1400" b="1" dirty="0">
                <a:ea typeface="+mj-lt"/>
                <a:cs typeface="+mj-lt"/>
              </a:rPr>
            </a:br>
            <a:r>
              <a:rPr lang="en-US" sz="1400" b="1" dirty="0">
                <a:ea typeface="+mj-lt"/>
                <a:cs typeface="+mj-lt"/>
              </a:rPr>
              <a:t>Bangladesh</a:t>
            </a:r>
            <a:endParaRPr lang="en-US" sz="1400" b="1" kern="0" dirty="0"/>
          </a:p>
        </p:txBody>
      </p:sp>
      <p:sp>
        <p:nvSpPr>
          <p:cNvPr id="19" name="Parallelogram 18">
            <a:extLst>
              <a:ext uri="{FF2B5EF4-FFF2-40B4-BE49-F238E27FC236}">
                <a16:creationId xmlns:a16="http://schemas.microsoft.com/office/drawing/2014/main" id="{A460B189-D5D2-4143-9EBD-07EFB403C6CE}"/>
              </a:ext>
            </a:extLst>
          </p:cNvPr>
          <p:cNvSpPr/>
          <p:nvPr/>
        </p:nvSpPr>
        <p:spPr>
          <a:xfrm>
            <a:off x="0" y="1398588"/>
            <a:ext cx="12192000" cy="533729"/>
          </a:xfrm>
          <a:prstGeom prst="parallelogram">
            <a:avLst>
              <a:gd name="adj" fmla="val 0"/>
            </a:avLst>
          </a:prstGeom>
          <a:solidFill>
            <a:srgbClr val="D54643"/>
          </a:solidFill>
          <a:ln w="9525">
            <a:noFill/>
          </a:ln>
          <a:effectLst>
            <a:outerShdw blurRad="50800" dist="38100" dir="13500000" algn="b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US" sz="2000" dirty="0"/>
              <a:t>Increase in natural disasters due to climate change</a:t>
            </a:r>
            <a:endParaRPr lang="en-US" sz="2000" kern="0" dirty="0">
              <a:solidFill>
                <a:schemeClr val="tx1"/>
              </a:solidFill>
            </a:endParaRPr>
          </a:p>
        </p:txBody>
      </p:sp>
      <p:pic>
        <p:nvPicPr>
          <p:cNvPr id="8" name="Picture 7">
            <a:extLst>
              <a:ext uri="{FF2B5EF4-FFF2-40B4-BE49-F238E27FC236}">
                <a16:creationId xmlns:a16="http://schemas.microsoft.com/office/drawing/2014/main" id="{F1647F65-8474-49B7-96F0-E2BAA5417298}"/>
              </a:ext>
            </a:extLst>
          </p:cNvPr>
          <p:cNvPicPr>
            <a:picLocks noChangeAspect="1"/>
          </p:cNvPicPr>
          <p:nvPr/>
        </p:nvPicPr>
        <p:blipFill>
          <a:blip r:embed="rId8"/>
          <a:stretch>
            <a:fillRect/>
          </a:stretch>
        </p:blipFill>
        <p:spPr>
          <a:xfrm>
            <a:off x="238085" y="2143481"/>
            <a:ext cx="2461983" cy="1846488"/>
          </a:xfrm>
          <a:prstGeom prst="rect">
            <a:avLst/>
          </a:prstGeom>
        </p:spPr>
      </p:pic>
      <p:pic>
        <p:nvPicPr>
          <p:cNvPr id="9" name="Picture 8">
            <a:extLst>
              <a:ext uri="{FF2B5EF4-FFF2-40B4-BE49-F238E27FC236}">
                <a16:creationId xmlns:a16="http://schemas.microsoft.com/office/drawing/2014/main" id="{ECEC9A21-2B0C-42AF-9E76-3A8E27641532}"/>
              </a:ext>
            </a:extLst>
          </p:cNvPr>
          <p:cNvPicPr>
            <a:picLocks noChangeAspect="1"/>
          </p:cNvPicPr>
          <p:nvPr/>
        </p:nvPicPr>
        <p:blipFill>
          <a:blip r:embed="rId9"/>
          <a:stretch>
            <a:fillRect/>
          </a:stretch>
        </p:blipFill>
        <p:spPr>
          <a:xfrm>
            <a:off x="2919045" y="2143481"/>
            <a:ext cx="2478813" cy="1846488"/>
          </a:xfrm>
          <a:prstGeom prst="rect">
            <a:avLst/>
          </a:prstGeom>
        </p:spPr>
      </p:pic>
      <p:pic>
        <p:nvPicPr>
          <p:cNvPr id="11" name="Picture 10">
            <a:extLst>
              <a:ext uri="{FF2B5EF4-FFF2-40B4-BE49-F238E27FC236}">
                <a16:creationId xmlns:a16="http://schemas.microsoft.com/office/drawing/2014/main" id="{21586498-094C-418E-B60F-913EA4BAEC49}"/>
              </a:ext>
            </a:extLst>
          </p:cNvPr>
          <p:cNvPicPr>
            <a:picLocks noChangeAspect="1"/>
          </p:cNvPicPr>
          <p:nvPr/>
        </p:nvPicPr>
        <p:blipFill rotWithShape="1">
          <a:blip r:embed="rId10"/>
          <a:srcRect l="4983" r="6776"/>
          <a:stretch/>
        </p:blipFill>
        <p:spPr>
          <a:xfrm>
            <a:off x="5616835" y="2143481"/>
            <a:ext cx="2895269" cy="1846488"/>
          </a:xfrm>
          <a:prstGeom prst="rect">
            <a:avLst/>
          </a:prstGeom>
        </p:spPr>
      </p:pic>
      <p:pic>
        <p:nvPicPr>
          <p:cNvPr id="14" name="Picture 13">
            <a:extLst>
              <a:ext uri="{FF2B5EF4-FFF2-40B4-BE49-F238E27FC236}">
                <a16:creationId xmlns:a16="http://schemas.microsoft.com/office/drawing/2014/main" id="{E992EE76-5311-4FB1-8259-7E805BA6CD67}"/>
              </a:ext>
            </a:extLst>
          </p:cNvPr>
          <p:cNvPicPr>
            <a:picLocks noChangeAspect="1"/>
          </p:cNvPicPr>
          <p:nvPr/>
        </p:nvPicPr>
        <p:blipFill rotWithShape="1">
          <a:blip r:embed="rId11"/>
          <a:srcRect r="15373"/>
          <a:stretch/>
        </p:blipFill>
        <p:spPr>
          <a:xfrm>
            <a:off x="2111177" y="819292"/>
            <a:ext cx="7916464" cy="4811998"/>
          </a:xfrm>
          <a:prstGeom prst="rect">
            <a:avLst/>
          </a:prstGeom>
        </p:spPr>
      </p:pic>
      <p:pic>
        <p:nvPicPr>
          <p:cNvPr id="16" name="Picture 15">
            <a:extLst>
              <a:ext uri="{FF2B5EF4-FFF2-40B4-BE49-F238E27FC236}">
                <a16:creationId xmlns:a16="http://schemas.microsoft.com/office/drawing/2014/main" id="{30169622-C51A-4217-8943-8F707C0716F3}"/>
              </a:ext>
            </a:extLst>
          </p:cNvPr>
          <p:cNvPicPr>
            <a:picLocks noChangeAspect="1"/>
          </p:cNvPicPr>
          <p:nvPr/>
        </p:nvPicPr>
        <p:blipFill>
          <a:blip r:embed="rId12"/>
          <a:stretch>
            <a:fillRect/>
          </a:stretch>
        </p:blipFill>
        <p:spPr>
          <a:xfrm>
            <a:off x="12275012" y="5011512"/>
            <a:ext cx="3281473" cy="1846488"/>
          </a:xfrm>
          <a:prstGeom prst="rect">
            <a:avLst/>
          </a:prstGeom>
        </p:spPr>
      </p:pic>
    </p:spTree>
    <p:extLst>
      <p:ext uri="{BB962C8B-B14F-4D97-AF65-F5344CB8AC3E}">
        <p14:creationId xmlns:p14="http://schemas.microsoft.com/office/powerpoint/2010/main" val="4006754735"/>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C0C3DEB5-6F74-44F6-8871-3499AE717838}"/>
              </a:ext>
            </a:extLst>
          </p:cNvPr>
          <p:cNvSpPr txBox="1"/>
          <p:nvPr/>
        </p:nvSpPr>
        <p:spPr>
          <a:xfrm>
            <a:off x="6883878" y="603849"/>
            <a:ext cx="5124091" cy="430887"/>
          </a:xfrm>
          <a:prstGeom prst="rect">
            <a:avLst/>
          </a:prstGeom>
          <a:noFill/>
        </p:spPr>
        <p:txBody>
          <a:bodyPr wrap="square" lIns="0" tIns="0" rIns="0" bIns="0" rtlCol="0">
            <a:spAutoFit/>
          </a:bodyPr>
          <a:lstStyle/>
          <a:p>
            <a:r>
              <a:rPr lang="en-US" sz="2000" dirty="0">
                <a:solidFill>
                  <a:srgbClr val="D42B2B"/>
                </a:solidFill>
              </a:rPr>
              <a:t> </a:t>
            </a:r>
            <a:r>
              <a:rPr lang="en-US" sz="2800" dirty="0">
                <a:solidFill>
                  <a:srgbClr val="D42B2B"/>
                </a:solidFill>
              </a:rPr>
              <a:t>|</a:t>
            </a:r>
            <a:r>
              <a:rPr lang="en-US" sz="2000" dirty="0">
                <a:solidFill>
                  <a:srgbClr val="D42B2B"/>
                </a:solidFill>
              </a:rPr>
              <a:t>  Environmental Concerns in Bangladesh</a:t>
            </a:r>
            <a:endParaRPr lang="en-US" sz="2000" kern="0" dirty="0">
              <a:solidFill>
                <a:srgbClr val="D42B2B"/>
              </a:solidFill>
            </a:endParaRPr>
          </a:p>
        </p:txBody>
      </p:sp>
      <p:pic>
        <p:nvPicPr>
          <p:cNvPr id="6" name="Picture 5">
            <a:extLst>
              <a:ext uri="{FF2B5EF4-FFF2-40B4-BE49-F238E27FC236}">
                <a16:creationId xmlns:a16="http://schemas.microsoft.com/office/drawing/2014/main" id="{91F74D4A-9E16-4275-90C5-F97189B724F9}"/>
              </a:ext>
            </a:extLst>
          </p:cNvPr>
          <p:cNvPicPr>
            <a:picLocks noChangeAspect="1"/>
          </p:cNvPicPr>
          <p:nvPr/>
        </p:nvPicPr>
        <p:blipFill>
          <a:blip r:embed="rId4">
            <a:extLst>
              <a:ext uri="{BEBA8EAE-BF5A-486C-A8C5-ECC9F3942E4B}">
                <a14:imgProps xmlns:a14="http://schemas.microsoft.com/office/drawing/2010/main">
                  <a14:imgLayer r:embed="rId5">
                    <a14:imgEffect>
                      <a14:saturation sat="66000"/>
                    </a14:imgEffect>
                  </a14:imgLayer>
                </a14:imgProps>
              </a:ext>
            </a:extLst>
          </a:blip>
          <a:stretch>
            <a:fillRect/>
          </a:stretch>
        </p:blipFill>
        <p:spPr>
          <a:xfrm>
            <a:off x="1097239" y="445535"/>
            <a:ext cx="551406" cy="708492"/>
          </a:xfrm>
          <a:prstGeom prst="rect">
            <a:avLst/>
          </a:prstGeom>
        </p:spPr>
      </p:pic>
      <p:graphicFrame>
        <p:nvGraphicFramePr>
          <p:cNvPr id="3" name="Object 2" hidden="1">
            <a:extLst>
              <a:ext uri="{FF2B5EF4-FFF2-40B4-BE49-F238E27FC236}">
                <a16:creationId xmlns:a16="http://schemas.microsoft.com/office/drawing/2014/main" id="{29F5A9FD-BD4B-41CD-9545-C14EE113DFB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9" name="think-cell Slide" r:id="rId6" imgW="360" imgH="360" progId="TCLayout.ActiveDocument.1">
                  <p:embed/>
                </p:oleObj>
              </mc:Choice>
              <mc:Fallback>
                <p:oleObj name="think-cell Slide" r:id="rId6" imgW="360" imgH="360" progId="TCLayout.ActiveDocument.1">
                  <p:embed/>
                  <p:pic>
                    <p:nvPicPr>
                      <p:cNvPr id="3" name="Object 2" hidden="1">
                        <a:extLst>
                          <a:ext uri="{FF2B5EF4-FFF2-40B4-BE49-F238E27FC236}">
                            <a16:creationId xmlns:a16="http://schemas.microsoft.com/office/drawing/2014/main" id="{29F5A9FD-BD4B-41CD-9545-C14EE113DFB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26F784E-485C-46E9-A476-2051D18874E2}"/>
              </a:ext>
            </a:extLst>
          </p:cNvPr>
          <p:cNvSpPr>
            <a:spLocks noGrp="1"/>
          </p:cNvSpPr>
          <p:nvPr>
            <p:ph type="title"/>
          </p:nvPr>
        </p:nvSpPr>
        <p:spPr>
          <a:xfrm>
            <a:off x="282770" y="346222"/>
            <a:ext cx="2180344" cy="688514"/>
          </a:xfrm>
        </p:spPr>
        <p:txBody>
          <a:bodyPr vert="horz" lIns="0" tIns="0" rIns="0" bIns="0" rtlCol="0" anchor="t" anchorCtr="0">
            <a:noAutofit/>
          </a:bodyPr>
          <a:lstStyle/>
          <a:p>
            <a:r>
              <a:rPr lang="en-US" sz="1200" dirty="0">
                <a:ea typeface="+mj-lt"/>
                <a:cs typeface="+mj-lt"/>
              </a:rPr>
              <a:t>Environmental Problems </a:t>
            </a:r>
            <a:br>
              <a:rPr lang="en-US" sz="1200" dirty="0">
                <a:ea typeface="+mj-lt"/>
                <a:cs typeface="+mj-lt"/>
              </a:rPr>
            </a:br>
            <a:br>
              <a:rPr lang="en-US" sz="1200" dirty="0">
                <a:ea typeface="+mj-lt"/>
                <a:cs typeface="+mj-lt"/>
              </a:rPr>
            </a:br>
            <a:endParaRPr lang="en-US" sz="1200" dirty="0"/>
          </a:p>
        </p:txBody>
      </p:sp>
      <p:sp>
        <p:nvSpPr>
          <p:cNvPr id="4" name="TextBox 3">
            <a:extLst>
              <a:ext uri="{FF2B5EF4-FFF2-40B4-BE49-F238E27FC236}">
                <a16:creationId xmlns:a16="http://schemas.microsoft.com/office/drawing/2014/main" id="{32DF85C0-3BEE-4729-9C07-A4274FBB1381}"/>
              </a:ext>
            </a:extLst>
          </p:cNvPr>
          <p:cNvSpPr txBox="1"/>
          <p:nvPr/>
        </p:nvSpPr>
        <p:spPr>
          <a:xfrm>
            <a:off x="282770" y="495287"/>
            <a:ext cx="4879445" cy="430887"/>
          </a:xfrm>
          <a:prstGeom prst="rect">
            <a:avLst/>
          </a:prstGeom>
          <a:noFill/>
        </p:spPr>
        <p:txBody>
          <a:bodyPr wrap="square" lIns="0" tIns="0" rIns="0" bIns="0" rtlCol="0">
            <a:spAutoFit/>
          </a:bodyPr>
          <a:lstStyle/>
          <a:p>
            <a:r>
              <a:rPr lang="en-US" sz="1400" b="1" dirty="0">
                <a:ea typeface="+mj-lt"/>
                <a:cs typeface="+mj-lt"/>
              </a:rPr>
              <a:t>in</a:t>
            </a:r>
            <a:br>
              <a:rPr lang="en-US" sz="1400" b="1" dirty="0">
                <a:ea typeface="+mj-lt"/>
                <a:cs typeface="+mj-lt"/>
              </a:rPr>
            </a:br>
            <a:r>
              <a:rPr lang="en-US" sz="1400" b="1" dirty="0">
                <a:ea typeface="+mj-lt"/>
                <a:cs typeface="+mj-lt"/>
              </a:rPr>
              <a:t>Bangladesh</a:t>
            </a:r>
            <a:endParaRPr lang="en-US" sz="1400" b="1" kern="0" dirty="0"/>
          </a:p>
        </p:txBody>
      </p:sp>
      <p:sp>
        <p:nvSpPr>
          <p:cNvPr id="19" name="Parallelogram 18">
            <a:extLst>
              <a:ext uri="{FF2B5EF4-FFF2-40B4-BE49-F238E27FC236}">
                <a16:creationId xmlns:a16="http://schemas.microsoft.com/office/drawing/2014/main" id="{A460B189-D5D2-4143-9EBD-07EFB403C6CE}"/>
              </a:ext>
            </a:extLst>
          </p:cNvPr>
          <p:cNvSpPr/>
          <p:nvPr/>
        </p:nvSpPr>
        <p:spPr>
          <a:xfrm>
            <a:off x="0" y="1398588"/>
            <a:ext cx="12192000" cy="533729"/>
          </a:xfrm>
          <a:prstGeom prst="parallelogram">
            <a:avLst>
              <a:gd name="adj" fmla="val 0"/>
            </a:avLst>
          </a:prstGeom>
          <a:solidFill>
            <a:srgbClr val="D54643"/>
          </a:solidFill>
          <a:ln w="9525">
            <a:noFill/>
          </a:ln>
          <a:effectLst>
            <a:outerShdw blurRad="50800" dist="38100" dir="13500000" algn="b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US" sz="2000" dirty="0"/>
              <a:t>Increase in natural disasters due to climate change</a:t>
            </a:r>
            <a:endParaRPr lang="en-US" sz="2000" kern="0" dirty="0">
              <a:solidFill>
                <a:schemeClr val="tx1"/>
              </a:solidFill>
            </a:endParaRPr>
          </a:p>
        </p:txBody>
      </p:sp>
      <p:pic>
        <p:nvPicPr>
          <p:cNvPr id="8" name="Picture 7">
            <a:extLst>
              <a:ext uri="{FF2B5EF4-FFF2-40B4-BE49-F238E27FC236}">
                <a16:creationId xmlns:a16="http://schemas.microsoft.com/office/drawing/2014/main" id="{F1647F65-8474-49B7-96F0-E2BAA5417298}"/>
              </a:ext>
            </a:extLst>
          </p:cNvPr>
          <p:cNvPicPr>
            <a:picLocks noChangeAspect="1"/>
          </p:cNvPicPr>
          <p:nvPr/>
        </p:nvPicPr>
        <p:blipFill>
          <a:blip r:embed="rId8"/>
          <a:stretch>
            <a:fillRect/>
          </a:stretch>
        </p:blipFill>
        <p:spPr>
          <a:xfrm>
            <a:off x="238085" y="2143481"/>
            <a:ext cx="2461983" cy="1846488"/>
          </a:xfrm>
          <a:prstGeom prst="rect">
            <a:avLst/>
          </a:prstGeom>
        </p:spPr>
      </p:pic>
      <p:pic>
        <p:nvPicPr>
          <p:cNvPr id="9" name="Picture 8">
            <a:extLst>
              <a:ext uri="{FF2B5EF4-FFF2-40B4-BE49-F238E27FC236}">
                <a16:creationId xmlns:a16="http://schemas.microsoft.com/office/drawing/2014/main" id="{ECEC9A21-2B0C-42AF-9E76-3A8E27641532}"/>
              </a:ext>
            </a:extLst>
          </p:cNvPr>
          <p:cNvPicPr>
            <a:picLocks noChangeAspect="1"/>
          </p:cNvPicPr>
          <p:nvPr/>
        </p:nvPicPr>
        <p:blipFill>
          <a:blip r:embed="rId9"/>
          <a:stretch>
            <a:fillRect/>
          </a:stretch>
        </p:blipFill>
        <p:spPr>
          <a:xfrm>
            <a:off x="2919045" y="2143481"/>
            <a:ext cx="2478813" cy="1846488"/>
          </a:xfrm>
          <a:prstGeom prst="rect">
            <a:avLst/>
          </a:prstGeom>
        </p:spPr>
      </p:pic>
      <p:pic>
        <p:nvPicPr>
          <p:cNvPr id="11" name="Picture 10">
            <a:extLst>
              <a:ext uri="{FF2B5EF4-FFF2-40B4-BE49-F238E27FC236}">
                <a16:creationId xmlns:a16="http://schemas.microsoft.com/office/drawing/2014/main" id="{21586498-094C-418E-B60F-913EA4BAEC49}"/>
              </a:ext>
            </a:extLst>
          </p:cNvPr>
          <p:cNvPicPr>
            <a:picLocks noChangeAspect="1"/>
          </p:cNvPicPr>
          <p:nvPr/>
        </p:nvPicPr>
        <p:blipFill rotWithShape="1">
          <a:blip r:embed="rId10"/>
          <a:srcRect l="4983" r="6776"/>
          <a:stretch/>
        </p:blipFill>
        <p:spPr>
          <a:xfrm>
            <a:off x="5616835" y="2143481"/>
            <a:ext cx="2895269" cy="1846488"/>
          </a:xfrm>
          <a:prstGeom prst="rect">
            <a:avLst/>
          </a:prstGeom>
        </p:spPr>
      </p:pic>
      <p:pic>
        <p:nvPicPr>
          <p:cNvPr id="14" name="Picture 13">
            <a:extLst>
              <a:ext uri="{FF2B5EF4-FFF2-40B4-BE49-F238E27FC236}">
                <a16:creationId xmlns:a16="http://schemas.microsoft.com/office/drawing/2014/main" id="{E992EE76-5311-4FB1-8259-7E805BA6CD67}"/>
              </a:ext>
            </a:extLst>
          </p:cNvPr>
          <p:cNvPicPr>
            <a:picLocks noChangeAspect="1"/>
          </p:cNvPicPr>
          <p:nvPr/>
        </p:nvPicPr>
        <p:blipFill rotWithShape="1">
          <a:blip r:embed="rId11"/>
          <a:srcRect r="15373"/>
          <a:stretch/>
        </p:blipFill>
        <p:spPr>
          <a:xfrm>
            <a:off x="8629754" y="2143481"/>
            <a:ext cx="3046431" cy="1851763"/>
          </a:xfrm>
          <a:prstGeom prst="rect">
            <a:avLst/>
          </a:prstGeom>
        </p:spPr>
      </p:pic>
      <p:pic>
        <p:nvPicPr>
          <p:cNvPr id="16" name="Picture 15">
            <a:extLst>
              <a:ext uri="{FF2B5EF4-FFF2-40B4-BE49-F238E27FC236}">
                <a16:creationId xmlns:a16="http://schemas.microsoft.com/office/drawing/2014/main" id="{30169622-C51A-4217-8943-8F707C0716F3}"/>
              </a:ext>
            </a:extLst>
          </p:cNvPr>
          <p:cNvPicPr>
            <a:picLocks noChangeAspect="1"/>
          </p:cNvPicPr>
          <p:nvPr/>
        </p:nvPicPr>
        <p:blipFill>
          <a:blip r:embed="rId12"/>
          <a:stretch>
            <a:fillRect/>
          </a:stretch>
        </p:blipFill>
        <p:spPr>
          <a:xfrm>
            <a:off x="1542080" y="926174"/>
            <a:ext cx="9299941" cy="5233086"/>
          </a:xfrm>
          <a:prstGeom prst="rect">
            <a:avLst/>
          </a:prstGeom>
        </p:spPr>
      </p:pic>
    </p:spTree>
    <p:extLst>
      <p:ext uri="{BB962C8B-B14F-4D97-AF65-F5344CB8AC3E}">
        <p14:creationId xmlns:p14="http://schemas.microsoft.com/office/powerpoint/2010/main" val="185443479"/>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C0C3DEB5-6F74-44F6-8871-3499AE717838}"/>
              </a:ext>
            </a:extLst>
          </p:cNvPr>
          <p:cNvSpPr txBox="1"/>
          <p:nvPr/>
        </p:nvSpPr>
        <p:spPr>
          <a:xfrm>
            <a:off x="6883878" y="603849"/>
            <a:ext cx="5124091" cy="430887"/>
          </a:xfrm>
          <a:prstGeom prst="rect">
            <a:avLst/>
          </a:prstGeom>
          <a:noFill/>
        </p:spPr>
        <p:txBody>
          <a:bodyPr wrap="square" lIns="0" tIns="0" rIns="0" bIns="0" rtlCol="0">
            <a:spAutoFit/>
          </a:bodyPr>
          <a:lstStyle/>
          <a:p>
            <a:r>
              <a:rPr lang="en-US" sz="2000" dirty="0">
                <a:solidFill>
                  <a:srgbClr val="D42B2B"/>
                </a:solidFill>
              </a:rPr>
              <a:t> </a:t>
            </a:r>
            <a:r>
              <a:rPr lang="en-US" sz="2800" dirty="0">
                <a:solidFill>
                  <a:srgbClr val="D42B2B"/>
                </a:solidFill>
              </a:rPr>
              <a:t>|</a:t>
            </a:r>
            <a:r>
              <a:rPr lang="en-US" sz="2000" dirty="0">
                <a:solidFill>
                  <a:srgbClr val="D42B2B"/>
                </a:solidFill>
              </a:rPr>
              <a:t>  Environmental Concerns in Bangladesh</a:t>
            </a:r>
            <a:endParaRPr lang="en-US" sz="2000" kern="0" dirty="0">
              <a:solidFill>
                <a:srgbClr val="D42B2B"/>
              </a:solidFill>
            </a:endParaRPr>
          </a:p>
        </p:txBody>
      </p:sp>
      <p:pic>
        <p:nvPicPr>
          <p:cNvPr id="6" name="Picture 5">
            <a:extLst>
              <a:ext uri="{FF2B5EF4-FFF2-40B4-BE49-F238E27FC236}">
                <a16:creationId xmlns:a16="http://schemas.microsoft.com/office/drawing/2014/main" id="{91F74D4A-9E16-4275-90C5-F97189B724F9}"/>
              </a:ext>
            </a:extLst>
          </p:cNvPr>
          <p:cNvPicPr>
            <a:picLocks noChangeAspect="1"/>
          </p:cNvPicPr>
          <p:nvPr/>
        </p:nvPicPr>
        <p:blipFill>
          <a:blip r:embed="rId4">
            <a:extLst>
              <a:ext uri="{BEBA8EAE-BF5A-486C-A8C5-ECC9F3942E4B}">
                <a14:imgProps xmlns:a14="http://schemas.microsoft.com/office/drawing/2010/main">
                  <a14:imgLayer r:embed="rId5">
                    <a14:imgEffect>
                      <a14:saturation sat="66000"/>
                    </a14:imgEffect>
                  </a14:imgLayer>
                </a14:imgProps>
              </a:ext>
            </a:extLst>
          </a:blip>
          <a:stretch>
            <a:fillRect/>
          </a:stretch>
        </p:blipFill>
        <p:spPr>
          <a:xfrm>
            <a:off x="1097239" y="445535"/>
            <a:ext cx="551406" cy="708492"/>
          </a:xfrm>
          <a:prstGeom prst="rect">
            <a:avLst/>
          </a:prstGeom>
        </p:spPr>
      </p:pic>
      <p:graphicFrame>
        <p:nvGraphicFramePr>
          <p:cNvPr id="3" name="Object 2" hidden="1">
            <a:extLst>
              <a:ext uri="{FF2B5EF4-FFF2-40B4-BE49-F238E27FC236}">
                <a16:creationId xmlns:a16="http://schemas.microsoft.com/office/drawing/2014/main" id="{29F5A9FD-BD4B-41CD-9545-C14EE113DFB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3" name="think-cell Slide" r:id="rId6" imgW="360" imgH="360" progId="TCLayout.ActiveDocument.1">
                  <p:embed/>
                </p:oleObj>
              </mc:Choice>
              <mc:Fallback>
                <p:oleObj name="think-cell Slide" r:id="rId6" imgW="360" imgH="360" progId="TCLayout.ActiveDocument.1">
                  <p:embed/>
                  <p:pic>
                    <p:nvPicPr>
                      <p:cNvPr id="3" name="Object 2" hidden="1">
                        <a:extLst>
                          <a:ext uri="{FF2B5EF4-FFF2-40B4-BE49-F238E27FC236}">
                            <a16:creationId xmlns:a16="http://schemas.microsoft.com/office/drawing/2014/main" id="{29F5A9FD-BD4B-41CD-9545-C14EE113DFB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26F784E-485C-46E9-A476-2051D18874E2}"/>
              </a:ext>
            </a:extLst>
          </p:cNvPr>
          <p:cNvSpPr>
            <a:spLocks noGrp="1"/>
          </p:cNvSpPr>
          <p:nvPr>
            <p:ph type="title"/>
          </p:nvPr>
        </p:nvSpPr>
        <p:spPr>
          <a:xfrm>
            <a:off x="282770" y="346222"/>
            <a:ext cx="2180344" cy="688514"/>
          </a:xfrm>
        </p:spPr>
        <p:txBody>
          <a:bodyPr vert="horz" lIns="0" tIns="0" rIns="0" bIns="0" rtlCol="0" anchor="t" anchorCtr="0">
            <a:noAutofit/>
          </a:bodyPr>
          <a:lstStyle/>
          <a:p>
            <a:r>
              <a:rPr lang="en-US" sz="1200" dirty="0">
                <a:ea typeface="+mj-lt"/>
                <a:cs typeface="+mj-lt"/>
              </a:rPr>
              <a:t>Environmental Problems </a:t>
            </a:r>
            <a:br>
              <a:rPr lang="en-US" sz="1200" dirty="0">
                <a:ea typeface="+mj-lt"/>
                <a:cs typeface="+mj-lt"/>
              </a:rPr>
            </a:br>
            <a:br>
              <a:rPr lang="en-US" sz="1200" dirty="0">
                <a:ea typeface="+mj-lt"/>
                <a:cs typeface="+mj-lt"/>
              </a:rPr>
            </a:br>
            <a:endParaRPr lang="en-US" sz="1200" dirty="0"/>
          </a:p>
        </p:txBody>
      </p:sp>
      <p:sp>
        <p:nvSpPr>
          <p:cNvPr id="4" name="TextBox 3">
            <a:extLst>
              <a:ext uri="{FF2B5EF4-FFF2-40B4-BE49-F238E27FC236}">
                <a16:creationId xmlns:a16="http://schemas.microsoft.com/office/drawing/2014/main" id="{32DF85C0-3BEE-4729-9C07-A4274FBB1381}"/>
              </a:ext>
            </a:extLst>
          </p:cNvPr>
          <p:cNvSpPr txBox="1"/>
          <p:nvPr/>
        </p:nvSpPr>
        <p:spPr>
          <a:xfrm>
            <a:off x="282770" y="495287"/>
            <a:ext cx="4879445" cy="430887"/>
          </a:xfrm>
          <a:prstGeom prst="rect">
            <a:avLst/>
          </a:prstGeom>
          <a:noFill/>
        </p:spPr>
        <p:txBody>
          <a:bodyPr wrap="square" lIns="0" tIns="0" rIns="0" bIns="0" rtlCol="0">
            <a:spAutoFit/>
          </a:bodyPr>
          <a:lstStyle/>
          <a:p>
            <a:r>
              <a:rPr lang="en-US" sz="1400" b="1" dirty="0">
                <a:ea typeface="+mj-lt"/>
                <a:cs typeface="+mj-lt"/>
              </a:rPr>
              <a:t>in</a:t>
            </a:r>
            <a:br>
              <a:rPr lang="en-US" sz="1400" b="1" dirty="0">
                <a:ea typeface="+mj-lt"/>
                <a:cs typeface="+mj-lt"/>
              </a:rPr>
            </a:br>
            <a:r>
              <a:rPr lang="en-US" sz="1400" b="1" dirty="0">
                <a:ea typeface="+mj-lt"/>
                <a:cs typeface="+mj-lt"/>
              </a:rPr>
              <a:t>Bangladesh</a:t>
            </a:r>
            <a:endParaRPr lang="en-US" sz="1400" b="1" kern="0" dirty="0"/>
          </a:p>
        </p:txBody>
      </p:sp>
      <p:sp>
        <p:nvSpPr>
          <p:cNvPr id="19" name="Parallelogram 18">
            <a:extLst>
              <a:ext uri="{FF2B5EF4-FFF2-40B4-BE49-F238E27FC236}">
                <a16:creationId xmlns:a16="http://schemas.microsoft.com/office/drawing/2014/main" id="{A460B189-D5D2-4143-9EBD-07EFB403C6CE}"/>
              </a:ext>
            </a:extLst>
          </p:cNvPr>
          <p:cNvSpPr/>
          <p:nvPr/>
        </p:nvSpPr>
        <p:spPr>
          <a:xfrm>
            <a:off x="0" y="1398588"/>
            <a:ext cx="12192000" cy="533729"/>
          </a:xfrm>
          <a:prstGeom prst="parallelogram">
            <a:avLst>
              <a:gd name="adj" fmla="val 0"/>
            </a:avLst>
          </a:prstGeom>
          <a:solidFill>
            <a:srgbClr val="D54643"/>
          </a:solidFill>
          <a:ln w="9525">
            <a:noFill/>
          </a:ln>
          <a:effectLst>
            <a:outerShdw blurRad="50800" dist="38100" dir="13500000" algn="b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US" sz="2000" dirty="0"/>
              <a:t>Increase in natural disasters due to climate change</a:t>
            </a:r>
            <a:endParaRPr lang="en-US" sz="2000" kern="0" dirty="0">
              <a:solidFill>
                <a:schemeClr val="tx1"/>
              </a:solidFill>
            </a:endParaRPr>
          </a:p>
        </p:txBody>
      </p:sp>
      <p:pic>
        <p:nvPicPr>
          <p:cNvPr id="8" name="Picture 7">
            <a:extLst>
              <a:ext uri="{FF2B5EF4-FFF2-40B4-BE49-F238E27FC236}">
                <a16:creationId xmlns:a16="http://schemas.microsoft.com/office/drawing/2014/main" id="{F1647F65-8474-49B7-96F0-E2BAA5417298}"/>
              </a:ext>
            </a:extLst>
          </p:cNvPr>
          <p:cNvPicPr>
            <a:picLocks noChangeAspect="1"/>
          </p:cNvPicPr>
          <p:nvPr/>
        </p:nvPicPr>
        <p:blipFill>
          <a:blip r:embed="rId8"/>
          <a:stretch>
            <a:fillRect/>
          </a:stretch>
        </p:blipFill>
        <p:spPr>
          <a:xfrm>
            <a:off x="238085" y="2143481"/>
            <a:ext cx="2461983" cy="1846488"/>
          </a:xfrm>
          <a:prstGeom prst="rect">
            <a:avLst/>
          </a:prstGeom>
        </p:spPr>
      </p:pic>
      <p:pic>
        <p:nvPicPr>
          <p:cNvPr id="9" name="Picture 8">
            <a:extLst>
              <a:ext uri="{FF2B5EF4-FFF2-40B4-BE49-F238E27FC236}">
                <a16:creationId xmlns:a16="http://schemas.microsoft.com/office/drawing/2014/main" id="{ECEC9A21-2B0C-42AF-9E76-3A8E27641532}"/>
              </a:ext>
            </a:extLst>
          </p:cNvPr>
          <p:cNvPicPr>
            <a:picLocks noChangeAspect="1"/>
          </p:cNvPicPr>
          <p:nvPr/>
        </p:nvPicPr>
        <p:blipFill>
          <a:blip r:embed="rId9"/>
          <a:stretch>
            <a:fillRect/>
          </a:stretch>
        </p:blipFill>
        <p:spPr>
          <a:xfrm>
            <a:off x="2919045" y="2143481"/>
            <a:ext cx="2478813" cy="1846488"/>
          </a:xfrm>
          <a:prstGeom prst="rect">
            <a:avLst/>
          </a:prstGeom>
        </p:spPr>
      </p:pic>
      <p:pic>
        <p:nvPicPr>
          <p:cNvPr id="11" name="Picture 10">
            <a:extLst>
              <a:ext uri="{FF2B5EF4-FFF2-40B4-BE49-F238E27FC236}">
                <a16:creationId xmlns:a16="http://schemas.microsoft.com/office/drawing/2014/main" id="{21586498-094C-418E-B60F-913EA4BAEC49}"/>
              </a:ext>
            </a:extLst>
          </p:cNvPr>
          <p:cNvPicPr>
            <a:picLocks noChangeAspect="1"/>
          </p:cNvPicPr>
          <p:nvPr/>
        </p:nvPicPr>
        <p:blipFill rotWithShape="1">
          <a:blip r:embed="rId10"/>
          <a:srcRect l="4983" r="6776"/>
          <a:stretch/>
        </p:blipFill>
        <p:spPr>
          <a:xfrm>
            <a:off x="5616835" y="2143481"/>
            <a:ext cx="2895269" cy="1846488"/>
          </a:xfrm>
          <a:prstGeom prst="rect">
            <a:avLst/>
          </a:prstGeom>
        </p:spPr>
      </p:pic>
      <p:pic>
        <p:nvPicPr>
          <p:cNvPr id="14" name="Picture 13">
            <a:extLst>
              <a:ext uri="{FF2B5EF4-FFF2-40B4-BE49-F238E27FC236}">
                <a16:creationId xmlns:a16="http://schemas.microsoft.com/office/drawing/2014/main" id="{E992EE76-5311-4FB1-8259-7E805BA6CD67}"/>
              </a:ext>
            </a:extLst>
          </p:cNvPr>
          <p:cNvPicPr>
            <a:picLocks noChangeAspect="1"/>
          </p:cNvPicPr>
          <p:nvPr/>
        </p:nvPicPr>
        <p:blipFill rotWithShape="1">
          <a:blip r:embed="rId11"/>
          <a:srcRect r="15373"/>
          <a:stretch/>
        </p:blipFill>
        <p:spPr>
          <a:xfrm>
            <a:off x="8629754" y="2143481"/>
            <a:ext cx="3046431" cy="1851763"/>
          </a:xfrm>
          <a:prstGeom prst="rect">
            <a:avLst/>
          </a:prstGeom>
        </p:spPr>
      </p:pic>
      <p:pic>
        <p:nvPicPr>
          <p:cNvPr id="16" name="Picture 15">
            <a:extLst>
              <a:ext uri="{FF2B5EF4-FFF2-40B4-BE49-F238E27FC236}">
                <a16:creationId xmlns:a16="http://schemas.microsoft.com/office/drawing/2014/main" id="{30169622-C51A-4217-8943-8F707C0716F3}"/>
              </a:ext>
            </a:extLst>
          </p:cNvPr>
          <p:cNvPicPr>
            <a:picLocks noChangeAspect="1"/>
          </p:cNvPicPr>
          <p:nvPr/>
        </p:nvPicPr>
        <p:blipFill>
          <a:blip r:embed="rId12"/>
          <a:stretch>
            <a:fillRect/>
          </a:stretch>
        </p:blipFill>
        <p:spPr>
          <a:xfrm>
            <a:off x="4169200" y="4278736"/>
            <a:ext cx="2895269" cy="1629171"/>
          </a:xfrm>
          <a:prstGeom prst="rect">
            <a:avLst/>
          </a:prstGeom>
        </p:spPr>
      </p:pic>
    </p:spTree>
    <p:extLst>
      <p:ext uri="{BB962C8B-B14F-4D97-AF65-F5344CB8AC3E}">
        <p14:creationId xmlns:p14="http://schemas.microsoft.com/office/powerpoint/2010/main" val="281933600"/>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9F5A9FD-BD4B-41CD-9545-C14EE113DFB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6"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a16="http://schemas.microsoft.com/office/drawing/2014/main" id="{29F5A9FD-BD4B-41CD-9545-C14EE113DF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262" name="Group 1261">
            <a:extLst>
              <a:ext uri="{FF2B5EF4-FFF2-40B4-BE49-F238E27FC236}">
                <a16:creationId xmlns:a16="http://schemas.microsoft.com/office/drawing/2014/main" id="{0DED1D56-538D-44D4-A6EE-2AD1F41E9699}"/>
              </a:ext>
            </a:extLst>
          </p:cNvPr>
          <p:cNvGrpSpPr/>
          <p:nvPr/>
        </p:nvGrpSpPr>
        <p:grpSpPr>
          <a:xfrm>
            <a:off x="-40812187" y="-16120545"/>
            <a:ext cx="64256387" cy="36796143"/>
            <a:chOff x="1433110" y="1700344"/>
            <a:chExt cx="9366611" cy="4630922"/>
          </a:xfrm>
          <a:solidFill>
            <a:schemeClr val="bg1">
              <a:lumMod val="75000"/>
            </a:schemeClr>
          </a:solidFill>
        </p:grpSpPr>
        <p:sp>
          <p:nvSpPr>
            <p:cNvPr id="831" name="Freeform 5">
              <a:extLst>
                <a:ext uri="{FF2B5EF4-FFF2-40B4-BE49-F238E27FC236}">
                  <a16:creationId xmlns:a16="http://schemas.microsoft.com/office/drawing/2014/main" id="{C5D40F70-E3B5-42E4-A2C8-E63FCAB070E2}"/>
                </a:ext>
              </a:extLst>
            </p:cNvPr>
            <p:cNvSpPr>
              <a:spLocks/>
            </p:cNvSpPr>
            <p:nvPr/>
          </p:nvSpPr>
          <p:spPr bwMode="gray">
            <a:xfrm>
              <a:off x="3913019" y="1700344"/>
              <a:ext cx="1588331" cy="1188437"/>
            </a:xfrm>
            <a:custGeom>
              <a:avLst/>
              <a:gdLst>
                <a:gd name="T0" fmla="*/ 676 w 962"/>
                <a:gd name="T1" fmla="*/ 508 h 716"/>
                <a:gd name="T2" fmla="*/ 628 w 962"/>
                <a:gd name="T3" fmla="*/ 526 h 716"/>
                <a:gd name="T4" fmla="*/ 546 w 962"/>
                <a:gd name="T5" fmla="*/ 572 h 716"/>
                <a:gd name="T6" fmla="*/ 510 w 962"/>
                <a:gd name="T7" fmla="*/ 592 h 716"/>
                <a:gd name="T8" fmla="*/ 502 w 962"/>
                <a:gd name="T9" fmla="*/ 636 h 716"/>
                <a:gd name="T10" fmla="*/ 482 w 962"/>
                <a:gd name="T11" fmla="*/ 664 h 716"/>
                <a:gd name="T12" fmla="*/ 428 w 962"/>
                <a:gd name="T13" fmla="*/ 702 h 716"/>
                <a:gd name="T14" fmla="*/ 390 w 962"/>
                <a:gd name="T15" fmla="*/ 700 h 716"/>
                <a:gd name="T16" fmla="*/ 348 w 962"/>
                <a:gd name="T17" fmla="*/ 634 h 716"/>
                <a:gd name="T18" fmla="*/ 340 w 962"/>
                <a:gd name="T19" fmla="*/ 600 h 716"/>
                <a:gd name="T20" fmla="*/ 312 w 962"/>
                <a:gd name="T21" fmla="*/ 546 h 716"/>
                <a:gd name="T22" fmla="*/ 312 w 962"/>
                <a:gd name="T23" fmla="*/ 516 h 716"/>
                <a:gd name="T24" fmla="*/ 346 w 962"/>
                <a:gd name="T25" fmla="*/ 522 h 716"/>
                <a:gd name="T26" fmla="*/ 356 w 962"/>
                <a:gd name="T27" fmla="*/ 466 h 716"/>
                <a:gd name="T28" fmla="*/ 296 w 962"/>
                <a:gd name="T29" fmla="*/ 436 h 716"/>
                <a:gd name="T30" fmla="*/ 330 w 962"/>
                <a:gd name="T31" fmla="*/ 414 h 716"/>
                <a:gd name="T32" fmla="*/ 274 w 962"/>
                <a:gd name="T33" fmla="*/ 414 h 716"/>
                <a:gd name="T34" fmla="*/ 238 w 962"/>
                <a:gd name="T35" fmla="*/ 306 h 716"/>
                <a:gd name="T36" fmla="*/ 148 w 962"/>
                <a:gd name="T37" fmla="*/ 262 h 716"/>
                <a:gd name="T38" fmla="*/ 100 w 962"/>
                <a:gd name="T39" fmla="*/ 272 h 716"/>
                <a:gd name="T40" fmla="*/ 68 w 962"/>
                <a:gd name="T41" fmla="*/ 256 h 716"/>
                <a:gd name="T42" fmla="*/ 24 w 962"/>
                <a:gd name="T43" fmla="*/ 240 h 716"/>
                <a:gd name="T44" fmla="*/ 102 w 962"/>
                <a:gd name="T45" fmla="*/ 222 h 716"/>
                <a:gd name="T46" fmla="*/ 8 w 962"/>
                <a:gd name="T47" fmla="*/ 206 h 716"/>
                <a:gd name="T48" fmla="*/ 58 w 962"/>
                <a:gd name="T49" fmla="*/ 180 h 716"/>
                <a:gd name="T50" fmla="*/ 124 w 962"/>
                <a:gd name="T51" fmla="*/ 134 h 716"/>
                <a:gd name="T52" fmla="*/ 128 w 962"/>
                <a:gd name="T53" fmla="*/ 102 h 716"/>
                <a:gd name="T54" fmla="*/ 182 w 962"/>
                <a:gd name="T55" fmla="*/ 70 h 716"/>
                <a:gd name="T56" fmla="*/ 230 w 962"/>
                <a:gd name="T57" fmla="*/ 68 h 716"/>
                <a:gd name="T58" fmla="*/ 296 w 962"/>
                <a:gd name="T59" fmla="*/ 50 h 716"/>
                <a:gd name="T60" fmla="*/ 344 w 962"/>
                <a:gd name="T61" fmla="*/ 66 h 716"/>
                <a:gd name="T62" fmla="*/ 374 w 962"/>
                <a:gd name="T63" fmla="*/ 44 h 716"/>
                <a:gd name="T64" fmla="*/ 400 w 962"/>
                <a:gd name="T65" fmla="*/ 40 h 716"/>
                <a:gd name="T66" fmla="*/ 478 w 962"/>
                <a:gd name="T67" fmla="*/ 14 h 716"/>
                <a:gd name="T68" fmla="*/ 618 w 962"/>
                <a:gd name="T69" fmla="*/ 0 h 716"/>
                <a:gd name="T70" fmla="*/ 756 w 962"/>
                <a:gd name="T71" fmla="*/ 18 h 716"/>
                <a:gd name="T72" fmla="*/ 738 w 962"/>
                <a:gd name="T73" fmla="*/ 56 h 716"/>
                <a:gd name="T74" fmla="*/ 754 w 962"/>
                <a:gd name="T75" fmla="*/ 66 h 716"/>
                <a:gd name="T76" fmla="*/ 760 w 962"/>
                <a:gd name="T77" fmla="*/ 76 h 716"/>
                <a:gd name="T78" fmla="*/ 806 w 962"/>
                <a:gd name="T79" fmla="*/ 66 h 716"/>
                <a:gd name="T80" fmla="*/ 792 w 962"/>
                <a:gd name="T81" fmla="*/ 102 h 716"/>
                <a:gd name="T82" fmla="*/ 884 w 962"/>
                <a:gd name="T83" fmla="*/ 68 h 716"/>
                <a:gd name="T84" fmla="*/ 948 w 962"/>
                <a:gd name="T85" fmla="*/ 90 h 716"/>
                <a:gd name="T86" fmla="*/ 872 w 962"/>
                <a:gd name="T87" fmla="*/ 110 h 716"/>
                <a:gd name="T88" fmla="*/ 888 w 962"/>
                <a:gd name="T89" fmla="*/ 130 h 716"/>
                <a:gd name="T90" fmla="*/ 866 w 962"/>
                <a:gd name="T91" fmla="*/ 138 h 716"/>
                <a:gd name="T92" fmla="*/ 842 w 962"/>
                <a:gd name="T93" fmla="*/ 170 h 716"/>
                <a:gd name="T94" fmla="*/ 848 w 962"/>
                <a:gd name="T95" fmla="*/ 212 h 716"/>
                <a:gd name="T96" fmla="*/ 840 w 962"/>
                <a:gd name="T97" fmla="*/ 228 h 716"/>
                <a:gd name="T98" fmla="*/ 860 w 962"/>
                <a:gd name="T99" fmla="*/ 258 h 716"/>
                <a:gd name="T100" fmla="*/ 814 w 962"/>
                <a:gd name="T101" fmla="*/ 248 h 716"/>
                <a:gd name="T102" fmla="*/ 848 w 962"/>
                <a:gd name="T103" fmla="*/ 296 h 716"/>
                <a:gd name="T104" fmla="*/ 850 w 962"/>
                <a:gd name="T105" fmla="*/ 324 h 716"/>
                <a:gd name="T106" fmla="*/ 830 w 962"/>
                <a:gd name="T107" fmla="*/ 350 h 716"/>
                <a:gd name="T108" fmla="*/ 756 w 962"/>
                <a:gd name="T109" fmla="*/ 360 h 716"/>
                <a:gd name="T110" fmla="*/ 800 w 962"/>
                <a:gd name="T111" fmla="*/ 400 h 716"/>
                <a:gd name="T112" fmla="*/ 804 w 962"/>
                <a:gd name="T113" fmla="*/ 410 h 716"/>
                <a:gd name="T114" fmla="*/ 756 w 962"/>
                <a:gd name="T115" fmla="*/ 416 h 716"/>
                <a:gd name="T116" fmla="*/ 778 w 962"/>
                <a:gd name="T117" fmla="*/ 45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62" h="716">
                  <a:moveTo>
                    <a:pt x="790" y="462"/>
                  </a:moveTo>
                  <a:lnTo>
                    <a:pt x="752" y="484"/>
                  </a:lnTo>
                  <a:lnTo>
                    <a:pt x="736" y="496"/>
                  </a:lnTo>
                  <a:lnTo>
                    <a:pt x="676" y="508"/>
                  </a:lnTo>
                  <a:lnTo>
                    <a:pt x="658" y="512"/>
                  </a:lnTo>
                  <a:lnTo>
                    <a:pt x="646" y="506"/>
                  </a:lnTo>
                  <a:lnTo>
                    <a:pt x="642" y="514"/>
                  </a:lnTo>
                  <a:lnTo>
                    <a:pt x="628" y="526"/>
                  </a:lnTo>
                  <a:lnTo>
                    <a:pt x="608" y="552"/>
                  </a:lnTo>
                  <a:lnTo>
                    <a:pt x="582" y="564"/>
                  </a:lnTo>
                  <a:lnTo>
                    <a:pt x="560" y="572"/>
                  </a:lnTo>
                  <a:lnTo>
                    <a:pt x="546" y="572"/>
                  </a:lnTo>
                  <a:lnTo>
                    <a:pt x="524" y="576"/>
                  </a:lnTo>
                  <a:lnTo>
                    <a:pt x="518" y="582"/>
                  </a:lnTo>
                  <a:lnTo>
                    <a:pt x="518" y="588"/>
                  </a:lnTo>
                  <a:lnTo>
                    <a:pt x="510" y="592"/>
                  </a:lnTo>
                  <a:lnTo>
                    <a:pt x="512" y="606"/>
                  </a:lnTo>
                  <a:lnTo>
                    <a:pt x="504" y="612"/>
                  </a:lnTo>
                  <a:lnTo>
                    <a:pt x="508" y="620"/>
                  </a:lnTo>
                  <a:lnTo>
                    <a:pt x="502" y="636"/>
                  </a:lnTo>
                  <a:lnTo>
                    <a:pt x="486" y="648"/>
                  </a:lnTo>
                  <a:lnTo>
                    <a:pt x="474" y="650"/>
                  </a:lnTo>
                  <a:lnTo>
                    <a:pt x="480" y="658"/>
                  </a:lnTo>
                  <a:lnTo>
                    <a:pt x="482" y="664"/>
                  </a:lnTo>
                  <a:lnTo>
                    <a:pt x="476" y="686"/>
                  </a:lnTo>
                  <a:lnTo>
                    <a:pt x="462" y="716"/>
                  </a:lnTo>
                  <a:lnTo>
                    <a:pt x="444" y="714"/>
                  </a:lnTo>
                  <a:lnTo>
                    <a:pt x="428" y="702"/>
                  </a:lnTo>
                  <a:lnTo>
                    <a:pt x="426" y="690"/>
                  </a:lnTo>
                  <a:lnTo>
                    <a:pt x="416" y="694"/>
                  </a:lnTo>
                  <a:lnTo>
                    <a:pt x="406" y="694"/>
                  </a:lnTo>
                  <a:lnTo>
                    <a:pt x="390" y="700"/>
                  </a:lnTo>
                  <a:lnTo>
                    <a:pt x="374" y="672"/>
                  </a:lnTo>
                  <a:lnTo>
                    <a:pt x="356" y="654"/>
                  </a:lnTo>
                  <a:lnTo>
                    <a:pt x="362" y="644"/>
                  </a:lnTo>
                  <a:lnTo>
                    <a:pt x="348" y="634"/>
                  </a:lnTo>
                  <a:lnTo>
                    <a:pt x="348" y="618"/>
                  </a:lnTo>
                  <a:lnTo>
                    <a:pt x="360" y="604"/>
                  </a:lnTo>
                  <a:lnTo>
                    <a:pt x="354" y="594"/>
                  </a:lnTo>
                  <a:lnTo>
                    <a:pt x="340" y="600"/>
                  </a:lnTo>
                  <a:lnTo>
                    <a:pt x="324" y="588"/>
                  </a:lnTo>
                  <a:lnTo>
                    <a:pt x="312" y="572"/>
                  </a:lnTo>
                  <a:lnTo>
                    <a:pt x="304" y="560"/>
                  </a:lnTo>
                  <a:lnTo>
                    <a:pt x="312" y="546"/>
                  </a:lnTo>
                  <a:lnTo>
                    <a:pt x="316" y="540"/>
                  </a:lnTo>
                  <a:lnTo>
                    <a:pt x="304" y="540"/>
                  </a:lnTo>
                  <a:lnTo>
                    <a:pt x="302" y="528"/>
                  </a:lnTo>
                  <a:lnTo>
                    <a:pt x="312" y="516"/>
                  </a:lnTo>
                  <a:lnTo>
                    <a:pt x="318" y="516"/>
                  </a:lnTo>
                  <a:lnTo>
                    <a:pt x="336" y="520"/>
                  </a:lnTo>
                  <a:lnTo>
                    <a:pt x="342" y="522"/>
                  </a:lnTo>
                  <a:lnTo>
                    <a:pt x="346" y="522"/>
                  </a:lnTo>
                  <a:lnTo>
                    <a:pt x="348" y="520"/>
                  </a:lnTo>
                  <a:lnTo>
                    <a:pt x="344" y="500"/>
                  </a:lnTo>
                  <a:lnTo>
                    <a:pt x="344" y="478"/>
                  </a:lnTo>
                  <a:lnTo>
                    <a:pt x="356" y="466"/>
                  </a:lnTo>
                  <a:lnTo>
                    <a:pt x="352" y="456"/>
                  </a:lnTo>
                  <a:lnTo>
                    <a:pt x="330" y="456"/>
                  </a:lnTo>
                  <a:lnTo>
                    <a:pt x="310" y="444"/>
                  </a:lnTo>
                  <a:lnTo>
                    <a:pt x="296" y="436"/>
                  </a:lnTo>
                  <a:lnTo>
                    <a:pt x="318" y="434"/>
                  </a:lnTo>
                  <a:lnTo>
                    <a:pt x="342" y="442"/>
                  </a:lnTo>
                  <a:lnTo>
                    <a:pt x="344" y="430"/>
                  </a:lnTo>
                  <a:lnTo>
                    <a:pt x="330" y="414"/>
                  </a:lnTo>
                  <a:lnTo>
                    <a:pt x="320" y="410"/>
                  </a:lnTo>
                  <a:lnTo>
                    <a:pt x="304" y="400"/>
                  </a:lnTo>
                  <a:lnTo>
                    <a:pt x="296" y="412"/>
                  </a:lnTo>
                  <a:lnTo>
                    <a:pt x="274" y="414"/>
                  </a:lnTo>
                  <a:lnTo>
                    <a:pt x="274" y="398"/>
                  </a:lnTo>
                  <a:lnTo>
                    <a:pt x="288" y="378"/>
                  </a:lnTo>
                  <a:lnTo>
                    <a:pt x="264" y="332"/>
                  </a:lnTo>
                  <a:lnTo>
                    <a:pt x="238" y="306"/>
                  </a:lnTo>
                  <a:lnTo>
                    <a:pt x="228" y="294"/>
                  </a:lnTo>
                  <a:lnTo>
                    <a:pt x="226" y="284"/>
                  </a:lnTo>
                  <a:lnTo>
                    <a:pt x="196" y="274"/>
                  </a:lnTo>
                  <a:lnTo>
                    <a:pt x="148" y="262"/>
                  </a:lnTo>
                  <a:lnTo>
                    <a:pt x="138" y="266"/>
                  </a:lnTo>
                  <a:lnTo>
                    <a:pt x="118" y="274"/>
                  </a:lnTo>
                  <a:lnTo>
                    <a:pt x="106" y="264"/>
                  </a:lnTo>
                  <a:lnTo>
                    <a:pt x="100" y="272"/>
                  </a:lnTo>
                  <a:lnTo>
                    <a:pt x="94" y="276"/>
                  </a:lnTo>
                  <a:lnTo>
                    <a:pt x="76" y="272"/>
                  </a:lnTo>
                  <a:lnTo>
                    <a:pt x="52" y="262"/>
                  </a:lnTo>
                  <a:lnTo>
                    <a:pt x="68" y="256"/>
                  </a:lnTo>
                  <a:lnTo>
                    <a:pt x="76" y="252"/>
                  </a:lnTo>
                  <a:lnTo>
                    <a:pt x="62" y="250"/>
                  </a:lnTo>
                  <a:lnTo>
                    <a:pt x="42" y="250"/>
                  </a:lnTo>
                  <a:lnTo>
                    <a:pt x="24" y="240"/>
                  </a:lnTo>
                  <a:lnTo>
                    <a:pt x="30" y="234"/>
                  </a:lnTo>
                  <a:lnTo>
                    <a:pt x="60" y="234"/>
                  </a:lnTo>
                  <a:lnTo>
                    <a:pt x="100" y="230"/>
                  </a:lnTo>
                  <a:lnTo>
                    <a:pt x="102" y="222"/>
                  </a:lnTo>
                  <a:lnTo>
                    <a:pt x="84" y="222"/>
                  </a:lnTo>
                  <a:lnTo>
                    <a:pt x="62" y="224"/>
                  </a:lnTo>
                  <a:lnTo>
                    <a:pt x="40" y="220"/>
                  </a:lnTo>
                  <a:lnTo>
                    <a:pt x="8" y="206"/>
                  </a:lnTo>
                  <a:lnTo>
                    <a:pt x="0" y="196"/>
                  </a:lnTo>
                  <a:lnTo>
                    <a:pt x="8" y="188"/>
                  </a:lnTo>
                  <a:lnTo>
                    <a:pt x="32" y="184"/>
                  </a:lnTo>
                  <a:lnTo>
                    <a:pt x="58" y="180"/>
                  </a:lnTo>
                  <a:lnTo>
                    <a:pt x="76" y="170"/>
                  </a:lnTo>
                  <a:lnTo>
                    <a:pt x="106" y="170"/>
                  </a:lnTo>
                  <a:lnTo>
                    <a:pt x="122" y="156"/>
                  </a:lnTo>
                  <a:lnTo>
                    <a:pt x="124" y="134"/>
                  </a:lnTo>
                  <a:lnTo>
                    <a:pt x="112" y="140"/>
                  </a:lnTo>
                  <a:lnTo>
                    <a:pt x="82" y="128"/>
                  </a:lnTo>
                  <a:lnTo>
                    <a:pt x="102" y="114"/>
                  </a:lnTo>
                  <a:lnTo>
                    <a:pt x="128" y="102"/>
                  </a:lnTo>
                  <a:lnTo>
                    <a:pt x="160" y="92"/>
                  </a:lnTo>
                  <a:lnTo>
                    <a:pt x="184" y="100"/>
                  </a:lnTo>
                  <a:lnTo>
                    <a:pt x="190" y="80"/>
                  </a:lnTo>
                  <a:lnTo>
                    <a:pt x="182" y="70"/>
                  </a:lnTo>
                  <a:lnTo>
                    <a:pt x="212" y="66"/>
                  </a:lnTo>
                  <a:lnTo>
                    <a:pt x="222" y="76"/>
                  </a:lnTo>
                  <a:lnTo>
                    <a:pt x="238" y="80"/>
                  </a:lnTo>
                  <a:lnTo>
                    <a:pt x="230" y="68"/>
                  </a:lnTo>
                  <a:lnTo>
                    <a:pt x="226" y="62"/>
                  </a:lnTo>
                  <a:lnTo>
                    <a:pt x="224" y="60"/>
                  </a:lnTo>
                  <a:lnTo>
                    <a:pt x="224" y="58"/>
                  </a:lnTo>
                  <a:lnTo>
                    <a:pt x="296" y="50"/>
                  </a:lnTo>
                  <a:lnTo>
                    <a:pt x="304" y="70"/>
                  </a:lnTo>
                  <a:lnTo>
                    <a:pt x="316" y="66"/>
                  </a:lnTo>
                  <a:lnTo>
                    <a:pt x="312" y="48"/>
                  </a:lnTo>
                  <a:lnTo>
                    <a:pt x="344" y="66"/>
                  </a:lnTo>
                  <a:lnTo>
                    <a:pt x="366" y="66"/>
                  </a:lnTo>
                  <a:lnTo>
                    <a:pt x="350" y="56"/>
                  </a:lnTo>
                  <a:lnTo>
                    <a:pt x="358" y="44"/>
                  </a:lnTo>
                  <a:lnTo>
                    <a:pt x="374" y="44"/>
                  </a:lnTo>
                  <a:lnTo>
                    <a:pt x="404" y="56"/>
                  </a:lnTo>
                  <a:lnTo>
                    <a:pt x="442" y="74"/>
                  </a:lnTo>
                  <a:lnTo>
                    <a:pt x="450" y="68"/>
                  </a:lnTo>
                  <a:lnTo>
                    <a:pt x="400" y="40"/>
                  </a:lnTo>
                  <a:lnTo>
                    <a:pt x="422" y="34"/>
                  </a:lnTo>
                  <a:lnTo>
                    <a:pt x="424" y="24"/>
                  </a:lnTo>
                  <a:lnTo>
                    <a:pt x="450" y="16"/>
                  </a:lnTo>
                  <a:lnTo>
                    <a:pt x="478" y="14"/>
                  </a:lnTo>
                  <a:lnTo>
                    <a:pt x="510" y="18"/>
                  </a:lnTo>
                  <a:lnTo>
                    <a:pt x="534" y="16"/>
                  </a:lnTo>
                  <a:lnTo>
                    <a:pt x="562" y="4"/>
                  </a:lnTo>
                  <a:lnTo>
                    <a:pt x="618" y="0"/>
                  </a:lnTo>
                  <a:lnTo>
                    <a:pt x="680" y="0"/>
                  </a:lnTo>
                  <a:lnTo>
                    <a:pt x="716" y="4"/>
                  </a:lnTo>
                  <a:lnTo>
                    <a:pt x="746" y="12"/>
                  </a:lnTo>
                  <a:lnTo>
                    <a:pt x="756" y="18"/>
                  </a:lnTo>
                  <a:lnTo>
                    <a:pt x="760" y="24"/>
                  </a:lnTo>
                  <a:lnTo>
                    <a:pt x="814" y="38"/>
                  </a:lnTo>
                  <a:lnTo>
                    <a:pt x="800" y="48"/>
                  </a:lnTo>
                  <a:lnTo>
                    <a:pt x="738" y="56"/>
                  </a:lnTo>
                  <a:lnTo>
                    <a:pt x="676" y="58"/>
                  </a:lnTo>
                  <a:lnTo>
                    <a:pt x="668" y="70"/>
                  </a:lnTo>
                  <a:lnTo>
                    <a:pt x="694" y="64"/>
                  </a:lnTo>
                  <a:lnTo>
                    <a:pt x="754" y="66"/>
                  </a:lnTo>
                  <a:lnTo>
                    <a:pt x="740" y="76"/>
                  </a:lnTo>
                  <a:lnTo>
                    <a:pt x="726" y="80"/>
                  </a:lnTo>
                  <a:lnTo>
                    <a:pt x="734" y="82"/>
                  </a:lnTo>
                  <a:lnTo>
                    <a:pt x="760" y="76"/>
                  </a:lnTo>
                  <a:lnTo>
                    <a:pt x="774" y="68"/>
                  </a:lnTo>
                  <a:lnTo>
                    <a:pt x="782" y="58"/>
                  </a:lnTo>
                  <a:lnTo>
                    <a:pt x="800" y="58"/>
                  </a:lnTo>
                  <a:lnTo>
                    <a:pt x="806" y="66"/>
                  </a:lnTo>
                  <a:lnTo>
                    <a:pt x="806" y="82"/>
                  </a:lnTo>
                  <a:lnTo>
                    <a:pt x="774" y="104"/>
                  </a:lnTo>
                  <a:lnTo>
                    <a:pt x="770" y="114"/>
                  </a:lnTo>
                  <a:lnTo>
                    <a:pt x="792" y="102"/>
                  </a:lnTo>
                  <a:lnTo>
                    <a:pt x="820" y="86"/>
                  </a:lnTo>
                  <a:lnTo>
                    <a:pt x="836" y="74"/>
                  </a:lnTo>
                  <a:lnTo>
                    <a:pt x="868" y="84"/>
                  </a:lnTo>
                  <a:lnTo>
                    <a:pt x="884" y="68"/>
                  </a:lnTo>
                  <a:lnTo>
                    <a:pt x="914" y="66"/>
                  </a:lnTo>
                  <a:lnTo>
                    <a:pt x="946" y="70"/>
                  </a:lnTo>
                  <a:lnTo>
                    <a:pt x="962" y="80"/>
                  </a:lnTo>
                  <a:lnTo>
                    <a:pt x="948" y="90"/>
                  </a:lnTo>
                  <a:lnTo>
                    <a:pt x="922" y="98"/>
                  </a:lnTo>
                  <a:lnTo>
                    <a:pt x="916" y="106"/>
                  </a:lnTo>
                  <a:lnTo>
                    <a:pt x="906" y="110"/>
                  </a:lnTo>
                  <a:lnTo>
                    <a:pt x="872" y="110"/>
                  </a:lnTo>
                  <a:lnTo>
                    <a:pt x="852" y="116"/>
                  </a:lnTo>
                  <a:lnTo>
                    <a:pt x="870" y="120"/>
                  </a:lnTo>
                  <a:lnTo>
                    <a:pt x="896" y="122"/>
                  </a:lnTo>
                  <a:lnTo>
                    <a:pt x="888" y="130"/>
                  </a:lnTo>
                  <a:lnTo>
                    <a:pt x="850" y="128"/>
                  </a:lnTo>
                  <a:lnTo>
                    <a:pt x="832" y="132"/>
                  </a:lnTo>
                  <a:lnTo>
                    <a:pt x="840" y="140"/>
                  </a:lnTo>
                  <a:lnTo>
                    <a:pt x="866" y="138"/>
                  </a:lnTo>
                  <a:lnTo>
                    <a:pt x="876" y="138"/>
                  </a:lnTo>
                  <a:lnTo>
                    <a:pt x="868" y="146"/>
                  </a:lnTo>
                  <a:lnTo>
                    <a:pt x="844" y="152"/>
                  </a:lnTo>
                  <a:lnTo>
                    <a:pt x="842" y="170"/>
                  </a:lnTo>
                  <a:lnTo>
                    <a:pt x="822" y="180"/>
                  </a:lnTo>
                  <a:lnTo>
                    <a:pt x="812" y="208"/>
                  </a:lnTo>
                  <a:lnTo>
                    <a:pt x="822" y="210"/>
                  </a:lnTo>
                  <a:lnTo>
                    <a:pt x="848" y="212"/>
                  </a:lnTo>
                  <a:lnTo>
                    <a:pt x="836" y="220"/>
                  </a:lnTo>
                  <a:lnTo>
                    <a:pt x="836" y="224"/>
                  </a:lnTo>
                  <a:lnTo>
                    <a:pt x="838" y="226"/>
                  </a:lnTo>
                  <a:lnTo>
                    <a:pt x="840" y="228"/>
                  </a:lnTo>
                  <a:lnTo>
                    <a:pt x="854" y="234"/>
                  </a:lnTo>
                  <a:lnTo>
                    <a:pt x="868" y="238"/>
                  </a:lnTo>
                  <a:lnTo>
                    <a:pt x="864" y="250"/>
                  </a:lnTo>
                  <a:lnTo>
                    <a:pt x="860" y="258"/>
                  </a:lnTo>
                  <a:lnTo>
                    <a:pt x="858" y="260"/>
                  </a:lnTo>
                  <a:lnTo>
                    <a:pt x="846" y="252"/>
                  </a:lnTo>
                  <a:lnTo>
                    <a:pt x="836" y="244"/>
                  </a:lnTo>
                  <a:lnTo>
                    <a:pt x="814" y="248"/>
                  </a:lnTo>
                  <a:lnTo>
                    <a:pt x="814" y="262"/>
                  </a:lnTo>
                  <a:lnTo>
                    <a:pt x="834" y="268"/>
                  </a:lnTo>
                  <a:lnTo>
                    <a:pt x="850" y="280"/>
                  </a:lnTo>
                  <a:lnTo>
                    <a:pt x="848" y="296"/>
                  </a:lnTo>
                  <a:lnTo>
                    <a:pt x="828" y="298"/>
                  </a:lnTo>
                  <a:lnTo>
                    <a:pt x="840" y="312"/>
                  </a:lnTo>
                  <a:lnTo>
                    <a:pt x="846" y="320"/>
                  </a:lnTo>
                  <a:lnTo>
                    <a:pt x="850" y="324"/>
                  </a:lnTo>
                  <a:lnTo>
                    <a:pt x="850" y="328"/>
                  </a:lnTo>
                  <a:lnTo>
                    <a:pt x="838" y="334"/>
                  </a:lnTo>
                  <a:lnTo>
                    <a:pt x="826" y="336"/>
                  </a:lnTo>
                  <a:lnTo>
                    <a:pt x="830" y="350"/>
                  </a:lnTo>
                  <a:lnTo>
                    <a:pt x="812" y="356"/>
                  </a:lnTo>
                  <a:lnTo>
                    <a:pt x="790" y="356"/>
                  </a:lnTo>
                  <a:lnTo>
                    <a:pt x="768" y="354"/>
                  </a:lnTo>
                  <a:lnTo>
                    <a:pt x="756" y="360"/>
                  </a:lnTo>
                  <a:lnTo>
                    <a:pt x="768" y="372"/>
                  </a:lnTo>
                  <a:lnTo>
                    <a:pt x="800" y="372"/>
                  </a:lnTo>
                  <a:lnTo>
                    <a:pt x="804" y="382"/>
                  </a:lnTo>
                  <a:lnTo>
                    <a:pt x="800" y="400"/>
                  </a:lnTo>
                  <a:lnTo>
                    <a:pt x="782" y="386"/>
                  </a:lnTo>
                  <a:lnTo>
                    <a:pt x="774" y="386"/>
                  </a:lnTo>
                  <a:lnTo>
                    <a:pt x="776" y="392"/>
                  </a:lnTo>
                  <a:lnTo>
                    <a:pt x="804" y="410"/>
                  </a:lnTo>
                  <a:lnTo>
                    <a:pt x="810" y="446"/>
                  </a:lnTo>
                  <a:lnTo>
                    <a:pt x="790" y="444"/>
                  </a:lnTo>
                  <a:lnTo>
                    <a:pt x="770" y="430"/>
                  </a:lnTo>
                  <a:lnTo>
                    <a:pt x="756" y="416"/>
                  </a:lnTo>
                  <a:lnTo>
                    <a:pt x="750" y="414"/>
                  </a:lnTo>
                  <a:lnTo>
                    <a:pt x="750" y="432"/>
                  </a:lnTo>
                  <a:lnTo>
                    <a:pt x="756" y="446"/>
                  </a:lnTo>
                  <a:lnTo>
                    <a:pt x="778" y="452"/>
                  </a:lnTo>
                  <a:lnTo>
                    <a:pt x="804" y="454"/>
                  </a:lnTo>
                  <a:lnTo>
                    <a:pt x="790" y="46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32" name="Freeform 6">
              <a:extLst>
                <a:ext uri="{FF2B5EF4-FFF2-40B4-BE49-F238E27FC236}">
                  <a16:creationId xmlns:a16="http://schemas.microsoft.com/office/drawing/2014/main" id="{8E5B52BC-7A1C-483C-A91A-8260AEEB8924}"/>
                </a:ext>
              </a:extLst>
            </p:cNvPr>
            <p:cNvSpPr>
              <a:spLocks/>
            </p:cNvSpPr>
            <p:nvPr/>
          </p:nvSpPr>
          <p:spPr bwMode="gray">
            <a:xfrm>
              <a:off x="2747362" y="3801687"/>
              <a:ext cx="795816" cy="507908"/>
            </a:xfrm>
            <a:custGeom>
              <a:avLst/>
              <a:gdLst>
                <a:gd name="T0" fmla="*/ 76 w 482"/>
                <a:gd name="T1" fmla="*/ 18 h 306"/>
                <a:gd name="T2" fmla="*/ 146 w 482"/>
                <a:gd name="T3" fmla="*/ 18 h 306"/>
                <a:gd name="T4" fmla="*/ 196 w 482"/>
                <a:gd name="T5" fmla="*/ 38 h 306"/>
                <a:gd name="T6" fmla="*/ 226 w 482"/>
                <a:gd name="T7" fmla="*/ 62 h 306"/>
                <a:gd name="T8" fmla="*/ 258 w 482"/>
                <a:gd name="T9" fmla="*/ 58 h 306"/>
                <a:gd name="T10" fmla="*/ 282 w 482"/>
                <a:gd name="T11" fmla="*/ 96 h 306"/>
                <a:gd name="T12" fmla="*/ 318 w 482"/>
                <a:gd name="T13" fmla="*/ 116 h 306"/>
                <a:gd name="T14" fmla="*/ 308 w 482"/>
                <a:gd name="T15" fmla="*/ 152 h 306"/>
                <a:gd name="T16" fmla="*/ 312 w 482"/>
                <a:gd name="T17" fmla="*/ 192 h 306"/>
                <a:gd name="T18" fmla="*/ 338 w 482"/>
                <a:gd name="T19" fmla="*/ 234 h 306"/>
                <a:gd name="T20" fmla="*/ 376 w 482"/>
                <a:gd name="T21" fmla="*/ 244 h 306"/>
                <a:gd name="T22" fmla="*/ 424 w 482"/>
                <a:gd name="T23" fmla="*/ 220 h 306"/>
                <a:gd name="T24" fmla="*/ 442 w 482"/>
                <a:gd name="T25" fmla="*/ 192 h 306"/>
                <a:gd name="T26" fmla="*/ 482 w 482"/>
                <a:gd name="T27" fmla="*/ 194 h 306"/>
                <a:gd name="T28" fmla="*/ 470 w 482"/>
                <a:gd name="T29" fmla="*/ 220 h 306"/>
                <a:gd name="T30" fmla="*/ 464 w 482"/>
                <a:gd name="T31" fmla="*/ 246 h 306"/>
                <a:gd name="T32" fmla="*/ 452 w 482"/>
                <a:gd name="T33" fmla="*/ 246 h 306"/>
                <a:gd name="T34" fmla="*/ 416 w 482"/>
                <a:gd name="T35" fmla="*/ 254 h 306"/>
                <a:gd name="T36" fmla="*/ 424 w 482"/>
                <a:gd name="T37" fmla="*/ 272 h 306"/>
                <a:gd name="T38" fmla="*/ 412 w 482"/>
                <a:gd name="T39" fmla="*/ 282 h 306"/>
                <a:gd name="T40" fmla="*/ 402 w 482"/>
                <a:gd name="T41" fmla="*/ 288 h 306"/>
                <a:gd name="T42" fmla="*/ 392 w 482"/>
                <a:gd name="T43" fmla="*/ 300 h 306"/>
                <a:gd name="T44" fmla="*/ 364 w 482"/>
                <a:gd name="T45" fmla="*/ 280 h 306"/>
                <a:gd name="T46" fmla="*/ 338 w 482"/>
                <a:gd name="T47" fmla="*/ 284 h 306"/>
                <a:gd name="T48" fmla="*/ 298 w 482"/>
                <a:gd name="T49" fmla="*/ 276 h 306"/>
                <a:gd name="T50" fmla="*/ 254 w 482"/>
                <a:gd name="T51" fmla="*/ 260 h 306"/>
                <a:gd name="T52" fmla="*/ 218 w 482"/>
                <a:gd name="T53" fmla="*/ 240 h 306"/>
                <a:gd name="T54" fmla="*/ 186 w 482"/>
                <a:gd name="T55" fmla="*/ 212 h 306"/>
                <a:gd name="T56" fmla="*/ 192 w 482"/>
                <a:gd name="T57" fmla="*/ 186 h 306"/>
                <a:gd name="T58" fmla="*/ 156 w 482"/>
                <a:gd name="T59" fmla="*/ 146 h 306"/>
                <a:gd name="T60" fmla="*/ 126 w 482"/>
                <a:gd name="T61" fmla="*/ 120 h 306"/>
                <a:gd name="T62" fmla="*/ 100 w 482"/>
                <a:gd name="T63" fmla="*/ 86 h 306"/>
                <a:gd name="T64" fmla="*/ 72 w 482"/>
                <a:gd name="T65" fmla="*/ 48 h 306"/>
                <a:gd name="T66" fmla="*/ 50 w 482"/>
                <a:gd name="T67" fmla="*/ 20 h 306"/>
                <a:gd name="T68" fmla="*/ 40 w 482"/>
                <a:gd name="T69" fmla="*/ 38 h 306"/>
                <a:gd name="T70" fmla="*/ 64 w 482"/>
                <a:gd name="T71" fmla="*/ 76 h 306"/>
                <a:gd name="T72" fmla="*/ 90 w 482"/>
                <a:gd name="T73" fmla="*/ 108 h 306"/>
                <a:gd name="T74" fmla="*/ 106 w 482"/>
                <a:gd name="T75" fmla="*/ 146 h 306"/>
                <a:gd name="T76" fmla="*/ 120 w 482"/>
                <a:gd name="T77" fmla="*/ 156 h 306"/>
                <a:gd name="T78" fmla="*/ 108 w 482"/>
                <a:gd name="T79" fmla="*/ 158 h 306"/>
                <a:gd name="T80" fmla="*/ 84 w 482"/>
                <a:gd name="T81" fmla="*/ 134 h 306"/>
                <a:gd name="T82" fmla="*/ 72 w 482"/>
                <a:gd name="T83" fmla="*/ 108 h 306"/>
                <a:gd name="T84" fmla="*/ 48 w 482"/>
                <a:gd name="T85" fmla="*/ 98 h 306"/>
                <a:gd name="T86" fmla="*/ 42 w 482"/>
                <a:gd name="T87" fmla="*/ 84 h 306"/>
                <a:gd name="T88" fmla="*/ 46 w 482"/>
                <a:gd name="T89" fmla="*/ 74 h 306"/>
                <a:gd name="T90" fmla="*/ 30 w 482"/>
                <a:gd name="T91" fmla="*/ 56 h 306"/>
                <a:gd name="T92" fmla="*/ 12 w 482"/>
                <a:gd name="T93" fmla="*/ 2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2" h="306">
                  <a:moveTo>
                    <a:pt x="0" y="2"/>
                  </a:moveTo>
                  <a:lnTo>
                    <a:pt x="32" y="0"/>
                  </a:lnTo>
                  <a:lnTo>
                    <a:pt x="76" y="18"/>
                  </a:lnTo>
                  <a:lnTo>
                    <a:pt x="92" y="24"/>
                  </a:lnTo>
                  <a:lnTo>
                    <a:pt x="138" y="24"/>
                  </a:lnTo>
                  <a:lnTo>
                    <a:pt x="146" y="18"/>
                  </a:lnTo>
                  <a:lnTo>
                    <a:pt x="166" y="14"/>
                  </a:lnTo>
                  <a:lnTo>
                    <a:pt x="186" y="30"/>
                  </a:lnTo>
                  <a:lnTo>
                    <a:pt x="196" y="38"/>
                  </a:lnTo>
                  <a:lnTo>
                    <a:pt x="198" y="54"/>
                  </a:lnTo>
                  <a:lnTo>
                    <a:pt x="214" y="64"/>
                  </a:lnTo>
                  <a:lnTo>
                    <a:pt x="226" y="62"/>
                  </a:lnTo>
                  <a:lnTo>
                    <a:pt x="228" y="52"/>
                  </a:lnTo>
                  <a:lnTo>
                    <a:pt x="236" y="48"/>
                  </a:lnTo>
                  <a:lnTo>
                    <a:pt x="258" y="58"/>
                  </a:lnTo>
                  <a:lnTo>
                    <a:pt x="264" y="72"/>
                  </a:lnTo>
                  <a:lnTo>
                    <a:pt x="274" y="84"/>
                  </a:lnTo>
                  <a:lnTo>
                    <a:pt x="282" y="96"/>
                  </a:lnTo>
                  <a:lnTo>
                    <a:pt x="290" y="108"/>
                  </a:lnTo>
                  <a:lnTo>
                    <a:pt x="306" y="114"/>
                  </a:lnTo>
                  <a:lnTo>
                    <a:pt x="318" y="116"/>
                  </a:lnTo>
                  <a:lnTo>
                    <a:pt x="314" y="124"/>
                  </a:lnTo>
                  <a:lnTo>
                    <a:pt x="310" y="136"/>
                  </a:lnTo>
                  <a:lnTo>
                    <a:pt x="308" y="152"/>
                  </a:lnTo>
                  <a:lnTo>
                    <a:pt x="308" y="162"/>
                  </a:lnTo>
                  <a:lnTo>
                    <a:pt x="308" y="174"/>
                  </a:lnTo>
                  <a:lnTo>
                    <a:pt x="312" y="192"/>
                  </a:lnTo>
                  <a:lnTo>
                    <a:pt x="322" y="210"/>
                  </a:lnTo>
                  <a:lnTo>
                    <a:pt x="330" y="222"/>
                  </a:lnTo>
                  <a:lnTo>
                    <a:pt x="338" y="234"/>
                  </a:lnTo>
                  <a:lnTo>
                    <a:pt x="348" y="240"/>
                  </a:lnTo>
                  <a:lnTo>
                    <a:pt x="360" y="244"/>
                  </a:lnTo>
                  <a:lnTo>
                    <a:pt x="376" y="244"/>
                  </a:lnTo>
                  <a:lnTo>
                    <a:pt x="396" y="240"/>
                  </a:lnTo>
                  <a:lnTo>
                    <a:pt x="416" y="236"/>
                  </a:lnTo>
                  <a:lnTo>
                    <a:pt x="424" y="220"/>
                  </a:lnTo>
                  <a:lnTo>
                    <a:pt x="424" y="210"/>
                  </a:lnTo>
                  <a:lnTo>
                    <a:pt x="428" y="200"/>
                  </a:lnTo>
                  <a:lnTo>
                    <a:pt x="442" y="192"/>
                  </a:lnTo>
                  <a:lnTo>
                    <a:pt x="452" y="192"/>
                  </a:lnTo>
                  <a:lnTo>
                    <a:pt x="470" y="192"/>
                  </a:lnTo>
                  <a:lnTo>
                    <a:pt x="482" y="194"/>
                  </a:lnTo>
                  <a:lnTo>
                    <a:pt x="478" y="206"/>
                  </a:lnTo>
                  <a:lnTo>
                    <a:pt x="472" y="214"/>
                  </a:lnTo>
                  <a:lnTo>
                    <a:pt x="470" y="220"/>
                  </a:lnTo>
                  <a:lnTo>
                    <a:pt x="468" y="232"/>
                  </a:lnTo>
                  <a:lnTo>
                    <a:pt x="468" y="244"/>
                  </a:lnTo>
                  <a:lnTo>
                    <a:pt x="464" y="246"/>
                  </a:lnTo>
                  <a:lnTo>
                    <a:pt x="460" y="240"/>
                  </a:lnTo>
                  <a:lnTo>
                    <a:pt x="456" y="242"/>
                  </a:lnTo>
                  <a:lnTo>
                    <a:pt x="452" y="246"/>
                  </a:lnTo>
                  <a:lnTo>
                    <a:pt x="446" y="252"/>
                  </a:lnTo>
                  <a:lnTo>
                    <a:pt x="434" y="252"/>
                  </a:lnTo>
                  <a:lnTo>
                    <a:pt x="416" y="254"/>
                  </a:lnTo>
                  <a:lnTo>
                    <a:pt x="414" y="258"/>
                  </a:lnTo>
                  <a:lnTo>
                    <a:pt x="416" y="266"/>
                  </a:lnTo>
                  <a:lnTo>
                    <a:pt x="424" y="272"/>
                  </a:lnTo>
                  <a:lnTo>
                    <a:pt x="428" y="278"/>
                  </a:lnTo>
                  <a:lnTo>
                    <a:pt x="424" y="280"/>
                  </a:lnTo>
                  <a:lnTo>
                    <a:pt x="412" y="282"/>
                  </a:lnTo>
                  <a:lnTo>
                    <a:pt x="408" y="280"/>
                  </a:lnTo>
                  <a:lnTo>
                    <a:pt x="406" y="284"/>
                  </a:lnTo>
                  <a:lnTo>
                    <a:pt x="402" y="288"/>
                  </a:lnTo>
                  <a:lnTo>
                    <a:pt x="400" y="294"/>
                  </a:lnTo>
                  <a:lnTo>
                    <a:pt x="398" y="306"/>
                  </a:lnTo>
                  <a:lnTo>
                    <a:pt x="392" y="300"/>
                  </a:lnTo>
                  <a:lnTo>
                    <a:pt x="382" y="290"/>
                  </a:lnTo>
                  <a:lnTo>
                    <a:pt x="372" y="284"/>
                  </a:lnTo>
                  <a:lnTo>
                    <a:pt x="364" y="280"/>
                  </a:lnTo>
                  <a:lnTo>
                    <a:pt x="356" y="278"/>
                  </a:lnTo>
                  <a:lnTo>
                    <a:pt x="346" y="280"/>
                  </a:lnTo>
                  <a:lnTo>
                    <a:pt x="338" y="284"/>
                  </a:lnTo>
                  <a:lnTo>
                    <a:pt x="328" y="286"/>
                  </a:lnTo>
                  <a:lnTo>
                    <a:pt x="312" y="282"/>
                  </a:lnTo>
                  <a:lnTo>
                    <a:pt x="298" y="276"/>
                  </a:lnTo>
                  <a:lnTo>
                    <a:pt x="282" y="270"/>
                  </a:lnTo>
                  <a:lnTo>
                    <a:pt x="264" y="264"/>
                  </a:lnTo>
                  <a:lnTo>
                    <a:pt x="254" y="260"/>
                  </a:lnTo>
                  <a:lnTo>
                    <a:pt x="246" y="248"/>
                  </a:lnTo>
                  <a:lnTo>
                    <a:pt x="232" y="248"/>
                  </a:lnTo>
                  <a:lnTo>
                    <a:pt x="218" y="240"/>
                  </a:lnTo>
                  <a:lnTo>
                    <a:pt x="204" y="232"/>
                  </a:lnTo>
                  <a:lnTo>
                    <a:pt x="192" y="222"/>
                  </a:lnTo>
                  <a:lnTo>
                    <a:pt x="186" y="212"/>
                  </a:lnTo>
                  <a:lnTo>
                    <a:pt x="186" y="202"/>
                  </a:lnTo>
                  <a:lnTo>
                    <a:pt x="192" y="196"/>
                  </a:lnTo>
                  <a:lnTo>
                    <a:pt x="192" y="186"/>
                  </a:lnTo>
                  <a:lnTo>
                    <a:pt x="178" y="168"/>
                  </a:lnTo>
                  <a:lnTo>
                    <a:pt x="168" y="156"/>
                  </a:lnTo>
                  <a:lnTo>
                    <a:pt x="156" y="146"/>
                  </a:lnTo>
                  <a:lnTo>
                    <a:pt x="146" y="134"/>
                  </a:lnTo>
                  <a:lnTo>
                    <a:pt x="134" y="126"/>
                  </a:lnTo>
                  <a:lnTo>
                    <a:pt x="126" y="120"/>
                  </a:lnTo>
                  <a:lnTo>
                    <a:pt x="126" y="106"/>
                  </a:lnTo>
                  <a:lnTo>
                    <a:pt x="110" y="96"/>
                  </a:lnTo>
                  <a:lnTo>
                    <a:pt x="100" y="86"/>
                  </a:lnTo>
                  <a:lnTo>
                    <a:pt x="88" y="70"/>
                  </a:lnTo>
                  <a:lnTo>
                    <a:pt x="78" y="60"/>
                  </a:lnTo>
                  <a:lnTo>
                    <a:pt x="72" y="48"/>
                  </a:lnTo>
                  <a:lnTo>
                    <a:pt x="66" y="34"/>
                  </a:lnTo>
                  <a:lnTo>
                    <a:pt x="64" y="28"/>
                  </a:lnTo>
                  <a:lnTo>
                    <a:pt x="50" y="20"/>
                  </a:lnTo>
                  <a:lnTo>
                    <a:pt x="38" y="20"/>
                  </a:lnTo>
                  <a:lnTo>
                    <a:pt x="36" y="26"/>
                  </a:lnTo>
                  <a:lnTo>
                    <a:pt x="40" y="38"/>
                  </a:lnTo>
                  <a:lnTo>
                    <a:pt x="46" y="52"/>
                  </a:lnTo>
                  <a:lnTo>
                    <a:pt x="56" y="62"/>
                  </a:lnTo>
                  <a:lnTo>
                    <a:pt x="64" y="76"/>
                  </a:lnTo>
                  <a:lnTo>
                    <a:pt x="72" y="86"/>
                  </a:lnTo>
                  <a:lnTo>
                    <a:pt x="80" y="96"/>
                  </a:lnTo>
                  <a:lnTo>
                    <a:pt x="90" y="108"/>
                  </a:lnTo>
                  <a:lnTo>
                    <a:pt x="98" y="124"/>
                  </a:lnTo>
                  <a:lnTo>
                    <a:pt x="104" y="136"/>
                  </a:lnTo>
                  <a:lnTo>
                    <a:pt x="106" y="146"/>
                  </a:lnTo>
                  <a:lnTo>
                    <a:pt x="114" y="146"/>
                  </a:lnTo>
                  <a:lnTo>
                    <a:pt x="118" y="152"/>
                  </a:lnTo>
                  <a:lnTo>
                    <a:pt x="120" y="156"/>
                  </a:lnTo>
                  <a:lnTo>
                    <a:pt x="122" y="166"/>
                  </a:lnTo>
                  <a:lnTo>
                    <a:pt x="114" y="170"/>
                  </a:lnTo>
                  <a:lnTo>
                    <a:pt x="108" y="158"/>
                  </a:lnTo>
                  <a:lnTo>
                    <a:pt x="100" y="152"/>
                  </a:lnTo>
                  <a:lnTo>
                    <a:pt x="92" y="144"/>
                  </a:lnTo>
                  <a:lnTo>
                    <a:pt x="84" y="134"/>
                  </a:lnTo>
                  <a:lnTo>
                    <a:pt x="82" y="126"/>
                  </a:lnTo>
                  <a:lnTo>
                    <a:pt x="80" y="116"/>
                  </a:lnTo>
                  <a:lnTo>
                    <a:pt x="72" y="108"/>
                  </a:lnTo>
                  <a:lnTo>
                    <a:pt x="66" y="104"/>
                  </a:lnTo>
                  <a:lnTo>
                    <a:pt x="56" y="102"/>
                  </a:lnTo>
                  <a:lnTo>
                    <a:pt x="48" y="98"/>
                  </a:lnTo>
                  <a:lnTo>
                    <a:pt x="40" y="90"/>
                  </a:lnTo>
                  <a:lnTo>
                    <a:pt x="38" y="86"/>
                  </a:lnTo>
                  <a:lnTo>
                    <a:pt x="42" y="84"/>
                  </a:lnTo>
                  <a:lnTo>
                    <a:pt x="46" y="84"/>
                  </a:lnTo>
                  <a:lnTo>
                    <a:pt x="48" y="80"/>
                  </a:lnTo>
                  <a:lnTo>
                    <a:pt x="46" y="74"/>
                  </a:lnTo>
                  <a:lnTo>
                    <a:pt x="42" y="64"/>
                  </a:lnTo>
                  <a:lnTo>
                    <a:pt x="38" y="60"/>
                  </a:lnTo>
                  <a:lnTo>
                    <a:pt x="30" y="56"/>
                  </a:lnTo>
                  <a:lnTo>
                    <a:pt x="22" y="46"/>
                  </a:lnTo>
                  <a:lnTo>
                    <a:pt x="16" y="32"/>
                  </a:lnTo>
                  <a:lnTo>
                    <a:pt x="12" y="24"/>
                  </a:lnTo>
                  <a:lnTo>
                    <a:pt x="8" y="14"/>
                  </a:lnTo>
                  <a:lnTo>
                    <a:pt x="0" y="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33" name="Freeform 7">
              <a:extLst>
                <a:ext uri="{FF2B5EF4-FFF2-40B4-BE49-F238E27FC236}">
                  <a16:creationId xmlns:a16="http://schemas.microsoft.com/office/drawing/2014/main" id="{EC534E24-B8F6-4E13-8E18-0EF783E64EF6}"/>
                </a:ext>
              </a:extLst>
            </p:cNvPr>
            <p:cNvSpPr>
              <a:spLocks/>
            </p:cNvSpPr>
            <p:nvPr/>
          </p:nvSpPr>
          <p:spPr bwMode="gray">
            <a:xfrm>
              <a:off x="2522817" y="2234809"/>
              <a:ext cx="274078" cy="172622"/>
            </a:xfrm>
            <a:custGeom>
              <a:avLst/>
              <a:gdLst>
                <a:gd name="T0" fmla="*/ 20 w 166"/>
                <a:gd name="T1" fmla="*/ 6 h 104"/>
                <a:gd name="T2" fmla="*/ 20 w 166"/>
                <a:gd name="T3" fmla="*/ 14 h 104"/>
                <a:gd name="T4" fmla="*/ 28 w 166"/>
                <a:gd name="T5" fmla="*/ 22 h 104"/>
                <a:gd name="T6" fmla="*/ 28 w 166"/>
                <a:gd name="T7" fmla="*/ 28 h 104"/>
                <a:gd name="T8" fmla="*/ 24 w 166"/>
                <a:gd name="T9" fmla="*/ 34 h 104"/>
                <a:gd name="T10" fmla="*/ 20 w 166"/>
                <a:gd name="T11" fmla="*/ 44 h 104"/>
                <a:gd name="T12" fmla="*/ 12 w 166"/>
                <a:gd name="T13" fmla="*/ 54 h 104"/>
                <a:gd name="T14" fmla="*/ 8 w 166"/>
                <a:gd name="T15" fmla="*/ 68 h 104"/>
                <a:gd name="T16" fmla="*/ 0 w 166"/>
                <a:gd name="T17" fmla="*/ 76 h 104"/>
                <a:gd name="T18" fmla="*/ 12 w 166"/>
                <a:gd name="T19" fmla="*/ 80 h 104"/>
                <a:gd name="T20" fmla="*/ 20 w 166"/>
                <a:gd name="T21" fmla="*/ 84 h 104"/>
                <a:gd name="T22" fmla="*/ 32 w 166"/>
                <a:gd name="T23" fmla="*/ 92 h 104"/>
                <a:gd name="T24" fmla="*/ 42 w 166"/>
                <a:gd name="T25" fmla="*/ 104 h 104"/>
                <a:gd name="T26" fmla="*/ 54 w 166"/>
                <a:gd name="T27" fmla="*/ 100 h 104"/>
                <a:gd name="T28" fmla="*/ 68 w 166"/>
                <a:gd name="T29" fmla="*/ 92 h 104"/>
                <a:gd name="T30" fmla="*/ 80 w 166"/>
                <a:gd name="T31" fmla="*/ 92 h 104"/>
                <a:gd name="T32" fmla="*/ 86 w 166"/>
                <a:gd name="T33" fmla="*/ 82 h 104"/>
                <a:gd name="T34" fmla="*/ 90 w 166"/>
                <a:gd name="T35" fmla="*/ 72 h 104"/>
                <a:gd name="T36" fmla="*/ 102 w 166"/>
                <a:gd name="T37" fmla="*/ 66 h 104"/>
                <a:gd name="T38" fmla="*/ 106 w 166"/>
                <a:gd name="T39" fmla="*/ 58 h 104"/>
                <a:gd name="T40" fmla="*/ 120 w 166"/>
                <a:gd name="T41" fmla="*/ 50 h 104"/>
                <a:gd name="T42" fmla="*/ 140 w 166"/>
                <a:gd name="T43" fmla="*/ 40 h 104"/>
                <a:gd name="T44" fmla="*/ 166 w 166"/>
                <a:gd name="T45" fmla="*/ 32 h 104"/>
                <a:gd name="T46" fmla="*/ 158 w 166"/>
                <a:gd name="T47" fmla="*/ 26 h 104"/>
                <a:gd name="T48" fmla="*/ 142 w 166"/>
                <a:gd name="T49" fmla="*/ 16 h 104"/>
                <a:gd name="T50" fmla="*/ 128 w 166"/>
                <a:gd name="T51" fmla="*/ 8 h 104"/>
                <a:gd name="T52" fmla="*/ 114 w 166"/>
                <a:gd name="T53" fmla="*/ 10 h 104"/>
                <a:gd name="T54" fmla="*/ 106 w 166"/>
                <a:gd name="T55" fmla="*/ 16 h 104"/>
                <a:gd name="T56" fmla="*/ 94 w 166"/>
                <a:gd name="T57" fmla="*/ 14 h 104"/>
                <a:gd name="T58" fmla="*/ 74 w 166"/>
                <a:gd name="T59" fmla="*/ 6 h 104"/>
                <a:gd name="T60" fmla="*/ 72 w 166"/>
                <a:gd name="T61" fmla="*/ 0 h 104"/>
                <a:gd name="T62" fmla="*/ 54 w 166"/>
                <a:gd name="T63" fmla="*/ 0 h 104"/>
                <a:gd name="T64" fmla="*/ 52 w 166"/>
                <a:gd name="T65" fmla="*/ 6 h 104"/>
                <a:gd name="T66" fmla="*/ 34 w 166"/>
                <a:gd name="T67" fmla="*/ 4 h 104"/>
                <a:gd name="T68" fmla="*/ 20 w 166"/>
                <a:gd name="T69" fmla="*/ 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6" h="104">
                  <a:moveTo>
                    <a:pt x="20" y="6"/>
                  </a:moveTo>
                  <a:lnTo>
                    <a:pt x="20" y="14"/>
                  </a:lnTo>
                  <a:lnTo>
                    <a:pt x="28" y="22"/>
                  </a:lnTo>
                  <a:lnTo>
                    <a:pt x="28" y="28"/>
                  </a:lnTo>
                  <a:lnTo>
                    <a:pt x="24" y="34"/>
                  </a:lnTo>
                  <a:lnTo>
                    <a:pt x="20" y="44"/>
                  </a:lnTo>
                  <a:lnTo>
                    <a:pt x="12" y="54"/>
                  </a:lnTo>
                  <a:lnTo>
                    <a:pt x="8" y="68"/>
                  </a:lnTo>
                  <a:lnTo>
                    <a:pt x="0" y="76"/>
                  </a:lnTo>
                  <a:lnTo>
                    <a:pt x="12" y="80"/>
                  </a:lnTo>
                  <a:lnTo>
                    <a:pt x="20" y="84"/>
                  </a:lnTo>
                  <a:lnTo>
                    <a:pt x="32" y="92"/>
                  </a:lnTo>
                  <a:lnTo>
                    <a:pt x="42" y="104"/>
                  </a:lnTo>
                  <a:lnTo>
                    <a:pt x="54" y="100"/>
                  </a:lnTo>
                  <a:lnTo>
                    <a:pt x="68" y="92"/>
                  </a:lnTo>
                  <a:lnTo>
                    <a:pt x="80" y="92"/>
                  </a:lnTo>
                  <a:lnTo>
                    <a:pt x="86" y="82"/>
                  </a:lnTo>
                  <a:lnTo>
                    <a:pt x="90" y="72"/>
                  </a:lnTo>
                  <a:lnTo>
                    <a:pt x="102" y="66"/>
                  </a:lnTo>
                  <a:lnTo>
                    <a:pt x="106" y="58"/>
                  </a:lnTo>
                  <a:lnTo>
                    <a:pt x="120" y="50"/>
                  </a:lnTo>
                  <a:lnTo>
                    <a:pt x="140" y="40"/>
                  </a:lnTo>
                  <a:lnTo>
                    <a:pt x="166" y="32"/>
                  </a:lnTo>
                  <a:lnTo>
                    <a:pt x="158" y="26"/>
                  </a:lnTo>
                  <a:lnTo>
                    <a:pt x="142" y="16"/>
                  </a:lnTo>
                  <a:lnTo>
                    <a:pt x="128" y="8"/>
                  </a:lnTo>
                  <a:lnTo>
                    <a:pt x="114" y="10"/>
                  </a:lnTo>
                  <a:lnTo>
                    <a:pt x="106" y="16"/>
                  </a:lnTo>
                  <a:lnTo>
                    <a:pt x="94" y="14"/>
                  </a:lnTo>
                  <a:lnTo>
                    <a:pt x="74" y="6"/>
                  </a:lnTo>
                  <a:lnTo>
                    <a:pt x="72" y="0"/>
                  </a:lnTo>
                  <a:lnTo>
                    <a:pt x="54" y="0"/>
                  </a:lnTo>
                  <a:lnTo>
                    <a:pt x="52" y="6"/>
                  </a:lnTo>
                  <a:lnTo>
                    <a:pt x="34" y="4"/>
                  </a:lnTo>
                  <a:lnTo>
                    <a:pt x="20" y="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34" name="Freeform 8">
              <a:extLst>
                <a:ext uri="{FF2B5EF4-FFF2-40B4-BE49-F238E27FC236}">
                  <a16:creationId xmlns:a16="http://schemas.microsoft.com/office/drawing/2014/main" id="{C6769CAE-FA19-4928-BA59-82540F483109}"/>
                </a:ext>
              </a:extLst>
            </p:cNvPr>
            <p:cNvSpPr>
              <a:spLocks/>
            </p:cNvSpPr>
            <p:nvPr/>
          </p:nvSpPr>
          <p:spPr bwMode="gray">
            <a:xfrm>
              <a:off x="2704436" y="2297882"/>
              <a:ext cx="468905" cy="225737"/>
            </a:xfrm>
            <a:custGeom>
              <a:avLst/>
              <a:gdLst>
                <a:gd name="T0" fmla="*/ 104 w 284"/>
                <a:gd name="T1" fmla="*/ 82 h 136"/>
                <a:gd name="T2" fmla="*/ 52 w 284"/>
                <a:gd name="T3" fmla="*/ 78 h 136"/>
                <a:gd name="T4" fmla="*/ 10 w 284"/>
                <a:gd name="T5" fmla="*/ 74 h 136"/>
                <a:gd name="T6" fmla="*/ 30 w 284"/>
                <a:gd name="T7" fmla="*/ 62 h 136"/>
                <a:gd name="T8" fmla="*/ 56 w 284"/>
                <a:gd name="T9" fmla="*/ 54 h 136"/>
                <a:gd name="T10" fmla="*/ 34 w 284"/>
                <a:gd name="T11" fmla="*/ 56 h 136"/>
                <a:gd name="T12" fmla="*/ 14 w 284"/>
                <a:gd name="T13" fmla="*/ 52 h 136"/>
                <a:gd name="T14" fmla="*/ 0 w 284"/>
                <a:gd name="T15" fmla="*/ 42 h 136"/>
                <a:gd name="T16" fmla="*/ 12 w 284"/>
                <a:gd name="T17" fmla="*/ 30 h 136"/>
                <a:gd name="T18" fmla="*/ 26 w 284"/>
                <a:gd name="T19" fmla="*/ 14 h 136"/>
                <a:gd name="T20" fmla="*/ 74 w 284"/>
                <a:gd name="T21" fmla="*/ 0 h 136"/>
                <a:gd name="T22" fmla="*/ 74 w 284"/>
                <a:gd name="T23" fmla="*/ 12 h 136"/>
                <a:gd name="T24" fmla="*/ 84 w 284"/>
                <a:gd name="T25" fmla="*/ 22 h 136"/>
                <a:gd name="T26" fmla="*/ 106 w 284"/>
                <a:gd name="T27" fmla="*/ 12 h 136"/>
                <a:gd name="T28" fmla="*/ 118 w 284"/>
                <a:gd name="T29" fmla="*/ 24 h 136"/>
                <a:gd name="T30" fmla="*/ 128 w 284"/>
                <a:gd name="T31" fmla="*/ 26 h 136"/>
                <a:gd name="T32" fmla="*/ 144 w 284"/>
                <a:gd name="T33" fmla="*/ 18 h 136"/>
                <a:gd name="T34" fmla="*/ 142 w 284"/>
                <a:gd name="T35" fmla="*/ 10 h 136"/>
                <a:gd name="T36" fmla="*/ 162 w 284"/>
                <a:gd name="T37" fmla="*/ 26 h 136"/>
                <a:gd name="T38" fmla="*/ 172 w 284"/>
                <a:gd name="T39" fmla="*/ 48 h 136"/>
                <a:gd name="T40" fmla="*/ 176 w 284"/>
                <a:gd name="T41" fmla="*/ 34 h 136"/>
                <a:gd name="T42" fmla="*/ 170 w 284"/>
                <a:gd name="T43" fmla="*/ 4 h 136"/>
                <a:gd name="T44" fmla="*/ 192 w 284"/>
                <a:gd name="T45" fmla="*/ 4 h 136"/>
                <a:gd name="T46" fmla="*/ 216 w 284"/>
                <a:gd name="T47" fmla="*/ 24 h 136"/>
                <a:gd name="T48" fmla="*/ 230 w 284"/>
                <a:gd name="T49" fmla="*/ 52 h 136"/>
                <a:gd name="T50" fmla="*/ 228 w 284"/>
                <a:gd name="T51" fmla="*/ 66 h 136"/>
                <a:gd name="T52" fmla="*/ 248 w 284"/>
                <a:gd name="T53" fmla="*/ 82 h 136"/>
                <a:gd name="T54" fmla="*/ 268 w 284"/>
                <a:gd name="T55" fmla="*/ 90 h 136"/>
                <a:gd name="T56" fmla="*/ 280 w 284"/>
                <a:gd name="T57" fmla="*/ 104 h 136"/>
                <a:gd name="T58" fmla="*/ 254 w 284"/>
                <a:gd name="T59" fmla="*/ 106 h 136"/>
                <a:gd name="T60" fmla="*/ 268 w 284"/>
                <a:gd name="T61" fmla="*/ 116 h 136"/>
                <a:gd name="T62" fmla="*/ 262 w 284"/>
                <a:gd name="T63" fmla="*/ 128 h 136"/>
                <a:gd name="T64" fmla="*/ 216 w 284"/>
                <a:gd name="T65" fmla="*/ 128 h 136"/>
                <a:gd name="T66" fmla="*/ 202 w 284"/>
                <a:gd name="T67" fmla="*/ 122 h 136"/>
                <a:gd name="T68" fmla="*/ 184 w 284"/>
                <a:gd name="T69" fmla="*/ 122 h 136"/>
                <a:gd name="T70" fmla="*/ 152 w 284"/>
                <a:gd name="T71" fmla="*/ 134 h 136"/>
                <a:gd name="T72" fmla="*/ 84 w 284"/>
                <a:gd name="T73" fmla="*/ 130 h 136"/>
                <a:gd name="T74" fmla="*/ 40 w 284"/>
                <a:gd name="T75" fmla="*/ 118 h 136"/>
                <a:gd name="T76" fmla="*/ 30 w 284"/>
                <a:gd name="T77" fmla="*/ 92 h 136"/>
                <a:gd name="T78" fmla="*/ 80 w 284"/>
                <a:gd name="T79" fmla="*/ 88 h 136"/>
                <a:gd name="T80" fmla="*/ 110 w 284"/>
                <a:gd name="T81" fmla="*/ 9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84" h="136">
                  <a:moveTo>
                    <a:pt x="110" y="90"/>
                  </a:moveTo>
                  <a:lnTo>
                    <a:pt x="104" y="82"/>
                  </a:lnTo>
                  <a:lnTo>
                    <a:pt x="86" y="76"/>
                  </a:lnTo>
                  <a:lnTo>
                    <a:pt x="52" y="78"/>
                  </a:lnTo>
                  <a:lnTo>
                    <a:pt x="28" y="80"/>
                  </a:lnTo>
                  <a:lnTo>
                    <a:pt x="10" y="74"/>
                  </a:lnTo>
                  <a:lnTo>
                    <a:pt x="14" y="62"/>
                  </a:lnTo>
                  <a:lnTo>
                    <a:pt x="30" y="62"/>
                  </a:lnTo>
                  <a:lnTo>
                    <a:pt x="46" y="58"/>
                  </a:lnTo>
                  <a:lnTo>
                    <a:pt x="56" y="54"/>
                  </a:lnTo>
                  <a:lnTo>
                    <a:pt x="46" y="52"/>
                  </a:lnTo>
                  <a:lnTo>
                    <a:pt x="34" y="56"/>
                  </a:lnTo>
                  <a:lnTo>
                    <a:pt x="20" y="56"/>
                  </a:lnTo>
                  <a:lnTo>
                    <a:pt x="14" y="52"/>
                  </a:lnTo>
                  <a:lnTo>
                    <a:pt x="0" y="50"/>
                  </a:lnTo>
                  <a:lnTo>
                    <a:pt x="0" y="42"/>
                  </a:lnTo>
                  <a:lnTo>
                    <a:pt x="8" y="36"/>
                  </a:lnTo>
                  <a:lnTo>
                    <a:pt x="12" y="30"/>
                  </a:lnTo>
                  <a:lnTo>
                    <a:pt x="10" y="22"/>
                  </a:lnTo>
                  <a:lnTo>
                    <a:pt x="26" y="14"/>
                  </a:lnTo>
                  <a:lnTo>
                    <a:pt x="50" y="4"/>
                  </a:lnTo>
                  <a:lnTo>
                    <a:pt x="74" y="0"/>
                  </a:lnTo>
                  <a:lnTo>
                    <a:pt x="76" y="8"/>
                  </a:lnTo>
                  <a:lnTo>
                    <a:pt x="74" y="12"/>
                  </a:lnTo>
                  <a:lnTo>
                    <a:pt x="70" y="18"/>
                  </a:lnTo>
                  <a:lnTo>
                    <a:pt x="84" y="22"/>
                  </a:lnTo>
                  <a:lnTo>
                    <a:pt x="90" y="8"/>
                  </a:lnTo>
                  <a:lnTo>
                    <a:pt x="106" y="12"/>
                  </a:lnTo>
                  <a:lnTo>
                    <a:pt x="122" y="18"/>
                  </a:lnTo>
                  <a:lnTo>
                    <a:pt x="118" y="24"/>
                  </a:lnTo>
                  <a:lnTo>
                    <a:pt x="120" y="28"/>
                  </a:lnTo>
                  <a:lnTo>
                    <a:pt x="128" y="26"/>
                  </a:lnTo>
                  <a:lnTo>
                    <a:pt x="142" y="26"/>
                  </a:lnTo>
                  <a:lnTo>
                    <a:pt x="144" y="18"/>
                  </a:lnTo>
                  <a:lnTo>
                    <a:pt x="136" y="12"/>
                  </a:lnTo>
                  <a:lnTo>
                    <a:pt x="142" y="10"/>
                  </a:lnTo>
                  <a:lnTo>
                    <a:pt x="154" y="16"/>
                  </a:lnTo>
                  <a:lnTo>
                    <a:pt x="162" y="26"/>
                  </a:lnTo>
                  <a:lnTo>
                    <a:pt x="166" y="38"/>
                  </a:lnTo>
                  <a:lnTo>
                    <a:pt x="172" y="48"/>
                  </a:lnTo>
                  <a:lnTo>
                    <a:pt x="182" y="44"/>
                  </a:lnTo>
                  <a:lnTo>
                    <a:pt x="176" y="34"/>
                  </a:lnTo>
                  <a:lnTo>
                    <a:pt x="172" y="16"/>
                  </a:lnTo>
                  <a:lnTo>
                    <a:pt x="170" y="4"/>
                  </a:lnTo>
                  <a:lnTo>
                    <a:pt x="178" y="0"/>
                  </a:lnTo>
                  <a:lnTo>
                    <a:pt x="192" y="4"/>
                  </a:lnTo>
                  <a:lnTo>
                    <a:pt x="206" y="12"/>
                  </a:lnTo>
                  <a:lnTo>
                    <a:pt x="216" y="24"/>
                  </a:lnTo>
                  <a:lnTo>
                    <a:pt x="222" y="40"/>
                  </a:lnTo>
                  <a:lnTo>
                    <a:pt x="230" y="52"/>
                  </a:lnTo>
                  <a:lnTo>
                    <a:pt x="230" y="60"/>
                  </a:lnTo>
                  <a:lnTo>
                    <a:pt x="228" y="66"/>
                  </a:lnTo>
                  <a:lnTo>
                    <a:pt x="238" y="78"/>
                  </a:lnTo>
                  <a:lnTo>
                    <a:pt x="248" y="82"/>
                  </a:lnTo>
                  <a:lnTo>
                    <a:pt x="260" y="84"/>
                  </a:lnTo>
                  <a:lnTo>
                    <a:pt x="268" y="90"/>
                  </a:lnTo>
                  <a:lnTo>
                    <a:pt x="284" y="100"/>
                  </a:lnTo>
                  <a:lnTo>
                    <a:pt x="280" y="104"/>
                  </a:lnTo>
                  <a:lnTo>
                    <a:pt x="264" y="104"/>
                  </a:lnTo>
                  <a:lnTo>
                    <a:pt x="254" y="106"/>
                  </a:lnTo>
                  <a:lnTo>
                    <a:pt x="256" y="112"/>
                  </a:lnTo>
                  <a:lnTo>
                    <a:pt x="268" y="116"/>
                  </a:lnTo>
                  <a:lnTo>
                    <a:pt x="272" y="126"/>
                  </a:lnTo>
                  <a:lnTo>
                    <a:pt x="262" y="128"/>
                  </a:lnTo>
                  <a:lnTo>
                    <a:pt x="240" y="130"/>
                  </a:lnTo>
                  <a:lnTo>
                    <a:pt x="216" y="128"/>
                  </a:lnTo>
                  <a:lnTo>
                    <a:pt x="212" y="122"/>
                  </a:lnTo>
                  <a:lnTo>
                    <a:pt x="202" y="122"/>
                  </a:lnTo>
                  <a:lnTo>
                    <a:pt x="196" y="108"/>
                  </a:lnTo>
                  <a:lnTo>
                    <a:pt x="184" y="122"/>
                  </a:lnTo>
                  <a:lnTo>
                    <a:pt x="168" y="126"/>
                  </a:lnTo>
                  <a:lnTo>
                    <a:pt x="152" y="134"/>
                  </a:lnTo>
                  <a:lnTo>
                    <a:pt x="90" y="136"/>
                  </a:lnTo>
                  <a:lnTo>
                    <a:pt x="84" y="130"/>
                  </a:lnTo>
                  <a:lnTo>
                    <a:pt x="82" y="118"/>
                  </a:lnTo>
                  <a:lnTo>
                    <a:pt x="40" y="118"/>
                  </a:lnTo>
                  <a:lnTo>
                    <a:pt x="22" y="100"/>
                  </a:lnTo>
                  <a:lnTo>
                    <a:pt x="30" y="92"/>
                  </a:lnTo>
                  <a:lnTo>
                    <a:pt x="48" y="90"/>
                  </a:lnTo>
                  <a:lnTo>
                    <a:pt x="80" y="88"/>
                  </a:lnTo>
                  <a:lnTo>
                    <a:pt x="98" y="90"/>
                  </a:lnTo>
                  <a:lnTo>
                    <a:pt x="110" y="9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35" name="Freeform 9">
              <a:extLst>
                <a:ext uri="{FF2B5EF4-FFF2-40B4-BE49-F238E27FC236}">
                  <a16:creationId xmlns:a16="http://schemas.microsoft.com/office/drawing/2014/main" id="{DDFF69A7-7DD5-4E81-AADD-DC25432E6D5A}"/>
                </a:ext>
              </a:extLst>
            </p:cNvPr>
            <p:cNvSpPr>
              <a:spLocks/>
            </p:cNvSpPr>
            <p:nvPr/>
          </p:nvSpPr>
          <p:spPr bwMode="gray">
            <a:xfrm>
              <a:off x="2740758" y="2108662"/>
              <a:ext cx="313704" cy="136106"/>
            </a:xfrm>
            <a:custGeom>
              <a:avLst/>
              <a:gdLst>
                <a:gd name="T0" fmla="*/ 98 w 190"/>
                <a:gd name="T1" fmla="*/ 56 h 82"/>
                <a:gd name="T2" fmla="*/ 80 w 190"/>
                <a:gd name="T3" fmla="*/ 56 h 82"/>
                <a:gd name="T4" fmla="*/ 58 w 190"/>
                <a:gd name="T5" fmla="*/ 56 h 82"/>
                <a:gd name="T6" fmla="*/ 62 w 190"/>
                <a:gd name="T7" fmla="*/ 48 h 82"/>
                <a:gd name="T8" fmla="*/ 52 w 190"/>
                <a:gd name="T9" fmla="*/ 50 h 82"/>
                <a:gd name="T10" fmla="*/ 48 w 190"/>
                <a:gd name="T11" fmla="*/ 58 h 82"/>
                <a:gd name="T12" fmla="*/ 30 w 190"/>
                <a:gd name="T13" fmla="*/ 62 h 82"/>
                <a:gd name="T14" fmla="*/ 20 w 190"/>
                <a:gd name="T15" fmla="*/ 58 h 82"/>
                <a:gd name="T16" fmla="*/ 2 w 190"/>
                <a:gd name="T17" fmla="*/ 56 h 82"/>
                <a:gd name="T18" fmla="*/ 0 w 190"/>
                <a:gd name="T19" fmla="*/ 48 h 82"/>
                <a:gd name="T20" fmla="*/ 18 w 190"/>
                <a:gd name="T21" fmla="*/ 46 h 82"/>
                <a:gd name="T22" fmla="*/ 4 w 190"/>
                <a:gd name="T23" fmla="*/ 42 h 82"/>
                <a:gd name="T24" fmla="*/ 10 w 190"/>
                <a:gd name="T25" fmla="*/ 36 h 82"/>
                <a:gd name="T26" fmla="*/ 34 w 190"/>
                <a:gd name="T27" fmla="*/ 34 h 82"/>
                <a:gd name="T28" fmla="*/ 16 w 190"/>
                <a:gd name="T29" fmla="*/ 30 h 82"/>
                <a:gd name="T30" fmla="*/ 18 w 190"/>
                <a:gd name="T31" fmla="*/ 24 h 82"/>
                <a:gd name="T32" fmla="*/ 26 w 190"/>
                <a:gd name="T33" fmla="*/ 20 h 82"/>
                <a:gd name="T34" fmla="*/ 34 w 190"/>
                <a:gd name="T35" fmla="*/ 16 h 82"/>
                <a:gd name="T36" fmla="*/ 50 w 190"/>
                <a:gd name="T37" fmla="*/ 14 h 82"/>
                <a:gd name="T38" fmla="*/ 58 w 190"/>
                <a:gd name="T39" fmla="*/ 22 h 82"/>
                <a:gd name="T40" fmla="*/ 66 w 190"/>
                <a:gd name="T41" fmla="*/ 20 h 82"/>
                <a:gd name="T42" fmla="*/ 74 w 190"/>
                <a:gd name="T43" fmla="*/ 20 h 82"/>
                <a:gd name="T44" fmla="*/ 88 w 190"/>
                <a:gd name="T45" fmla="*/ 28 h 82"/>
                <a:gd name="T46" fmla="*/ 98 w 190"/>
                <a:gd name="T47" fmla="*/ 36 h 82"/>
                <a:gd name="T48" fmla="*/ 98 w 190"/>
                <a:gd name="T49" fmla="*/ 40 h 82"/>
                <a:gd name="T50" fmla="*/ 98 w 190"/>
                <a:gd name="T51" fmla="*/ 42 h 82"/>
                <a:gd name="T52" fmla="*/ 100 w 190"/>
                <a:gd name="T53" fmla="*/ 44 h 82"/>
                <a:gd name="T54" fmla="*/ 136 w 190"/>
                <a:gd name="T55" fmla="*/ 44 h 82"/>
                <a:gd name="T56" fmla="*/ 136 w 190"/>
                <a:gd name="T57" fmla="*/ 38 h 82"/>
                <a:gd name="T58" fmla="*/ 118 w 190"/>
                <a:gd name="T59" fmla="*/ 34 h 82"/>
                <a:gd name="T60" fmla="*/ 130 w 190"/>
                <a:gd name="T61" fmla="*/ 28 h 82"/>
                <a:gd name="T62" fmla="*/ 128 w 190"/>
                <a:gd name="T63" fmla="*/ 24 h 82"/>
                <a:gd name="T64" fmla="*/ 116 w 190"/>
                <a:gd name="T65" fmla="*/ 20 h 82"/>
                <a:gd name="T66" fmla="*/ 122 w 190"/>
                <a:gd name="T67" fmla="*/ 10 h 82"/>
                <a:gd name="T68" fmla="*/ 130 w 190"/>
                <a:gd name="T69" fmla="*/ 0 h 82"/>
                <a:gd name="T70" fmla="*/ 140 w 190"/>
                <a:gd name="T71" fmla="*/ 2 h 82"/>
                <a:gd name="T72" fmla="*/ 142 w 190"/>
                <a:gd name="T73" fmla="*/ 8 h 82"/>
                <a:gd name="T74" fmla="*/ 148 w 190"/>
                <a:gd name="T75" fmla="*/ 16 h 82"/>
                <a:gd name="T76" fmla="*/ 146 w 190"/>
                <a:gd name="T77" fmla="*/ 22 h 82"/>
                <a:gd name="T78" fmla="*/ 148 w 190"/>
                <a:gd name="T79" fmla="*/ 30 h 82"/>
                <a:gd name="T80" fmla="*/ 162 w 190"/>
                <a:gd name="T81" fmla="*/ 34 h 82"/>
                <a:gd name="T82" fmla="*/ 168 w 190"/>
                <a:gd name="T83" fmla="*/ 34 h 82"/>
                <a:gd name="T84" fmla="*/ 172 w 190"/>
                <a:gd name="T85" fmla="*/ 28 h 82"/>
                <a:gd name="T86" fmla="*/ 184 w 190"/>
                <a:gd name="T87" fmla="*/ 28 h 82"/>
                <a:gd name="T88" fmla="*/ 190 w 190"/>
                <a:gd name="T89" fmla="*/ 34 h 82"/>
                <a:gd name="T90" fmla="*/ 190 w 190"/>
                <a:gd name="T91" fmla="*/ 48 h 82"/>
                <a:gd name="T92" fmla="*/ 182 w 190"/>
                <a:gd name="T93" fmla="*/ 58 h 82"/>
                <a:gd name="T94" fmla="*/ 168 w 190"/>
                <a:gd name="T95" fmla="*/ 64 h 82"/>
                <a:gd name="T96" fmla="*/ 148 w 190"/>
                <a:gd name="T97" fmla="*/ 58 h 82"/>
                <a:gd name="T98" fmla="*/ 134 w 190"/>
                <a:gd name="T99" fmla="*/ 64 h 82"/>
                <a:gd name="T100" fmla="*/ 114 w 190"/>
                <a:gd name="T101" fmla="*/ 66 h 82"/>
                <a:gd name="T102" fmla="*/ 96 w 190"/>
                <a:gd name="T103" fmla="*/ 76 h 82"/>
                <a:gd name="T104" fmla="*/ 74 w 190"/>
                <a:gd name="T105" fmla="*/ 82 h 82"/>
                <a:gd name="T106" fmla="*/ 58 w 190"/>
                <a:gd name="T107" fmla="*/ 78 h 82"/>
                <a:gd name="T108" fmla="*/ 50 w 190"/>
                <a:gd name="T109" fmla="*/ 70 h 82"/>
                <a:gd name="T110" fmla="*/ 62 w 190"/>
                <a:gd name="T111" fmla="*/ 64 h 82"/>
                <a:gd name="T112" fmla="*/ 80 w 190"/>
                <a:gd name="T113" fmla="*/ 64 h 82"/>
                <a:gd name="T114" fmla="*/ 96 w 190"/>
                <a:gd name="T115" fmla="*/ 62 h 82"/>
                <a:gd name="T116" fmla="*/ 98 w 190"/>
                <a:gd name="T117" fmla="*/ 5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0" h="82">
                  <a:moveTo>
                    <a:pt x="98" y="56"/>
                  </a:moveTo>
                  <a:lnTo>
                    <a:pt x="80" y="56"/>
                  </a:lnTo>
                  <a:lnTo>
                    <a:pt x="58" y="56"/>
                  </a:lnTo>
                  <a:lnTo>
                    <a:pt x="62" y="48"/>
                  </a:lnTo>
                  <a:lnTo>
                    <a:pt x="52" y="50"/>
                  </a:lnTo>
                  <a:lnTo>
                    <a:pt x="48" y="58"/>
                  </a:lnTo>
                  <a:lnTo>
                    <a:pt x="30" y="62"/>
                  </a:lnTo>
                  <a:lnTo>
                    <a:pt x="20" y="58"/>
                  </a:lnTo>
                  <a:lnTo>
                    <a:pt x="2" y="56"/>
                  </a:lnTo>
                  <a:lnTo>
                    <a:pt x="0" y="48"/>
                  </a:lnTo>
                  <a:lnTo>
                    <a:pt x="18" y="46"/>
                  </a:lnTo>
                  <a:lnTo>
                    <a:pt x="4" y="42"/>
                  </a:lnTo>
                  <a:lnTo>
                    <a:pt x="10" y="36"/>
                  </a:lnTo>
                  <a:lnTo>
                    <a:pt x="34" y="34"/>
                  </a:lnTo>
                  <a:lnTo>
                    <a:pt x="16" y="30"/>
                  </a:lnTo>
                  <a:lnTo>
                    <a:pt x="18" y="24"/>
                  </a:lnTo>
                  <a:lnTo>
                    <a:pt x="26" y="20"/>
                  </a:lnTo>
                  <a:lnTo>
                    <a:pt x="34" y="16"/>
                  </a:lnTo>
                  <a:lnTo>
                    <a:pt x="50" y="14"/>
                  </a:lnTo>
                  <a:lnTo>
                    <a:pt x="58" y="22"/>
                  </a:lnTo>
                  <a:lnTo>
                    <a:pt x="66" y="20"/>
                  </a:lnTo>
                  <a:lnTo>
                    <a:pt x="74" y="20"/>
                  </a:lnTo>
                  <a:lnTo>
                    <a:pt x="88" y="28"/>
                  </a:lnTo>
                  <a:lnTo>
                    <a:pt x="98" y="36"/>
                  </a:lnTo>
                  <a:lnTo>
                    <a:pt x="98" y="40"/>
                  </a:lnTo>
                  <a:lnTo>
                    <a:pt x="98" y="42"/>
                  </a:lnTo>
                  <a:lnTo>
                    <a:pt x="100" y="44"/>
                  </a:lnTo>
                  <a:lnTo>
                    <a:pt x="136" y="44"/>
                  </a:lnTo>
                  <a:lnTo>
                    <a:pt x="136" y="38"/>
                  </a:lnTo>
                  <a:lnTo>
                    <a:pt x="118" y="34"/>
                  </a:lnTo>
                  <a:lnTo>
                    <a:pt x="130" y="28"/>
                  </a:lnTo>
                  <a:lnTo>
                    <a:pt x="128" y="24"/>
                  </a:lnTo>
                  <a:lnTo>
                    <a:pt x="116" y="20"/>
                  </a:lnTo>
                  <a:lnTo>
                    <a:pt x="122" y="10"/>
                  </a:lnTo>
                  <a:lnTo>
                    <a:pt x="130" y="0"/>
                  </a:lnTo>
                  <a:lnTo>
                    <a:pt x="140" y="2"/>
                  </a:lnTo>
                  <a:lnTo>
                    <a:pt x="142" y="8"/>
                  </a:lnTo>
                  <a:lnTo>
                    <a:pt x="148" y="16"/>
                  </a:lnTo>
                  <a:lnTo>
                    <a:pt x="146" y="22"/>
                  </a:lnTo>
                  <a:lnTo>
                    <a:pt x="148" y="30"/>
                  </a:lnTo>
                  <a:lnTo>
                    <a:pt x="162" y="34"/>
                  </a:lnTo>
                  <a:lnTo>
                    <a:pt x="168" y="34"/>
                  </a:lnTo>
                  <a:lnTo>
                    <a:pt x="172" y="28"/>
                  </a:lnTo>
                  <a:lnTo>
                    <a:pt x="184" y="28"/>
                  </a:lnTo>
                  <a:lnTo>
                    <a:pt x="190" y="34"/>
                  </a:lnTo>
                  <a:lnTo>
                    <a:pt x="190" y="48"/>
                  </a:lnTo>
                  <a:lnTo>
                    <a:pt x="182" y="58"/>
                  </a:lnTo>
                  <a:lnTo>
                    <a:pt x="168" y="64"/>
                  </a:lnTo>
                  <a:lnTo>
                    <a:pt x="148" y="58"/>
                  </a:lnTo>
                  <a:lnTo>
                    <a:pt x="134" y="64"/>
                  </a:lnTo>
                  <a:lnTo>
                    <a:pt x="114" y="66"/>
                  </a:lnTo>
                  <a:lnTo>
                    <a:pt x="96" y="76"/>
                  </a:lnTo>
                  <a:lnTo>
                    <a:pt x="74" y="82"/>
                  </a:lnTo>
                  <a:lnTo>
                    <a:pt x="58" y="78"/>
                  </a:lnTo>
                  <a:lnTo>
                    <a:pt x="50" y="70"/>
                  </a:lnTo>
                  <a:lnTo>
                    <a:pt x="62" y="64"/>
                  </a:lnTo>
                  <a:lnTo>
                    <a:pt x="80" y="64"/>
                  </a:lnTo>
                  <a:lnTo>
                    <a:pt x="96" y="62"/>
                  </a:lnTo>
                  <a:lnTo>
                    <a:pt x="98" y="5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36" name="Freeform 10">
              <a:extLst>
                <a:ext uri="{FF2B5EF4-FFF2-40B4-BE49-F238E27FC236}">
                  <a16:creationId xmlns:a16="http://schemas.microsoft.com/office/drawing/2014/main" id="{8CAD7C37-F847-4097-80A5-0C3B9B897D00}"/>
                </a:ext>
              </a:extLst>
            </p:cNvPr>
            <p:cNvSpPr>
              <a:spLocks/>
            </p:cNvSpPr>
            <p:nvPr/>
          </p:nvSpPr>
          <p:spPr bwMode="gray">
            <a:xfrm>
              <a:off x="3054462" y="1965917"/>
              <a:ext cx="175013" cy="92950"/>
            </a:xfrm>
            <a:custGeom>
              <a:avLst/>
              <a:gdLst>
                <a:gd name="T0" fmla="*/ 0 w 106"/>
                <a:gd name="T1" fmla="*/ 12 h 56"/>
                <a:gd name="T2" fmla="*/ 16 w 106"/>
                <a:gd name="T3" fmla="*/ 16 h 56"/>
                <a:gd name="T4" fmla="*/ 26 w 106"/>
                <a:gd name="T5" fmla="*/ 20 h 56"/>
                <a:gd name="T6" fmla="*/ 34 w 106"/>
                <a:gd name="T7" fmla="*/ 28 h 56"/>
                <a:gd name="T8" fmla="*/ 32 w 106"/>
                <a:gd name="T9" fmla="*/ 30 h 56"/>
                <a:gd name="T10" fmla="*/ 18 w 106"/>
                <a:gd name="T11" fmla="*/ 28 h 56"/>
                <a:gd name="T12" fmla="*/ 10 w 106"/>
                <a:gd name="T13" fmla="*/ 30 h 56"/>
                <a:gd name="T14" fmla="*/ 8 w 106"/>
                <a:gd name="T15" fmla="*/ 40 h 56"/>
                <a:gd name="T16" fmla="*/ 20 w 106"/>
                <a:gd name="T17" fmla="*/ 42 h 56"/>
                <a:gd name="T18" fmla="*/ 34 w 106"/>
                <a:gd name="T19" fmla="*/ 40 h 56"/>
                <a:gd name="T20" fmla="*/ 50 w 106"/>
                <a:gd name="T21" fmla="*/ 38 h 56"/>
                <a:gd name="T22" fmla="*/ 66 w 106"/>
                <a:gd name="T23" fmla="*/ 40 h 56"/>
                <a:gd name="T24" fmla="*/ 74 w 106"/>
                <a:gd name="T25" fmla="*/ 46 h 56"/>
                <a:gd name="T26" fmla="*/ 82 w 106"/>
                <a:gd name="T27" fmla="*/ 56 h 56"/>
                <a:gd name="T28" fmla="*/ 98 w 106"/>
                <a:gd name="T29" fmla="*/ 56 h 56"/>
                <a:gd name="T30" fmla="*/ 106 w 106"/>
                <a:gd name="T31" fmla="*/ 48 h 56"/>
                <a:gd name="T32" fmla="*/ 94 w 106"/>
                <a:gd name="T33" fmla="*/ 38 h 56"/>
                <a:gd name="T34" fmla="*/ 90 w 106"/>
                <a:gd name="T35" fmla="*/ 28 h 56"/>
                <a:gd name="T36" fmla="*/ 80 w 106"/>
                <a:gd name="T37" fmla="*/ 20 h 56"/>
                <a:gd name="T38" fmla="*/ 70 w 106"/>
                <a:gd name="T39" fmla="*/ 18 h 56"/>
                <a:gd name="T40" fmla="*/ 64 w 106"/>
                <a:gd name="T41" fmla="*/ 12 h 56"/>
                <a:gd name="T42" fmla="*/ 50 w 106"/>
                <a:gd name="T43" fmla="*/ 10 h 56"/>
                <a:gd name="T44" fmla="*/ 44 w 106"/>
                <a:gd name="T45" fmla="*/ 20 h 56"/>
                <a:gd name="T46" fmla="*/ 42 w 106"/>
                <a:gd name="T47" fmla="*/ 10 h 56"/>
                <a:gd name="T48" fmla="*/ 40 w 106"/>
                <a:gd name="T49" fmla="*/ 2 h 56"/>
                <a:gd name="T50" fmla="*/ 18 w 106"/>
                <a:gd name="T51" fmla="*/ 0 h 56"/>
                <a:gd name="T52" fmla="*/ 0 w 106"/>
                <a:gd name="T53" fmla="*/ 2 h 56"/>
                <a:gd name="T54" fmla="*/ 0 w 106"/>
                <a:gd name="T55" fmla="*/ 1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6" h="56">
                  <a:moveTo>
                    <a:pt x="0" y="12"/>
                  </a:moveTo>
                  <a:lnTo>
                    <a:pt x="16" y="16"/>
                  </a:lnTo>
                  <a:lnTo>
                    <a:pt x="26" y="20"/>
                  </a:lnTo>
                  <a:lnTo>
                    <a:pt x="34" y="28"/>
                  </a:lnTo>
                  <a:lnTo>
                    <a:pt x="32" y="30"/>
                  </a:lnTo>
                  <a:lnTo>
                    <a:pt x="18" y="28"/>
                  </a:lnTo>
                  <a:lnTo>
                    <a:pt x="10" y="30"/>
                  </a:lnTo>
                  <a:lnTo>
                    <a:pt x="8" y="40"/>
                  </a:lnTo>
                  <a:lnTo>
                    <a:pt x="20" y="42"/>
                  </a:lnTo>
                  <a:lnTo>
                    <a:pt x="34" y="40"/>
                  </a:lnTo>
                  <a:lnTo>
                    <a:pt x="50" y="38"/>
                  </a:lnTo>
                  <a:lnTo>
                    <a:pt x="66" y="40"/>
                  </a:lnTo>
                  <a:lnTo>
                    <a:pt x="74" y="46"/>
                  </a:lnTo>
                  <a:lnTo>
                    <a:pt x="82" y="56"/>
                  </a:lnTo>
                  <a:lnTo>
                    <a:pt x="98" y="56"/>
                  </a:lnTo>
                  <a:lnTo>
                    <a:pt x="106" y="48"/>
                  </a:lnTo>
                  <a:lnTo>
                    <a:pt x="94" y="38"/>
                  </a:lnTo>
                  <a:lnTo>
                    <a:pt x="90" y="28"/>
                  </a:lnTo>
                  <a:lnTo>
                    <a:pt x="80" y="20"/>
                  </a:lnTo>
                  <a:lnTo>
                    <a:pt x="70" y="18"/>
                  </a:lnTo>
                  <a:lnTo>
                    <a:pt x="64" y="12"/>
                  </a:lnTo>
                  <a:lnTo>
                    <a:pt x="50" y="10"/>
                  </a:lnTo>
                  <a:lnTo>
                    <a:pt x="44" y="20"/>
                  </a:lnTo>
                  <a:lnTo>
                    <a:pt x="42" y="10"/>
                  </a:lnTo>
                  <a:lnTo>
                    <a:pt x="40" y="2"/>
                  </a:lnTo>
                  <a:lnTo>
                    <a:pt x="18" y="0"/>
                  </a:lnTo>
                  <a:lnTo>
                    <a:pt x="0" y="2"/>
                  </a:lnTo>
                  <a:lnTo>
                    <a:pt x="0" y="1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37" name="Freeform 11">
              <a:extLst>
                <a:ext uri="{FF2B5EF4-FFF2-40B4-BE49-F238E27FC236}">
                  <a16:creationId xmlns:a16="http://schemas.microsoft.com/office/drawing/2014/main" id="{563BD35E-B9F3-4DD8-A94C-5ECAE81589E7}"/>
                </a:ext>
              </a:extLst>
            </p:cNvPr>
            <p:cNvSpPr>
              <a:spLocks/>
            </p:cNvSpPr>
            <p:nvPr/>
          </p:nvSpPr>
          <p:spPr bwMode="gray">
            <a:xfrm>
              <a:off x="3080879" y="2118621"/>
              <a:ext cx="184920" cy="92950"/>
            </a:xfrm>
            <a:custGeom>
              <a:avLst/>
              <a:gdLst>
                <a:gd name="T0" fmla="*/ 104 w 112"/>
                <a:gd name="T1" fmla="*/ 52 h 56"/>
                <a:gd name="T2" fmla="*/ 92 w 112"/>
                <a:gd name="T3" fmla="*/ 54 h 56"/>
                <a:gd name="T4" fmla="*/ 70 w 112"/>
                <a:gd name="T5" fmla="*/ 56 h 56"/>
                <a:gd name="T6" fmla="*/ 66 w 112"/>
                <a:gd name="T7" fmla="*/ 44 h 56"/>
                <a:gd name="T8" fmla="*/ 74 w 112"/>
                <a:gd name="T9" fmla="*/ 36 h 56"/>
                <a:gd name="T10" fmla="*/ 68 w 112"/>
                <a:gd name="T11" fmla="*/ 36 h 56"/>
                <a:gd name="T12" fmla="*/ 58 w 112"/>
                <a:gd name="T13" fmla="*/ 34 h 56"/>
                <a:gd name="T14" fmla="*/ 48 w 112"/>
                <a:gd name="T15" fmla="*/ 34 h 56"/>
                <a:gd name="T16" fmla="*/ 36 w 112"/>
                <a:gd name="T17" fmla="*/ 38 h 56"/>
                <a:gd name="T18" fmla="*/ 26 w 112"/>
                <a:gd name="T19" fmla="*/ 34 h 56"/>
                <a:gd name="T20" fmla="*/ 8 w 112"/>
                <a:gd name="T21" fmla="*/ 20 h 56"/>
                <a:gd name="T22" fmla="*/ 0 w 112"/>
                <a:gd name="T23" fmla="*/ 4 h 56"/>
                <a:gd name="T24" fmla="*/ 8 w 112"/>
                <a:gd name="T25" fmla="*/ 0 h 56"/>
                <a:gd name="T26" fmla="*/ 18 w 112"/>
                <a:gd name="T27" fmla="*/ 6 h 56"/>
                <a:gd name="T28" fmla="*/ 26 w 112"/>
                <a:gd name="T29" fmla="*/ 14 h 56"/>
                <a:gd name="T30" fmla="*/ 40 w 112"/>
                <a:gd name="T31" fmla="*/ 26 h 56"/>
                <a:gd name="T32" fmla="*/ 48 w 112"/>
                <a:gd name="T33" fmla="*/ 24 h 56"/>
                <a:gd name="T34" fmla="*/ 40 w 112"/>
                <a:gd name="T35" fmla="*/ 16 h 56"/>
                <a:gd name="T36" fmla="*/ 40 w 112"/>
                <a:gd name="T37" fmla="*/ 10 h 56"/>
                <a:gd name="T38" fmla="*/ 48 w 112"/>
                <a:gd name="T39" fmla="*/ 8 h 56"/>
                <a:gd name="T40" fmla="*/ 58 w 112"/>
                <a:gd name="T41" fmla="*/ 16 h 56"/>
                <a:gd name="T42" fmla="*/ 70 w 112"/>
                <a:gd name="T43" fmla="*/ 26 h 56"/>
                <a:gd name="T44" fmla="*/ 74 w 112"/>
                <a:gd name="T45" fmla="*/ 20 h 56"/>
                <a:gd name="T46" fmla="*/ 68 w 112"/>
                <a:gd name="T47" fmla="*/ 12 h 56"/>
                <a:gd name="T48" fmla="*/ 62 w 112"/>
                <a:gd name="T49" fmla="*/ 4 h 56"/>
                <a:gd name="T50" fmla="*/ 64 w 112"/>
                <a:gd name="T51" fmla="*/ 0 h 56"/>
                <a:gd name="T52" fmla="*/ 78 w 112"/>
                <a:gd name="T53" fmla="*/ 2 h 56"/>
                <a:gd name="T54" fmla="*/ 84 w 112"/>
                <a:gd name="T55" fmla="*/ 8 h 56"/>
                <a:gd name="T56" fmla="*/ 92 w 112"/>
                <a:gd name="T57" fmla="*/ 4 h 56"/>
                <a:gd name="T58" fmla="*/ 104 w 112"/>
                <a:gd name="T59" fmla="*/ 4 h 56"/>
                <a:gd name="T60" fmla="*/ 108 w 112"/>
                <a:gd name="T61" fmla="*/ 10 h 56"/>
                <a:gd name="T62" fmla="*/ 110 w 112"/>
                <a:gd name="T63" fmla="*/ 28 h 56"/>
                <a:gd name="T64" fmla="*/ 112 w 112"/>
                <a:gd name="T65" fmla="*/ 36 h 56"/>
                <a:gd name="T66" fmla="*/ 104 w 112"/>
                <a:gd name="T67" fmla="*/ 40 h 56"/>
                <a:gd name="T68" fmla="*/ 104 w 112"/>
                <a:gd name="T69" fmla="*/ 5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2" h="56">
                  <a:moveTo>
                    <a:pt x="104" y="52"/>
                  </a:moveTo>
                  <a:lnTo>
                    <a:pt x="92" y="54"/>
                  </a:lnTo>
                  <a:lnTo>
                    <a:pt x="70" y="56"/>
                  </a:lnTo>
                  <a:lnTo>
                    <a:pt x="66" y="44"/>
                  </a:lnTo>
                  <a:lnTo>
                    <a:pt x="74" y="36"/>
                  </a:lnTo>
                  <a:lnTo>
                    <a:pt x="68" y="36"/>
                  </a:lnTo>
                  <a:lnTo>
                    <a:pt x="58" y="34"/>
                  </a:lnTo>
                  <a:lnTo>
                    <a:pt x="48" y="34"/>
                  </a:lnTo>
                  <a:lnTo>
                    <a:pt x="36" y="38"/>
                  </a:lnTo>
                  <a:lnTo>
                    <a:pt x="26" y="34"/>
                  </a:lnTo>
                  <a:lnTo>
                    <a:pt x="8" y="20"/>
                  </a:lnTo>
                  <a:lnTo>
                    <a:pt x="0" y="4"/>
                  </a:lnTo>
                  <a:lnTo>
                    <a:pt x="8" y="0"/>
                  </a:lnTo>
                  <a:lnTo>
                    <a:pt x="18" y="6"/>
                  </a:lnTo>
                  <a:lnTo>
                    <a:pt x="26" y="14"/>
                  </a:lnTo>
                  <a:lnTo>
                    <a:pt x="40" y="26"/>
                  </a:lnTo>
                  <a:lnTo>
                    <a:pt x="48" y="24"/>
                  </a:lnTo>
                  <a:lnTo>
                    <a:pt x="40" y="16"/>
                  </a:lnTo>
                  <a:lnTo>
                    <a:pt x="40" y="10"/>
                  </a:lnTo>
                  <a:lnTo>
                    <a:pt x="48" y="8"/>
                  </a:lnTo>
                  <a:lnTo>
                    <a:pt x="58" y="16"/>
                  </a:lnTo>
                  <a:lnTo>
                    <a:pt x="70" y="26"/>
                  </a:lnTo>
                  <a:lnTo>
                    <a:pt x="74" y="20"/>
                  </a:lnTo>
                  <a:lnTo>
                    <a:pt x="68" y="12"/>
                  </a:lnTo>
                  <a:lnTo>
                    <a:pt x="62" y="4"/>
                  </a:lnTo>
                  <a:lnTo>
                    <a:pt x="64" y="0"/>
                  </a:lnTo>
                  <a:lnTo>
                    <a:pt x="78" y="2"/>
                  </a:lnTo>
                  <a:lnTo>
                    <a:pt x="84" y="8"/>
                  </a:lnTo>
                  <a:lnTo>
                    <a:pt x="92" y="4"/>
                  </a:lnTo>
                  <a:lnTo>
                    <a:pt x="104" y="4"/>
                  </a:lnTo>
                  <a:lnTo>
                    <a:pt x="108" y="10"/>
                  </a:lnTo>
                  <a:lnTo>
                    <a:pt x="110" y="28"/>
                  </a:lnTo>
                  <a:lnTo>
                    <a:pt x="112" y="36"/>
                  </a:lnTo>
                  <a:lnTo>
                    <a:pt x="104" y="40"/>
                  </a:lnTo>
                  <a:lnTo>
                    <a:pt x="104" y="5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38" name="Freeform 12">
              <a:extLst>
                <a:ext uri="{FF2B5EF4-FFF2-40B4-BE49-F238E27FC236}">
                  <a16:creationId xmlns:a16="http://schemas.microsoft.com/office/drawing/2014/main" id="{BE52E3FE-4ADC-41C2-8BE7-38362B513F4C}"/>
                </a:ext>
              </a:extLst>
            </p:cNvPr>
            <p:cNvSpPr>
              <a:spLocks/>
            </p:cNvSpPr>
            <p:nvPr/>
          </p:nvSpPr>
          <p:spPr bwMode="gray">
            <a:xfrm>
              <a:off x="3288915" y="2095383"/>
              <a:ext cx="445789" cy="139426"/>
            </a:xfrm>
            <a:custGeom>
              <a:avLst/>
              <a:gdLst>
                <a:gd name="T0" fmla="*/ 48 w 270"/>
                <a:gd name="T1" fmla="*/ 26 h 84"/>
                <a:gd name="T2" fmla="*/ 34 w 270"/>
                <a:gd name="T3" fmla="*/ 28 h 84"/>
                <a:gd name="T4" fmla="*/ 20 w 270"/>
                <a:gd name="T5" fmla="*/ 26 h 84"/>
                <a:gd name="T6" fmla="*/ 6 w 270"/>
                <a:gd name="T7" fmla="*/ 20 h 84"/>
                <a:gd name="T8" fmla="*/ 0 w 270"/>
                <a:gd name="T9" fmla="*/ 14 h 84"/>
                <a:gd name="T10" fmla="*/ 2 w 270"/>
                <a:gd name="T11" fmla="*/ 4 h 84"/>
                <a:gd name="T12" fmla="*/ 14 w 270"/>
                <a:gd name="T13" fmla="*/ 0 h 84"/>
                <a:gd name="T14" fmla="*/ 32 w 270"/>
                <a:gd name="T15" fmla="*/ 6 h 84"/>
                <a:gd name="T16" fmla="*/ 48 w 270"/>
                <a:gd name="T17" fmla="*/ 10 h 84"/>
                <a:gd name="T18" fmla="*/ 54 w 270"/>
                <a:gd name="T19" fmla="*/ 18 h 84"/>
                <a:gd name="T20" fmla="*/ 70 w 270"/>
                <a:gd name="T21" fmla="*/ 18 h 84"/>
                <a:gd name="T22" fmla="*/ 88 w 270"/>
                <a:gd name="T23" fmla="*/ 14 h 84"/>
                <a:gd name="T24" fmla="*/ 96 w 270"/>
                <a:gd name="T25" fmla="*/ 24 h 84"/>
                <a:gd name="T26" fmla="*/ 96 w 270"/>
                <a:gd name="T27" fmla="*/ 34 h 84"/>
                <a:gd name="T28" fmla="*/ 100 w 270"/>
                <a:gd name="T29" fmla="*/ 40 h 84"/>
                <a:gd name="T30" fmla="*/ 120 w 270"/>
                <a:gd name="T31" fmla="*/ 52 h 84"/>
                <a:gd name="T32" fmla="*/ 150 w 270"/>
                <a:gd name="T33" fmla="*/ 52 h 84"/>
                <a:gd name="T34" fmla="*/ 172 w 270"/>
                <a:gd name="T35" fmla="*/ 54 h 84"/>
                <a:gd name="T36" fmla="*/ 198 w 270"/>
                <a:gd name="T37" fmla="*/ 44 h 84"/>
                <a:gd name="T38" fmla="*/ 236 w 270"/>
                <a:gd name="T39" fmla="*/ 46 h 84"/>
                <a:gd name="T40" fmla="*/ 256 w 270"/>
                <a:gd name="T41" fmla="*/ 50 h 84"/>
                <a:gd name="T42" fmla="*/ 270 w 270"/>
                <a:gd name="T43" fmla="*/ 56 h 84"/>
                <a:gd name="T44" fmla="*/ 268 w 270"/>
                <a:gd name="T45" fmla="*/ 66 h 84"/>
                <a:gd name="T46" fmla="*/ 262 w 270"/>
                <a:gd name="T47" fmla="*/ 70 h 84"/>
                <a:gd name="T48" fmla="*/ 260 w 270"/>
                <a:gd name="T49" fmla="*/ 82 h 84"/>
                <a:gd name="T50" fmla="*/ 222 w 270"/>
                <a:gd name="T51" fmla="*/ 84 h 84"/>
                <a:gd name="T52" fmla="*/ 212 w 270"/>
                <a:gd name="T53" fmla="*/ 76 h 84"/>
                <a:gd name="T54" fmla="*/ 206 w 270"/>
                <a:gd name="T55" fmla="*/ 84 h 84"/>
                <a:gd name="T56" fmla="*/ 132 w 270"/>
                <a:gd name="T57" fmla="*/ 84 h 84"/>
                <a:gd name="T58" fmla="*/ 130 w 270"/>
                <a:gd name="T59" fmla="*/ 74 h 84"/>
                <a:gd name="T60" fmla="*/ 126 w 270"/>
                <a:gd name="T61" fmla="*/ 72 h 84"/>
                <a:gd name="T62" fmla="*/ 120 w 270"/>
                <a:gd name="T63" fmla="*/ 78 h 84"/>
                <a:gd name="T64" fmla="*/ 116 w 270"/>
                <a:gd name="T65" fmla="*/ 84 h 84"/>
                <a:gd name="T66" fmla="*/ 92 w 270"/>
                <a:gd name="T67" fmla="*/ 80 h 84"/>
                <a:gd name="T68" fmla="*/ 88 w 270"/>
                <a:gd name="T69" fmla="*/ 74 h 84"/>
                <a:gd name="T70" fmla="*/ 84 w 270"/>
                <a:gd name="T71" fmla="*/ 78 h 84"/>
                <a:gd name="T72" fmla="*/ 78 w 270"/>
                <a:gd name="T73" fmla="*/ 78 h 84"/>
                <a:gd name="T74" fmla="*/ 72 w 270"/>
                <a:gd name="T75" fmla="*/ 70 h 84"/>
                <a:gd name="T76" fmla="*/ 68 w 270"/>
                <a:gd name="T77" fmla="*/ 58 h 84"/>
                <a:gd name="T78" fmla="*/ 68 w 270"/>
                <a:gd name="T79" fmla="*/ 54 h 84"/>
                <a:gd name="T80" fmla="*/ 72 w 270"/>
                <a:gd name="T81" fmla="*/ 48 h 84"/>
                <a:gd name="T82" fmla="*/ 64 w 270"/>
                <a:gd name="T83" fmla="*/ 38 h 84"/>
                <a:gd name="T84" fmla="*/ 58 w 270"/>
                <a:gd name="T85" fmla="*/ 28 h 84"/>
                <a:gd name="T86" fmla="*/ 48 w 270"/>
                <a:gd name="T87" fmla="*/ 2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0" h="84">
                  <a:moveTo>
                    <a:pt x="48" y="26"/>
                  </a:moveTo>
                  <a:lnTo>
                    <a:pt x="34" y="28"/>
                  </a:lnTo>
                  <a:lnTo>
                    <a:pt x="20" y="26"/>
                  </a:lnTo>
                  <a:lnTo>
                    <a:pt x="6" y="20"/>
                  </a:lnTo>
                  <a:lnTo>
                    <a:pt x="0" y="14"/>
                  </a:lnTo>
                  <a:lnTo>
                    <a:pt x="2" y="4"/>
                  </a:lnTo>
                  <a:lnTo>
                    <a:pt x="14" y="0"/>
                  </a:lnTo>
                  <a:lnTo>
                    <a:pt x="32" y="6"/>
                  </a:lnTo>
                  <a:lnTo>
                    <a:pt x="48" y="10"/>
                  </a:lnTo>
                  <a:lnTo>
                    <a:pt x="54" y="18"/>
                  </a:lnTo>
                  <a:lnTo>
                    <a:pt x="70" y="18"/>
                  </a:lnTo>
                  <a:lnTo>
                    <a:pt x="88" y="14"/>
                  </a:lnTo>
                  <a:lnTo>
                    <a:pt x="96" y="24"/>
                  </a:lnTo>
                  <a:lnTo>
                    <a:pt x="96" y="34"/>
                  </a:lnTo>
                  <a:lnTo>
                    <a:pt x="100" y="40"/>
                  </a:lnTo>
                  <a:lnTo>
                    <a:pt x="120" y="52"/>
                  </a:lnTo>
                  <a:lnTo>
                    <a:pt x="150" y="52"/>
                  </a:lnTo>
                  <a:lnTo>
                    <a:pt x="172" y="54"/>
                  </a:lnTo>
                  <a:lnTo>
                    <a:pt x="198" y="44"/>
                  </a:lnTo>
                  <a:lnTo>
                    <a:pt x="236" y="46"/>
                  </a:lnTo>
                  <a:lnTo>
                    <a:pt x="256" y="50"/>
                  </a:lnTo>
                  <a:lnTo>
                    <a:pt x="270" y="56"/>
                  </a:lnTo>
                  <a:lnTo>
                    <a:pt x="268" y="66"/>
                  </a:lnTo>
                  <a:lnTo>
                    <a:pt x="262" y="70"/>
                  </a:lnTo>
                  <a:lnTo>
                    <a:pt x="260" y="82"/>
                  </a:lnTo>
                  <a:lnTo>
                    <a:pt x="222" y="84"/>
                  </a:lnTo>
                  <a:lnTo>
                    <a:pt x="212" y="76"/>
                  </a:lnTo>
                  <a:lnTo>
                    <a:pt x="206" y="84"/>
                  </a:lnTo>
                  <a:lnTo>
                    <a:pt x="132" y="84"/>
                  </a:lnTo>
                  <a:lnTo>
                    <a:pt x="130" y="74"/>
                  </a:lnTo>
                  <a:lnTo>
                    <a:pt x="126" y="72"/>
                  </a:lnTo>
                  <a:lnTo>
                    <a:pt x="120" y="78"/>
                  </a:lnTo>
                  <a:lnTo>
                    <a:pt x="116" y="84"/>
                  </a:lnTo>
                  <a:lnTo>
                    <a:pt x="92" y="80"/>
                  </a:lnTo>
                  <a:lnTo>
                    <a:pt x="88" y="74"/>
                  </a:lnTo>
                  <a:lnTo>
                    <a:pt x="84" y="78"/>
                  </a:lnTo>
                  <a:lnTo>
                    <a:pt x="78" y="78"/>
                  </a:lnTo>
                  <a:lnTo>
                    <a:pt x="72" y="70"/>
                  </a:lnTo>
                  <a:lnTo>
                    <a:pt x="68" y="58"/>
                  </a:lnTo>
                  <a:lnTo>
                    <a:pt x="68" y="54"/>
                  </a:lnTo>
                  <a:lnTo>
                    <a:pt x="72" y="48"/>
                  </a:lnTo>
                  <a:lnTo>
                    <a:pt x="64" y="38"/>
                  </a:lnTo>
                  <a:lnTo>
                    <a:pt x="58" y="28"/>
                  </a:lnTo>
                  <a:lnTo>
                    <a:pt x="48" y="2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39" name="Freeform 13">
              <a:extLst>
                <a:ext uri="{FF2B5EF4-FFF2-40B4-BE49-F238E27FC236}">
                  <a16:creationId xmlns:a16="http://schemas.microsoft.com/office/drawing/2014/main" id="{B0F2475A-63E7-41FA-B682-9E7649504009}"/>
                </a:ext>
              </a:extLst>
            </p:cNvPr>
            <p:cNvSpPr>
              <a:spLocks/>
            </p:cNvSpPr>
            <p:nvPr/>
          </p:nvSpPr>
          <p:spPr bwMode="gray">
            <a:xfrm>
              <a:off x="3312029" y="2258046"/>
              <a:ext cx="148597" cy="106229"/>
            </a:xfrm>
            <a:custGeom>
              <a:avLst/>
              <a:gdLst>
                <a:gd name="T0" fmla="*/ 8 w 90"/>
                <a:gd name="T1" fmla="*/ 2 h 64"/>
                <a:gd name="T2" fmla="*/ 0 w 90"/>
                <a:gd name="T3" fmla="*/ 14 h 64"/>
                <a:gd name="T4" fmla="*/ 4 w 90"/>
                <a:gd name="T5" fmla="*/ 36 h 64"/>
                <a:gd name="T6" fmla="*/ 8 w 90"/>
                <a:gd name="T7" fmla="*/ 50 h 64"/>
                <a:gd name="T8" fmla="*/ 12 w 90"/>
                <a:gd name="T9" fmla="*/ 62 h 64"/>
                <a:gd name="T10" fmla="*/ 24 w 90"/>
                <a:gd name="T11" fmla="*/ 64 h 64"/>
                <a:gd name="T12" fmla="*/ 34 w 90"/>
                <a:gd name="T13" fmla="*/ 52 h 64"/>
                <a:gd name="T14" fmla="*/ 30 w 90"/>
                <a:gd name="T15" fmla="*/ 42 h 64"/>
                <a:gd name="T16" fmla="*/ 42 w 90"/>
                <a:gd name="T17" fmla="*/ 40 h 64"/>
                <a:gd name="T18" fmla="*/ 60 w 90"/>
                <a:gd name="T19" fmla="*/ 40 h 64"/>
                <a:gd name="T20" fmla="*/ 78 w 90"/>
                <a:gd name="T21" fmla="*/ 18 h 64"/>
                <a:gd name="T22" fmla="*/ 90 w 90"/>
                <a:gd name="T23" fmla="*/ 2 h 64"/>
                <a:gd name="T24" fmla="*/ 60 w 90"/>
                <a:gd name="T25" fmla="*/ 2 h 64"/>
                <a:gd name="T26" fmla="*/ 42 w 90"/>
                <a:gd name="T27" fmla="*/ 0 h 64"/>
                <a:gd name="T28" fmla="*/ 20 w 90"/>
                <a:gd name="T29" fmla="*/ 0 h 64"/>
                <a:gd name="T30" fmla="*/ 8 w 90"/>
                <a:gd name="T31" fmla="*/ 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0" h="64">
                  <a:moveTo>
                    <a:pt x="8" y="2"/>
                  </a:moveTo>
                  <a:lnTo>
                    <a:pt x="0" y="14"/>
                  </a:lnTo>
                  <a:lnTo>
                    <a:pt x="4" y="36"/>
                  </a:lnTo>
                  <a:lnTo>
                    <a:pt x="8" y="50"/>
                  </a:lnTo>
                  <a:lnTo>
                    <a:pt x="12" y="62"/>
                  </a:lnTo>
                  <a:lnTo>
                    <a:pt x="24" y="64"/>
                  </a:lnTo>
                  <a:lnTo>
                    <a:pt x="34" y="52"/>
                  </a:lnTo>
                  <a:lnTo>
                    <a:pt x="30" y="42"/>
                  </a:lnTo>
                  <a:lnTo>
                    <a:pt x="42" y="40"/>
                  </a:lnTo>
                  <a:lnTo>
                    <a:pt x="60" y="40"/>
                  </a:lnTo>
                  <a:lnTo>
                    <a:pt x="78" y="18"/>
                  </a:lnTo>
                  <a:lnTo>
                    <a:pt x="90" y="2"/>
                  </a:lnTo>
                  <a:lnTo>
                    <a:pt x="60" y="2"/>
                  </a:lnTo>
                  <a:lnTo>
                    <a:pt x="42" y="0"/>
                  </a:lnTo>
                  <a:lnTo>
                    <a:pt x="20" y="0"/>
                  </a:lnTo>
                  <a:lnTo>
                    <a:pt x="8" y="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40" name="Freeform 14">
              <a:extLst>
                <a:ext uri="{FF2B5EF4-FFF2-40B4-BE49-F238E27FC236}">
                  <a16:creationId xmlns:a16="http://schemas.microsoft.com/office/drawing/2014/main" id="{B54EF728-3FB3-4502-A7D9-D55EE97DCB79}"/>
                </a:ext>
              </a:extLst>
            </p:cNvPr>
            <p:cNvSpPr>
              <a:spLocks/>
            </p:cNvSpPr>
            <p:nvPr/>
          </p:nvSpPr>
          <p:spPr bwMode="gray">
            <a:xfrm>
              <a:off x="3411094" y="1730220"/>
              <a:ext cx="809025" cy="418277"/>
            </a:xfrm>
            <a:custGeom>
              <a:avLst/>
              <a:gdLst>
                <a:gd name="T0" fmla="*/ 370 w 490"/>
                <a:gd name="T1" fmla="*/ 94 h 252"/>
                <a:gd name="T2" fmla="*/ 324 w 490"/>
                <a:gd name="T3" fmla="*/ 130 h 252"/>
                <a:gd name="T4" fmla="*/ 280 w 490"/>
                <a:gd name="T5" fmla="*/ 126 h 252"/>
                <a:gd name="T6" fmla="*/ 296 w 490"/>
                <a:gd name="T7" fmla="*/ 138 h 252"/>
                <a:gd name="T8" fmla="*/ 264 w 490"/>
                <a:gd name="T9" fmla="*/ 140 h 252"/>
                <a:gd name="T10" fmla="*/ 254 w 490"/>
                <a:gd name="T11" fmla="*/ 148 h 252"/>
                <a:gd name="T12" fmla="*/ 254 w 490"/>
                <a:gd name="T13" fmla="*/ 154 h 252"/>
                <a:gd name="T14" fmla="*/ 268 w 490"/>
                <a:gd name="T15" fmla="*/ 170 h 252"/>
                <a:gd name="T16" fmla="*/ 260 w 490"/>
                <a:gd name="T17" fmla="*/ 184 h 252"/>
                <a:gd name="T18" fmla="*/ 220 w 490"/>
                <a:gd name="T19" fmla="*/ 206 h 252"/>
                <a:gd name="T20" fmla="*/ 164 w 490"/>
                <a:gd name="T21" fmla="*/ 216 h 252"/>
                <a:gd name="T22" fmla="*/ 206 w 490"/>
                <a:gd name="T23" fmla="*/ 232 h 252"/>
                <a:gd name="T24" fmla="*/ 224 w 490"/>
                <a:gd name="T25" fmla="*/ 236 h 252"/>
                <a:gd name="T26" fmla="*/ 172 w 490"/>
                <a:gd name="T27" fmla="*/ 252 h 252"/>
                <a:gd name="T28" fmla="*/ 138 w 490"/>
                <a:gd name="T29" fmla="*/ 238 h 252"/>
                <a:gd name="T30" fmla="*/ 88 w 490"/>
                <a:gd name="T31" fmla="*/ 244 h 252"/>
                <a:gd name="T32" fmla="*/ 62 w 490"/>
                <a:gd name="T33" fmla="*/ 244 h 252"/>
                <a:gd name="T34" fmla="*/ 42 w 490"/>
                <a:gd name="T35" fmla="*/ 224 h 252"/>
                <a:gd name="T36" fmla="*/ 80 w 490"/>
                <a:gd name="T37" fmla="*/ 212 h 252"/>
                <a:gd name="T38" fmla="*/ 88 w 490"/>
                <a:gd name="T39" fmla="*/ 196 h 252"/>
                <a:gd name="T40" fmla="*/ 132 w 490"/>
                <a:gd name="T41" fmla="*/ 212 h 252"/>
                <a:gd name="T42" fmla="*/ 140 w 490"/>
                <a:gd name="T43" fmla="*/ 194 h 252"/>
                <a:gd name="T44" fmla="*/ 108 w 490"/>
                <a:gd name="T45" fmla="*/ 194 h 252"/>
                <a:gd name="T46" fmla="*/ 106 w 490"/>
                <a:gd name="T47" fmla="*/ 180 h 252"/>
                <a:gd name="T48" fmla="*/ 68 w 490"/>
                <a:gd name="T49" fmla="*/ 176 h 252"/>
                <a:gd name="T50" fmla="*/ 114 w 490"/>
                <a:gd name="T51" fmla="*/ 160 h 252"/>
                <a:gd name="T52" fmla="*/ 160 w 490"/>
                <a:gd name="T53" fmla="*/ 158 h 252"/>
                <a:gd name="T54" fmla="*/ 114 w 490"/>
                <a:gd name="T55" fmla="*/ 138 h 252"/>
                <a:gd name="T56" fmla="*/ 86 w 490"/>
                <a:gd name="T57" fmla="*/ 114 h 252"/>
                <a:gd name="T58" fmla="*/ 144 w 490"/>
                <a:gd name="T59" fmla="*/ 120 h 252"/>
                <a:gd name="T60" fmla="*/ 166 w 490"/>
                <a:gd name="T61" fmla="*/ 126 h 252"/>
                <a:gd name="T62" fmla="*/ 168 w 490"/>
                <a:gd name="T63" fmla="*/ 104 h 252"/>
                <a:gd name="T64" fmla="*/ 208 w 490"/>
                <a:gd name="T65" fmla="*/ 86 h 252"/>
                <a:gd name="T66" fmla="*/ 226 w 490"/>
                <a:gd name="T67" fmla="*/ 68 h 252"/>
                <a:gd name="T68" fmla="*/ 162 w 490"/>
                <a:gd name="T69" fmla="*/ 96 h 252"/>
                <a:gd name="T70" fmla="*/ 128 w 490"/>
                <a:gd name="T71" fmla="*/ 100 h 252"/>
                <a:gd name="T72" fmla="*/ 98 w 490"/>
                <a:gd name="T73" fmla="*/ 82 h 252"/>
                <a:gd name="T74" fmla="*/ 62 w 490"/>
                <a:gd name="T75" fmla="*/ 78 h 252"/>
                <a:gd name="T76" fmla="*/ 48 w 490"/>
                <a:gd name="T77" fmla="*/ 66 h 252"/>
                <a:gd name="T78" fmla="*/ 32 w 490"/>
                <a:gd name="T79" fmla="*/ 66 h 252"/>
                <a:gd name="T80" fmla="*/ 20 w 490"/>
                <a:gd name="T81" fmla="*/ 56 h 252"/>
                <a:gd name="T82" fmla="*/ 36 w 490"/>
                <a:gd name="T83" fmla="*/ 50 h 252"/>
                <a:gd name="T84" fmla="*/ 80 w 490"/>
                <a:gd name="T85" fmla="*/ 46 h 252"/>
                <a:gd name="T86" fmla="*/ 102 w 490"/>
                <a:gd name="T87" fmla="*/ 28 h 252"/>
                <a:gd name="T88" fmla="*/ 168 w 490"/>
                <a:gd name="T89" fmla="*/ 40 h 252"/>
                <a:gd name="T90" fmla="*/ 164 w 490"/>
                <a:gd name="T91" fmla="*/ 18 h 252"/>
                <a:gd name="T92" fmla="*/ 216 w 490"/>
                <a:gd name="T93" fmla="*/ 10 h 252"/>
                <a:gd name="T94" fmla="*/ 254 w 490"/>
                <a:gd name="T95" fmla="*/ 22 h 252"/>
                <a:gd name="T96" fmla="*/ 278 w 490"/>
                <a:gd name="T97" fmla="*/ 4 h 252"/>
                <a:gd name="T98" fmla="*/ 298 w 490"/>
                <a:gd name="T99" fmla="*/ 2 h 252"/>
                <a:gd name="T100" fmla="*/ 350 w 490"/>
                <a:gd name="T101" fmla="*/ 2 h 252"/>
                <a:gd name="T102" fmla="*/ 388 w 490"/>
                <a:gd name="T103" fmla="*/ 16 h 252"/>
                <a:gd name="T104" fmla="*/ 452 w 490"/>
                <a:gd name="T105" fmla="*/ 14 h 252"/>
                <a:gd name="T106" fmla="*/ 482 w 490"/>
                <a:gd name="T107" fmla="*/ 40 h 252"/>
                <a:gd name="T108" fmla="*/ 376 w 490"/>
                <a:gd name="T109" fmla="*/ 62 h 252"/>
                <a:gd name="T110" fmla="*/ 398 w 490"/>
                <a:gd name="T111" fmla="*/ 7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0" h="252">
                  <a:moveTo>
                    <a:pt x="434" y="68"/>
                  </a:moveTo>
                  <a:lnTo>
                    <a:pt x="412" y="76"/>
                  </a:lnTo>
                  <a:lnTo>
                    <a:pt x="396" y="86"/>
                  </a:lnTo>
                  <a:lnTo>
                    <a:pt x="370" y="94"/>
                  </a:lnTo>
                  <a:lnTo>
                    <a:pt x="352" y="108"/>
                  </a:lnTo>
                  <a:lnTo>
                    <a:pt x="340" y="108"/>
                  </a:lnTo>
                  <a:lnTo>
                    <a:pt x="336" y="120"/>
                  </a:lnTo>
                  <a:lnTo>
                    <a:pt x="324" y="130"/>
                  </a:lnTo>
                  <a:lnTo>
                    <a:pt x="308" y="134"/>
                  </a:lnTo>
                  <a:lnTo>
                    <a:pt x="300" y="128"/>
                  </a:lnTo>
                  <a:lnTo>
                    <a:pt x="286" y="124"/>
                  </a:lnTo>
                  <a:lnTo>
                    <a:pt x="280" y="126"/>
                  </a:lnTo>
                  <a:lnTo>
                    <a:pt x="288" y="130"/>
                  </a:lnTo>
                  <a:lnTo>
                    <a:pt x="296" y="132"/>
                  </a:lnTo>
                  <a:lnTo>
                    <a:pt x="296" y="136"/>
                  </a:lnTo>
                  <a:lnTo>
                    <a:pt x="296" y="138"/>
                  </a:lnTo>
                  <a:lnTo>
                    <a:pt x="294" y="138"/>
                  </a:lnTo>
                  <a:lnTo>
                    <a:pt x="286" y="138"/>
                  </a:lnTo>
                  <a:lnTo>
                    <a:pt x="276" y="142"/>
                  </a:lnTo>
                  <a:lnTo>
                    <a:pt x="264" y="140"/>
                  </a:lnTo>
                  <a:lnTo>
                    <a:pt x="246" y="138"/>
                  </a:lnTo>
                  <a:lnTo>
                    <a:pt x="234" y="142"/>
                  </a:lnTo>
                  <a:lnTo>
                    <a:pt x="240" y="148"/>
                  </a:lnTo>
                  <a:lnTo>
                    <a:pt x="254" y="148"/>
                  </a:lnTo>
                  <a:lnTo>
                    <a:pt x="272" y="148"/>
                  </a:lnTo>
                  <a:lnTo>
                    <a:pt x="276" y="154"/>
                  </a:lnTo>
                  <a:lnTo>
                    <a:pt x="268" y="154"/>
                  </a:lnTo>
                  <a:lnTo>
                    <a:pt x="254" y="154"/>
                  </a:lnTo>
                  <a:lnTo>
                    <a:pt x="256" y="160"/>
                  </a:lnTo>
                  <a:lnTo>
                    <a:pt x="272" y="162"/>
                  </a:lnTo>
                  <a:lnTo>
                    <a:pt x="272" y="168"/>
                  </a:lnTo>
                  <a:lnTo>
                    <a:pt x="268" y="170"/>
                  </a:lnTo>
                  <a:lnTo>
                    <a:pt x="250" y="168"/>
                  </a:lnTo>
                  <a:lnTo>
                    <a:pt x="254" y="174"/>
                  </a:lnTo>
                  <a:lnTo>
                    <a:pt x="266" y="180"/>
                  </a:lnTo>
                  <a:lnTo>
                    <a:pt x="260" y="184"/>
                  </a:lnTo>
                  <a:lnTo>
                    <a:pt x="258" y="188"/>
                  </a:lnTo>
                  <a:lnTo>
                    <a:pt x="254" y="192"/>
                  </a:lnTo>
                  <a:lnTo>
                    <a:pt x="224" y="194"/>
                  </a:lnTo>
                  <a:lnTo>
                    <a:pt x="220" y="206"/>
                  </a:lnTo>
                  <a:lnTo>
                    <a:pt x="210" y="212"/>
                  </a:lnTo>
                  <a:lnTo>
                    <a:pt x="186" y="212"/>
                  </a:lnTo>
                  <a:lnTo>
                    <a:pt x="166" y="208"/>
                  </a:lnTo>
                  <a:lnTo>
                    <a:pt x="164" y="216"/>
                  </a:lnTo>
                  <a:lnTo>
                    <a:pt x="180" y="220"/>
                  </a:lnTo>
                  <a:lnTo>
                    <a:pt x="202" y="220"/>
                  </a:lnTo>
                  <a:lnTo>
                    <a:pt x="204" y="226"/>
                  </a:lnTo>
                  <a:lnTo>
                    <a:pt x="206" y="232"/>
                  </a:lnTo>
                  <a:lnTo>
                    <a:pt x="214" y="226"/>
                  </a:lnTo>
                  <a:lnTo>
                    <a:pt x="218" y="222"/>
                  </a:lnTo>
                  <a:lnTo>
                    <a:pt x="222" y="226"/>
                  </a:lnTo>
                  <a:lnTo>
                    <a:pt x="224" y="236"/>
                  </a:lnTo>
                  <a:lnTo>
                    <a:pt x="218" y="240"/>
                  </a:lnTo>
                  <a:lnTo>
                    <a:pt x="204" y="244"/>
                  </a:lnTo>
                  <a:lnTo>
                    <a:pt x="188" y="250"/>
                  </a:lnTo>
                  <a:lnTo>
                    <a:pt x="172" y="252"/>
                  </a:lnTo>
                  <a:lnTo>
                    <a:pt x="172" y="244"/>
                  </a:lnTo>
                  <a:lnTo>
                    <a:pt x="162" y="240"/>
                  </a:lnTo>
                  <a:lnTo>
                    <a:pt x="150" y="242"/>
                  </a:lnTo>
                  <a:lnTo>
                    <a:pt x="138" y="238"/>
                  </a:lnTo>
                  <a:lnTo>
                    <a:pt x="132" y="244"/>
                  </a:lnTo>
                  <a:lnTo>
                    <a:pt x="124" y="238"/>
                  </a:lnTo>
                  <a:lnTo>
                    <a:pt x="120" y="244"/>
                  </a:lnTo>
                  <a:lnTo>
                    <a:pt x="88" y="244"/>
                  </a:lnTo>
                  <a:lnTo>
                    <a:pt x="82" y="238"/>
                  </a:lnTo>
                  <a:lnTo>
                    <a:pt x="72" y="244"/>
                  </a:lnTo>
                  <a:lnTo>
                    <a:pt x="68" y="240"/>
                  </a:lnTo>
                  <a:lnTo>
                    <a:pt x="62" y="244"/>
                  </a:lnTo>
                  <a:lnTo>
                    <a:pt x="56" y="236"/>
                  </a:lnTo>
                  <a:lnTo>
                    <a:pt x="46" y="244"/>
                  </a:lnTo>
                  <a:lnTo>
                    <a:pt x="38" y="236"/>
                  </a:lnTo>
                  <a:lnTo>
                    <a:pt x="42" y="224"/>
                  </a:lnTo>
                  <a:lnTo>
                    <a:pt x="56" y="220"/>
                  </a:lnTo>
                  <a:lnTo>
                    <a:pt x="72" y="220"/>
                  </a:lnTo>
                  <a:lnTo>
                    <a:pt x="84" y="220"/>
                  </a:lnTo>
                  <a:lnTo>
                    <a:pt x="80" y="212"/>
                  </a:lnTo>
                  <a:lnTo>
                    <a:pt x="70" y="212"/>
                  </a:lnTo>
                  <a:lnTo>
                    <a:pt x="62" y="204"/>
                  </a:lnTo>
                  <a:lnTo>
                    <a:pt x="62" y="196"/>
                  </a:lnTo>
                  <a:lnTo>
                    <a:pt x="88" y="196"/>
                  </a:lnTo>
                  <a:lnTo>
                    <a:pt x="94" y="204"/>
                  </a:lnTo>
                  <a:lnTo>
                    <a:pt x="102" y="210"/>
                  </a:lnTo>
                  <a:lnTo>
                    <a:pt x="120" y="212"/>
                  </a:lnTo>
                  <a:lnTo>
                    <a:pt x="132" y="212"/>
                  </a:lnTo>
                  <a:lnTo>
                    <a:pt x="146" y="202"/>
                  </a:lnTo>
                  <a:lnTo>
                    <a:pt x="152" y="190"/>
                  </a:lnTo>
                  <a:lnTo>
                    <a:pt x="148" y="188"/>
                  </a:lnTo>
                  <a:lnTo>
                    <a:pt x="140" y="194"/>
                  </a:lnTo>
                  <a:lnTo>
                    <a:pt x="132" y="202"/>
                  </a:lnTo>
                  <a:lnTo>
                    <a:pt x="122" y="206"/>
                  </a:lnTo>
                  <a:lnTo>
                    <a:pt x="104" y="200"/>
                  </a:lnTo>
                  <a:lnTo>
                    <a:pt x="108" y="194"/>
                  </a:lnTo>
                  <a:lnTo>
                    <a:pt x="118" y="186"/>
                  </a:lnTo>
                  <a:lnTo>
                    <a:pt x="116" y="182"/>
                  </a:lnTo>
                  <a:lnTo>
                    <a:pt x="114" y="174"/>
                  </a:lnTo>
                  <a:lnTo>
                    <a:pt x="106" y="180"/>
                  </a:lnTo>
                  <a:lnTo>
                    <a:pt x="100" y="186"/>
                  </a:lnTo>
                  <a:lnTo>
                    <a:pt x="88" y="182"/>
                  </a:lnTo>
                  <a:lnTo>
                    <a:pt x="76" y="184"/>
                  </a:lnTo>
                  <a:lnTo>
                    <a:pt x="68" y="176"/>
                  </a:lnTo>
                  <a:lnTo>
                    <a:pt x="78" y="166"/>
                  </a:lnTo>
                  <a:lnTo>
                    <a:pt x="86" y="162"/>
                  </a:lnTo>
                  <a:lnTo>
                    <a:pt x="104" y="162"/>
                  </a:lnTo>
                  <a:lnTo>
                    <a:pt x="114" y="160"/>
                  </a:lnTo>
                  <a:lnTo>
                    <a:pt x="126" y="162"/>
                  </a:lnTo>
                  <a:lnTo>
                    <a:pt x="138" y="166"/>
                  </a:lnTo>
                  <a:lnTo>
                    <a:pt x="150" y="166"/>
                  </a:lnTo>
                  <a:lnTo>
                    <a:pt x="160" y="158"/>
                  </a:lnTo>
                  <a:lnTo>
                    <a:pt x="154" y="156"/>
                  </a:lnTo>
                  <a:lnTo>
                    <a:pt x="142" y="158"/>
                  </a:lnTo>
                  <a:lnTo>
                    <a:pt x="126" y="154"/>
                  </a:lnTo>
                  <a:lnTo>
                    <a:pt x="114" y="138"/>
                  </a:lnTo>
                  <a:lnTo>
                    <a:pt x="106" y="130"/>
                  </a:lnTo>
                  <a:lnTo>
                    <a:pt x="94" y="130"/>
                  </a:lnTo>
                  <a:lnTo>
                    <a:pt x="86" y="128"/>
                  </a:lnTo>
                  <a:lnTo>
                    <a:pt x="86" y="114"/>
                  </a:lnTo>
                  <a:lnTo>
                    <a:pt x="90" y="106"/>
                  </a:lnTo>
                  <a:lnTo>
                    <a:pt x="108" y="112"/>
                  </a:lnTo>
                  <a:lnTo>
                    <a:pt x="130" y="110"/>
                  </a:lnTo>
                  <a:lnTo>
                    <a:pt x="144" y="120"/>
                  </a:lnTo>
                  <a:lnTo>
                    <a:pt x="156" y="128"/>
                  </a:lnTo>
                  <a:lnTo>
                    <a:pt x="166" y="134"/>
                  </a:lnTo>
                  <a:lnTo>
                    <a:pt x="180" y="130"/>
                  </a:lnTo>
                  <a:lnTo>
                    <a:pt x="166" y="126"/>
                  </a:lnTo>
                  <a:lnTo>
                    <a:pt x="156" y="118"/>
                  </a:lnTo>
                  <a:lnTo>
                    <a:pt x="140" y="110"/>
                  </a:lnTo>
                  <a:lnTo>
                    <a:pt x="146" y="104"/>
                  </a:lnTo>
                  <a:lnTo>
                    <a:pt x="168" y="104"/>
                  </a:lnTo>
                  <a:lnTo>
                    <a:pt x="194" y="102"/>
                  </a:lnTo>
                  <a:lnTo>
                    <a:pt x="206" y="94"/>
                  </a:lnTo>
                  <a:lnTo>
                    <a:pt x="216" y="88"/>
                  </a:lnTo>
                  <a:lnTo>
                    <a:pt x="208" y="86"/>
                  </a:lnTo>
                  <a:lnTo>
                    <a:pt x="216" y="80"/>
                  </a:lnTo>
                  <a:lnTo>
                    <a:pt x="224" y="74"/>
                  </a:lnTo>
                  <a:lnTo>
                    <a:pt x="232" y="70"/>
                  </a:lnTo>
                  <a:lnTo>
                    <a:pt x="226" y="68"/>
                  </a:lnTo>
                  <a:lnTo>
                    <a:pt x="206" y="76"/>
                  </a:lnTo>
                  <a:lnTo>
                    <a:pt x="196" y="86"/>
                  </a:lnTo>
                  <a:lnTo>
                    <a:pt x="182" y="96"/>
                  </a:lnTo>
                  <a:lnTo>
                    <a:pt x="162" y="96"/>
                  </a:lnTo>
                  <a:lnTo>
                    <a:pt x="144" y="98"/>
                  </a:lnTo>
                  <a:lnTo>
                    <a:pt x="138" y="92"/>
                  </a:lnTo>
                  <a:lnTo>
                    <a:pt x="132" y="92"/>
                  </a:lnTo>
                  <a:lnTo>
                    <a:pt x="128" y="100"/>
                  </a:lnTo>
                  <a:lnTo>
                    <a:pt x="110" y="102"/>
                  </a:lnTo>
                  <a:lnTo>
                    <a:pt x="84" y="98"/>
                  </a:lnTo>
                  <a:lnTo>
                    <a:pt x="90" y="88"/>
                  </a:lnTo>
                  <a:lnTo>
                    <a:pt x="98" y="82"/>
                  </a:lnTo>
                  <a:lnTo>
                    <a:pt x="104" y="76"/>
                  </a:lnTo>
                  <a:lnTo>
                    <a:pt x="96" y="72"/>
                  </a:lnTo>
                  <a:lnTo>
                    <a:pt x="80" y="78"/>
                  </a:lnTo>
                  <a:lnTo>
                    <a:pt x="62" y="78"/>
                  </a:lnTo>
                  <a:lnTo>
                    <a:pt x="38" y="80"/>
                  </a:lnTo>
                  <a:lnTo>
                    <a:pt x="26" y="76"/>
                  </a:lnTo>
                  <a:lnTo>
                    <a:pt x="34" y="72"/>
                  </a:lnTo>
                  <a:lnTo>
                    <a:pt x="48" y="66"/>
                  </a:lnTo>
                  <a:lnTo>
                    <a:pt x="60" y="64"/>
                  </a:lnTo>
                  <a:lnTo>
                    <a:pt x="52" y="62"/>
                  </a:lnTo>
                  <a:lnTo>
                    <a:pt x="40" y="62"/>
                  </a:lnTo>
                  <a:lnTo>
                    <a:pt x="32" y="66"/>
                  </a:lnTo>
                  <a:lnTo>
                    <a:pt x="20" y="70"/>
                  </a:lnTo>
                  <a:lnTo>
                    <a:pt x="22" y="64"/>
                  </a:lnTo>
                  <a:lnTo>
                    <a:pt x="28" y="60"/>
                  </a:lnTo>
                  <a:lnTo>
                    <a:pt x="20" y="56"/>
                  </a:lnTo>
                  <a:lnTo>
                    <a:pt x="14" y="60"/>
                  </a:lnTo>
                  <a:lnTo>
                    <a:pt x="0" y="60"/>
                  </a:lnTo>
                  <a:lnTo>
                    <a:pt x="12" y="50"/>
                  </a:lnTo>
                  <a:lnTo>
                    <a:pt x="36" y="50"/>
                  </a:lnTo>
                  <a:lnTo>
                    <a:pt x="46" y="46"/>
                  </a:lnTo>
                  <a:lnTo>
                    <a:pt x="54" y="42"/>
                  </a:lnTo>
                  <a:lnTo>
                    <a:pt x="72" y="42"/>
                  </a:lnTo>
                  <a:lnTo>
                    <a:pt x="80" y="46"/>
                  </a:lnTo>
                  <a:lnTo>
                    <a:pt x="94" y="46"/>
                  </a:lnTo>
                  <a:lnTo>
                    <a:pt x="106" y="46"/>
                  </a:lnTo>
                  <a:lnTo>
                    <a:pt x="98" y="36"/>
                  </a:lnTo>
                  <a:lnTo>
                    <a:pt x="102" y="28"/>
                  </a:lnTo>
                  <a:lnTo>
                    <a:pt x="118" y="28"/>
                  </a:lnTo>
                  <a:lnTo>
                    <a:pt x="130" y="34"/>
                  </a:lnTo>
                  <a:lnTo>
                    <a:pt x="148" y="38"/>
                  </a:lnTo>
                  <a:lnTo>
                    <a:pt x="168" y="40"/>
                  </a:lnTo>
                  <a:lnTo>
                    <a:pt x="156" y="32"/>
                  </a:lnTo>
                  <a:lnTo>
                    <a:pt x="146" y="26"/>
                  </a:lnTo>
                  <a:lnTo>
                    <a:pt x="150" y="20"/>
                  </a:lnTo>
                  <a:lnTo>
                    <a:pt x="164" y="18"/>
                  </a:lnTo>
                  <a:lnTo>
                    <a:pt x="170" y="14"/>
                  </a:lnTo>
                  <a:lnTo>
                    <a:pt x="184" y="14"/>
                  </a:lnTo>
                  <a:lnTo>
                    <a:pt x="198" y="8"/>
                  </a:lnTo>
                  <a:lnTo>
                    <a:pt x="216" y="10"/>
                  </a:lnTo>
                  <a:lnTo>
                    <a:pt x="228" y="14"/>
                  </a:lnTo>
                  <a:lnTo>
                    <a:pt x="236" y="18"/>
                  </a:lnTo>
                  <a:lnTo>
                    <a:pt x="246" y="26"/>
                  </a:lnTo>
                  <a:lnTo>
                    <a:pt x="254" y="22"/>
                  </a:lnTo>
                  <a:lnTo>
                    <a:pt x="246" y="14"/>
                  </a:lnTo>
                  <a:lnTo>
                    <a:pt x="238" y="6"/>
                  </a:lnTo>
                  <a:lnTo>
                    <a:pt x="236" y="0"/>
                  </a:lnTo>
                  <a:lnTo>
                    <a:pt x="278" y="4"/>
                  </a:lnTo>
                  <a:lnTo>
                    <a:pt x="284" y="12"/>
                  </a:lnTo>
                  <a:lnTo>
                    <a:pt x="304" y="18"/>
                  </a:lnTo>
                  <a:lnTo>
                    <a:pt x="296" y="10"/>
                  </a:lnTo>
                  <a:lnTo>
                    <a:pt x="298" y="2"/>
                  </a:lnTo>
                  <a:lnTo>
                    <a:pt x="318" y="4"/>
                  </a:lnTo>
                  <a:lnTo>
                    <a:pt x="326" y="10"/>
                  </a:lnTo>
                  <a:lnTo>
                    <a:pt x="330" y="4"/>
                  </a:lnTo>
                  <a:lnTo>
                    <a:pt x="350" y="2"/>
                  </a:lnTo>
                  <a:lnTo>
                    <a:pt x="366" y="6"/>
                  </a:lnTo>
                  <a:lnTo>
                    <a:pt x="406" y="8"/>
                  </a:lnTo>
                  <a:lnTo>
                    <a:pt x="404" y="12"/>
                  </a:lnTo>
                  <a:lnTo>
                    <a:pt x="388" y="16"/>
                  </a:lnTo>
                  <a:lnTo>
                    <a:pt x="388" y="20"/>
                  </a:lnTo>
                  <a:lnTo>
                    <a:pt x="410" y="14"/>
                  </a:lnTo>
                  <a:lnTo>
                    <a:pt x="434" y="14"/>
                  </a:lnTo>
                  <a:lnTo>
                    <a:pt x="452" y="14"/>
                  </a:lnTo>
                  <a:lnTo>
                    <a:pt x="460" y="26"/>
                  </a:lnTo>
                  <a:lnTo>
                    <a:pt x="484" y="26"/>
                  </a:lnTo>
                  <a:lnTo>
                    <a:pt x="490" y="36"/>
                  </a:lnTo>
                  <a:lnTo>
                    <a:pt x="482" y="40"/>
                  </a:lnTo>
                  <a:lnTo>
                    <a:pt x="458" y="48"/>
                  </a:lnTo>
                  <a:lnTo>
                    <a:pt x="442" y="56"/>
                  </a:lnTo>
                  <a:lnTo>
                    <a:pt x="382" y="58"/>
                  </a:lnTo>
                  <a:lnTo>
                    <a:pt x="376" y="62"/>
                  </a:lnTo>
                  <a:lnTo>
                    <a:pt x="398" y="64"/>
                  </a:lnTo>
                  <a:lnTo>
                    <a:pt x="388" y="66"/>
                  </a:lnTo>
                  <a:lnTo>
                    <a:pt x="368" y="74"/>
                  </a:lnTo>
                  <a:lnTo>
                    <a:pt x="398" y="70"/>
                  </a:lnTo>
                  <a:lnTo>
                    <a:pt x="418" y="64"/>
                  </a:lnTo>
                  <a:lnTo>
                    <a:pt x="432" y="64"/>
                  </a:lnTo>
                  <a:lnTo>
                    <a:pt x="434" y="6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41" name="Freeform 15">
              <a:extLst>
                <a:ext uri="{FF2B5EF4-FFF2-40B4-BE49-F238E27FC236}">
                  <a16:creationId xmlns:a16="http://schemas.microsoft.com/office/drawing/2014/main" id="{616D1BD9-FD7C-42C3-BA09-93EA217250E6}"/>
                </a:ext>
              </a:extLst>
            </p:cNvPr>
            <p:cNvSpPr>
              <a:spLocks/>
            </p:cNvSpPr>
            <p:nvPr/>
          </p:nvSpPr>
          <p:spPr bwMode="gray">
            <a:xfrm>
              <a:off x="4256442" y="3204149"/>
              <a:ext cx="181618" cy="165983"/>
            </a:xfrm>
            <a:custGeom>
              <a:avLst/>
              <a:gdLst>
                <a:gd name="T0" fmla="*/ 30 w 110"/>
                <a:gd name="T1" fmla="*/ 36 h 100"/>
                <a:gd name="T2" fmla="*/ 40 w 110"/>
                <a:gd name="T3" fmla="*/ 20 h 100"/>
                <a:gd name="T4" fmla="*/ 54 w 110"/>
                <a:gd name="T5" fmla="*/ 6 h 100"/>
                <a:gd name="T6" fmla="*/ 66 w 110"/>
                <a:gd name="T7" fmla="*/ 0 h 100"/>
                <a:gd name="T8" fmla="*/ 62 w 110"/>
                <a:gd name="T9" fmla="*/ 8 h 100"/>
                <a:gd name="T10" fmla="*/ 58 w 110"/>
                <a:gd name="T11" fmla="*/ 20 h 100"/>
                <a:gd name="T12" fmla="*/ 62 w 110"/>
                <a:gd name="T13" fmla="*/ 34 h 100"/>
                <a:gd name="T14" fmla="*/ 72 w 110"/>
                <a:gd name="T15" fmla="*/ 44 h 100"/>
                <a:gd name="T16" fmla="*/ 82 w 110"/>
                <a:gd name="T17" fmla="*/ 38 h 100"/>
                <a:gd name="T18" fmla="*/ 86 w 110"/>
                <a:gd name="T19" fmla="*/ 44 h 100"/>
                <a:gd name="T20" fmla="*/ 94 w 110"/>
                <a:gd name="T21" fmla="*/ 46 h 100"/>
                <a:gd name="T22" fmla="*/ 90 w 110"/>
                <a:gd name="T23" fmla="*/ 54 h 100"/>
                <a:gd name="T24" fmla="*/ 100 w 110"/>
                <a:gd name="T25" fmla="*/ 64 h 100"/>
                <a:gd name="T26" fmla="*/ 106 w 110"/>
                <a:gd name="T27" fmla="*/ 66 h 100"/>
                <a:gd name="T28" fmla="*/ 108 w 110"/>
                <a:gd name="T29" fmla="*/ 74 h 100"/>
                <a:gd name="T30" fmla="*/ 110 w 110"/>
                <a:gd name="T31" fmla="*/ 86 h 100"/>
                <a:gd name="T32" fmla="*/ 106 w 110"/>
                <a:gd name="T33" fmla="*/ 96 h 100"/>
                <a:gd name="T34" fmla="*/ 92 w 110"/>
                <a:gd name="T35" fmla="*/ 100 h 100"/>
                <a:gd name="T36" fmla="*/ 86 w 110"/>
                <a:gd name="T37" fmla="*/ 90 h 100"/>
                <a:gd name="T38" fmla="*/ 78 w 110"/>
                <a:gd name="T39" fmla="*/ 82 h 100"/>
                <a:gd name="T40" fmla="*/ 72 w 110"/>
                <a:gd name="T41" fmla="*/ 88 h 100"/>
                <a:gd name="T42" fmla="*/ 70 w 110"/>
                <a:gd name="T43" fmla="*/ 94 h 100"/>
                <a:gd name="T44" fmla="*/ 60 w 110"/>
                <a:gd name="T45" fmla="*/ 90 h 100"/>
                <a:gd name="T46" fmla="*/ 58 w 110"/>
                <a:gd name="T47" fmla="*/ 78 h 100"/>
                <a:gd name="T48" fmla="*/ 30 w 110"/>
                <a:gd name="T49" fmla="*/ 82 h 100"/>
                <a:gd name="T50" fmla="*/ 0 w 110"/>
                <a:gd name="T51" fmla="*/ 80 h 100"/>
                <a:gd name="T52" fmla="*/ 2 w 110"/>
                <a:gd name="T53" fmla="*/ 66 h 100"/>
                <a:gd name="T54" fmla="*/ 16 w 110"/>
                <a:gd name="T55" fmla="*/ 52 h 100"/>
                <a:gd name="T56" fmla="*/ 22 w 110"/>
                <a:gd name="T57" fmla="*/ 44 h 100"/>
                <a:gd name="T58" fmla="*/ 30 w 110"/>
                <a:gd name="T59" fmla="*/ 3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0" h="100">
                  <a:moveTo>
                    <a:pt x="30" y="36"/>
                  </a:moveTo>
                  <a:lnTo>
                    <a:pt x="40" y="20"/>
                  </a:lnTo>
                  <a:lnTo>
                    <a:pt x="54" y="6"/>
                  </a:lnTo>
                  <a:lnTo>
                    <a:pt x="66" y="0"/>
                  </a:lnTo>
                  <a:lnTo>
                    <a:pt x="62" y="8"/>
                  </a:lnTo>
                  <a:lnTo>
                    <a:pt x="58" y="20"/>
                  </a:lnTo>
                  <a:lnTo>
                    <a:pt x="62" y="34"/>
                  </a:lnTo>
                  <a:lnTo>
                    <a:pt x="72" y="44"/>
                  </a:lnTo>
                  <a:lnTo>
                    <a:pt x="82" y="38"/>
                  </a:lnTo>
                  <a:lnTo>
                    <a:pt x="86" y="44"/>
                  </a:lnTo>
                  <a:lnTo>
                    <a:pt x="94" y="46"/>
                  </a:lnTo>
                  <a:lnTo>
                    <a:pt x="90" y="54"/>
                  </a:lnTo>
                  <a:lnTo>
                    <a:pt x="100" y="64"/>
                  </a:lnTo>
                  <a:lnTo>
                    <a:pt x="106" y="66"/>
                  </a:lnTo>
                  <a:lnTo>
                    <a:pt x="108" y="74"/>
                  </a:lnTo>
                  <a:lnTo>
                    <a:pt x="110" y="86"/>
                  </a:lnTo>
                  <a:lnTo>
                    <a:pt x="106" y="96"/>
                  </a:lnTo>
                  <a:lnTo>
                    <a:pt x="92" y="100"/>
                  </a:lnTo>
                  <a:lnTo>
                    <a:pt x="86" y="90"/>
                  </a:lnTo>
                  <a:lnTo>
                    <a:pt x="78" y="82"/>
                  </a:lnTo>
                  <a:lnTo>
                    <a:pt x="72" y="88"/>
                  </a:lnTo>
                  <a:lnTo>
                    <a:pt x="70" y="94"/>
                  </a:lnTo>
                  <a:lnTo>
                    <a:pt x="60" y="90"/>
                  </a:lnTo>
                  <a:lnTo>
                    <a:pt x="58" y="78"/>
                  </a:lnTo>
                  <a:lnTo>
                    <a:pt x="30" y="82"/>
                  </a:lnTo>
                  <a:lnTo>
                    <a:pt x="0" y="80"/>
                  </a:lnTo>
                  <a:lnTo>
                    <a:pt x="2" y="66"/>
                  </a:lnTo>
                  <a:lnTo>
                    <a:pt x="16" y="52"/>
                  </a:lnTo>
                  <a:lnTo>
                    <a:pt x="22" y="44"/>
                  </a:lnTo>
                  <a:lnTo>
                    <a:pt x="30" y="3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42" name="Freeform 16">
              <a:extLst>
                <a:ext uri="{FF2B5EF4-FFF2-40B4-BE49-F238E27FC236}">
                  <a16:creationId xmlns:a16="http://schemas.microsoft.com/office/drawing/2014/main" id="{0FF26516-AA39-447F-83A3-3896D80ADD43}"/>
                </a:ext>
              </a:extLst>
            </p:cNvPr>
            <p:cNvSpPr>
              <a:spLocks/>
            </p:cNvSpPr>
            <p:nvPr/>
          </p:nvSpPr>
          <p:spPr bwMode="gray">
            <a:xfrm>
              <a:off x="2126560" y="2374235"/>
              <a:ext cx="2228946" cy="1145282"/>
            </a:xfrm>
            <a:custGeom>
              <a:avLst/>
              <a:gdLst>
                <a:gd name="T0" fmla="*/ 1210 w 1350"/>
                <a:gd name="T1" fmla="*/ 602 h 690"/>
                <a:gd name="T2" fmla="*/ 1278 w 1350"/>
                <a:gd name="T3" fmla="*/ 596 h 690"/>
                <a:gd name="T4" fmla="*/ 1258 w 1350"/>
                <a:gd name="T5" fmla="*/ 630 h 690"/>
                <a:gd name="T6" fmla="*/ 1188 w 1350"/>
                <a:gd name="T7" fmla="*/ 656 h 690"/>
                <a:gd name="T8" fmla="*/ 1214 w 1350"/>
                <a:gd name="T9" fmla="*/ 620 h 690"/>
                <a:gd name="T10" fmla="*/ 1160 w 1350"/>
                <a:gd name="T11" fmla="*/ 612 h 690"/>
                <a:gd name="T12" fmla="*/ 1118 w 1350"/>
                <a:gd name="T13" fmla="*/ 612 h 690"/>
                <a:gd name="T14" fmla="*/ 1014 w 1350"/>
                <a:gd name="T15" fmla="*/ 652 h 690"/>
                <a:gd name="T16" fmla="*/ 980 w 1350"/>
                <a:gd name="T17" fmla="*/ 668 h 690"/>
                <a:gd name="T18" fmla="*/ 920 w 1350"/>
                <a:gd name="T19" fmla="*/ 688 h 690"/>
                <a:gd name="T20" fmla="*/ 940 w 1350"/>
                <a:gd name="T21" fmla="*/ 648 h 690"/>
                <a:gd name="T22" fmla="*/ 962 w 1350"/>
                <a:gd name="T23" fmla="*/ 622 h 690"/>
                <a:gd name="T24" fmla="*/ 892 w 1350"/>
                <a:gd name="T25" fmla="*/ 590 h 690"/>
                <a:gd name="T26" fmla="*/ 844 w 1350"/>
                <a:gd name="T27" fmla="*/ 554 h 690"/>
                <a:gd name="T28" fmla="*/ 786 w 1350"/>
                <a:gd name="T29" fmla="*/ 568 h 690"/>
                <a:gd name="T30" fmla="*/ 722 w 1350"/>
                <a:gd name="T31" fmla="*/ 544 h 690"/>
                <a:gd name="T32" fmla="*/ 250 w 1350"/>
                <a:gd name="T33" fmla="*/ 516 h 690"/>
                <a:gd name="T34" fmla="*/ 208 w 1350"/>
                <a:gd name="T35" fmla="*/ 486 h 690"/>
                <a:gd name="T36" fmla="*/ 194 w 1350"/>
                <a:gd name="T37" fmla="*/ 448 h 690"/>
                <a:gd name="T38" fmla="*/ 180 w 1350"/>
                <a:gd name="T39" fmla="*/ 420 h 690"/>
                <a:gd name="T40" fmla="*/ 136 w 1350"/>
                <a:gd name="T41" fmla="*/ 372 h 690"/>
                <a:gd name="T42" fmla="*/ 58 w 1350"/>
                <a:gd name="T43" fmla="*/ 330 h 690"/>
                <a:gd name="T44" fmla="*/ 18 w 1350"/>
                <a:gd name="T45" fmla="*/ 64 h 690"/>
                <a:gd name="T46" fmla="*/ 138 w 1350"/>
                <a:gd name="T47" fmla="*/ 60 h 690"/>
                <a:gd name="T48" fmla="*/ 230 w 1350"/>
                <a:gd name="T49" fmla="*/ 64 h 690"/>
                <a:gd name="T50" fmla="*/ 328 w 1350"/>
                <a:gd name="T51" fmla="*/ 66 h 690"/>
                <a:gd name="T52" fmla="*/ 410 w 1350"/>
                <a:gd name="T53" fmla="*/ 110 h 690"/>
                <a:gd name="T54" fmla="*/ 528 w 1350"/>
                <a:gd name="T55" fmla="*/ 142 h 690"/>
                <a:gd name="T56" fmla="*/ 600 w 1350"/>
                <a:gd name="T57" fmla="*/ 112 h 690"/>
                <a:gd name="T58" fmla="*/ 676 w 1350"/>
                <a:gd name="T59" fmla="*/ 106 h 690"/>
                <a:gd name="T60" fmla="*/ 716 w 1350"/>
                <a:gd name="T61" fmla="*/ 134 h 690"/>
                <a:gd name="T62" fmla="*/ 740 w 1350"/>
                <a:gd name="T63" fmla="*/ 64 h 690"/>
                <a:gd name="T64" fmla="*/ 718 w 1350"/>
                <a:gd name="T65" fmla="*/ 12 h 690"/>
                <a:gd name="T66" fmla="*/ 776 w 1350"/>
                <a:gd name="T67" fmla="*/ 48 h 690"/>
                <a:gd name="T68" fmla="*/ 812 w 1350"/>
                <a:gd name="T69" fmla="*/ 98 h 690"/>
                <a:gd name="T70" fmla="*/ 834 w 1350"/>
                <a:gd name="T71" fmla="*/ 112 h 690"/>
                <a:gd name="T72" fmla="*/ 886 w 1350"/>
                <a:gd name="T73" fmla="*/ 74 h 690"/>
                <a:gd name="T74" fmla="*/ 940 w 1350"/>
                <a:gd name="T75" fmla="*/ 94 h 690"/>
                <a:gd name="T76" fmla="*/ 916 w 1350"/>
                <a:gd name="T77" fmla="*/ 152 h 690"/>
                <a:gd name="T78" fmla="*/ 870 w 1350"/>
                <a:gd name="T79" fmla="*/ 156 h 690"/>
                <a:gd name="T80" fmla="*/ 816 w 1350"/>
                <a:gd name="T81" fmla="*/ 172 h 690"/>
                <a:gd name="T82" fmla="*/ 830 w 1350"/>
                <a:gd name="T83" fmla="*/ 210 h 690"/>
                <a:gd name="T84" fmla="*/ 778 w 1350"/>
                <a:gd name="T85" fmla="*/ 222 h 690"/>
                <a:gd name="T86" fmla="*/ 736 w 1350"/>
                <a:gd name="T87" fmla="*/ 336 h 690"/>
                <a:gd name="T88" fmla="*/ 800 w 1350"/>
                <a:gd name="T89" fmla="*/ 374 h 690"/>
                <a:gd name="T90" fmla="*/ 904 w 1350"/>
                <a:gd name="T91" fmla="*/ 418 h 690"/>
                <a:gd name="T92" fmla="*/ 944 w 1350"/>
                <a:gd name="T93" fmla="*/ 484 h 690"/>
                <a:gd name="T94" fmla="*/ 984 w 1350"/>
                <a:gd name="T95" fmla="*/ 462 h 690"/>
                <a:gd name="T96" fmla="*/ 1020 w 1350"/>
                <a:gd name="T97" fmla="*/ 372 h 690"/>
                <a:gd name="T98" fmla="*/ 1004 w 1350"/>
                <a:gd name="T99" fmla="*/ 304 h 690"/>
                <a:gd name="T100" fmla="*/ 1044 w 1350"/>
                <a:gd name="T101" fmla="*/ 258 h 690"/>
                <a:gd name="T102" fmla="*/ 1134 w 1350"/>
                <a:gd name="T103" fmla="*/ 290 h 690"/>
                <a:gd name="T104" fmla="*/ 1168 w 1350"/>
                <a:gd name="T105" fmla="*/ 352 h 690"/>
                <a:gd name="T106" fmla="*/ 1228 w 1350"/>
                <a:gd name="T107" fmla="*/ 328 h 690"/>
                <a:gd name="T108" fmla="*/ 1256 w 1350"/>
                <a:gd name="T109" fmla="*/ 398 h 690"/>
                <a:gd name="T110" fmla="*/ 1318 w 1350"/>
                <a:gd name="T111" fmla="*/ 430 h 690"/>
                <a:gd name="T112" fmla="*/ 1284 w 1350"/>
                <a:gd name="T113" fmla="*/ 458 h 690"/>
                <a:gd name="T114" fmla="*/ 1348 w 1350"/>
                <a:gd name="T115" fmla="*/ 458 h 690"/>
                <a:gd name="T116" fmla="*/ 1286 w 1350"/>
                <a:gd name="T117" fmla="*/ 524 h 690"/>
                <a:gd name="T118" fmla="*/ 1152 w 1350"/>
                <a:gd name="T119" fmla="*/ 548 h 690"/>
                <a:gd name="T120" fmla="*/ 1116 w 1350"/>
                <a:gd name="T121" fmla="*/ 590 h 690"/>
                <a:gd name="T122" fmla="*/ 1202 w 1350"/>
                <a:gd name="T123" fmla="*/ 548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50" h="690">
                  <a:moveTo>
                    <a:pt x="1218" y="562"/>
                  </a:moveTo>
                  <a:lnTo>
                    <a:pt x="1214" y="568"/>
                  </a:lnTo>
                  <a:lnTo>
                    <a:pt x="1204" y="570"/>
                  </a:lnTo>
                  <a:lnTo>
                    <a:pt x="1208" y="580"/>
                  </a:lnTo>
                  <a:lnTo>
                    <a:pt x="1204" y="588"/>
                  </a:lnTo>
                  <a:lnTo>
                    <a:pt x="1206" y="594"/>
                  </a:lnTo>
                  <a:lnTo>
                    <a:pt x="1210" y="602"/>
                  </a:lnTo>
                  <a:lnTo>
                    <a:pt x="1222" y="610"/>
                  </a:lnTo>
                  <a:lnTo>
                    <a:pt x="1236" y="614"/>
                  </a:lnTo>
                  <a:lnTo>
                    <a:pt x="1254" y="614"/>
                  </a:lnTo>
                  <a:lnTo>
                    <a:pt x="1262" y="612"/>
                  </a:lnTo>
                  <a:lnTo>
                    <a:pt x="1266" y="604"/>
                  </a:lnTo>
                  <a:lnTo>
                    <a:pt x="1270" y="596"/>
                  </a:lnTo>
                  <a:lnTo>
                    <a:pt x="1278" y="596"/>
                  </a:lnTo>
                  <a:lnTo>
                    <a:pt x="1278" y="604"/>
                  </a:lnTo>
                  <a:lnTo>
                    <a:pt x="1284" y="608"/>
                  </a:lnTo>
                  <a:lnTo>
                    <a:pt x="1284" y="616"/>
                  </a:lnTo>
                  <a:lnTo>
                    <a:pt x="1274" y="616"/>
                  </a:lnTo>
                  <a:lnTo>
                    <a:pt x="1268" y="616"/>
                  </a:lnTo>
                  <a:lnTo>
                    <a:pt x="1262" y="626"/>
                  </a:lnTo>
                  <a:lnTo>
                    <a:pt x="1258" y="630"/>
                  </a:lnTo>
                  <a:lnTo>
                    <a:pt x="1246" y="634"/>
                  </a:lnTo>
                  <a:lnTo>
                    <a:pt x="1230" y="640"/>
                  </a:lnTo>
                  <a:lnTo>
                    <a:pt x="1220" y="640"/>
                  </a:lnTo>
                  <a:lnTo>
                    <a:pt x="1212" y="648"/>
                  </a:lnTo>
                  <a:lnTo>
                    <a:pt x="1204" y="656"/>
                  </a:lnTo>
                  <a:lnTo>
                    <a:pt x="1198" y="662"/>
                  </a:lnTo>
                  <a:lnTo>
                    <a:pt x="1188" y="656"/>
                  </a:lnTo>
                  <a:lnTo>
                    <a:pt x="1186" y="648"/>
                  </a:lnTo>
                  <a:lnTo>
                    <a:pt x="1190" y="640"/>
                  </a:lnTo>
                  <a:lnTo>
                    <a:pt x="1202" y="632"/>
                  </a:lnTo>
                  <a:lnTo>
                    <a:pt x="1214" y="628"/>
                  </a:lnTo>
                  <a:lnTo>
                    <a:pt x="1216" y="626"/>
                  </a:lnTo>
                  <a:lnTo>
                    <a:pt x="1216" y="624"/>
                  </a:lnTo>
                  <a:lnTo>
                    <a:pt x="1214" y="620"/>
                  </a:lnTo>
                  <a:lnTo>
                    <a:pt x="1210" y="618"/>
                  </a:lnTo>
                  <a:lnTo>
                    <a:pt x="1198" y="624"/>
                  </a:lnTo>
                  <a:lnTo>
                    <a:pt x="1188" y="628"/>
                  </a:lnTo>
                  <a:lnTo>
                    <a:pt x="1172" y="632"/>
                  </a:lnTo>
                  <a:lnTo>
                    <a:pt x="1168" y="626"/>
                  </a:lnTo>
                  <a:lnTo>
                    <a:pt x="1162" y="620"/>
                  </a:lnTo>
                  <a:lnTo>
                    <a:pt x="1160" y="612"/>
                  </a:lnTo>
                  <a:lnTo>
                    <a:pt x="1162" y="596"/>
                  </a:lnTo>
                  <a:lnTo>
                    <a:pt x="1160" y="588"/>
                  </a:lnTo>
                  <a:lnTo>
                    <a:pt x="1146" y="584"/>
                  </a:lnTo>
                  <a:lnTo>
                    <a:pt x="1138" y="580"/>
                  </a:lnTo>
                  <a:lnTo>
                    <a:pt x="1130" y="588"/>
                  </a:lnTo>
                  <a:lnTo>
                    <a:pt x="1122" y="602"/>
                  </a:lnTo>
                  <a:lnTo>
                    <a:pt x="1118" y="612"/>
                  </a:lnTo>
                  <a:lnTo>
                    <a:pt x="1118" y="618"/>
                  </a:lnTo>
                  <a:lnTo>
                    <a:pt x="1112" y="626"/>
                  </a:lnTo>
                  <a:lnTo>
                    <a:pt x="1100" y="632"/>
                  </a:lnTo>
                  <a:lnTo>
                    <a:pt x="1042" y="632"/>
                  </a:lnTo>
                  <a:lnTo>
                    <a:pt x="1026" y="644"/>
                  </a:lnTo>
                  <a:lnTo>
                    <a:pt x="1020" y="648"/>
                  </a:lnTo>
                  <a:lnTo>
                    <a:pt x="1014" y="652"/>
                  </a:lnTo>
                  <a:lnTo>
                    <a:pt x="1002" y="652"/>
                  </a:lnTo>
                  <a:lnTo>
                    <a:pt x="986" y="652"/>
                  </a:lnTo>
                  <a:lnTo>
                    <a:pt x="980" y="656"/>
                  </a:lnTo>
                  <a:lnTo>
                    <a:pt x="972" y="660"/>
                  </a:lnTo>
                  <a:lnTo>
                    <a:pt x="974" y="664"/>
                  </a:lnTo>
                  <a:lnTo>
                    <a:pt x="982" y="664"/>
                  </a:lnTo>
                  <a:lnTo>
                    <a:pt x="980" y="668"/>
                  </a:lnTo>
                  <a:lnTo>
                    <a:pt x="982" y="672"/>
                  </a:lnTo>
                  <a:lnTo>
                    <a:pt x="964" y="674"/>
                  </a:lnTo>
                  <a:lnTo>
                    <a:pt x="948" y="678"/>
                  </a:lnTo>
                  <a:lnTo>
                    <a:pt x="940" y="680"/>
                  </a:lnTo>
                  <a:lnTo>
                    <a:pt x="932" y="686"/>
                  </a:lnTo>
                  <a:lnTo>
                    <a:pt x="924" y="690"/>
                  </a:lnTo>
                  <a:lnTo>
                    <a:pt x="920" y="688"/>
                  </a:lnTo>
                  <a:lnTo>
                    <a:pt x="920" y="680"/>
                  </a:lnTo>
                  <a:lnTo>
                    <a:pt x="922" y="678"/>
                  </a:lnTo>
                  <a:lnTo>
                    <a:pt x="922" y="670"/>
                  </a:lnTo>
                  <a:lnTo>
                    <a:pt x="928" y="668"/>
                  </a:lnTo>
                  <a:lnTo>
                    <a:pt x="936" y="666"/>
                  </a:lnTo>
                  <a:lnTo>
                    <a:pt x="938" y="656"/>
                  </a:lnTo>
                  <a:lnTo>
                    <a:pt x="940" y="648"/>
                  </a:lnTo>
                  <a:lnTo>
                    <a:pt x="946" y="642"/>
                  </a:lnTo>
                  <a:lnTo>
                    <a:pt x="948" y="636"/>
                  </a:lnTo>
                  <a:lnTo>
                    <a:pt x="952" y="636"/>
                  </a:lnTo>
                  <a:lnTo>
                    <a:pt x="958" y="642"/>
                  </a:lnTo>
                  <a:lnTo>
                    <a:pt x="966" y="640"/>
                  </a:lnTo>
                  <a:lnTo>
                    <a:pt x="968" y="632"/>
                  </a:lnTo>
                  <a:lnTo>
                    <a:pt x="962" y="622"/>
                  </a:lnTo>
                  <a:lnTo>
                    <a:pt x="954" y="614"/>
                  </a:lnTo>
                  <a:lnTo>
                    <a:pt x="942" y="610"/>
                  </a:lnTo>
                  <a:lnTo>
                    <a:pt x="930" y="608"/>
                  </a:lnTo>
                  <a:lnTo>
                    <a:pt x="914" y="608"/>
                  </a:lnTo>
                  <a:lnTo>
                    <a:pt x="902" y="606"/>
                  </a:lnTo>
                  <a:lnTo>
                    <a:pt x="896" y="600"/>
                  </a:lnTo>
                  <a:lnTo>
                    <a:pt x="892" y="590"/>
                  </a:lnTo>
                  <a:lnTo>
                    <a:pt x="888" y="578"/>
                  </a:lnTo>
                  <a:lnTo>
                    <a:pt x="886" y="574"/>
                  </a:lnTo>
                  <a:lnTo>
                    <a:pt x="874" y="574"/>
                  </a:lnTo>
                  <a:lnTo>
                    <a:pt x="870" y="566"/>
                  </a:lnTo>
                  <a:lnTo>
                    <a:pt x="864" y="558"/>
                  </a:lnTo>
                  <a:lnTo>
                    <a:pt x="854" y="558"/>
                  </a:lnTo>
                  <a:lnTo>
                    <a:pt x="844" y="554"/>
                  </a:lnTo>
                  <a:lnTo>
                    <a:pt x="836" y="554"/>
                  </a:lnTo>
                  <a:lnTo>
                    <a:pt x="828" y="560"/>
                  </a:lnTo>
                  <a:lnTo>
                    <a:pt x="818" y="566"/>
                  </a:lnTo>
                  <a:lnTo>
                    <a:pt x="810" y="572"/>
                  </a:lnTo>
                  <a:lnTo>
                    <a:pt x="804" y="570"/>
                  </a:lnTo>
                  <a:lnTo>
                    <a:pt x="794" y="570"/>
                  </a:lnTo>
                  <a:lnTo>
                    <a:pt x="786" y="568"/>
                  </a:lnTo>
                  <a:lnTo>
                    <a:pt x="782" y="568"/>
                  </a:lnTo>
                  <a:lnTo>
                    <a:pt x="772" y="564"/>
                  </a:lnTo>
                  <a:lnTo>
                    <a:pt x="748" y="560"/>
                  </a:lnTo>
                  <a:lnTo>
                    <a:pt x="736" y="556"/>
                  </a:lnTo>
                  <a:lnTo>
                    <a:pt x="732" y="552"/>
                  </a:lnTo>
                  <a:lnTo>
                    <a:pt x="730" y="544"/>
                  </a:lnTo>
                  <a:lnTo>
                    <a:pt x="722" y="544"/>
                  </a:lnTo>
                  <a:lnTo>
                    <a:pt x="720" y="552"/>
                  </a:lnTo>
                  <a:lnTo>
                    <a:pt x="290" y="552"/>
                  </a:lnTo>
                  <a:lnTo>
                    <a:pt x="282" y="542"/>
                  </a:lnTo>
                  <a:lnTo>
                    <a:pt x="272" y="532"/>
                  </a:lnTo>
                  <a:lnTo>
                    <a:pt x="266" y="536"/>
                  </a:lnTo>
                  <a:lnTo>
                    <a:pt x="256" y="526"/>
                  </a:lnTo>
                  <a:lnTo>
                    <a:pt x="250" y="516"/>
                  </a:lnTo>
                  <a:lnTo>
                    <a:pt x="244" y="520"/>
                  </a:lnTo>
                  <a:lnTo>
                    <a:pt x="232" y="512"/>
                  </a:lnTo>
                  <a:lnTo>
                    <a:pt x="214" y="510"/>
                  </a:lnTo>
                  <a:lnTo>
                    <a:pt x="218" y="500"/>
                  </a:lnTo>
                  <a:lnTo>
                    <a:pt x="216" y="494"/>
                  </a:lnTo>
                  <a:lnTo>
                    <a:pt x="208" y="494"/>
                  </a:lnTo>
                  <a:lnTo>
                    <a:pt x="208" y="486"/>
                  </a:lnTo>
                  <a:lnTo>
                    <a:pt x="206" y="478"/>
                  </a:lnTo>
                  <a:lnTo>
                    <a:pt x="202" y="472"/>
                  </a:lnTo>
                  <a:lnTo>
                    <a:pt x="196" y="470"/>
                  </a:lnTo>
                  <a:lnTo>
                    <a:pt x="188" y="474"/>
                  </a:lnTo>
                  <a:lnTo>
                    <a:pt x="190" y="466"/>
                  </a:lnTo>
                  <a:lnTo>
                    <a:pt x="196" y="456"/>
                  </a:lnTo>
                  <a:lnTo>
                    <a:pt x="194" y="448"/>
                  </a:lnTo>
                  <a:lnTo>
                    <a:pt x="188" y="452"/>
                  </a:lnTo>
                  <a:lnTo>
                    <a:pt x="180" y="458"/>
                  </a:lnTo>
                  <a:lnTo>
                    <a:pt x="172" y="458"/>
                  </a:lnTo>
                  <a:lnTo>
                    <a:pt x="172" y="446"/>
                  </a:lnTo>
                  <a:lnTo>
                    <a:pt x="174" y="438"/>
                  </a:lnTo>
                  <a:lnTo>
                    <a:pt x="174" y="432"/>
                  </a:lnTo>
                  <a:lnTo>
                    <a:pt x="180" y="420"/>
                  </a:lnTo>
                  <a:lnTo>
                    <a:pt x="178" y="410"/>
                  </a:lnTo>
                  <a:lnTo>
                    <a:pt x="174" y="408"/>
                  </a:lnTo>
                  <a:lnTo>
                    <a:pt x="172" y="400"/>
                  </a:lnTo>
                  <a:lnTo>
                    <a:pt x="158" y="392"/>
                  </a:lnTo>
                  <a:lnTo>
                    <a:pt x="150" y="386"/>
                  </a:lnTo>
                  <a:lnTo>
                    <a:pt x="146" y="384"/>
                  </a:lnTo>
                  <a:lnTo>
                    <a:pt x="136" y="372"/>
                  </a:lnTo>
                  <a:lnTo>
                    <a:pt x="126" y="354"/>
                  </a:lnTo>
                  <a:lnTo>
                    <a:pt x="118" y="346"/>
                  </a:lnTo>
                  <a:lnTo>
                    <a:pt x="100" y="326"/>
                  </a:lnTo>
                  <a:lnTo>
                    <a:pt x="88" y="314"/>
                  </a:lnTo>
                  <a:lnTo>
                    <a:pt x="70" y="322"/>
                  </a:lnTo>
                  <a:lnTo>
                    <a:pt x="68" y="328"/>
                  </a:lnTo>
                  <a:lnTo>
                    <a:pt x="58" y="330"/>
                  </a:lnTo>
                  <a:lnTo>
                    <a:pt x="46" y="320"/>
                  </a:lnTo>
                  <a:lnTo>
                    <a:pt x="34" y="310"/>
                  </a:lnTo>
                  <a:lnTo>
                    <a:pt x="26" y="300"/>
                  </a:lnTo>
                  <a:lnTo>
                    <a:pt x="10" y="306"/>
                  </a:lnTo>
                  <a:lnTo>
                    <a:pt x="0" y="302"/>
                  </a:lnTo>
                  <a:lnTo>
                    <a:pt x="0" y="62"/>
                  </a:lnTo>
                  <a:lnTo>
                    <a:pt x="18" y="64"/>
                  </a:lnTo>
                  <a:lnTo>
                    <a:pt x="48" y="76"/>
                  </a:lnTo>
                  <a:lnTo>
                    <a:pt x="84" y="86"/>
                  </a:lnTo>
                  <a:lnTo>
                    <a:pt x="82" y="72"/>
                  </a:lnTo>
                  <a:lnTo>
                    <a:pt x="100" y="62"/>
                  </a:lnTo>
                  <a:lnTo>
                    <a:pt x="110" y="68"/>
                  </a:lnTo>
                  <a:lnTo>
                    <a:pt x="116" y="72"/>
                  </a:lnTo>
                  <a:lnTo>
                    <a:pt x="138" y="60"/>
                  </a:lnTo>
                  <a:lnTo>
                    <a:pt x="162" y="48"/>
                  </a:lnTo>
                  <a:lnTo>
                    <a:pt x="178" y="48"/>
                  </a:lnTo>
                  <a:lnTo>
                    <a:pt x="180" y="56"/>
                  </a:lnTo>
                  <a:lnTo>
                    <a:pt x="192" y="58"/>
                  </a:lnTo>
                  <a:lnTo>
                    <a:pt x="208" y="38"/>
                  </a:lnTo>
                  <a:lnTo>
                    <a:pt x="218" y="46"/>
                  </a:lnTo>
                  <a:lnTo>
                    <a:pt x="230" y="64"/>
                  </a:lnTo>
                  <a:lnTo>
                    <a:pt x="244" y="66"/>
                  </a:lnTo>
                  <a:lnTo>
                    <a:pt x="256" y="50"/>
                  </a:lnTo>
                  <a:lnTo>
                    <a:pt x="262" y="52"/>
                  </a:lnTo>
                  <a:lnTo>
                    <a:pt x="270" y="70"/>
                  </a:lnTo>
                  <a:lnTo>
                    <a:pt x="282" y="62"/>
                  </a:lnTo>
                  <a:lnTo>
                    <a:pt x="302" y="56"/>
                  </a:lnTo>
                  <a:lnTo>
                    <a:pt x="328" y="66"/>
                  </a:lnTo>
                  <a:lnTo>
                    <a:pt x="352" y="72"/>
                  </a:lnTo>
                  <a:lnTo>
                    <a:pt x="382" y="82"/>
                  </a:lnTo>
                  <a:lnTo>
                    <a:pt x="404" y="84"/>
                  </a:lnTo>
                  <a:lnTo>
                    <a:pt x="422" y="92"/>
                  </a:lnTo>
                  <a:lnTo>
                    <a:pt x="424" y="100"/>
                  </a:lnTo>
                  <a:lnTo>
                    <a:pt x="412" y="102"/>
                  </a:lnTo>
                  <a:lnTo>
                    <a:pt x="410" y="110"/>
                  </a:lnTo>
                  <a:lnTo>
                    <a:pt x="426" y="118"/>
                  </a:lnTo>
                  <a:lnTo>
                    <a:pt x="456" y="116"/>
                  </a:lnTo>
                  <a:lnTo>
                    <a:pt x="478" y="114"/>
                  </a:lnTo>
                  <a:lnTo>
                    <a:pt x="486" y="110"/>
                  </a:lnTo>
                  <a:lnTo>
                    <a:pt x="504" y="120"/>
                  </a:lnTo>
                  <a:lnTo>
                    <a:pt x="520" y="130"/>
                  </a:lnTo>
                  <a:lnTo>
                    <a:pt x="528" y="142"/>
                  </a:lnTo>
                  <a:lnTo>
                    <a:pt x="534" y="138"/>
                  </a:lnTo>
                  <a:lnTo>
                    <a:pt x="530" y="120"/>
                  </a:lnTo>
                  <a:lnTo>
                    <a:pt x="526" y="110"/>
                  </a:lnTo>
                  <a:lnTo>
                    <a:pt x="536" y="104"/>
                  </a:lnTo>
                  <a:lnTo>
                    <a:pt x="560" y="94"/>
                  </a:lnTo>
                  <a:lnTo>
                    <a:pt x="578" y="104"/>
                  </a:lnTo>
                  <a:lnTo>
                    <a:pt x="600" y="112"/>
                  </a:lnTo>
                  <a:lnTo>
                    <a:pt x="622" y="116"/>
                  </a:lnTo>
                  <a:lnTo>
                    <a:pt x="646" y="116"/>
                  </a:lnTo>
                  <a:lnTo>
                    <a:pt x="668" y="116"/>
                  </a:lnTo>
                  <a:lnTo>
                    <a:pt x="688" y="118"/>
                  </a:lnTo>
                  <a:lnTo>
                    <a:pt x="694" y="112"/>
                  </a:lnTo>
                  <a:lnTo>
                    <a:pt x="688" y="108"/>
                  </a:lnTo>
                  <a:lnTo>
                    <a:pt x="676" y="106"/>
                  </a:lnTo>
                  <a:lnTo>
                    <a:pt x="678" y="98"/>
                  </a:lnTo>
                  <a:lnTo>
                    <a:pt x="684" y="96"/>
                  </a:lnTo>
                  <a:lnTo>
                    <a:pt x="696" y="100"/>
                  </a:lnTo>
                  <a:lnTo>
                    <a:pt x="708" y="112"/>
                  </a:lnTo>
                  <a:lnTo>
                    <a:pt x="704" y="116"/>
                  </a:lnTo>
                  <a:lnTo>
                    <a:pt x="710" y="126"/>
                  </a:lnTo>
                  <a:lnTo>
                    <a:pt x="716" y="134"/>
                  </a:lnTo>
                  <a:lnTo>
                    <a:pt x="724" y="134"/>
                  </a:lnTo>
                  <a:lnTo>
                    <a:pt x="724" y="120"/>
                  </a:lnTo>
                  <a:lnTo>
                    <a:pt x="722" y="108"/>
                  </a:lnTo>
                  <a:lnTo>
                    <a:pt x="742" y="102"/>
                  </a:lnTo>
                  <a:lnTo>
                    <a:pt x="752" y="90"/>
                  </a:lnTo>
                  <a:lnTo>
                    <a:pt x="750" y="78"/>
                  </a:lnTo>
                  <a:lnTo>
                    <a:pt x="740" y="64"/>
                  </a:lnTo>
                  <a:lnTo>
                    <a:pt x="722" y="60"/>
                  </a:lnTo>
                  <a:lnTo>
                    <a:pt x="708" y="52"/>
                  </a:lnTo>
                  <a:lnTo>
                    <a:pt x="704" y="44"/>
                  </a:lnTo>
                  <a:lnTo>
                    <a:pt x="712" y="32"/>
                  </a:lnTo>
                  <a:lnTo>
                    <a:pt x="704" y="26"/>
                  </a:lnTo>
                  <a:lnTo>
                    <a:pt x="708" y="12"/>
                  </a:lnTo>
                  <a:lnTo>
                    <a:pt x="718" y="12"/>
                  </a:lnTo>
                  <a:lnTo>
                    <a:pt x="722" y="4"/>
                  </a:lnTo>
                  <a:lnTo>
                    <a:pt x="732" y="0"/>
                  </a:lnTo>
                  <a:lnTo>
                    <a:pt x="750" y="4"/>
                  </a:lnTo>
                  <a:lnTo>
                    <a:pt x="762" y="20"/>
                  </a:lnTo>
                  <a:lnTo>
                    <a:pt x="764" y="26"/>
                  </a:lnTo>
                  <a:lnTo>
                    <a:pt x="774" y="40"/>
                  </a:lnTo>
                  <a:lnTo>
                    <a:pt x="776" y="48"/>
                  </a:lnTo>
                  <a:lnTo>
                    <a:pt x="770" y="54"/>
                  </a:lnTo>
                  <a:lnTo>
                    <a:pt x="774" y="64"/>
                  </a:lnTo>
                  <a:lnTo>
                    <a:pt x="786" y="62"/>
                  </a:lnTo>
                  <a:lnTo>
                    <a:pt x="794" y="64"/>
                  </a:lnTo>
                  <a:lnTo>
                    <a:pt x="796" y="80"/>
                  </a:lnTo>
                  <a:lnTo>
                    <a:pt x="802" y="94"/>
                  </a:lnTo>
                  <a:lnTo>
                    <a:pt x="812" y="98"/>
                  </a:lnTo>
                  <a:lnTo>
                    <a:pt x="820" y="92"/>
                  </a:lnTo>
                  <a:lnTo>
                    <a:pt x="814" y="82"/>
                  </a:lnTo>
                  <a:lnTo>
                    <a:pt x="820" y="74"/>
                  </a:lnTo>
                  <a:lnTo>
                    <a:pt x="832" y="78"/>
                  </a:lnTo>
                  <a:lnTo>
                    <a:pt x="842" y="90"/>
                  </a:lnTo>
                  <a:lnTo>
                    <a:pt x="836" y="100"/>
                  </a:lnTo>
                  <a:lnTo>
                    <a:pt x="834" y="112"/>
                  </a:lnTo>
                  <a:lnTo>
                    <a:pt x="844" y="120"/>
                  </a:lnTo>
                  <a:lnTo>
                    <a:pt x="858" y="126"/>
                  </a:lnTo>
                  <a:lnTo>
                    <a:pt x="866" y="120"/>
                  </a:lnTo>
                  <a:lnTo>
                    <a:pt x="874" y="106"/>
                  </a:lnTo>
                  <a:lnTo>
                    <a:pt x="876" y="90"/>
                  </a:lnTo>
                  <a:lnTo>
                    <a:pt x="888" y="82"/>
                  </a:lnTo>
                  <a:lnTo>
                    <a:pt x="886" y="74"/>
                  </a:lnTo>
                  <a:lnTo>
                    <a:pt x="880" y="62"/>
                  </a:lnTo>
                  <a:lnTo>
                    <a:pt x="882" y="56"/>
                  </a:lnTo>
                  <a:lnTo>
                    <a:pt x="900" y="58"/>
                  </a:lnTo>
                  <a:lnTo>
                    <a:pt x="922" y="66"/>
                  </a:lnTo>
                  <a:lnTo>
                    <a:pt x="936" y="76"/>
                  </a:lnTo>
                  <a:lnTo>
                    <a:pt x="946" y="90"/>
                  </a:lnTo>
                  <a:lnTo>
                    <a:pt x="940" y="94"/>
                  </a:lnTo>
                  <a:lnTo>
                    <a:pt x="932" y="96"/>
                  </a:lnTo>
                  <a:lnTo>
                    <a:pt x="934" y="106"/>
                  </a:lnTo>
                  <a:lnTo>
                    <a:pt x="940" y="114"/>
                  </a:lnTo>
                  <a:lnTo>
                    <a:pt x="946" y="126"/>
                  </a:lnTo>
                  <a:lnTo>
                    <a:pt x="938" y="136"/>
                  </a:lnTo>
                  <a:lnTo>
                    <a:pt x="926" y="146"/>
                  </a:lnTo>
                  <a:lnTo>
                    <a:pt x="916" y="152"/>
                  </a:lnTo>
                  <a:lnTo>
                    <a:pt x="902" y="144"/>
                  </a:lnTo>
                  <a:lnTo>
                    <a:pt x="898" y="152"/>
                  </a:lnTo>
                  <a:lnTo>
                    <a:pt x="890" y="156"/>
                  </a:lnTo>
                  <a:lnTo>
                    <a:pt x="878" y="144"/>
                  </a:lnTo>
                  <a:lnTo>
                    <a:pt x="868" y="144"/>
                  </a:lnTo>
                  <a:lnTo>
                    <a:pt x="864" y="150"/>
                  </a:lnTo>
                  <a:lnTo>
                    <a:pt x="870" y="156"/>
                  </a:lnTo>
                  <a:lnTo>
                    <a:pt x="864" y="166"/>
                  </a:lnTo>
                  <a:lnTo>
                    <a:pt x="856" y="174"/>
                  </a:lnTo>
                  <a:lnTo>
                    <a:pt x="846" y="176"/>
                  </a:lnTo>
                  <a:lnTo>
                    <a:pt x="834" y="174"/>
                  </a:lnTo>
                  <a:lnTo>
                    <a:pt x="822" y="166"/>
                  </a:lnTo>
                  <a:lnTo>
                    <a:pt x="812" y="164"/>
                  </a:lnTo>
                  <a:lnTo>
                    <a:pt x="816" y="172"/>
                  </a:lnTo>
                  <a:lnTo>
                    <a:pt x="822" y="178"/>
                  </a:lnTo>
                  <a:lnTo>
                    <a:pt x="834" y="180"/>
                  </a:lnTo>
                  <a:lnTo>
                    <a:pt x="842" y="182"/>
                  </a:lnTo>
                  <a:lnTo>
                    <a:pt x="854" y="182"/>
                  </a:lnTo>
                  <a:lnTo>
                    <a:pt x="848" y="192"/>
                  </a:lnTo>
                  <a:lnTo>
                    <a:pt x="840" y="204"/>
                  </a:lnTo>
                  <a:lnTo>
                    <a:pt x="830" y="210"/>
                  </a:lnTo>
                  <a:lnTo>
                    <a:pt x="820" y="212"/>
                  </a:lnTo>
                  <a:lnTo>
                    <a:pt x="812" y="212"/>
                  </a:lnTo>
                  <a:lnTo>
                    <a:pt x="804" y="208"/>
                  </a:lnTo>
                  <a:lnTo>
                    <a:pt x="804" y="218"/>
                  </a:lnTo>
                  <a:lnTo>
                    <a:pt x="784" y="220"/>
                  </a:lnTo>
                  <a:lnTo>
                    <a:pt x="772" y="216"/>
                  </a:lnTo>
                  <a:lnTo>
                    <a:pt x="778" y="222"/>
                  </a:lnTo>
                  <a:lnTo>
                    <a:pt x="794" y="228"/>
                  </a:lnTo>
                  <a:lnTo>
                    <a:pt x="796" y="238"/>
                  </a:lnTo>
                  <a:lnTo>
                    <a:pt x="778" y="242"/>
                  </a:lnTo>
                  <a:lnTo>
                    <a:pt x="758" y="260"/>
                  </a:lnTo>
                  <a:lnTo>
                    <a:pt x="740" y="290"/>
                  </a:lnTo>
                  <a:lnTo>
                    <a:pt x="734" y="332"/>
                  </a:lnTo>
                  <a:lnTo>
                    <a:pt x="736" y="336"/>
                  </a:lnTo>
                  <a:lnTo>
                    <a:pt x="738" y="342"/>
                  </a:lnTo>
                  <a:lnTo>
                    <a:pt x="748" y="342"/>
                  </a:lnTo>
                  <a:lnTo>
                    <a:pt x="756" y="344"/>
                  </a:lnTo>
                  <a:lnTo>
                    <a:pt x="760" y="352"/>
                  </a:lnTo>
                  <a:lnTo>
                    <a:pt x="768" y="378"/>
                  </a:lnTo>
                  <a:lnTo>
                    <a:pt x="782" y="374"/>
                  </a:lnTo>
                  <a:lnTo>
                    <a:pt x="800" y="374"/>
                  </a:lnTo>
                  <a:lnTo>
                    <a:pt x="814" y="380"/>
                  </a:lnTo>
                  <a:lnTo>
                    <a:pt x="830" y="382"/>
                  </a:lnTo>
                  <a:lnTo>
                    <a:pt x="846" y="398"/>
                  </a:lnTo>
                  <a:lnTo>
                    <a:pt x="864" y="408"/>
                  </a:lnTo>
                  <a:lnTo>
                    <a:pt x="886" y="416"/>
                  </a:lnTo>
                  <a:lnTo>
                    <a:pt x="896" y="416"/>
                  </a:lnTo>
                  <a:lnTo>
                    <a:pt x="904" y="418"/>
                  </a:lnTo>
                  <a:lnTo>
                    <a:pt x="916" y="420"/>
                  </a:lnTo>
                  <a:lnTo>
                    <a:pt x="928" y="420"/>
                  </a:lnTo>
                  <a:lnTo>
                    <a:pt x="932" y="442"/>
                  </a:lnTo>
                  <a:lnTo>
                    <a:pt x="932" y="456"/>
                  </a:lnTo>
                  <a:lnTo>
                    <a:pt x="932" y="462"/>
                  </a:lnTo>
                  <a:lnTo>
                    <a:pt x="932" y="470"/>
                  </a:lnTo>
                  <a:lnTo>
                    <a:pt x="944" y="484"/>
                  </a:lnTo>
                  <a:lnTo>
                    <a:pt x="956" y="498"/>
                  </a:lnTo>
                  <a:lnTo>
                    <a:pt x="962" y="502"/>
                  </a:lnTo>
                  <a:lnTo>
                    <a:pt x="970" y="506"/>
                  </a:lnTo>
                  <a:lnTo>
                    <a:pt x="984" y="498"/>
                  </a:lnTo>
                  <a:lnTo>
                    <a:pt x="988" y="490"/>
                  </a:lnTo>
                  <a:lnTo>
                    <a:pt x="990" y="482"/>
                  </a:lnTo>
                  <a:lnTo>
                    <a:pt x="984" y="462"/>
                  </a:lnTo>
                  <a:lnTo>
                    <a:pt x="980" y="448"/>
                  </a:lnTo>
                  <a:lnTo>
                    <a:pt x="972" y="428"/>
                  </a:lnTo>
                  <a:lnTo>
                    <a:pt x="980" y="424"/>
                  </a:lnTo>
                  <a:lnTo>
                    <a:pt x="1002" y="418"/>
                  </a:lnTo>
                  <a:lnTo>
                    <a:pt x="1012" y="406"/>
                  </a:lnTo>
                  <a:lnTo>
                    <a:pt x="1022" y="394"/>
                  </a:lnTo>
                  <a:lnTo>
                    <a:pt x="1020" y="372"/>
                  </a:lnTo>
                  <a:lnTo>
                    <a:pt x="1010" y="354"/>
                  </a:lnTo>
                  <a:lnTo>
                    <a:pt x="998" y="346"/>
                  </a:lnTo>
                  <a:lnTo>
                    <a:pt x="988" y="340"/>
                  </a:lnTo>
                  <a:lnTo>
                    <a:pt x="990" y="334"/>
                  </a:lnTo>
                  <a:lnTo>
                    <a:pt x="996" y="328"/>
                  </a:lnTo>
                  <a:lnTo>
                    <a:pt x="1006" y="316"/>
                  </a:lnTo>
                  <a:lnTo>
                    <a:pt x="1004" y="304"/>
                  </a:lnTo>
                  <a:lnTo>
                    <a:pt x="1002" y="292"/>
                  </a:lnTo>
                  <a:lnTo>
                    <a:pt x="1006" y="274"/>
                  </a:lnTo>
                  <a:lnTo>
                    <a:pt x="996" y="264"/>
                  </a:lnTo>
                  <a:lnTo>
                    <a:pt x="1000" y="250"/>
                  </a:lnTo>
                  <a:lnTo>
                    <a:pt x="1018" y="250"/>
                  </a:lnTo>
                  <a:lnTo>
                    <a:pt x="1034" y="256"/>
                  </a:lnTo>
                  <a:lnTo>
                    <a:pt x="1044" y="258"/>
                  </a:lnTo>
                  <a:lnTo>
                    <a:pt x="1058" y="256"/>
                  </a:lnTo>
                  <a:lnTo>
                    <a:pt x="1064" y="248"/>
                  </a:lnTo>
                  <a:lnTo>
                    <a:pt x="1076" y="256"/>
                  </a:lnTo>
                  <a:lnTo>
                    <a:pt x="1090" y="266"/>
                  </a:lnTo>
                  <a:lnTo>
                    <a:pt x="1098" y="278"/>
                  </a:lnTo>
                  <a:lnTo>
                    <a:pt x="1112" y="286"/>
                  </a:lnTo>
                  <a:lnTo>
                    <a:pt x="1134" y="290"/>
                  </a:lnTo>
                  <a:lnTo>
                    <a:pt x="1130" y="300"/>
                  </a:lnTo>
                  <a:lnTo>
                    <a:pt x="1130" y="314"/>
                  </a:lnTo>
                  <a:lnTo>
                    <a:pt x="1136" y="328"/>
                  </a:lnTo>
                  <a:lnTo>
                    <a:pt x="1136" y="336"/>
                  </a:lnTo>
                  <a:lnTo>
                    <a:pt x="1148" y="338"/>
                  </a:lnTo>
                  <a:lnTo>
                    <a:pt x="1156" y="346"/>
                  </a:lnTo>
                  <a:lnTo>
                    <a:pt x="1168" y="352"/>
                  </a:lnTo>
                  <a:lnTo>
                    <a:pt x="1182" y="340"/>
                  </a:lnTo>
                  <a:lnTo>
                    <a:pt x="1196" y="328"/>
                  </a:lnTo>
                  <a:lnTo>
                    <a:pt x="1196" y="316"/>
                  </a:lnTo>
                  <a:lnTo>
                    <a:pt x="1204" y="306"/>
                  </a:lnTo>
                  <a:lnTo>
                    <a:pt x="1210" y="300"/>
                  </a:lnTo>
                  <a:lnTo>
                    <a:pt x="1218" y="312"/>
                  </a:lnTo>
                  <a:lnTo>
                    <a:pt x="1228" y="328"/>
                  </a:lnTo>
                  <a:lnTo>
                    <a:pt x="1242" y="346"/>
                  </a:lnTo>
                  <a:lnTo>
                    <a:pt x="1244" y="354"/>
                  </a:lnTo>
                  <a:lnTo>
                    <a:pt x="1254" y="360"/>
                  </a:lnTo>
                  <a:lnTo>
                    <a:pt x="1256" y="372"/>
                  </a:lnTo>
                  <a:lnTo>
                    <a:pt x="1260" y="384"/>
                  </a:lnTo>
                  <a:lnTo>
                    <a:pt x="1254" y="390"/>
                  </a:lnTo>
                  <a:lnTo>
                    <a:pt x="1256" y="398"/>
                  </a:lnTo>
                  <a:lnTo>
                    <a:pt x="1272" y="408"/>
                  </a:lnTo>
                  <a:lnTo>
                    <a:pt x="1274" y="412"/>
                  </a:lnTo>
                  <a:lnTo>
                    <a:pt x="1274" y="418"/>
                  </a:lnTo>
                  <a:lnTo>
                    <a:pt x="1284" y="422"/>
                  </a:lnTo>
                  <a:lnTo>
                    <a:pt x="1298" y="426"/>
                  </a:lnTo>
                  <a:lnTo>
                    <a:pt x="1310" y="430"/>
                  </a:lnTo>
                  <a:lnTo>
                    <a:pt x="1318" y="430"/>
                  </a:lnTo>
                  <a:lnTo>
                    <a:pt x="1314" y="438"/>
                  </a:lnTo>
                  <a:lnTo>
                    <a:pt x="1300" y="444"/>
                  </a:lnTo>
                  <a:lnTo>
                    <a:pt x="1292" y="448"/>
                  </a:lnTo>
                  <a:lnTo>
                    <a:pt x="1280" y="454"/>
                  </a:lnTo>
                  <a:lnTo>
                    <a:pt x="1282" y="456"/>
                  </a:lnTo>
                  <a:lnTo>
                    <a:pt x="1282" y="458"/>
                  </a:lnTo>
                  <a:lnTo>
                    <a:pt x="1284" y="458"/>
                  </a:lnTo>
                  <a:lnTo>
                    <a:pt x="1300" y="450"/>
                  </a:lnTo>
                  <a:lnTo>
                    <a:pt x="1314" y="444"/>
                  </a:lnTo>
                  <a:lnTo>
                    <a:pt x="1324" y="442"/>
                  </a:lnTo>
                  <a:lnTo>
                    <a:pt x="1328" y="452"/>
                  </a:lnTo>
                  <a:lnTo>
                    <a:pt x="1330" y="452"/>
                  </a:lnTo>
                  <a:lnTo>
                    <a:pt x="1336" y="452"/>
                  </a:lnTo>
                  <a:lnTo>
                    <a:pt x="1348" y="458"/>
                  </a:lnTo>
                  <a:lnTo>
                    <a:pt x="1350" y="474"/>
                  </a:lnTo>
                  <a:lnTo>
                    <a:pt x="1348" y="488"/>
                  </a:lnTo>
                  <a:lnTo>
                    <a:pt x="1340" y="496"/>
                  </a:lnTo>
                  <a:lnTo>
                    <a:pt x="1330" y="502"/>
                  </a:lnTo>
                  <a:lnTo>
                    <a:pt x="1310" y="502"/>
                  </a:lnTo>
                  <a:lnTo>
                    <a:pt x="1302" y="512"/>
                  </a:lnTo>
                  <a:lnTo>
                    <a:pt x="1286" y="524"/>
                  </a:lnTo>
                  <a:lnTo>
                    <a:pt x="1264" y="528"/>
                  </a:lnTo>
                  <a:lnTo>
                    <a:pt x="1238" y="524"/>
                  </a:lnTo>
                  <a:lnTo>
                    <a:pt x="1218" y="524"/>
                  </a:lnTo>
                  <a:lnTo>
                    <a:pt x="1190" y="526"/>
                  </a:lnTo>
                  <a:lnTo>
                    <a:pt x="1174" y="532"/>
                  </a:lnTo>
                  <a:lnTo>
                    <a:pt x="1166" y="544"/>
                  </a:lnTo>
                  <a:lnTo>
                    <a:pt x="1152" y="548"/>
                  </a:lnTo>
                  <a:lnTo>
                    <a:pt x="1138" y="560"/>
                  </a:lnTo>
                  <a:lnTo>
                    <a:pt x="1128" y="570"/>
                  </a:lnTo>
                  <a:lnTo>
                    <a:pt x="1114" y="586"/>
                  </a:lnTo>
                  <a:lnTo>
                    <a:pt x="1112" y="590"/>
                  </a:lnTo>
                  <a:lnTo>
                    <a:pt x="1110" y="592"/>
                  </a:lnTo>
                  <a:lnTo>
                    <a:pt x="1110" y="594"/>
                  </a:lnTo>
                  <a:lnTo>
                    <a:pt x="1116" y="590"/>
                  </a:lnTo>
                  <a:lnTo>
                    <a:pt x="1120" y="588"/>
                  </a:lnTo>
                  <a:lnTo>
                    <a:pt x="1134" y="572"/>
                  </a:lnTo>
                  <a:lnTo>
                    <a:pt x="1150" y="562"/>
                  </a:lnTo>
                  <a:lnTo>
                    <a:pt x="1168" y="554"/>
                  </a:lnTo>
                  <a:lnTo>
                    <a:pt x="1174" y="550"/>
                  </a:lnTo>
                  <a:lnTo>
                    <a:pt x="1184" y="546"/>
                  </a:lnTo>
                  <a:lnTo>
                    <a:pt x="1202" y="548"/>
                  </a:lnTo>
                  <a:lnTo>
                    <a:pt x="1214" y="552"/>
                  </a:lnTo>
                  <a:lnTo>
                    <a:pt x="1218" y="56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43" name="Freeform 17">
              <a:extLst>
                <a:ext uri="{FF2B5EF4-FFF2-40B4-BE49-F238E27FC236}">
                  <a16:creationId xmlns:a16="http://schemas.microsoft.com/office/drawing/2014/main" id="{10AA9B25-7833-4FCE-82A5-DE6D7B767CEF}"/>
                </a:ext>
              </a:extLst>
            </p:cNvPr>
            <p:cNvSpPr>
              <a:spLocks/>
            </p:cNvSpPr>
            <p:nvPr/>
          </p:nvSpPr>
          <p:spPr bwMode="gray">
            <a:xfrm>
              <a:off x="3018138" y="2274645"/>
              <a:ext cx="62740" cy="46475"/>
            </a:xfrm>
            <a:custGeom>
              <a:avLst/>
              <a:gdLst>
                <a:gd name="T0" fmla="*/ 6 w 38"/>
                <a:gd name="T1" fmla="*/ 0 h 28"/>
                <a:gd name="T2" fmla="*/ 22 w 38"/>
                <a:gd name="T3" fmla="*/ 0 h 28"/>
                <a:gd name="T4" fmla="*/ 36 w 38"/>
                <a:gd name="T5" fmla="*/ 0 h 28"/>
                <a:gd name="T6" fmla="*/ 38 w 38"/>
                <a:gd name="T7" fmla="*/ 8 h 28"/>
                <a:gd name="T8" fmla="*/ 34 w 38"/>
                <a:gd name="T9" fmla="*/ 20 h 28"/>
                <a:gd name="T10" fmla="*/ 28 w 38"/>
                <a:gd name="T11" fmla="*/ 28 h 28"/>
                <a:gd name="T12" fmla="*/ 22 w 38"/>
                <a:gd name="T13" fmla="*/ 24 h 28"/>
                <a:gd name="T14" fmla="*/ 14 w 38"/>
                <a:gd name="T15" fmla="*/ 14 h 28"/>
                <a:gd name="T16" fmla="*/ 6 w 38"/>
                <a:gd name="T17" fmla="*/ 10 h 28"/>
                <a:gd name="T18" fmla="*/ 0 w 38"/>
                <a:gd name="T19" fmla="*/ 4 h 28"/>
                <a:gd name="T20" fmla="*/ 6 w 38"/>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 h="28">
                  <a:moveTo>
                    <a:pt x="6" y="0"/>
                  </a:moveTo>
                  <a:lnTo>
                    <a:pt x="22" y="0"/>
                  </a:lnTo>
                  <a:lnTo>
                    <a:pt x="36" y="0"/>
                  </a:lnTo>
                  <a:lnTo>
                    <a:pt x="38" y="8"/>
                  </a:lnTo>
                  <a:lnTo>
                    <a:pt x="34" y="20"/>
                  </a:lnTo>
                  <a:lnTo>
                    <a:pt x="28" y="28"/>
                  </a:lnTo>
                  <a:lnTo>
                    <a:pt x="22" y="24"/>
                  </a:lnTo>
                  <a:lnTo>
                    <a:pt x="14" y="14"/>
                  </a:lnTo>
                  <a:lnTo>
                    <a:pt x="6" y="10"/>
                  </a:lnTo>
                  <a:lnTo>
                    <a:pt x="0" y="4"/>
                  </a:lnTo>
                  <a:lnTo>
                    <a:pt x="6"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44" name="Freeform 18">
              <a:extLst>
                <a:ext uri="{FF2B5EF4-FFF2-40B4-BE49-F238E27FC236}">
                  <a16:creationId xmlns:a16="http://schemas.microsoft.com/office/drawing/2014/main" id="{8D69FD19-08F2-4EF9-B23E-C45E0AAE3920}"/>
                </a:ext>
              </a:extLst>
            </p:cNvPr>
            <p:cNvSpPr>
              <a:spLocks/>
            </p:cNvSpPr>
            <p:nvPr/>
          </p:nvSpPr>
          <p:spPr bwMode="gray">
            <a:xfrm>
              <a:off x="2605370" y="2068826"/>
              <a:ext cx="184920" cy="96271"/>
            </a:xfrm>
            <a:custGeom>
              <a:avLst/>
              <a:gdLst>
                <a:gd name="T0" fmla="*/ 0 w 112"/>
                <a:gd name="T1" fmla="*/ 50 h 58"/>
                <a:gd name="T2" fmla="*/ 4 w 112"/>
                <a:gd name="T3" fmla="*/ 40 h 58"/>
                <a:gd name="T4" fmla="*/ 16 w 112"/>
                <a:gd name="T5" fmla="*/ 38 h 58"/>
                <a:gd name="T6" fmla="*/ 26 w 112"/>
                <a:gd name="T7" fmla="*/ 32 h 58"/>
                <a:gd name="T8" fmla="*/ 36 w 112"/>
                <a:gd name="T9" fmla="*/ 26 h 58"/>
                <a:gd name="T10" fmla="*/ 50 w 112"/>
                <a:gd name="T11" fmla="*/ 18 h 58"/>
                <a:gd name="T12" fmla="*/ 58 w 112"/>
                <a:gd name="T13" fmla="*/ 10 h 58"/>
                <a:gd name="T14" fmla="*/ 76 w 112"/>
                <a:gd name="T15" fmla="*/ 8 h 58"/>
                <a:gd name="T16" fmla="*/ 86 w 112"/>
                <a:gd name="T17" fmla="*/ 8 h 58"/>
                <a:gd name="T18" fmla="*/ 92 w 112"/>
                <a:gd name="T19" fmla="*/ 12 h 58"/>
                <a:gd name="T20" fmla="*/ 96 w 112"/>
                <a:gd name="T21" fmla="*/ 0 h 58"/>
                <a:gd name="T22" fmla="*/ 106 w 112"/>
                <a:gd name="T23" fmla="*/ 4 h 58"/>
                <a:gd name="T24" fmla="*/ 112 w 112"/>
                <a:gd name="T25" fmla="*/ 8 h 58"/>
                <a:gd name="T26" fmla="*/ 108 w 112"/>
                <a:gd name="T27" fmla="*/ 14 h 58"/>
                <a:gd name="T28" fmla="*/ 100 w 112"/>
                <a:gd name="T29" fmla="*/ 16 h 58"/>
                <a:gd name="T30" fmla="*/ 106 w 112"/>
                <a:gd name="T31" fmla="*/ 24 h 58"/>
                <a:gd name="T32" fmla="*/ 104 w 112"/>
                <a:gd name="T33" fmla="*/ 30 h 58"/>
                <a:gd name="T34" fmla="*/ 96 w 112"/>
                <a:gd name="T35" fmla="*/ 32 h 58"/>
                <a:gd name="T36" fmla="*/ 90 w 112"/>
                <a:gd name="T37" fmla="*/ 38 h 58"/>
                <a:gd name="T38" fmla="*/ 84 w 112"/>
                <a:gd name="T39" fmla="*/ 44 h 58"/>
                <a:gd name="T40" fmla="*/ 74 w 112"/>
                <a:gd name="T41" fmla="*/ 42 h 58"/>
                <a:gd name="T42" fmla="*/ 76 w 112"/>
                <a:gd name="T43" fmla="*/ 32 h 58"/>
                <a:gd name="T44" fmla="*/ 72 w 112"/>
                <a:gd name="T45" fmla="*/ 28 h 58"/>
                <a:gd name="T46" fmla="*/ 66 w 112"/>
                <a:gd name="T47" fmla="*/ 30 h 58"/>
                <a:gd name="T48" fmla="*/ 64 w 112"/>
                <a:gd name="T49" fmla="*/ 34 h 58"/>
                <a:gd name="T50" fmla="*/ 64 w 112"/>
                <a:gd name="T51" fmla="*/ 40 h 58"/>
                <a:gd name="T52" fmla="*/ 60 w 112"/>
                <a:gd name="T53" fmla="*/ 48 h 58"/>
                <a:gd name="T54" fmla="*/ 54 w 112"/>
                <a:gd name="T55" fmla="*/ 50 h 58"/>
                <a:gd name="T56" fmla="*/ 48 w 112"/>
                <a:gd name="T57" fmla="*/ 48 h 58"/>
                <a:gd name="T58" fmla="*/ 48 w 112"/>
                <a:gd name="T59" fmla="*/ 58 h 58"/>
                <a:gd name="T60" fmla="*/ 34 w 112"/>
                <a:gd name="T61" fmla="*/ 58 h 58"/>
                <a:gd name="T62" fmla="*/ 32 w 112"/>
                <a:gd name="T63" fmla="*/ 50 h 58"/>
                <a:gd name="T64" fmla="*/ 24 w 112"/>
                <a:gd name="T65" fmla="*/ 50 h 58"/>
                <a:gd name="T66" fmla="*/ 24 w 112"/>
                <a:gd name="T67" fmla="*/ 54 h 58"/>
                <a:gd name="T68" fmla="*/ 8 w 112"/>
                <a:gd name="T69" fmla="*/ 54 h 58"/>
                <a:gd name="T70" fmla="*/ 0 w 112"/>
                <a:gd name="T71"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2" h="58">
                  <a:moveTo>
                    <a:pt x="0" y="50"/>
                  </a:moveTo>
                  <a:lnTo>
                    <a:pt x="4" y="40"/>
                  </a:lnTo>
                  <a:lnTo>
                    <a:pt x="16" y="38"/>
                  </a:lnTo>
                  <a:lnTo>
                    <a:pt x="26" y="32"/>
                  </a:lnTo>
                  <a:lnTo>
                    <a:pt x="36" y="26"/>
                  </a:lnTo>
                  <a:lnTo>
                    <a:pt x="50" y="18"/>
                  </a:lnTo>
                  <a:lnTo>
                    <a:pt x="58" y="10"/>
                  </a:lnTo>
                  <a:lnTo>
                    <a:pt x="76" y="8"/>
                  </a:lnTo>
                  <a:lnTo>
                    <a:pt x="86" y="8"/>
                  </a:lnTo>
                  <a:lnTo>
                    <a:pt x="92" y="12"/>
                  </a:lnTo>
                  <a:lnTo>
                    <a:pt x="96" y="0"/>
                  </a:lnTo>
                  <a:lnTo>
                    <a:pt x="106" y="4"/>
                  </a:lnTo>
                  <a:lnTo>
                    <a:pt x="112" y="8"/>
                  </a:lnTo>
                  <a:lnTo>
                    <a:pt x="108" y="14"/>
                  </a:lnTo>
                  <a:lnTo>
                    <a:pt x="100" y="16"/>
                  </a:lnTo>
                  <a:lnTo>
                    <a:pt x="106" y="24"/>
                  </a:lnTo>
                  <a:lnTo>
                    <a:pt x="104" y="30"/>
                  </a:lnTo>
                  <a:lnTo>
                    <a:pt x="96" y="32"/>
                  </a:lnTo>
                  <a:lnTo>
                    <a:pt x="90" y="38"/>
                  </a:lnTo>
                  <a:lnTo>
                    <a:pt x="84" y="44"/>
                  </a:lnTo>
                  <a:lnTo>
                    <a:pt x="74" y="42"/>
                  </a:lnTo>
                  <a:lnTo>
                    <a:pt x="76" y="32"/>
                  </a:lnTo>
                  <a:lnTo>
                    <a:pt x="72" y="28"/>
                  </a:lnTo>
                  <a:lnTo>
                    <a:pt x="66" y="30"/>
                  </a:lnTo>
                  <a:lnTo>
                    <a:pt x="64" y="34"/>
                  </a:lnTo>
                  <a:lnTo>
                    <a:pt x="64" y="40"/>
                  </a:lnTo>
                  <a:lnTo>
                    <a:pt x="60" y="48"/>
                  </a:lnTo>
                  <a:lnTo>
                    <a:pt x="54" y="50"/>
                  </a:lnTo>
                  <a:lnTo>
                    <a:pt x="48" y="48"/>
                  </a:lnTo>
                  <a:lnTo>
                    <a:pt x="48" y="58"/>
                  </a:lnTo>
                  <a:lnTo>
                    <a:pt x="34" y="58"/>
                  </a:lnTo>
                  <a:lnTo>
                    <a:pt x="32" y="50"/>
                  </a:lnTo>
                  <a:lnTo>
                    <a:pt x="24" y="50"/>
                  </a:lnTo>
                  <a:lnTo>
                    <a:pt x="24" y="54"/>
                  </a:lnTo>
                  <a:lnTo>
                    <a:pt x="8" y="54"/>
                  </a:lnTo>
                  <a:lnTo>
                    <a:pt x="0" y="5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45" name="Freeform 19">
              <a:extLst>
                <a:ext uri="{FF2B5EF4-FFF2-40B4-BE49-F238E27FC236}">
                  <a16:creationId xmlns:a16="http://schemas.microsoft.com/office/drawing/2014/main" id="{141D3012-A27F-4011-825C-745B884E3396}"/>
                </a:ext>
              </a:extLst>
            </p:cNvPr>
            <p:cNvSpPr>
              <a:spLocks/>
            </p:cNvSpPr>
            <p:nvPr/>
          </p:nvSpPr>
          <p:spPr bwMode="gray">
            <a:xfrm>
              <a:off x="2694528" y="2151817"/>
              <a:ext cx="46230" cy="33197"/>
            </a:xfrm>
            <a:custGeom>
              <a:avLst/>
              <a:gdLst>
                <a:gd name="T0" fmla="*/ 18 w 28"/>
                <a:gd name="T1" fmla="*/ 0 h 20"/>
                <a:gd name="T2" fmla="*/ 28 w 28"/>
                <a:gd name="T3" fmla="*/ 2 h 20"/>
                <a:gd name="T4" fmla="*/ 26 w 28"/>
                <a:gd name="T5" fmla="*/ 8 h 20"/>
                <a:gd name="T6" fmla="*/ 20 w 28"/>
                <a:gd name="T7" fmla="*/ 18 h 20"/>
                <a:gd name="T8" fmla="*/ 12 w 28"/>
                <a:gd name="T9" fmla="*/ 20 h 20"/>
                <a:gd name="T10" fmla="*/ 0 w 28"/>
                <a:gd name="T11" fmla="*/ 16 h 20"/>
                <a:gd name="T12" fmla="*/ 4 w 28"/>
                <a:gd name="T13" fmla="*/ 8 h 20"/>
                <a:gd name="T14" fmla="*/ 14 w 28"/>
                <a:gd name="T15" fmla="*/ 2 h 20"/>
                <a:gd name="T16" fmla="*/ 18 w 28"/>
                <a:gd name="T1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20">
                  <a:moveTo>
                    <a:pt x="18" y="0"/>
                  </a:moveTo>
                  <a:lnTo>
                    <a:pt x="28" y="2"/>
                  </a:lnTo>
                  <a:lnTo>
                    <a:pt x="26" y="8"/>
                  </a:lnTo>
                  <a:lnTo>
                    <a:pt x="20" y="18"/>
                  </a:lnTo>
                  <a:lnTo>
                    <a:pt x="12" y="20"/>
                  </a:lnTo>
                  <a:lnTo>
                    <a:pt x="0" y="16"/>
                  </a:lnTo>
                  <a:lnTo>
                    <a:pt x="4" y="8"/>
                  </a:lnTo>
                  <a:lnTo>
                    <a:pt x="14" y="2"/>
                  </a:lnTo>
                  <a:lnTo>
                    <a:pt x="18"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46" name="Freeform 20">
              <a:extLst>
                <a:ext uri="{FF2B5EF4-FFF2-40B4-BE49-F238E27FC236}">
                  <a16:creationId xmlns:a16="http://schemas.microsoft.com/office/drawing/2014/main" id="{911F81F2-0564-41BF-ADF7-EA8AF49AF241}"/>
                </a:ext>
              </a:extLst>
            </p:cNvPr>
            <p:cNvSpPr>
              <a:spLocks/>
            </p:cNvSpPr>
            <p:nvPr/>
          </p:nvSpPr>
          <p:spPr bwMode="gray">
            <a:xfrm>
              <a:off x="2853031" y="2042269"/>
              <a:ext cx="92460" cy="43155"/>
            </a:xfrm>
            <a:custGeom>
              <a:avLst/>
              <a:gdLst>
                <a:gd name="T0" fmla="*/ 0 w 56"/>
                <a:gd name="T1" fmla="*/ 6 h 26"/>
                <a:gd name="T2" fmla="*/ 14 w 56"/>
                <a:gd name="T3" fmla="*/ 0 h 26"/>
                <a:gd name="T4" fmla="*/ 32 w 56"/>
                <a:gd name="T5" fmla="*/ 0 h 26"/>
                <a:gd name="T6" fmla="*/ 54 w 56"/>
                <a:gd name="T7" fmla="*/ 0 h 26"/>
                <a:gd name="T8" fmla="*/ 56 w 56"/>
                <a:gd name="T9" fmla="*/ 6 h 26"/>
                <a:gd name="T10" fmla="*/ 44 w 56"/>
                <a:gd name="T11" fmla="*/ 8 h 26"/>
                <a:gd name="T12" fmla="*/ 40 w 56"/>
                <a:gd name="T13" fmla="*/ 12 h 26"/>
                <a:gd name="T14" fmla="*/ 50 w 56"/>
                <a:gd name="T15" fmla="*/ 12 h 26"/>
                <a:gd name="T16" fmla="*/ 50 w 56"/>
                <a:gd name="T17" fmla="*/ 18 h 26"/>
                <a:gd name="T18" fmla="*/ 44 w 56"/>
                <a:gd name="T19" fmla="*/ 24 h 26"/>
                <a:gd name="T20" fmla="*/ 32 w 56"/>
                <a:gd name="T21" fmla="*/ 24 h 26"/>
                <a:gd name="T22" fmla="*/ 22 w 56"/>
                <a:gd name="T23" fmla="*/ 24 h 26"/>
                <a:gd name="T24" fmla="*/ 16 w 56"/>
                <a:gd name="T25" fmla="*/ 26 h 26"/>
                <a:gd name="T26" fmla="*/ 4 w 56"/>
                <a:gd name="T27" fmla="*/ 20 h 26"/>
                <a:gd name="T28" fmla="*/ 0 w 56"/>
                <a:gd name="T29" fmla="*/ 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6" h="26">
                  <a:moveTo>
                    <a:pt x="0" y="6"/>
                  </a:moveTo>
                  <a:lnTo>
                    <a:pt x="14" y="0"/>
                  </a:lnTo>
                  <a:lnTo>
                    <a:pt x="32" y="0"/>
                  </a:lnTo>
                  <a:lnTo>
                    <a:pt x="54" y="0"/>
                  </a:lnTo>
                  <a:lnTo>
                    <a:pt x="56" y="6"/>
                  </a:lnTo>
                  <a:lnTo>
                    <a:pt x="44" y="8"/>
                  </a:lnTo>
                  <a:lnTo>
                    <a:pt x="40" y="12"/>
                  </a:lnTo>
                  <a:lnTo>
                    <a:pt x="50" y="12"/>
                  </a:lnTo>
                  <a:lnTo>
                    <a:pt x="50" y="18"/>
                  </a:lnTo>
                  <a:lnTo>
                    <a:pt x="44" y="24"/>
                  </a:lnTo>
                  <a:lnTo>
                    <a:pt x="32" y="24"/>
                  </a:lnTo>
                  <a:lnTo>
                    <a:pt x="22" y="24"/>
                  </a:lnTo>
                  <a:lnTo>
                    <a:pt x="16" y="26"/>
                  </a:lnTo>
                  <a:lnTo>
                    <a:pt x="4" y="20"/>
                  </a:lnTo>
                  <a:lnTo>
                    <a:pt x="0" y="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47" name="Freeform 21">
              <a:extLst>
                <a:ext uri="{FF2B5EF4-FFF2-40B4-BE49-F238E27FC236}">
                  <a16:creationId xmlns:a16="http://schemas.microsoft.com/office/drawing/2014/main" id="{026C713C-FB6D-419E-B84D-99241582B4BB}"/>
                </a:ext>
              </a:extLst>
            </p:cNvPr>
            <p:cNvSpPr>
              <a:spLocks/>
            </p:cNvSpPr>
            <p:nvPr/>
          </p:nvSpPr>
          <p:spPr bwMode="gray">
            <a:xfrm>
              <a:off x="2853031" y="2002433"/>
              <a:ext cx="105669" cy="29876"/>
            </a:xfrm>
            <a:custGeom>
              <a:avLst/>
              <a:gdLst>
                <a:gd name="T0" fmla="*/ 8 w 64"/>
                <a:gd name="T1" fmla="*/ 12 h 18"/>
                <a:gd name="T2" fmla="*/ 24 w 64"/>
                <a:gd name="T3" fmla="*/ 6 h 18"/>
                <a:gd name="T4" fmla="*/ 42 w 64"/>
                <a:gd name="T5" fmla="*/ 0 h 18"/>
                <a:gd name="T6" fmla="*/ 56 w 64"/>
                <a:gd name="T7" fmla="*/ 2 h 18"/>
                <a:gd name="T8" fmla="*/ 64 w 64"/>
                <a:gd name="T9" fmla="*/ 8 h 18"/>
                <a:gd name="T10" fmla="*/ 62 w 64"/>
                <a:gd name="T11" fmla="*/ 14 h 18"/>
                <a:gd name="T12" fmla="*/ 52 w 64"/>
                <a:gd name="T13" fmla="*/ 16 h 18"/>
                <a:gd name="T14" fmla="*/ 34 w 64"/>
                <a:gd name="T15" fmla="*/ 16 h 18"/>
                <a:gd name="T16" fmla="*/ 14 w 64"/>
                <a:gd name="T17" fmla="*/ 18 h 18"/>
                <a:gd name="T18" fmla="*/ 0 w 64"/>
                <a:gd name="T19" fmla="*/ 18 h 18"/>
                <a:gd name="T20" fmla="*/ 8 w 64"/>
                <a:gd name="T21" fmla="*/ 1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18">
                  <a:moveTo>
                    <a:pt x="8" y="12"/>
                  </a:moveTo>
                  <a:lnTo>
                    <a:pt x="24" y="6"/>
                  </a:lnTo>
                  <a:lnTo>
                    <a:pt x="42" y="0"/>
                  </a:lnTo>
                  <a:lnTo>
                    <a:pt x="56" y="2"/>
                  </a:lnTo>
                  <a:lnTo>
                    <a:pt x="64" y="8"/>
                  </a:lnTo>
                  <a:lnTo>
                    <a:pt x="62" y="14"/>
                  </a:lnTo>
                  <a:lnTo>
                    <a:pt x="52" y="16"/>
                  </a:lnTo>
                  <a:lnTo>
                    <a:pt x="34" y="16"/>
                  </a:lnTo>
                  <a:lnTo>
                    <a:pt x="14" y="18"/>
                  </a:lnTo>
                  <a:lnTo>
                    <a:pt x="0" y="18"/>
                  </a:lnTo>
                  <a:lnTo>
                    <a:pt x="8" y="1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48" name="Freeform 22">
              <a:extLst>
                <a:ext uri="{FF2B5EF4-FFF2-40B4-BE49-F238E27FC236}">
                  <a16:creationId xmlns:a16="http://schemas.microsoft.com/office/drawing/2014/main" id="{9DA920A7-555B-47CA-99C7-A32C855C2563}"/>
                </a:ext>
              </a:extLst>
            </p:cNvPr>
            <p:cNvSpPr>
              <a:spLocks/>
            </p:cNvSpPr>
            <p:nvPr/>
          </p:nvSpPr>
          <p:spPr bwMode="gray">
            <a:xfrm>
              <a:off x="3133714" y="2271325"/>
              <a:ext cx="158503" cy="129466"/>
            </a:xfrm>
            <a:custGeom>
              <a:avLst/>
              <a:gdLst>
                <a:gd name="T0" fmla="*/ 62 w 96"/>
                <a:gd name="T1" fmla="*/ 78 h 78"/>
                <a:gd name="T2" fmla="*/ 50 w 96"/>
                <a:gd name="T3" fmla="*/ 66 h 78"/>
                <a:gd name="T4" fmla="*/ 34 w 96"/>
                <a:gd name="T5" fmla="*/ 56 h 78"/>
                <a:gd name="T6" fmla="*/ 26 w 96"/>
                <a:gd name="T7" fmla="*/ 48 h 78"/>
                <a:gd name="T8" fmla="*/ 10 w 96"/>
                <a:gd name="T9" fmla="*/ 46 h 78"/>
                <a:gd name="T10" fmla="*/ 2 w 96"/>
                <a:gd name="T11" fmla="*/ 40 h 78"/>
                <a:gd name="T12" fmla="*/ 0 w 96"/>
                <a:gd name="T13" fmla="*/ 32 h 78"/>
                <a:gd name="T14" fmla="*/ 4 w 96"/>
                <a:gd name="T15" fmla="*/ 22 h 78"/>
                <a:gd name="T16" fmla="*/ 12 w 96"/>
                <a:gd name="T17" fmla="*/ 24 h 78"/>
                <a:gd name="T18" fmla="*/ 18 w 96"/>
                <a:gd name="T19" fmla="*/ 32 h 78"/>
                <a:gd name="T20" fmla="*/ 28 w 96"/>
                <a:gd name="T21" fmla="*/ 30 h 78"/>
                <a:gd name="T22" fmla="*/ 38 w 96"/>
                <a:gd name="T23" fmla="*/ 24 h 78"/>
                <a:gd name="T24" fmla="*/ 34 w 96"/>
                <a:gd name="T25" fmla="*/ 18 h 78"/>
                <a:gd name="T26" fmla="*/ 20 w 96"/>
                <a:gd name="T27" fmla="*/ 12 h 78"/>
                <a:gd name="T28" fmla="*/ 32 w 96"/>
                <a:gd name="T29" fmla="*/ 2 h 78"/>
                <a:gd name="T30" fmla="*/ 46 w 96"/>
                <a:gd name="T31" fmla="*/ 0 h 78"/>
                <a:gd name="T32" fmla="*/ 50 w 96"/>
                <a:gd name="T33" fmla="*/ 4 h 78"/>
                <a:gd name="T34" fmla="*/ 58 w 96"/>
                <a:gd name="T35" fmla="*/ 4 h 78"/>
                <a:gd name="T36" fmla="*/ 66 w 96"/>
                <a:gd name="T37" fmla="*/ 0 h 78"/>
                <a:gd name="T38" fmla="*/ 92 w 96"/>
                <a:gd name="T39" fmla="*/ 2 h 78"/>
                <a:gd name="T40" fmla="*/ 86 w 96"/>
                <a:gd name="T41" fmla="*/ 6 h 78"/>
                <a:gd name="T42" fmla="*/ 78 w 96"/>
                <a:gd name="T43" fmla="*/ 14 h 78"/>
                <a:gd name="T44" fmla="*/ 68 w 96"/>
                <a:gd name="T45" fmla="*/ 20 h 78"/>
                <a:gd name="T46" fmla="*/ 64 w 96"/>
                <a:gd name="T47" fmla="*/ 26 h 78"/>
                <a:gd name="T48" fmla="*/ 74 w 96"/>
                <a:gd name="T49" fmla="*/ 26 h 78"/>
                <a:gd name="T50" fmla="*/ 80 w 96"/>
                <a:gd name="T51" fmla="*/ 26 h 78"/>
                <a:gd name="T52" fmla="*/ 86 w 96"/>
                <a:gd name="T53" fmla="*/ 34 h 78"/>
                <a:gd name="T54" fmla="*/ 94 w 96"/>
                <a:gd name="T55" fmla="*/ 28 h 78"/>
                <a:gd name="T56" fmla="*/ 96 w 96"/>
                <a:gd name="T57" fmla="*/ 38 h 78"/>
                <a:gd name="T58" fmla="*/ 92 w 96"/>
                <a:gd name="T59" fmla="*/ 54 h 78"/>
                <a:gd name="T60" fmla="*/ 84 w 96"/>
                <a:gd name="T61" fmla="*/ 66 h 78"/>
                <a:gd name="T62" fmla="*/ 78 w 96"/>
                <a:gd name="T63" fmla="*/ 68 h 78"/>
                <a:gd name="T64" fmla="*/ 70 w 96"/>
                <a:gd name="T65" fmla="*/ 64 h 78"/>
                <a:gd name="T66" fmla="*/ 68 w 96"/>
                <a:gd name="T67" fmla="*/ 68 h 78"/>
                <a:gd name="T68" fmla="*/ 62 w 96"/>
                <a:gd name="T69"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6" h="78">
                  <a:moveTo>
                    <a:pt x="62" y="78"/>
                  </a:moveTo>
                  <a:lnTo>
                    <a:pt x="50" y="66"/>
                  </a:lnTo>
                  <a:lnTo>
                    <a:pt x="34" y="56"/>
                  </a:lnTo>
                  <a:lnTo>
                    <a:pt x="26" y="48"/>
                  </a:lnTo>
                  <a:lnTo>
                    <a:pt x="10" y="46"/>
                  </a:lnTo>
                  <a:lnTo>
                    <a:pt x="2" y="40"/>
                  </a:lnTo>
                  <a:lnTo>
                    <a:pt x="0" y="32"/>
                  </a:lnTo>
                  <a:lnTo>
                    <a:pt x="4" y="22"/>
                  </a:lnTo>
                  <a:lnTo>
                    <a:pt x="12" y="24"/>
                  </a:lnTo>
                  <a:lnTo>
                    <a:pt x="18" y="32"/>
                  </a:lnTo>
                  <a:lnTo>
                    <a:pt x="28" y="30"/>
                  </a:lnTo>
                  <a:lnTo>
                    <a:pt x="38" y="24"/>
                  </a:lnTo>
                  <a:lnTo>
                    <a:pt x="34" y="18"/>
                  </a:lnTo>
                  <a:lnTo>
                    <a:pt x="20" y="12"/>
                  </a:lnTo>
                  <a:lnTo>
                    <a:pt x="32" y="2"/>
                  </a:lnTo>
                  <a:lnTo>
                    <a:pt x="46" y="0"/>
                  </a:lnTo>
                  <a:lnTo>
                    <a:pt x="50" y="4"/>
                  </a:lnTo>
                  <a:lnTo>
                    <a:pt x="58" y="4"/>
                  </a:lnTo>
                  <a:lnTo>
                    <a:pt x="66" y="0"/>
                  </a:lnTo>
                  <a:lnTo>
                    <a:pt x="92" y="2"/>
                  </a:lnTo>
                  <a:lnTo>
                    <a:pt x="86" y="6"/>
                  </a:lnTo>
                  <a:lnTo>
                    <a:pt x="78" y="14"/>
                  </a:lnTo>
                  <a:lnTo>
                    <a:pt x="68" y="20"/>
                  </a:lnTo>
                  <a:lnTo>
                    <a:pt x="64" y="26"/>
                  </a:lnTo>
                  <a:lnTo>
                    <a:pt x="74" y="26"/>
                  </a:lnTo>
                  <a:lnTo>
                    <a:pt x="80" y="26"/>
                  </a:lnTo>
                  <a:lnTo>
                    <a:pt x="86" y="34"/>
                  </a:lnTo>
                  <a:lnTo>
                    <a:pt x="94" y="28"/>
                  </a:lnTo>
                  <a:lnTo>
                    <a:pt x="96" y="38"/>
                  </a:lnTo>
                  <a:lnTo>
                    <a:pt x="92" y="54"/>
                  </a:lnTo>
                  <a:lnTo>
                    <a:pt x="84" y="66"/>
                  </a:lnTo>
                  <a:lnTo>
                    <a:pt x="78" y="68"/>
                  </a:lnTo>
                  <a:lnTo>
                    <a:pt x="70" y="64"/>
                  </a:lnTo>
                  <a:lnTo>
                    <a:pt x="68" y="68"/>
                  </a:lnTo>
                  <a:lnTo>
                    <a:pt x="62" y="7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49" name="Freeform 23">
              <a:extLst>
                <a:ext uri="{FF2B5EF4-FFF2-40B4-BE49-F238E27FC236}">
                  <a16:creationId xmlns:a16="http://schemas.microsoft.com/office/drawing/2014/main" id="{584248A4-3395-4542-B211-2A4CA7B260E3}"/>
                </a:ext>
              </a:extLst>
            </p:cNvPr>
            <p:cNvSpPr>
              <a:spLocks/>
            </p:cNvSpPr>
            <p:nvPr/>
          </p:nvSpPr>
          <p:spPr bwMode="gray">
            <a:xfrm>
              <a:off x="3292216" y="2168416"/>
              <a:ext cx="75949" cy="56435"/>
            </a:xfrm>
            <a:custGeom>
              <a:avLst/>
              <a:gdLst>
                <a:gd name="T0" fmla="*/ 46 w 46"/>
                <a:gd name="T1" fmla="*/ 34 h 34"/>
                <a:gd name="T2" fmla="*/ 28 w 46"/>
                <a:gd name="T3" fmla="*/ 32 h 34"/>
                <a:gd name="T4" fmla="*/ 12 w 46"/>
                <a:gd name="T5" fmla="*/ 30 h 34"/>
                <a:gd name="T6" fmla="*/ 0 w 46"/>
                <a:gd name="T7" fmla="*/ 22 h 34"/>
                <a:gd name="T8" fmla="*/ 8 w 46"/>
                <a:gd name="T9" fmla="*/ 12 h 34"/>
                <a:gd name="T10" fmla="*/ 18 w 46"/>
                <a:gd name="T11" fmla="*/ 6 h 34"/>
                <a:gd name="T12" fmla="*/ 26 w 46"/>
                <a:gd name="T13" fmla="*/ 0 h 34"/>
                <a:gd name="T14" fmla="*/ 34 w 46"/>
                <a:gd name="T15" fmla="*/ 6 h 34"/>
                <a:gd name="T16" fmla="*/ 44 w 46"/>
                <a:gd name="T17" fmla="*/ 14 h 34"/>
                <a:gd name="T18" fmla="*/ 46 w 46"/>
                <a:gd name="T19" fmla="*/ 22 h 34"/>
                <a:gd name="T20" fmla="*/ 46 w 46"/>
                <a:gd name="T21"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34">
                  <a:moveTo>
                    <a:pt x="46" y="34"/>
                  </a:moveTo>
                  <a:lnTo>
                    <a:pt x="28" y="32"/>
                  </a:lnTo>
                  <a:lnTo>
                    <a:pt x="12" y="30"/>
                  </a:lnTo>
                  <a:lnTo>
                    <a:pt x="0" y="22"/>
                  </a:lnTo>
                  <a:lnTo>
                    <a:pt x="8" y="12"/>
                  </a:lnTo>
                  <a:lnTo>
                    <a:pt x="18" y="6"/>
                  </a:lnTo>
                  <a:lnTo>
                    <a:pt x="26" y="0"/>
                  </a:lnTo>
                  <a:lnTo>
                    <a:pt x="34" y="6"/>
                  </a:lnTo>
                  <a:lnTo>
                    <a:pt x="44" y="14"/>
                  </a:lnTo>
                  <a:lnTo>
                    <a:pt x="46" y="22"/>
                  </a:lnTo>
                  <a:lnTo>
                    <a:pt x="46" y="3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50" name="Freeform 24">
              <a:extLst>
                <a:ext uri="{FF2B5EF4-FFF2-40B4-BE49-F238E27FC236}">
                  <a16:creationId xmlns:a16="http://schemas.microsoft.com/office/drawing/2014/main" id="{2A6C47E8-1134-4129-AFCE-07C4E14F6B53}"/>
                </a:ext>
              </a:extLst>
            </p:cNvPr>
            <p:cNvSpPr>
              <a:spLocks/>
            </p:cNvSpPr>
            <p:nvPr/>
          </p:nvSpPr>
          <p:spPr bwMode="gray">
            <a:xfrm>
              <a:off x="3245986" y="1999114"/>
              <a:ext cx="89158" cy="53115"/>
            </a:xfrm>
            <a:custGeom>
              <a:avLst/>
              <a:gdLst>
                <a:gd name="T0" fmla="*/ 4 w 54"/>
                <a:gd name="T1" fmla="*/ 0 h 32"/>
                <a:gd name="T2" fmla="*/ 22 w 54"/>
                <a:gd name="T3" fmla="*/ 4 h 32"/>
                <a:gd name="T4" fmla="*/ 36 w 54"/>
                <a:gd name="T5" fmla="*/ 10 h 32"/>
                <a:gd name="T6" fmla="*/ 48 w 54"/>
                <a:gd name="T7" fmla="*/ 14 h 32"/>
                <a:gd name="T8" fmla="*/ 54 w 54"/>
                <a:gd name="T9" fmla="*/ 20 h 32"/>
                <a:gd name="T10" fmla="*/ 48 w 54"/>
                <a:gd name="T11" fmla="*/ 30 h 32"/>
                <a:gd name="T12" fmla="*/ 36 w 54"/>
                <a:gd name="T13" fmla="*/ 32 h 32"/>
                <a:gd name="T14" fmla="*/ 20 w 54"/>
                <a:gd name="T15" fmla="*/ 32 h 32"/>
                <a:gd name="T16" fmla="*/ 16 w 54"/>
                <a:gd name="T17" fmla="*/ 22 h 32"/>
                <a:gd name="T18" fmla="*/ 6 w 54"/>
                <a:gd name="T19" fmla="*/ 18 h 32"/>
                <a:gd name="T20" fmla="*/ 0 w 54"/>
                <a:gd name="T21" fmla="*/ 12 h 32"/>
                <a:gd name="T22" fmla="*/ 0 w 54"/>
                <a:gd name="T23" fmla="*/ 4 h 32"/>
                <a:gd name="T24" fmla="*/ 4 w 54"/>
                <a:gd name="T25"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32">
                  <a:moveTo>
                    <a:pt x="4" y="0"/>
                  </a:moveTo>
                  <a:lnTo>
                    <a:pt x="22" y="4"/>
                  </a:lnTo>
                  <a:lnTo>
                    <a:pt x="36" y="10"/>
                  </a:lnTo>
                  <a:lnTo>
                    <a:pt x="48" y="14"/>
                  </a:lnTo>
                  <a:lnTo>
                    <a:pt x="54" y="20"/>
                  </a:lnTo>
                  <a:lnTo>
                    <a:pt x="48" y="30"/>
                  </a:lnTo>
                  <a:lnTo>
                    <a:pt x="36" y="32"/>
                  </a:lnTo>
                  <a:lnTo>
                    <a:pt x="20" y="32"/>
                  </a:lnTo>
                  <a:lnTo>
                    <a:pt x="16" y="22"/>
                  </a:lnTo>
                  <a:lnTo>
                    <a:pt x="6" y="18"/>
                  </a:lnTo>
                  <a:lnTo>
                    <a:pt x="0" y="12"/>
                  </a:lnTo>
                  <a:lnTo>
                    <a:pt x="0" y="4"/>
                  </a:lnTo>
                  <a:lnTo>
                    <a:pt x="4"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51" name="Freeform 25">
              <a:extLst>
                <a:ext uri="{FF2B5EF4-FFF2-40B4-BE49-F238E27FC236}">
                  <a16:creationId xmlns:a16="http://schemas.microsoft.com/office/drawing/2014/main" id="{AD431580-CB88-47D7-9F5E-289E8E7151C7}"/>
                </a:ext>
              </a:extLst>
            </p:cNvPr>
            <p:cNvSpPr>
              <a:spLocks/>
            </p:cNvSpPr>
            <p:nvPr/>
          </p:nvSpPr>
          <p:spPr bwMode="gray">
            <a:xfrm>
              <a:off x="3285612" y="1846409"/>
              <a:ext cx="300496" cy="192540"/>
            </a:xfrm>
            <a:custGeom>
              <a:avLst/>
              <a:gdLst>
                <a:gd name="T0" fmla="*/ 116 w 182"/>
                <a:gd name="T1" fmla="*/ 110 h 116"/>
                <a:gd name="T2" fmla="*/ 102 w 182"/>
                <a:gd name="T3" fmla="*/ 104 h 116"/>
                <a:gd name="T4" fmla="*/ 96 w 182"/>
                <a:gd name="T5" fmla="*/ 112 h 116"/>
                <a:gd name="T6" fmla="*/ 66 w 182"/>
                <a:gd name="T7" fmla="*/ 110 h 116"/>
                <a:gd name="T8" fmla="*/ 78 w 182"/>
                <a:gd name="T9" fmla="*/ 102 h 116"/>
                <a:gd name="T10" fmla="*/ 62 w 182"/>
                <a:gd name="T11" fmla="*/ 96 h 116"/>
                <a:gd name="T12" fmla="*/ 40 w 182"/>
                <a:gd name="T13" fmla="*/ 86 h 116"/>
                <a:gd name="T14" fmla="*/ 70 w 182"/>
                <a:gd name="T15" fmla="*/ 82 h 116"/>
                <a:gd name="T16" fmla="*/ 96 w 182"/>
                <a:gd name="T17" fmla="*/ 80 h 116"/>
                <a:gd name="T18" fmla="*/ 78 w 182"/>
                <a:gd name="T19" fmla="*/ 72 h 116"/>
                <a:gd name="T20" fmla="*/ 50 w 182"/>
                <a:gd name="T21" fmla="*/ 74 h 116"/>
                <a:gd name="T22" fmla="*/ 24 w 182"/>
                <a:gd name="T23" fmla="*/ 74 h 116"/>
                <a:gd name="T24" fmla="*/ 0 w 182"/>
                <a:gd name="T25" fmla="*/ 44 h 116"/>
                <a:gd name="T26" fmla="*/ 14 w 182"/>
                <a:gd name="T27" fmla="*/ 48 h 116"/>
                <a:gd name="T28" fmla="*/ 36 w 182"/>
                <a:gd name="T29" fmla="*/ 42 h 116"/>
                <a:gd name="T30" fmla="*/ 16 w 182"/>
                <a:gd name="T31" fmla="*/ 38 h 116"/>
                <a:gd name="T32" fmla="*/ 24 w 182"/>
                <a:gd name="T33" fmla="*/ 28 h 116"/>
                <a:gd name="T34" fmla="*/ 42 w 182"/>
                <a:gd name="T35" fmla="*/ 26 h 116"/>
                <a:gd name="T36" fmla="*/ 24 w 182"/>
                <a:gd name="T37" fmla="*/ 18 h 116"/>
                <a:gd name="T38" fmla="*/ 34 w 182"/>
                <a:gd name="T39" fmla="*/ 10 h 116"/>
                <a:gd name="T40" fmla="*/ 58 w 182"/>
                <a:gd name="T41" fmla="*/ 10 h 116"/>
                <a:gd name="T42" fmla="*/ 42 w 182"/>
                <a:gd name="T43" fmla="*/ 4 h 116"/>
                <a:gd name="T44" fmla="*/ 70 w 182"/>
                <a:gd name="T45" fmla="*/ 2 h 116"/>
                <a:gd name="T46" fmla="*/ 118 w 182"/>
                <a:gd name="T47" fmla="*/ 34 h 116"/>
                <a:gd name="T48" fmla="*/ 126 w 182"/>
                <a:gd name="T49" fmla="*/ 48 h 116"/>
                <a:gd name="T50" fmla="*/ 138 w 182"/>
                <a:gd name="T51" fmla="*/ 34 h 116"/>
                <a:gd name="T52" fmla="*/ 142 w 182"/>
                <a:gd name="T53" fmla="*/ 46 h 116"/>
                <a:gd name="T54" fmla="*/ 152 w 182"/>
                <a:gd name="T55" fmla="*/ 58 h 116"/>
                <a:gd name="T56" fmla="*/ 164 w 182"/>
                <a:gd name="T57" fmla="*/ 66 h 116"/>
                <a:gd name="T58" fmla="*/ 176 w 182"/>
                <a:gd name="T59" fmla="*/ 68 h 116"/>
                <a:gd name="T60" fmla="*/ 178 w 182"/>
                <a:gd name="T61" fmla="*/ 80 h 116"/>
                <a:gd name="T62" fmla="*/ 162 w 182"/>
                <a:gd name="T63" fmla="*/ 82 h 116"/>
                <a:gd name="T64" fmla="*/ 140 w 182"/>
                <a:gd name="T65" fmla="*/ 98 h 116"/>
                <a:gd name="T66" fmla="*/ 144 w 182"/>
                <a:gd name="T67" fmla="*/ 82 h 116"/>
                <a:gd name="T68" fmla="*/ 134 w 182"/>
                <a:gd name="T69" fmla="*/ 92 h 116"/>
                <a:gd name="T70" fmla="*/ 136 w 182"/>
                <a:gd name="T71" fmla="*/ 102 h 116"/>
                <a:gd name="T72" fmla="*/ 136 w 182"/>
                <a:gd name="T73" fmla="*/ 108 h 116"/>
                <a:gd name="T74" fmla="*/ 128 w 182"/>
                <a:gd name="T75" fmla="*/ 106 h 116"/>
                <a:gd name="T76" fmla="*/ 124 w 182"/>
                <a:gd name="T77"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82" h="116">
                  <a:moveTo>
                    <a:pt x="124" y="116"/>
                  </a:moveTo>
                  <a:lnTo>
                    <a:pt x="116" y="110"/>
                  </a:lnTo>
                  <a:lnTo>
                    <a:pt x="108" y="100"/>
                  </a:lnTo>
                  <a:lnTo>
                    <a:pt x="102" y="104"/>
                  </a:lnTo>
                  <a:lnTo>
                    <a:pt x="104" y="110"/>
                  </a:lnTo>
                  <a:lnTo>
                    <a:pt x="96" y="112"/>
                  </a:lnTo>
                  <a:lnTo>
                    <a:pt x="84" y="116"/>
                  </a:lnTo>
                  <a:lnTo>
                    <a:pt x="66" y="110"/>
                  </a:lnTo>
                  <a:lnTo>
                    <a:pt x="64" y="100"/>
                  </a:lnTo>
                  <a:lnTo>
                    <a:pt x="78" y="102"/>
                  </a:lnTo>
                  <a:lnTo>
                    <a:pt x="76" y="98"/>
                  </a:lnTo>
                  <a:lnTo>
                    <a:pt x="62" y="96"/>
                  </a:lnTo>
                  <a:lnTo>
                    <a:pt x="56" y="98"/>
                  </a:lnTo>
                  <a:lnTo>
                    <a:pt x="40" y="86"/>
                  </a:lnTo>
                  <a:lnTo>
                    <a:pt x="52" y="82"/>
                  </a:lnTo>
                  <a:lnTo>
                    <a:pt x="70" y="82"/>
                  </a:lnTo>
                  <a:lnTo>
                    <a:pt x="84" y="82"/>
                  </a:lnTo>
                  <a:lnTo>
                    <a:pt x="96" y="80"/>
                  </a:lnTo>
                  <a:lnTo>
                    <a:pt x="90" y="74"/>
                  </a:lnTo>
                  <a:lnTo>
                    <a:pt x="78" y="72"/>
                  </a:lnTo>
                  <a:lnTo>
                    <a:pt x="62" y="72"/>
                  </a:lnTo>
                  <a:lnTo>
                    <a:pt x="50" y="74"/>
                  </a:lnTo>
                  <a:lnTo>
                    <a:pt x="34" y="72"/>
                  </a:lnTo>
                  <a:lnTo>
                    <a:pt x="24" y="74"/>
                  </a:lnTo>
                  <a:lnTo>
                    <a:pt x="6" y="54"/>
                  </a:lnTo>
                  <a:lnTo>
                    <a:pt x="0" y="44"/>
                  </a:lnTo>
                  <a:lnTo>
                    <a:pt x="8" y="44"/>
                  </a:lnTo>
                  <a:lnTo>
                    <a:pt x="14" y="48"/>
                  </a:lnTo>
                  <a:lnTo>
                    <a:pt x="30" y="50"/>
                  </a:lnTo>
                  <a:lnTo>
                    <a:pt x="36" y="42"/>
                  </a:lnTo>
                  <a:lnTo>
                    <a:pt x="24" y="40"/>
                  </a:lnTo>
                  <a:lnTo>
                    <a:pt x="16" y="38"/>
                  </a:lnTo>
                  <a:lnTo>
                    <a:pt x="14" y="28"/>
                  </a:lnTo>
                  <a:lnTo>
                    <a:pt x="24" y="28"/>
                  </a:lnTo>
                  <a:lnTo>
                    <a:pt x="36" y="30"/>
                  </a:lnTo>
                  <a:lnTo>
                    <a:pt x="42" y="26"/>
                  </a:lnTo>
                  <a:lnTo>
                    <a:pt x="34" y="22"/>
                  </a:lnTo>
                  <a:lnTo>
                    <a:pt x="24" y="18"/>
                  </a:lnTo>
                  <a:lnTo>
                    <a:pt x="26" y="10"/>
                  </a:lnTo>
                  <a:lnTo>
                    <a:pt x="34" y="10"/>
                  </a:lnTo>
                  <a:lnTo>
                    <a:pt x="42" y="12"/>
                  </a:lnTo>
                  <a:lnTo>
                    <a:pt x="58" y="10"/>
                  </a:lnTo>
                  <a:lnTo>
                    <a:pt x="56" y="6"/>
                  </a:lnTo>
                  <a:lnTo>
                    <a:pt x="42" y="4"/>
                  </a:lnTo>
                  <a:lnTo>
                    <a:pt x="46" y="0"/>
                  </a:lnTo>
                  <a:lnTo>
                    <a:pt x="70" y="2"/>
                  </a:lnTo>
                  <a:lnTo>
                    <a:pt x="98" y="30"/>
                  </a:lnTo>
                  <a:lnTo>
                    <a:pt x="118" y="34"/>
                  </a:lnTo>
                  <a:lnTo>
                    <a:pt x="118" y="42"/>
                  </a:lnTo>
                  <a:lnTo>
                    <a:pt x="126" y="48"/>
                  </a:lnTo>
                  <a:lnTo>
                    <a:pt x="130" y="38"/>
                  </a:lnTo>
                  <a:lnTo>
                    <a:pt x="138" y="34"/>
                  </a:lnTo>
                  <a:lnTo>
                    <a:pt x="144" y="36"/>
                  </a:lnTo>
                  <a:lnTo>
                    <a:pt x="142" y="46"/>
                  </a:lnTo>
                  <a:lnTo>
                    <a:pt x="150" y="52"/>
                  </a:lnTo>
                  <a:lnTo>
                    <a:pt x="152" y="58"/>
                  </a:lnTo>
                  <a:lnTo>
                    <a:pt x="150" y="68"/>
                  </a:lnTo>
                  <a:lnTo>
                    <a:pt x="164" y="66"/>
                  </a:lnTo>
                  <a:lnTo>
                    <a:pt x="172" y="68"/>
                  </a:lnTo>
                  <a:lnTo>
                    <a:pt x="176" y="68"/>
                  </a:lnTo>
                  <a:lnTo>
                    <a:pt x="182" y="74"/>
                  </a:lnTo>
                  <a:lnTo>
                    <a:pt x="178" y="80"/>
                  </a:lnTo>
                  <a:lnTo>
                    <a:pt x="172" y="84"/>
                  </a:lnTo>
                  <a:lnTo>
                    <a:pt x="162" y="82"/>
                  </a:lnTo>
                  <a:lnTo>
                    <a:pt x="156" y="84"/>
                  </a:lnTo>
                  <a:lnTo>
                    <a:pt x="140" y="98"/>
                  </a:lnTo>
                  <a:lnTo>
                    <a:pt x="140" y="92"/>
                  </a:lnTo>
                  <a:lnTo>
                    <a:pt x="144" y="82"/>
                  </a:lnTo>
                  <a:lnTo>
                    <a:pt x="138" y="82"/>
                  </a:lnTo>
                  <a:lnTo>
                    <a:pt x="134" y="92"/>
                  </a:lnTo>
                  <a:lnTo>
                    <a:pt x="134" y="96"/>
                  </a:lnTo>
                  <a:lnTo>
                    <a:pt x="136" y="102"/>
                  </a:lnTo>
                  <a:lnTo>
                    <a:pt x="136" y="106"/>
                  </a:lnTo>
                  <a:lnTo>
                    <a:pt x="136" y="108"/>
                  </a:lnTo>
                  <a:lnTo>
                    <a:pt x="134" y="110"/>
                  </a:lnTo>
                  <a:lnTo>
                    <a:pt x="128" y="106"/>
                  </a:lnTo>
                  <a:lnTo>
                    <a:pt x="126" y="104"/>
                  </a:lnTo>
                  <a:lnTo>
                    <a:pt x="124" y="11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52" name="Freeform 26">
              <a:extLst>
                <a:ext uri="{FF2B5EF4-FFF2-40B4-BE49-F238E27FC236}">
                  <a16:creationId xmlns:a16="http://schemas.microsoft.com/office/drawing/2014/main" id="{EEB6626B-C38E-4090-9FF9-9B5FA172CFA3}"/>
                </a:ext>
              </a:extLst>
            </p:cNvPr>
            <p:cNvSpPr>
              <a:spLocks/>
            </p:cNvSpPr>
            <p:nvPr/>
          </p:nvSpPr>
          <p:spPr bwMode="gray">
            <a:xfrm>
              <a:off x="3189850" y="1919441"/>
              <a:ext cx="42928" cy="26557"/>
            </a:xfrm>
            <a:custGeom>
              <a:avLst/>
              <a:gdLst>
                <a:gd name="T0" fmla="*/ 8 w 26"/>
                <a:gd name="T1" fmla="*/ 0 h 16"/>
                <a:gd name="T2" fmla="*/ 18 w 26"/>
                <a:gd name="T3" fmla="*/ 0 h 16"/>
                <a:gd name="T4" fmla="*/ 26 w 26"/>
                <a:gd name="T5" fmla="*/ 6 h 16"/>
                <a:gd name="T6" fmla="*/ 26 w 26"/>
                <a:gd name="T7" fmla="*/ 16 h 16"/>
                <a:gd name="T8" fmla="*/ 18 w 26"/>
                <a:gd name="T9" fmla="*/ 16 h 16"/>
                <a:gd name="T10" fmla="*/ 14 w 26"/>
                <a:gd name="T11" fmla="*/ 12 h 16"/>
                <a:gd name="T12" fmla="*/ 4 w 26"/>
                <a:gd name="T13" fmla="*/ 12 h 16"/>
                <a:gd name="T14" fmla="*/ 0 w 26"/>
                <a:gd name="T15" fmla="*/ 4 h 16"/>
                <a:gd name="T16" fmla="*/ 8 w 26"/>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16">
                  <a:moveTo>
                    <a:pt x="8" y="0"/>
                  </a:moveTo>
                  <a:lnTo>
                    <a:pt x="18" y="0"/>
                  </a:lnTo>
                  <a:lnTo>
                    <a:pt x="26" y="6"/>
                  </a:lnTo>
                  <a:lnTo>
                    <a:pt x="26" y="16"/>
                  </a:lnTo>
                  <a:lnTo>
                    <a:pt x="18" y="16"/>
                  </a:lnTo>
                  <a:lnTo>
                    <a:pt x="14" y="12"/>
                  </a:lnTo>
                  <a:lnTo>
                    <a:pt x="4" y="12"/>
                  </a:lnTo>
                  <a:lnTo>
                    <a:pt x="0" y="4"/>
                  </a:lnTo>
                  <a:lnTo>
                    <a:pt x="8"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53" name="Freeform 27">
              <a:extLst>
                <a:ext uri="{FF2B5EF4-FFF2-40B4-BE49-F238E27FC236}">
                  <a16:creationId xmlns:a16="http://schemas.microsoft.com/office/drawing/2014/main" id="{0AFC2C89-21EA-4762-A1A3-D4D5FF23B5EC}"/>
                </a:ext>
              </a:extLst>
            </p:cNvPr>
            <p:cNvSpPr>
              <a:spLocks/>
            </p:cNvSpPr>
            <p:nvPr/>
          </p:nvSpPr>
          <p:spPr bwMode="gray">
            <a:xfrm>
              <a:off x="3704984" y="2277964"/>
              <a:ext cx="115574" cy="46475"/>
            </a:xfrm>
            <a:custGeom>
              <a:avLst/>
              <a:gdLst>
                <a:gd name="T0" fmla="*/ 4 w 70"/>
                <a:gd name="T1" fmla="*/ 0 h 28"/>
                <a:gd name="T2" fmla="*/ 22 w 70"/>
                <a:gd name="T3" fmla="*/ 0 h 28"/>
                <a:gd name="T4" fmla="*/ 42 w 70"/>
                <a:gd name="T5" fmla="*/ 2 h 28"/>
                <a:gd name="T6" fmla="*/ 62 w 70"/>
                <a:gd name="T7" fmla="*/ 12 h 28"/>
                <a:gd name="T8" fmla="*/ 70 w 70"/>
                <a:gd name="T9" fmla="*/ 22 h 28"/>
                <a:gd name="T10" fmla="*/ 60 w 70"/>
                <a:gd name="T11" fmla="*/ 24 h 28"/>
                <a:gd name="T12" fmla="*/ 46 w 70"/>
                <a:gd name="T13" fmla="*/ 24 h 28"/>
                <a:gd name="T14" fmla="*/ 32 w 70"/>
                <a:gd name="T15" fmla="*/ 24 h 28"/>
                <a:gd name="T16" fmla="*/ 26 w 70"/>
                <a:gd name="T17" fmla="*/ 28 h 28"/>
                <a:gd name="T18" fmla="*/ 14 w 70"/>
                <a:gd name="T19" fmla="*/ 26 h 28"/>
                <a:gd name="T20" fmla="*/ 10 w 70"/>
                <a:gd name="T21" fmla="*/ 16 h 28"/>
                <a:gd name="T22" fmla="*/ 0 w 70"/>
                <a:gd name="T23" fmla="*/ 10 h 28"/>
                <a:gd name="T24" fmla="*/ 0 w 70"/>
                <a:gd name="T25" fmla="*/ 0 h 28"/>
                <a:gd name="T26" fmla="*/ 4 w 70"/>
                <a:gd name="T2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28">
                  <a:moveTo>
                    <a:pt x="4" y="0"/>
                  </a:moveTo>
                  <a:lnTo>
                    <a:pt x="22" y="0"/>
                  </a:lnTo>
                  <a:lnTo>
                    <a:pt x="42" y="2"/>
                  </a:lnTo>
                  <a:lnTo>
                    <a:pt x="62" y="12"/>
                  </a:lnTo>
                  <a:lnTo>
                    <a:pt x="70" y="22"/>
                  </a:lnTo>
                  <a:lnTo>
                    <a:pt x="60" y="24"/>
                  </a:lnTo>
                  <a:lnTo>
                    <a:pt x="46" y="24"/>
                  </a:lnTo>
                  <a:lnTo>
                    <a:pt x="32" y="24"/>
                  </a:lnTo>
                  <a:lnTo>
                    <a:pt x="26" y="28"/>
                  </a:lnTo>
                  <a:lnTo>
                    <a:pt x="14" y="26"/>
                  </a:lnTo>
                  <a:lnTo>
                    <a:pt x="10" y="16"/>
                  </a:lnTo>
                  <a:lnTo>
                    <a:pt x="0" y="10"/>
                  </a:lnTo>
                  <a:lnTo>
                    <a:pt x="0" y="0"/>
                  </a:lnTo>
                  <a:lnTo>
                    <a:pt x="4"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54" name="Freeform 28">
              <a:extLst>
                <a:ext uri="{FF2B5EF4-FFF2-40B4-BE49-F238E27FC236}">
                  <a16:creationId xmlns:a16="http://schemas.microsoft.com/office/drawing/2014/main" id="{D3255A66-4C85-4956-9D1E-4402BCE4304E}"/>
                </a:ext>
              </a:extLst>
            </p:cNvPr>
            <p:cNvSpPr>
              <a:spLocks/>
            </p:cNvSpPr>
            <p:nvPr/>
          </p:nvSpPr>
          <p:spPr bwMode="gray">
            <a:xfrm>
              <a:off x="3794143" y="2536898"/>
              <a:ext cx="59439" cy="49794"/>
            </a:xfrm>
            <a:custGeom>
              <a:avLst/>
              <a:gdLst>
                <a:gd name="T0" fmla="*/ 36 w 36"/>
                <a:gd name="T1" fmla="*/ 4 h 30"/>
                <a:gd name="T2" fmla="*/ 36 w 36"/>
                <a:gd name="T3" fmla="*/ 10 h 30"/>
                <a:gd name="T4" fmla="*/ 34 w 36"/>
                <a:gd name="T5" fmla="*/ 20 h 30"/>
                <a:gd name="T6" fmla="*/ 26 w 36"/>
                <a:gd name="T7" fmla="*/ 26 h 30"/>
                <a:gd name="T8" fmla="*/ 14 w 36"/>
                <a:gd name="T9" fmla="*/ 30 h 30"/>
                <a:gd name="T10" fmla="*/ 0 w 36"/>
                <a:gd name="T11" fmla="*/ 26 h 30"/>
                <a:gd name="T12" fmla="*/ 2 w 36"/>
                <a:gd name="T13" fmla="*/ 12 h 30"/>
                <a:gd name="T14" fmla="*/ 6 w 36"/>
                <a:gd name="T15" fmla="*/ 4 h 30"/>
                <a:gd name="T16" fmla="*/ 12 w 36"/>
                <a:gd name="T17" fmla="*/ 2 h 30"/>
                <a:gd name="T18" fmla="*/ 24 w 36"/>
                <a:gd name="T19" fmla="*/ 0 h 30"/>
                <a:gd name="T20" fmla="*/ 36 w 36"/>
                <a:gd name="T21" fmla="*/ 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30">
                  <a:moveTo>
                    <a:pt x="36" y="4"/>
                  </a:moveTo>
                  <a:lnTo>
                    <a:pt x="36" y="10"/>
                  </a:lnTo>
                  <a:lnTo>
                    <a:pt x="34" y="20"/>
                  </a:lnTo>
                  <a:lnTo>
                    <a:pt x="26" y="26"/>
                  </a:lnTo>
                  <a:lnTo>
                    <a:pt x="14" y="30"/>
                  </a:lnTo>
                  <a:lnTo>
                    <a:pt x="0" y="26"/>
                  </a:lnTo>
                  <a:lnTo>
                    <a:pt x="2" y="12"/>
                  </a:lnTo>
                  <a:lnTo>
                    <a:pt x="6" y="4"/>
                  </a:lnTo>
                  <a:lnTo>
                    <a:pt x="12" y="2"/>
                  </a:lnTo>
                  <a:lnTo>
                    <a:pt x="24" y="0"/>
                  </a:lnTo>
                  <a:lnTo>
                    <a:pt x="36" y="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55" name="Freeform 29">
              <a:extLst>
                <a:ext uri="{FF2B5EF4-FFF2-40B4-BE49-F238E27FC236}">
                  <a16:creationId xmlns:a16="http://schemas.microsoft.com/office/drawing/2014/main" id="{BAED95BD-8909-4D1D-8A96-3A839F2178AD}"/>
                </a:ext>
              </a:extLst>
            </p:cNvPr>
            <p:cNvSpPr>
              <a:spLocks/>
            </p:cNvSpPr>
            <p:nvPr/>
          </p:nvSpPr>
          <p:spPr bwMode="gray">
            <a:xfrm>
              <a:off x="3533273" y="2646447"/>
              <a:ext cx="181618" cy="116189"/>
            </a:xfrm>
            <a:custGeom>
              <a:avLst/>
              <a:gdLst>
                <a:gd name="T0" fmla="*/ 18 w 110"/>
                <a:gd name="T1" fmla="*/ 16 h 70"/>
                <a:gd name="T2" fmla="*/ 18 w 110"/>
                <a:gd name="T3" fmla="*/ 6 h 70"/>
                <a:gd name="T4" fmla="*/ 28 w 110"/>
                <a:gd name="T5" fmla="*/ 0 h 70"/>
                <a:gd name="T6" fmla="*/ 40 w 110"/>
                <a:gd name="T7" fmla="*/ 0 h 70"/>
                <a:gd name="T8" fmla="*/ 40 w 110"/>
                <a:gd name="T9" fmla="*/ 8 h 70"/>
                <a:gd name="T10" fmla="*/ 42 w 110"/>
                <a:gd name="T11" fmla="*/ 12 h 70"/>
                <a:gd name="T12" fmla="*/ 52 w 110"/>
                <a:gd name="T13" fmla="*/ 14 h 70"/>
                <a:gd name="T14" fmla="*/ 54 w 110"/>
                <a:gd name="T15" fmla="*/ 16 h 70"/>
                <a:gd name="T16" fmla="*/ 56 w 110"/>
                <a:gd name="T17" fmla="*/ 20 h 70"/>
                <a:gd name="T18" fmla="*/ 62 w 110"/>
                <a:gd name="T19" fmla="*/ 22 h 70"/>
                <a:gd name="T20" fmla="*/ 70 w 110"/>
                <a:gd name="T21" fmla="*/ 30 h 70"/>
                <a:gd name="T22" fmla="*/ 84 w 110"/>
                <a:gd name="T23" fmla="*/ 32 h 70"/>
                <a:gd name="T24" fmla="*/ 86 w 110"/>
                <a:gd name="T25" fmla="*/ 38 h 70"/>
                <a:gd name="T26" fmla="*/ 88 w 110"/>
                <a:gd name="T27" fmla="*/ 46 h 70"/>
                <a:gd name="T28" fmla="*/ 98 w 110"/>
                <a:gd name="T29" fmla="*/ 46 h 70"/>
                <a:gd name="T30" fmla="*/ 108 w 110"/>
                <a:gd name="T31" fmla="*/ 48 h 70"/>
                <a:gd name="T32" fmla="*/ 110 w 110"/>
                <a:gd name="T33" fmla="*/ 52 h 70"/>
                <a:gd name="T34" fmla="*/ 110 w 110"/>
                <a:gd name="T35" fmla="*/ 56 h 70"/>
                <a:gd name="T36" fmla="*/ 108 w 110"/>
                <a:gd name="T37" fmla="*/ 56 h 70"/>
                <a:gd name="T38" fmla="*/ 106 w 110"/>
                <a:gd name="T39" fmla="*/ 60 h 70"/>
                <a:gd name="T40" fmla="*/ 102 w 110"/>
                <a:gd name="T41" fmla="*/ 60 h 70"/>
                <a:gd name="T42" fmla="*/ 100 w 110"/>
                <a:gd name="T43" fmla="*/ 62 h 70"/>
                <a:gd name="T44" fmla="*/ 90 w 110"/>
                <a:gd name="T45" fmla="*/ 60 h 70"/>
                <a:gd name="T46" fmla="*/ 84 w 110"/>
                <a:gd name="T47" fmla="*/ 58 h 70"/>
                <a:gd name="T48" fmla="*/ 76 w 110"/>
                <a:gd name="T49" fmla="*/ 52 h 70"/>
                <a:gd name="T50" fmla="*/ 68 w 110"/>
                <a:gd name="T51" fmla="*/ 46 h 70"/>
                <a:gd name="T52" fmla="*/ 64 w 110"/>
                <a:gd name="T53" fmla="*/ 42 h 70"/>
                <a:gd name="T54" fmla="*/ 60 w 110"/>
                <a:gd name="T55" fmla="*/ 44 h 70"/>
                <a:gd name="T56" fmla="*/ 58 w 110"/>
                <a:gd name="T57" fmla="*/ 48 h 70"/>
                <a:gd name="T58" fmla="*/ 52 w 110"/>
                <a:gd name="T59" fmla="*/ 56 h 70"/>
                <a:gd name="T60" fmla="*/ 40 w 110"/>
                <a:gd name="T61" fmla="*/ 68 h 70"/>
                <a:gd name="T62" fmla="*/ 24 w 110"/>
                <a:gd name="T63" fmla="*/ 70 h 70"/>
                <a:gd name="T64" fmla="*/ 26 w 110"/>
                <a:gd name="T65" fmla="*/ 56 h 70"/>
                <a:gd name="T66" fmla="*/ 14 w 110"/>
                <a:gd name="T67" fmla="*/ 56 h 70"/>
                <a:gd name="T68" fmla="*/ 10 w 110"/>
                <a:gd name="T69" fmla="*/ 56 h 70"/>
                <a:gd name="T70" fmla="*/ 6 w 110"/>
                <a:gd name="T71" fmla="*/ 62 h 70"/>
                <a:gd name="T72" fmla="*/ 0 w 110"/>
                <a:gd name="T73" fmla="*/ 56 h 70"/>
                <a:gd name="T74" fmla="*/ 6 w 110"/>
                <a:gd name="T75" fmla="*/ 48 h 70"/>
                <a:gd name="T76" fmla="*/ 16 w 110"/>
                <a:gd name="T77" fmla="*/ 38 h 70"/>
                <a:gd name="T78" fmla="*/ 16 w 110"/>
                <a:gd name="T79" fmla="*/ 26 h 70"/>
                <a:gd name="T80" fmla="*/ 18 w 110"/>
                <a:gd name="T81" fmla="*/ 22 h 70"/>
                <a:gd name="T82" fmla="*/ 18 w 110"/>
                <a:gd name="T83" fmla="*/ 1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0" h="70">
                  <a:moveTo>
                    <a:pt x="18" y="16"/>
                  </a:moveTo>
                  <a:lnTo>
                    <a:pt x="18" y="6"/>
                  </a:lnTo>
                  <a:lnTo>
                    <a:pt x="28" y="0"/>
                  </a:lnTo>
                  <a:lnTo>
                    <a:pt x="40" y="0"/>
                  </a:lnTo>
                  <a:lnTo>
                    <a:pt x="40" y="8"/>
                  </a:lnTo>
                  <a:lnTo>
                    <a:pt x="42" y="12"/>
                  </a:lnTo>
                  <a:lnTo>
                    <a:pt x="52" y="14"/>
                  </a:lnTo>
                  <a:lnTo>
                    <a:pt x="54" y="16"/>
                  </a:lnTo>
                  <a:lnTo>
                    <a:pt x="56" y="20"/>
                  </a:lnTo>
                  <a:lnTo>
                    <a:pt x="62" y="22"/>
                  </a:lnTo>
                  <a:lnTo>
                    <a:pt x="70" y="30"/>
                  </a:lnTo>
                  <a:lnTo>
                    <a:pt x="84" y="32"/>
                  </a:lnTo>
                  <a:lnTo>
                    <a:pt x="86" y="38"/>
                  </a:lnTo>
                  <a:lnTo>
                    <a:pt x="88" y="46"/>
                  </a:lnTo>
                  <a:lnTo>
                    <a:pt x="98" y="46"/>
                  </a:lnTo>
                  <a:lnTo>
                    <a:pt x="108" y="48"/>
                  </a:lnTo>
                  <a:lnTo>
                    <a:pt x="110" y="52"/>
                  </a:lnTo>
                  <a:lnTo>
                    <a:pt x="110" y="56"/>
                  </a:lnTo>
                  <a:lnTo>
                    <a:pt x="108" y="56"/>
                  </a:lnTo>
                  <a:lnTo>
                    <a:pt x="106" y="60"/>
                  </a:lnTo>
                  <a:lnTo>
                    <a:pt x="102" y="60"/>
                  </a:lnTo>
                  <a:lnTo>
                    <a:pt x="100" y="62"/>
                  </a:lnTo>
                  <a:lnTo>
                    <a:pt x="90" y="60"/>
                  </a:lnTo>
                  <a:lnTo>
                    <a:pt x="84" y="58"/>
                  </a:lnTo>
                  <a:lnTo>
                    <a:pt x="76" y="52"/>
                  </a:lnTo>
                  <a:lnTo>
                    <a:pt x="68" y="46"/>
                  </a:lnTo>
                  <a:lnTo>
                    <a:pt x="64" y="42"/>
                  </a:lnTo>
                  <a:lnTo>
                    <a:pt x="60" y="44"/>
                  </a:lnTo>
                  <a:lnTo>
                    <a:pt x="58" y="48"/>
                  </a:lnTo>
                  <a:lnTo>
                    <a:pt x="52" y="56"/>
                  </a:lnTo>
                  <a:lnTo>
                    <a:pt x="40" y="68"/>
                  </a:lnTo>
                  <a:lnTo>
                    <a:pt x="24" y="70"/>
                  </a:lnTo>
                  <a:lnTo>
                    <a:pt x="26" y="56"/>
                  </a:lnTo>
                  <a:lnTo>
                    <a:pt x="14" y="56"/>
                  </a:lnTo>
                  <a:lnTo>
                    <a:pt x="10" y="56"/>
                  </a:lnTo>
                  <a:lnTo>
                    <a:pt x="6" y="62"/>
                  </a:lnTo>
                  <a:lnTo>
                    <a:pt x="0" y="56"/>
                  </a:lnTo>
                  <a:lnTo>
                    <a:pt x="6" y="48"/>
                  </a:lnTo>
                  <a:lnTo>
                    <a:pt x="16" y="38"/>
                  </a:lnTo>
                  <a:lnTo>
                    <a:pt x="16" y="26"/>
                  </a:lnTo>
                  <a:lnTo>
                    <a:pt x="18" y="22"/>
                  </a:lnTo>
                  <a:lnTo>
                    <a:pt x="18" y="1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56" name="Freeform 30">
              <a:extLst>
                <a:ext uri="{FF2B5EF4-FFF2-40B4-BE49-F238E27FC236}">
                  <a16:creationId xmlns:a16="http://schemas.microsoft.com/office/drawing/2014/main" id="{B450EB5C-E985-4951-8E97-8ADC7424F98F}"/>
                </a:ext>
              </a:extLst>
            </p:cNvPr>
            <p:cNvSpPr>
              <a:spLocks/>
            </p:cNvSpPr>
            <p:nvPr/>
          </p:nvSpPr>
          <p:spPr bwMode="gray">
            <a:xfrm>
              <a:off x="3216267" y="2467184"/>
              <a:ext cx="112273" cy="59754"/>
            </a:xfrm>
            <a:custGeom>
              <a:avLst/>
              <a:gdLst>
                <a:gd name="T0" fmla="*/ 6 w 68"/>
                <a:gd name="T1" fmla="*/ 26 h 36"/>
                <a:gd name="T2" fmla="*/ 0 w 68"/>
                <a:gd name="T3" fmla="*/ 24 h 36"/>
                <a:gd name="T4" fmla="*/ 10 w 68"/>
                <a:gd name="T5" fmla="*/ 16 h 36"/>
                <a:gd name="T6" fmla="*/ 18 w 68"/>
                <a:gd name="T7" fmla="*/ 10 h 36"/>
                <a:gd name="T8" fmla="*/ 20 w 68"/>
                <a:gd name="T9" fmla="*/ 0 h 36"/>
                <a:gd name="T10" fmla="*/ 28 w 68"/>
                <a:gd name="T11" fmla="*/ 2 h 36"/>
                <a:gd name="T12" fmla="*/ 38 w 68"/>
                <a:gd name="T13" fmla="*/ 6 h 36"/>
                <a:gd name="T14" fmla="*/ 48 w 68"/>
                <a:gd name="T15" fmla="*/ 14 h 36"/>
                <a:gd name="T16" fmla="*/ 60 w 68"/>
                <a:gd name="T17" fmla="*/ 18 h 36"/>
                <a:gd name="T18" fmla="*/ 66 w 68"/>
                <a:gd name="T19" fmla="*/ 24 h 36"/>
                <a:gd name="T20" fmla="*/ 68 w 68"/>
                <a:gd name="T21" fmla="*/ 32 h 36"/>
                <a:gd name="T22" fmla="*/ 64 w 68"/>
                <a:gd name="T23" fmla="*/ 34 h 36"/>
                <a:gd name="T24" fmla="*/ 56 w 68"/>
                <a:gd name="T25" fmla="*/ 36 h 36"/>
                <a:gd name="T26" fmla="*/ 44 w 68"/>
                <a:gd name="T27" fmla="*/ 36 h 36"/>
                <a:gd name="T28" fmla="*/ 28 w 68"/>
                <a:gd name="T29" fmla="*/ 34 h 36"/>
                <a:gd name="T30" fmla="*/ 18 w 68"/>
                <a:gd name="T31" fmla="*/ 30 h 36"/>
                <a:gd name="T32" fmla="*/ 6 w 68"/>
                <a:gd name="T33"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8" h="36">
                  <a:moveTo>
                    <a:pt x="6" y="26"/>
                  </a:moveTo>
                  <a:lnTo>
                    <a:pt x="0" y="24"/>
                  </a:lnTo>
                  <a:lnTo>
                    <a:pt x="10" y="16"/>
                  </a:lnTo>
                  <a:lnTo>
                    <a:pt x="18" y="10"/>
                  </a:lnTo>
                  <a:lnTo>
                    <a:pt x="20" y="0"/>
                  </a:lnTo>
                  <a:lnTo>
                    <a:pt x="28" y="2"/>
                  </a:lnTo>
                  <a:lnTo>
                    <a:pt x="38" y="6"/>
                  </a:lnTo>
                  <a:lnTo>
                    <a:pt x="48" y="14"/>
                  </a:lnTo>
                  <a:lnTo>
                    <a:pt x="60" y="18"/>
                  </a:lnTo>
                  <a:lnTo>
                    <a:pt x="66" y="24"/>
                  </a:lnTo>
                  <a:lnTo>
                    <a:pt x="68" y="32"/>
                  </a:lnTo>
                  <a:lnTo>
                    <a:pt x="64" y="34"/>
                  </a:lnTo>
                  <a:lnTo>
                    <a:pt x="56" y="36"/>
                  </a:lnTo>
                  <a:lnTo>
                    <a:pt x="44" y="36"/>
                  </a:lnTo>
                  <a:lnTo>
                    <a:pt x="28" y="34"/>
                  </a:lnTo>
                  <a:lnTo>
                    <a:pt x="18" y="30"/>
                  </a:lnTo>
                  <a:lnTo>
                    <a:pt x="6" y="2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57" name="Freeform 31">
              <a:extLst>
                <a:ext uri="{FF2B5EF4-FFF2-40B4-BE49-F238E27FC236}">
                  <a16:creationId xmlns:a16="http://schemas.microsoft.com/office/drawing/2014/main" id="{15D174C6-04DA-4682-A35A-CD29E6AED2B6}"/>
                </a:ext>
              </a:extLst>
            </p:cNvPr>
            <p:cNvSpPr>
              <a:spLocks/>
            </p:cNvSpPr>
            <p:nvPr/>
          </p:nvSpPr>
          <p:spPr bwMode="gray">
            <a:xfrm>
              <a:off x="3463928" y="2271325"/>
              <a:ext cx="759493" cy="544424"/>
            </a:xfrm>
            <a:custGeom>
              <a:avLst/>
              <a:gdLst>
                <a:gd name="T0" fmla="*/ 148 w 460"/>
                <a:gd name="T1" fmla="*/ 30 h 328"/>
                <a:gd name="T2" fmla="*/ 154 w 460"/>
                <a:gd name="T3" fmla="*/ 52 h 328"/>
                <a:gd name="T4" fmla="*/ 184 w 460"/>
                <a:gd name="T5" fmla="*/ 36 h 328"/>
                <a:gd name="T6" fmla="*/ 238 w 460"/>
                <a:gd name="T7" fmla="*/ 44 h 328"/>
                <a:gd name="T8" fmla="*/ 250 w 460"/>
                <a:gd name="T9" fmla="*/ 54 h 328"/>
                <a:gd name="T10" fmla="*/ 258 w 460"/>
                <a:gd name="T11" fmla="*/ 58 h 328"/>
                <a:gd name="T12" fmla="*/ 280 w 460"/>
                <a:gd name="T13" fmla="*/ 68 h 328"/>
                <a:gd name="T14" fmla="*/ 284 w 460"/>
                <a:gd name="T15" fmla="*/ 86 h 328"/>
                <a:gd name="T16" fmla="*/ 306 w 460"/>
                <a:gd name="T17" fmla="*/ 90 h 328"/>
                <a:gd name="T18" fmla="*/ 332 w 460"/>
                <a:gd name="T19" fmla="*/ 92 h 328"/>
                <a:gd name="T20" fmla="*/ 324 w 460"/>
                <a:gd name="T21" fmla="*/ 108 h 328"/>
                <a:gd name="T22" fmla="*/ 360 w 460"/>
                <a:gd name="T23" fmla="*/ 116 h 328"/>
                <a:gd name="T24" fmla="*/ 342 w 460"/>
                <a:gd name="T25" fmla="*/ 122 h 328"/>
                <a:gd name="T26" fmla="*/ 368 w 460"/>
                <a:gd name="T27" fmla="*/ 134 h 328"/>
                <a:gd name="T28" fmla="*/ 346 w 460"/>
                <a:gd name="T29" fmla="*/ 136 h 328"/>
                <a:gd name="T30" fmla="*/ 346 w 460"/>
                <a:gd name="T31" fmla="*/ 150 h 328"/>
                <a:gd name="T32" fmla="*/ 382 w 460"/>
                <a:gd name="T33" fmla="*/ 160 h 328"/>
                <a:gd name="T34" fmla="*/ 404 w 460"/>
                <a:gd name="T35" fmla="*/ 174 h 328"/>
                <a:gd name="T36" fmla="*/ 434 w 460"/>
                <a:gd name="T37" fmla="*/ 190 h 328"/>
                <a:gd name="T38" fmla="*/ 460 w 460"/>
                <a:gd name="T39" fmla="*/ 208 h 328"/>
                <a:gd name="T40" fmla="*/ 434 w 460"/>
                <a:gd name="T41" fmla="*/ 216 h 328"/>
                <a:gd name="T42" fmla="*/ 420 w 460"/>
                <a:gd name="T43" fmla="*/ 240 h 328"/>
                <a:gd name="T44" fmla="*/ 386 w 460"/>
                <a:gd name="T45" fmla="*/ 222 h 328"/>
                <a:gd name="T46" fmla="*/ 358 w 460"/>
                <a:gd name="T47" fmla="*/ 230 h 328"/>
                <a:gd name="T48" fmla="*/ 408 w 460"/>
                <a:gd name="T49" fmla="*/ 284 h 328"/>
                <a:gd name="T50" fmla="*/ 394 w 460"/>
                <a:gd name="T51" fmla="*/ 290 h 328"/>
                <a:gd name="T52" fmla="*/ 356 w 460"/>
                <a:gd name="T53" fmla="*/ 290 h 328"/>
                <a:gd name="T54" fmla="*/ 366 w 460"/>
                <a:gd name="T55" fmla="*/ 306 h 328"/>
                <a:gd name="T56" fmla="*/ 354 w 460"/>
                <a:gd name="T57" fmla="*/ 322 h 328"/>
                <a:gd name="T58" fmla="*/ 310 w 460"/>
                <a:gd name="T59" fmla="*/ 314 h 328"/>
                <a:gd name="T60" fmla="*/ 288 w 460"/>
                <a:gd name="T61" fmla="*/ 280 h 328"/>
                <a:gd name="T62" fmla="*/ 256 w 460"/>
                <a:gd name="T63" fmla="*/ 258 h 328"/>
                <a:gd name="T64" fmla="*/ 238 w 460"/>
                <a:gd name="T65" fmla="*/ 260 h 328"/>
                <a:gd name="T66" fmla="*/ 208 w 460"/>
                <a:gd name="T67" fmla="*/ 270 h 328"/>
                <a:gd name="T68" fmla="*/ 202 w 460"/>
                <a:gd name="T69" fmla="*/ 236 h 328"/>
                <a:gd name="T70" fmla="*/ 238 w 460"/>
                <a:gd name="T71" fmla="*/ 240 h 328"/>
                <a:gd name="T72" fmla="*/ 246 w 460"/>
                <a:gd name="T73" fmla="*/ 222 h 328"/>
                <a:gd name="T74" fmla="*/ 272 w 460"/>
                <a:gd name="T75" fmla="*/ 172 h 328"/>
                <a:gd name="T76" fmla="*/ 246 w 460"/>
                <a:gd name="T77" fmla="*/ 156 h 328"/>
                <a:gd name="T78" fmla="*/ 218 w 460"/>
                <a:gd name="T79" fmla="*/ 150 h 328"/>
                <a:gd name="T80" fmla="*/ 212 w 460"/>
                <a:gd name="T81" fmla="*/ 124 h 328"/>
                <a:gd name="T82" fmla="*/ 186 w 460"/>
                <a:gd name="T83" fmla="*/ 106 h 328"/>
                <a:gd name="T84" fmla="*/ 178 w 460"/>
                <a:gd name="T85" fmla="*/ 112 h 328"/>
                <a:gd name="T86" fmla="*/ 130 w 460"/>
                <a:gd name="T87" fmla="*/ 116 h 328"/>
                <a:gd name="T88" fmla="*/ 56 w 460"/>
                <a:gd name="T89" fmla="*/ 110 h 328"/>
                <a:gd name="T90" fmla="*/ 20 w 460"/>
                <a:gd name="T91" fmla="*/ 102 h 328"/>
                <a:gd name="T92" fmla="*/ 32 w 460"/>
                <a:gd name="T93" fmla="*/ 86 h 328"/>
                <a:gd name="T94" fmla="*/ 0 w 460"/>
                <a:gd name="T95" fmla="*/ 72 h 328"/>
                <a:gd name="T96" fmla="*/ 38 w 460"/>
                <a:gd name="T97" fmla="*/ 2 h 328"/>
                <a:gd name="T98" fmla="*/ 64 w 460"/>
                <a:gd name="T99" fmla="*/ 12 h 328"/>
                <a:gd name="T100" fmla="*/ 68 w 460"/>
                <a:gd name="T101" fmla="*/ 76 h 328"/>
                <a:gd name="T102" fmla="*/ 78 w 460"/>
                <a:gd name="T103" fmla="*/ 46 h 328"/>
                <a:gd name="T104" fmla="*/ 108 w 460"/>
                <a:gd name="T105" fmla="*/ 4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60" h="328">
                  <a:moveTo>
                    <a:pt x="134" y="6"/>
                  </a:moveTo>
                  <a:lnTo>
                    <a:pt x="140" y="14"/>
                  </a:lnTo>
                  <a:lnTo>
                    <a:pt x="146" y="22"/>
                  </a:lnTo>
                  <a:lnTo>
                    <a:pt x="148" y="30"/>
                  </a:lnTo>
                  <a:lnTo>
                    <a:pt x="148" y="38"/>
                  </a:lnTo>
                  <a:lnTo>
                    <a:pt x="144" y="42"/>
                  </a:lnTo>
                  <a:lnTo>
                    <a:pt x="144" y="52"/>
                  </a:lnTo>
                  <a:lnTo>
                    <a:pt x="154" y="52"/>
                  </a:lnTo>
                  <a:lnTo>
                    <a:pt x="158" y="42"/>
                  </a:lnTo>
                  <a:lnTo>
                    <a:pt x="168" y="42"/>
                  </a:lnTo>
                  <a:lnTo>
                    <a:pt x="180" y="50"/>
                  </a:lnTo>
                  <a:lnTo>
                    <a:pt x="184" y="36"/>
                  </a:lnTo>
                  <a:lnTo>
                    <a:pt x="198" y="34"/>
                  </a:lnTo>
                  <a:lnTo>
                    <a:pt x="214" y="34"/>
                  </a:lnTo>
                  <a:lnTo>
                    <a:pt x="230" y="40"/>
                  </a:lnTo>
                  <a:lnTo>
                    <a:pt x="238" y="44"/>
                  </a:lnTo>
                  <a:lnTo>
                    <a:pt x="228" y="50"/>
                  </a:lnTo>
                  <a:lnTo>
                    <a:pt x="226" y="58"/>
                  </a:lnTo>
                  <a:lnTo>
                    <a:pt x="240" y="52"/>
                  </a:lnTo>
                  <a:lnTo>
                    <a:pt x="250" y="54"/>
                  </a:lnTo>
                  <a:lnTo>
                    <a:pt x="244" y="60"/>
                  </a:lnTo>
                  <a:lnTo>
                    <a:pt x="238" y="68"/>
                  </a:lnTo>
                  <a:lnTo>
                    <a:pt x="246" y="66"/>
                  </a:lnTo>
                  <a:lnTo>
                    <a:pt x="258" y="58"/>
                  </a:lnTo>
                  <a:lnTo>
                    <a:pt x="260" y="66"/>
                  </a:lnTo>
                  <a:lnTo>
                    <a:pt x="254" y="74"/>
                  </a:lnTo>
                  <a:lnTo>
                    <a:pt x="264" y="74"/>
                  </a:lnTo>
                  <a:lnTo>
                    <a:pt x="280" y="68"/>
                  </a:lnTo>
                  <a:lnTo>
                    <a:pt x="290" y="70"/>
                  </a:lnTo>
                  <a:lnTo>
                    <a:pt x="296" y="76"/>
                  </a:lnTo>
                  <a:lnTo>
                    <a:pt x="292" y="80"/>
                  </a:lnTo>
                  <a:lnTo>
                    <a:pt x="284" y="86"/>
                  </a:lnTo>
                  <a:lnTo>
                    <a:pt x="290" y="90"/>
                  </a:lnTo>
                  <a:lnTo>
                    <a:pt x="300" y="86"/>
                  </a:lnTo>
                  <a:lnTo>
                    <a:pt x="306" y="84"/>
                  </a:lnTo>
                  <a:lnTo>
                    <a:pt x="306" y="90"/>
                  </a:lnTo>
                  <a:lnTo>
                    <a:pt x="298" y="98"/>
                  </a:lnTo>
                  <a:lnTo>
                    <a:pt x="304" y="98"/>
                  </a:lnTo>
                  <a:lnTo>
                    <a:pt x="320" y="92"/>
                  </a:lnTo>
                  <a:lnTo>
                    <a:pt x="332" y="92"/>
                  </a:lnTo>
                  <a:lnTo>
                    <a:pt x="342" y="96"/>
                  </a:lnTo>
                  <a:lnTo>
                    <a:pt x="342" y="100"/>
                  </a:lnTo>
                  <a:lnTo>
                    <a:pt x="334" y="104"/>
                  </a:lnTo>
                  <a:lnTo>
                    <a:pt x="324" y="108"/>
                  </a:lnTo>
                  <a:lnTo>
                    <a:pt x="332" y="112"/>
                  </a:lnTo>
                  <a:lnTo>
                    <a:pt x="350" y="108"/>
                  </a:lnTo>
                  <a:lnTo>
                    <a:pt x="356" y="110"/>
                  </a:lnTo>
                  <a:lnTo>
                    <a:pt x="360" y="116"/>
                  </a:lnTo>
                  <a:lnTo>
                    <a:pt x="362" y="122"/>
                  </a:lnTo>
                  <a:lnTo>
                    <a:pt x="354" y="122"/>
                  </a:lnTo>
                  <a:lnTo>
                    <a:pt x="348" y="122"/>
                  </a:lnTo>
                  <a:lnTo>
                    <a:pt x="342" y="122"/>
                  </a:lnTo>
                  <a:lnTo>
                    <a:pt x="342" y="128"/>
                  </a:lnTo>
                  <a:lnTo>
                    <a:pt x="352" y="128"/>
                  </a:lnTo>
                  <a:lnTo>
                    <a:pt x="362" y="128"/>
                  </a:lnTo>
                  <a:lnTo>
                    <a:pt x="368" y="134"/>
                  </a:lnTo>
                  <a:lnTo>
                    <a:pt x="370" y="138"/>
                  </a:lnTo>
                  <a:lnTo>
                    <a:pt x="368" y="138"/>
                  </a:lnTo>
                  <a:lnTo>
                    <a:pt x="362" y="138"/>
                  </a:lnTo>
                  <a:lnTo>
                    <a:pt x="346" y="136"/>
                  </a:lnTo>
                  <a:lnTo>
                    <a:pt x="344" y="138"/>
                  </a:lnTo>
                  <a:lnTo>
                    <a:pt x="342" y="140"/>
                  </a:lnTo>
                  <a:lnTo>
                    <a:pt x="342" y="144"/>
                  </a:lnTo>
                  <a:lnTo>
                    <a:pt x="346" y="150"/>
                  </a:lnTo>
                  <a:lnTo>
                    <a:pt x="354" y="156"/>
                  </a:lnTo>
                  <a:lnTo>
                    <a:pt x="362" y="156"/>
                  </a:lnTo>
                  <a:lnTo>
                    <a:pt x="370" y="154"/>
                  </a:lnTo>
                  <a:lnTo>
                    <a:pt x="382" y="160"/>
                  </a:lnTo>
                  <a:lnTo>
                    <a:pt x="382" y="166"/>
                  </a:lnTo>
                  <a:lnTo>
                    <a:pt x="388" y="168"/>
                  </a:lnTo>
                  <a:lnTo>
                    <a:pt x="398" y="170"/>
                  </a:lnTo>
                  <a:lnTo>
                    <a:pt x="404" y="174"/>
                  </a:lnTo>
                  <a:lnTo>
                    <a:pt x="406" y="180"/>
                  </a:lnTo>
                  <a:lnTo>
                    <a:pt x="416" y="180"/>
                  </a:lnTo>
                  <a:lnTo>
                    <a:pt x="424" y="182"/>
                  </a:lnTo>
                  <a:lnTo>
                    <a:pt x="434" y="190"/>
                  </a:lnTo>
                  <a:lnTo>
                    <a:pt x="438" y="194"/>
                  </a:lnTo>
                  <a:lnTo>
                    <a:pt x="450" y="196"/>
                  </a:lnTo>
                  <a:lnTo>
                    <a:pt x="460" y="204"/>
                  </a:lnTo>
                  <a:lnTo>
                    <a:pt x="460" y="208"/>
                  </a:lnTo>
                  <a:lnTo>
                    <a:pt x="460" y="212"/>
                  </a:lnTo>
                  <a:lnTo>
                    <a:pt x="458" y="214"/>
                  </a:lnTo>
                  <a:lnTo>
                    <a:pt x="444" y="216"/>
                  </a:lnTo>
                  <a:lnTo>
                    <a:pt x="434" y="216"/>
                  </a:lnTo>
                  <a:lnTo>
                    <a:pt x="436" y="226"/>
                  </a:lnTo>
                  <a:lnTo>
                    <a:pt x="430" y="232"/>
                  </a:lnTo>
                  <a:lnTo>
                    <a:pt x="420" y="232"/>
                  </a:lnTo>
                  <a:lnTo>
                    <a:pt x="420" y="240"/>
                  </a:lnTo>
                  <a:lnTo>
                    <a:pt x="414" y="248"/>
                  </a:lnTo>
                  <a:lnTo>
                    <a:pt x="398" y="240"/>
                  </a:lnTo>
                  <a:lnTo>
                    <a:pt x="390" y="230"/>
                  </a:lnTo>
                  <a:lnTo>
                    <a:pt x="386" y="222"/>
                  </a:lnTo>
                  <a:lnTo>
                    <a:pt x="364" y="208"/>
                  </a:lnTo>
                  <a:lnTo>
                    <a:pt x="356" y="212"/>
                  </a:lnTo>
                  <a:lnTo>
                    <a:pt x="360" y="222"/>
                  </a:lnTo>
                  <a:lnTo>
                    <a:pt x="358" y="230"/>
                  </a:lnTo>
                  <a:lnTo>
                    <a:pt x="364" y="244"/>
                  </a:lnTo>
                  <a:lnTo>
                    <a:pt x="376" y="256"/>
                  </a:lnTo>
                  <a:lnTo>
                    <a:pt x="394" y="270"/>
                  </a:lnTo>
                  <a:lnTo>
                    <a:pt x="408" y="284"/>
                  </a:lnTo>
                  <a:lnTo>
                    <a:pt x="406" y="290"/>
                  </a:lnTo>
                  <a:lnTo>
                    <a:pt x="400" y="288"/>
                  </a:lnTo>
                  <a:lnTo>
                    <a:pt x="396" y="288"/>
                  </a:lnTo>
                  <a:lnTo>
                    <a:pt x="394" y="290"/>
                  </a:lnTo>
                  <a:lnTo>
                    <a:pt x="400" y="304"/>
                  </a:lnTo>
                  <a:lnTo>
                    <a:pt x="394" y="310"/>
                  </a:lnTo>
                  <a:lnTo>
                    <a:pt x="378" y="302"/>
                  </a:lnTo>
                  <a:lnTo>
                    <a:pt x="356" y="290"/>
                  </a:lnTo>
                  <a:lnTo>
                    <a:pt x="344" y="278"/>
                  </a:lnTo>
                  <a:lnTo>
                    <a:pt x="338" y="282"/>
                  </a:lnTo>
                  <a:lnTo>
                    <a:pt x="348" y="292"/>
                  </a:lnTo>
                  <a:lnTo>
                    <a:pt x="366" y="306"/>
                  </a:lnTo>
                  <a:lnTo>
                    <a:pt x="370" y="312"/>
                  </a:lnTo>
                  <a:lnTo>
                    <a:pt x="374" y="320"/>
                  </a:lnTo>
                  <a:lnTo>
                    <a:pt x="378" y="328"/>
                  </a:lnTo>
                  <a:lnTo>
                    <a:pt x="354" y="322"/>
                  </a:lnTo>
                  <a:lnTo>
                    <a:pt x="334" y="314"/>
                  </a:lnTo>
                  <a:lnTo>
                    <a:pt x="320" y="304"/>
                  </a:lnTo>
                  <a:lnTo>
                    <a:pt x="312" y="304"/>
                  </a:lnTo>
                  <a:lnTo>
                    <a:pt x="310" y="314"/>
                  </a:lnTo>
                  <a:lnTo>
                    <a:pt x="296" y="298"/>
                  </a:lnTo>
                  <a:lnTo>
                    <a:pt x="290" y="290"/>
                  </a:lnTo>
                  <a:lnTo>
                    <a:pt x="294" y="286"/>
                  </a:lnTo>
                  <a:lnTo>
                    <a:pt x="288" y="280"/>
                  </a:lnTo>
                  <a:lnTo>
                    <a:pt x="280" y="282"/>
                  </a:lnTo>
                  <a:lnTo>
                    <a:pt x="272" y="274"/>
                  </a:lnTo>
                  <a:lnTo>
                    <a:pt x="262" y="264"/>
                  </a:lnTo>
                  <a:lnTo>
                    <a:pt x="256" y="258"/>
                  </a:lnTo>
                  <a:lnTo>
                    <a:pt x="244" y="254"/>
                  </a:lnTo>
                  <a:lnTo>
                    <a:pt x="238" y="250"/>
                  </a:lnTo>
                  <a:lnTo>
                    <a:pt x="238" y="258"/>
                  </a:lnTo>
                  <a:lnTo>
                    <a:pt x="238" y="260"/>
                  </a:lnTo>
                  <a:lnTo>
                    <a:pt x="236" y="262"/>
                  </a:lnTo>
                  <a:lnTo>
                    <a:pt x="224" y="262"/>
                  </a:lnTo>
                  <a:lnTo>
                    <a:pt x="218" y="266"/>
                  </a:lnTo>
                  <a:lnTo>
                    <a:pt x="208" y="270"/>
                  </a:lnTo>
                  <a:lnTo>
                    <a:pt x="194" y="268"/>
                  </a:lnTo>
                  <a:lnTo>
                    <a:pt x="186" y="258"/>
                  </a:lnTo>
                  <a:lnTo>
                    <a:pt x="188" y="246"/>
                  </a:lnTo>
                  <a:lnTo>
                    <a:pt x="202" y="236"/>
                  </a:lnTo>
                  <a:lnTo>
                    <a:pt x="214" y="238"/>
                  </a:lnTo>
                  <a:lnTo>
                    <a:pt x="226" y="242"/>
                  </a:lnTo>
                  <a:lnTo>
                    <a:pt x="232" y="246"/>
                  </a:lnTo>
                  <a:lnTo>
                    <a:pt x="238" y="240"/>
                  </a:lnTo>
                  <a:lnTo>
                    <a:pt x="246" y="236"/>
                  </a:lnTo>
                  <a:lnTo>
                    <a:pt x="258" y="232"/>
                  </a:lnTo>
                  <a:lnTo>
                    <a:pt x="254" y="228"/>
                  </a:lnTo>
                  <a:lnTo>
                    <a:pt x="246" y="222"/>
                  </a:lnTo>
                  <a:lnTo>
                    <a:pt x="254" y="210"/>
                  </a:lnTo>
                  <a:lnTo>
                    <a:pt x="268" y="202"/>
                  </a:lnTo>
                  <a:lnTo>
                    <a:pt x="280" y="190"/>
                  </a:lnTo>
                  <a:lnTo>
                    <a:pt x="272" y="172"/>
                  </a:lnTo>
                  <a:lnTo>
                    <a:pt x="264" y="160"/>
                  </a:lnTo>
                  <a:lnTo>
                    <a:pt x="256" y="160"/>
                  </a:lnTo>
                  <a:lnTo>
                    <a:pt x="254" y="152"/>
                  </a:lnTo>
                  <a:lnTo>
                    <a:pt x="246" y="156"/>
                  </a:lnTo>
                  <a:lnTo>
                    <a:pt x="240" y="148"/>
                  </a:lnTo>
                  <a:lnTo>
                    <a:pt x="240" y="142"/>
                  </a:lnTo>
                  <a:lnTo>
                    <a:pt x="228" y="142"/>
                  </a:lnTo>
                  <a:lnTo>
                    <a:pt x="218" y="150"/>
                  </a:lnTo>
                  <a:lnTo>
                    <a:pt x="210" y="142"/>
                  </a:lnTo>
                  <a:lnTo>
                    <a:pt x="222" y="134"/>
                  </a:lnTo>
                  <a:lnTo>
                    <a:pt x="218" y="128"/>
                  </a:lnTo>
                  <a:lnTo>
                    <a:pt x="212" y="124"/>
                  </a:lnTo>
                  <a:lnTo>
                    <a:pt x="202" y="114"/>
                  </a:lnTo>
                  <a:lnTo>
                    <a:pt x="196" y="120"/>
                  </a:lnTo>
                  <a:lnTo>
                    <a:pt x="190" y="112"/>
                  </a:lnTo>
                  <a:lnTo>
                    <a:pt x="186" y="106"/>
                  </a:lnTo>
                  <a:lnTo>
                    <a:pt x="178" y="98"/>
                  </a:lnTo>
                  <a:lnTo>
                    <a:pt x="172" y="100"/>
                  </a:lnTo>
                  <a:lnTo>
                    <a:pt x="176" y="106"/>
                  </a:lnTo>
                  <a:lnTo>
                    <a:pt x="178" y="112"/>
                  </a:lnTo>
                  <a:lnTo>
                    <a:pt x="172" y="116"/>
                  </a:lnTo>
                  <a:lnTo>
                    <a:pt x="158" y="116"/>
                  </a:lnTo>
                  <a:lnTo>
                    <a:pt x="136" y="110"/>
                  </a:lnTo>
                  <a:lnTo>
                    <a:pt x="130" y="116"/>
                  </a:lnTo>
                  <a:lnTo>
                    <a:pt x="118" y="118"/>
                  </a:lnTo>
                  <a:lnTo>
                    <a:pt x="90" y="114"/>
                  </a:lnTo>
                  <a:lnTo>
                    <a:pt x="74" y="110"/>
                  </a:lnTo>
                  <a:lnTo>
                    <a:pt x="56" y="110"/>
                  </a:lnTo>
                  <a:lnTo>
                    <a:pt x="48" y="104"/>
                  </a:lnTo>
                  <a:lnTo>
                    <a:pt x="40" y="100"/>
                  </a:lnTo>
                  <a:lnTo>
                    <a:pt x="32" y="106"/>
                  </a:lnTo>
                  <a:lnTo>
                    <a:pt x="20" y="102"/>
                  </a:lnTo>
                  <a:lnTo>
                    <a:pt x="8" y="94"/>
                  </a:lnTo>
                  <a:lnTo>
                    <a:pt x="8" y="84"/>
                  </a:lnTo>
                  <a:lnTo>
                    <a:pt x="16" y="84"/>
                  </a:lnTo>
                  <a:lnTo>
                    <a:pt x="32" y="86"/>
                  </a:lnTo>
                  <a:lnTo>
                    <a:pt x="38" y="82"/>
                  </a:lnTo>
                  <a:lnTo>
                    <a:pt x="32" y="76"/>
                  </a:lnTo>
                  <a:lnTo>
                    <a:pt x="16" y="78"/>
                  </a:lnTo>
                  <a:lnTo>
                    <a:pt x="0" y="72"/>
                  </a:lnTo>
                  <a:lnTo>
                    <a:pt x="0" y="50"/>
                  </a:lnTo>
                  <a:lnTo>
                    <a:pt x="8" y="30"/>
                  </a:lnTo>
                  <a:lnTo>
                    <a:pt x="20" y="14"/>
                  </a:lnTo>
                  <a:lnTo>
                    <a:pt x="38" y="2"/>
                  </a:lnTo>
                  <a:lnTo>
                    <a:pt x="52" y="0"/>
                  </a:lnTo>
                  <a:lnTo>
                    <a:pt x="82" y="2"/>
                  </a:lnTo>
                  <a:lnTo>
                    <a:pt x="76" y="8"/>
                  </a:lnTo>
                  <a:lnTo>
                    <a:pt x="64" y="12"/>
                  </a:lnTo>
                  <a:lnTo>
                    <a:pt x="54" y="28"/>
                  </a:lnTo>
                  <a:lnTo>
                    <a:pt x="54" y="40"/>
                  </a:lnTo>
                  <a:lnTo>
                    <a:pt x="54" y="50"/>
                  </a:lnTo>
                  <a:lnTo>
                    <a:pt x="68" y="76"/>
                  </a:lnTo>
                  <a:lnTo>
                    <a:pt x="82" y="72"/>
                  </a:lnTo>
                  <a:lnTo>
                    <a:pt x="76" y="64"/>
                  </a:lnTo>
                  <a:lnTo>
                    <a:pt x="66" y="50"/>
                  </a:lnTo>
                  <a:lnTo>
                    <a:pt x="78" y="46"/>
                  </a:lnTo>
                  <a:lnTo>
                    <a:pt x="70" y="38"/>
                  </a:lnTo>
                  <a:lnTo>
                    <a:pt x="72" y="26"/>
                  </a:lnTo>
                  <a:lnTo>
                    <a:pt x="84" y="16"/>
                  </a:lnTo>
                  <a:lnTo>
                    <a:pt x="108" y="4"/>
                  </a:lnTo>
                  <a:lnTo>
                    <a:pt x="122" y="2"/>
                  </a:lnTo>
                  <a:lnTo>
                    <a:pt x="134" y="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58" name="Freeform 32">
              <a:extLst>
                <a:ext uri="{FF2B5EF4-FFF2-40B4-BE49-F238E27FC236}">
                  <a16:creationId xmlns:a16="http://schemas.microsoft.com/office/drawing/2014/main" id="{163577DB-5F73-4230-81A7-5773DDBBC931}"/>
                </a:ext>
              </a:extLst>
            </p:cNvPr>
            <p:cNvSpPr>
              <a:spLocks/>
            </p:cNvSpPr>
            <p:nvPr/>
          </p:nvSpPr>
          <p:spPr bwMode="gray">
            <a:xfrm>
              <a:off x="3612525" y="2769274"/>
              <a:ext cx="59439" cy="36517"/>
            </a:xfrm>
            <a:custGeom>
              <a:avLst/>
              <a:gdLst>
                <a:gd name="T0" fmla="*/ 34 w 36"/>
                <a:gd name="T1" fmla="*/ 0 h 22"/>
                <a:gd name="T2" fmla="*/ 22 w 36"/>
                <a:gd name="T3" fmla="*/ 0 h 22"/>
                <a:gd name="T4" fmla="*/ 8 w 36"/>
                <a:gd name="T5" fmla="*/ 6 h 22"/>
                <a:gd name="T6" fmla="*/ 4 w 36"/>
                <a:gd name="T7" fmla="*/ 10 h 22"/>
                <a:gd name="T8" fmla="*/ 2 w 36"/>
                <a:gd name="T9" fmla="*/ 12 h 22"/>
                <a:gd name="T10" fmla="*/ 0 w 36"/>
                <a:gd name="T11" fmla="*/ 14 h 22"/>
                <a:gd name="T12" fmla="*/ 6 w 36"/>
                <a:gd name="T13" fmla="*/ 18 h 22"/>
                <a:gd name="T14" fmla="*/ 10 w 36"/>
                <a:gd name="T15" fmla="*/ 22 h 22"/>
                <a:gd name="T16" fmla="*/ 22 w 36"/>
                <a:gd name="T17" fmla="*/ 18 h 22"/>
                <a:gd name="T18" fmla="*/ 30 w 36"/>
                <a:gd name="T19" fmla="*/ 12 h 22"/>
                <a:gd name="T20" fmla="*/ 36 w 36"/>
                <a:gd name="T21" fmla="*/ 4 h 22"/>
                <a:gd name="T22" fmla="*/ 34 w 36"/>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22">
                  <a:moveTo>
                    <a:pt x="34" y="0"/>
                  </a:moveTo>
                  <a:lnTo>
                    <a:pt x="22" y="0"/>
                  </a:lnTo>
                  <a:lnTo>
                    <a:pt x="8" y="6"/>
                  </a:lnTo>
                  <a:lnTo>
                    <a:pt x="4" y="10"/>
                  </a:lnTo>
                  <a:lnTo>
                    <a:pt x="2" y="12"/>
                  </a:lnTo>
                  <a:lnTo>
                    <a:pt x="0" y="14"/>
                  </a:lnTo>
                  <a:lnTo>
                    <a:pt x="6" y="18"/>
                  </a:lnTo>
                  <a:lnTo>
                    <a:pt x="10" y="22"/>
                  </a:lnTo>
                  <a:lnTo>
                    <a:pt x="22" y="18"/>
                  </a:lnTo>
                  <a:lnTo>
                    <a:pt x="30" y="12"/>
                  </a:lnTo>
                  <a:lnTo>
                    <a:pt x="36" y="4"/>
                  </a:lnTo>
                  <a:lnTo>
                    <a:pt x="34"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59" name="Freeform 33">
              <a:extLst>
                <a:ext uri="{FF2B5EF4-FFF2-40B4-BE49-F238E27FC236}">
                  <a16:creationId xmlns:a16="http://schemas.microsoft.com/office/drawing/2014/main" id="{D1850797-833E-4471-BD3C-F5FA8F31D6CB}"/>
                </a:ext>
              </a:extLst>
            </p:cNvPr>
            <p:cNvSpPr>
              <a:spLocks/>
            </p:cNvSpPr>
            <p:nvPr/>
          </p:nvSpPr>
          <p:spPr bwMode="gray">
            <a:xfrm>
              <a:off x="3714890" y="2792512"/>
              <a:ext cx="29719" cy="36517"/>
            </a:xfrm>
            <a:custGeom>
              <a:avLst/>
              <a:gdLst>
                <a:gd name="T0" fmla="*/ 8 w 18"/>
                <a:gd name="T1" fmla="*/ 0 h 22"/>
                <a:gd name="T2" fmla="*/ 2 w 18"/>
                <a:gd name="T3" fmla="*/ 6 h 22"/>
                <a:gd name="T4" fmla="*/ 0 w 18"/>
                <a:gd name="T5" fmla="*/ 14 h 22"/>
                <a:gd name="T6" fmla="*/ 8 w 18"/>
                <a:gd name="T7" fmla="*/ 22 h 22"/>
                <a:gd name="T8" fmla="*/ 18 w 18"/>
                <a:gd name="T9" fmla="*/ 10 h 22"/>
                <a:gd name="T10" fmla="*/ 16 w 18"/>
                <a:gd name="T11" fmla="*/ 2 h 22"/>
                <a:gd name="T12" fmla="*/ 8 w 18"/>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8" h="22">
                  <a:moveTo>
                    <a:pt x="8" y="0"/>
                  </a:moveTo>
                  <a:lnTo>
                    <a:pt x="2" y="6"/>
                  </a:lnTo>
                  <a:lnTo>
                    <a:pt x="0" y="14"/>
                  </a:lnTo>
                  <a:lnTo>
                    <a:pt x="8" y="22"/>
                  </a:lnTo>
                  <a:lnTo>
                    <a:pt x="18" y="10"/>
                  </a:lnTo>
                  <a:lnTo>
                    <a:pt x="16" y="2"/>
                  </a:lnTo>
                  <a:lnTo>
                    <a:pt x="8"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60" name="Freeform 34">
              <a:extLst>
                <a:ext uri="{FF2B5EF4-FFF2-40B4-BE49-F238E27FC236}">
                  <a16:creationId xmlns:a16="http://schemas.microsoft.com/office/drawing/2014/main" id="{012C184B-68CC-47DF-AE7D-5A7149D1B3BC}"/>
                </a:ext>
              </a:extLst>
            </p:cNvPr>
            <p:cNvSpPr>
              <a:spLocks/>
            </p:cNvSpPr>
            <p:nvPr/>
          </p:nvSpPr>
          <p:spPr bwMode="gray">
            <a:xfrm>
              <a:off x="2806801" y="2042269"/>
              <a:ext cx="36323" cy="23237"/>
            </a:xfrm>
            <a:custGeom>
              <a:avLst/>
              <a:gdLst>
                <a:gd name="T0" fmla="*/ 8 w 22"/>
                <a:gd name="T1" fmla="*/ 0 h 14"/>
                <a:gd name="T2" fmla="*/ 16 w 22"/>
                <a:gd name="T3" fmla="*/ 2 h 14"/>
                <a:gd name="T4" fmla="*/ 22 w 22"/>
                <a:gd name="T5" fmla="*/ 8 h 14"/>
                <a:gd name="T6" fmla="*/ 20 w 22"/>
                <a:gd name="T7" fmla="*/ 12 h 14"/>
                <a:gd name="T8" fmla="*/ 10 w 22"/>
                <a:gd name="T9" fmla="*/ 14 h 14"/>
                <a:gd name="T10" fmla="*/ 2 w 22"/>
                <a:gd name="T11" fmla="*/ 8 h 14"/>
                <a:gd name="T12" fmla="*/ 0 w 22"/>
                <a:gd name="T13" fmla="*/ 2 h 14"/>
                <a:gd name="T14" fmla="*/ 8 w 22"/>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8" y="0"/>
                  </a:moveTo>
                  <a:lnTo>
                    <a:pt x="16" y="2"/>
                  </a:lnTo>
                  <a:lnTo>
                    <a:pt x="22" y="8"/>
                  </a:lnTo>
                  <a:lnTo>
                    <a:pt x="20" y="12"/>
                  </a:lnTo>
                  <a:lnTo>
                    <a:pt x="10" y="14"/>
                  </a:lnTo>
                  <a:lnTo>
                    <a:pt x="2" y="8"/>
                  </a:lnTo>
                  <a:lnTo>
                    <a:pt x="0" y="2"/>
                  </a:lnTo>
                  <a:lnTo>
                    <a:pt x="8"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61" name="Freeform 35">
              <a:extLst>
                <a:ext uri="{FF2B5EF4-FFF2-40B4-BE49-F238E27FC236}">
                  <a16:creationId xmlns:a16="http://schemas.microsoft.com/office/drawing/2014/main" id="{5D21324C-CA9A-4325-8871-36F64136B556}"/>
                </a:ext>
              </a:extLst>
            </p:cNvPr>
            <p:cNvSpPr>
              <a:spLocks/>
            </p:cNvSpPr>
            <p:nvPr/>
          </p:nvSpPr>
          <p:spPr bwMode="gray">
            <a:xfrm>
              <a:off x="3863487" y="2540218"/>
              <a:ext cx="33021" cy="26557"/>
            </a:xfrm>
            <a:custGeom>
              <a:avLst/>
              <a:gdLst>
                <a:gd name="T0" fmla="*/ 8 w 20"/>
                <a:gd name="T1" fmla="*/ 0 h 16"/>
                <a:gd name="T2" fmla="*/ 16 w 20"/>
                <a:gd name="T3" fmla="*/ 6 h 16"/>
                <a:gd name="T4" fmla="*/ 20 w 20"/>
                <a:gd name="T5" fmla="*/ 12 h 16"/>
                <a:gd name="T6" fmla="*/ 16 w 20"/>
                <a:gd name="T7" fmla="*/ 16 h 16"/>
                <a:gd name="T8" fmla="*/ 6 w 20"/>
                <a:gd name="T9" fmla="*/ 14 h 16"/>
                <a:gd name="T10" fmla="*/ 0 w 20"/>
                <a:gd name="T11" fmla="*/ 10 h 16"/>
                <a:gd name="T12" fmla="*/ 0 w 20"/>
                <a:gd name="T13" fmla="*/ 2 h 16"/>
                <a:gd name="T14" fmla="*/ 8 w 20"/>
                <a:gd name="T15" fmla="*/ 0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6">
                  <a:moveTo>
                    <a:pt x="8" y="0"/>
                  </a:moveTo>
                  <a:lnTo>
                    <a:pt x="16" y="6"/>
                  </a:lnTo>
                  <a:lnTo>
                    <a:pt x="20" y="12"/>
                  </a:lnTo>
                  <a:lnTo>
                    <a:pt x="16" y="16"/>
                  </a:lnTo>
                  <a:lnTo>
                    <a:pt x="6" y="14"/>
                  </a:lnTo>
                  <a:lnTo>
                    <a:pt x="0" y="10"/>
                  </a:lnTo>
                  <a:lnTo>
                    <a:pt x="0" y="2"/>
                  </a:lnTo>
                  <a:lnTo>
                    <a:pt x="8"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62" name="Freeform 36">
              <a:extLst>
                <a:ext uri="{FF2B5EF4-FFF2-40B4-BE49-F238E27FC236}">
                  <a16:creationId xmlns:a16="http://schemas.microsoft.com/office/drawing/2014/main" id="{1BC51CA6-35BF-4472-AFA6-FCD5B617FF98}"/>
                </a:ext>
              </a:extLst>
            </p:cNvPr>
            <p:cNvSpPr>
              <a:spLocks/>
            </p:cNvSpPr>
            <p:nvPr/>
          </p:nvSpPr>
          <p:spPr bwMode="gray">
            <a:xfrm>
              <a:off x="4137565" y="3260583"/>
              <a:ext cx="62740" cy="29876"/>
            </a:xfrm>
            <a:custGeom>
              <a:avLst/>
              <a:gdLst>
                <a:gd name="T0" fmla="*/ 0 w 38"/>
                <a:gd name="T1" fmla="*/ 2 h 18"/>
                <a:gd name="T2" fmla="*/ 8 w 38"/>
                <a:gd name="T3" fmla="*/ 8 h 18"/>
                <a:gd name="T4" fmla="*/ 18 w 38"/>
                <a:gd name="T5" fmla="*/ 14 h 18"/>
                <a:gd name="T6" fmla="*/ 34 w 38"/>
                <a:gd name="T7" fmla="*/ 18 h 18"/>
                <a:gd name="T8" fmla="*/ 38 w 38"/>
                <a:gd name="T9" fmla="*/ 12 h 18"/>
                <a:gd name="T10" fmla="*/ 30 w 38"/>
                <a:gd name="T11" fmla="*/ 6 h 18"/>
                <a:gd name="T12" fmla="*/ 22 w 38"/>
                <a:gd name="T13" fmla="*/ 2 h 18"/>
                <a:gd name="T14" fmla="*/ 14 w 38"/>
                <a:gd name="T15" fmla="*/ 0 h 18"/>
                <a:gd name="T16" fmla="*/ 8 w 38"/>
                <a:gd name="T17" fmla="*/ 0 h 18"/>
                <a:gd name="T18" fmla="*/ 0 w 38"/>
                <a:gd name="T19"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18">
                  <a:moveTo>
                    <a:pt x="0" y="2"/>
                  </a:moveTo>
                  <a:lnTo>
                    <a:pt x="8" y="8"/>
                  </a:lnTo>
                  <a:lnTo>
                    <a:pt x="18" y="14"/>
                  </a:lnTo>
                  <a:lnTo>
                    <a:pt x="34" y="18"/>
                  </a:lnTo>
                  <a:lnTo>
                    <a:pt x="38" y="12"/>
                  </a:lnTo>
                  <a:lnTo>
                    <a:pt x="30" y="6"/>
                  </a:lnTo>
                  <a:lnTo>
                    <a:pt x="22" y="2"/>
                  </a:lnTo>
                  <a:lnTo>
                    <a:pt x="14" y="0"/>
                  </a:lnTo>
                  <a:lnTo>
                    <a:pt x="8" y="0"/>
                  </a:lnTo>
                  <a:lnTo>
                    <a:pt x="0" y="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63" name="Freeform 37">
              <a:extLst>
                <a:ext uri="{FF2B5EF4-FFF2-40B4-BE49-F238E27FC236}">
                  <a16:creationId xmlns:a16="http://schemas.microsoft.com/office/drawing/2014/main" id="{26722658-63C2-4C04-AA23-3FEF53D2A5C5}"/>
                </a:ext>
              </a:extLst>
            </p:cNvPr>
            <p:cNvSpPr>
              <a:spLocks/>
            </p:cNvSpPr>
            <p:nvPr/>
          </p:nvSpPr>
          <p:spPr bwMode="gray">
            <a:xfrm>
              <a:off x="2463379" y="3227386"/>
              <a:ext cx="118878" cy="82991"/>
            </a:xfrm>
            <a:custGeom>
              <a:avLst/>
              <a:gdLst>
                <a:gd name="T0" fmla="*/ 0 w 72"/>
                <a:gd name="T1" fmla="*/ 0 h 50"/>
                <a:gd name="T2" fmla="*/ 12 w 72"/>
                <a:gd name="T3" fmla="*/ 2 h 50"/>
                <a:gd name="T4" fmla="*/ 24 w 72"/>
                <a:gd name="T5" fmla="*/ 6 h 50"/>
                <a:gd name="T6" fmla="*/ 32 w 72"/>
                <a:gd name="T7" fmla="*/ 10 h 50"/>
                <a:gd name="T8" fmla="*/ 42 w 72"/>
                <a:gd name="T9" fmla="*/ 16 h 50"/>
                <a:gd name="T10" fmla="*/ 50 w 72"/>
                <a:gd name="T11" fmla="*/ 26 h 50"/>
                <a:gd name="T12" fmla="*/ 56 w 72"/>
                <a:gd name="T13" fmla="*/ 30 h 50"/>
                <a:gd name="T14" fmla="*/ 66 w 72"/>
                <a:gd name="T15" fmla="*/ 36 h 50"/>
                <a:gd name="T16" fmla="*/ 70 w 72"/>
                <a:gd name="T17" fmla="*/ 42 h 50"/>
                <a:gd name="T18" fmla="*/ 72 w 72"/>
                <a:gd name="T19" fmla="*/ 46 h 50"/>
                <a:gd name="T20" fmla="*/ 66 w 72"/>
                <a:gd name="T21" fmla="*/ 48 h 50"/>
                <a:gd name="T22" fmla="*/ 56 w 72"/>
                <a:gd name="T23" fmla="*/ 50 h 50"/>
                <a:gd name="T24" fmla="*/ 46 w 72"/>
                <a:gd name="T25" fmla="*/ 46 h 50"/>
                <a:gd name="T26" fmla="*/ 46 w 72"/>
                <a:gd name="T27" fmla="*/ 38 h 50"/>
                <a:gd name="T28" fmla="*/ 40 w 72"/>
                <a:gd name="T29" fmla="*/ 38 h 50"/>
                <a:gd name="T30" fmla="*/ 34 w 72"/>
                <a:gd name="T31" fmla="*/ 32 h 50"/>
                <a:gd name="T32" fmla="*/ 28 w 72"/>
                <a:gd name="T33" fmla="*/ 24 h 50"/>
                <a:gd name="T34" fmla="*/ 22 w 72"/>
                <a:gd name="T35" fmla="*/ 24 h 50"/>
                <a:gd name="T36" fmla="*/ 20 w 72"/>
                <a:gd name="T37" fmla="*/ 18 h 50"/>
                <a:gd name="T38" fmla="*/ 14 w 72"/>
                <a:gd name="T39" fmla="*/ 18 h 50"/>
                <a:gd name="T40" fmla="*/ 6 w 72"/>
                <a:gd name="T41" fmla="*/ 14 h 50"/>
                <a:gd name="T42" fmla="*/ 0 w 72"/>
                <a:gd name="T43" fmla="*/ 10 h 50"/>
                <a:gd name="T44" fmla="*/ 0 w 72"/>
                <a:gd name="T4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2" h="50">
                  <a:moveTo>
                    <a:pt x="0" y="0"/>
                  </a:moveTo>
                  <a:lnTo>
                    <a:pt x="12" y="2"/>
                  </a:lnTo>
                  <a:lnTo>
                    <a:pt x="24" y="6"/>
                  </a:lnTo>
                  <a:lnTo>
                    <a:pt x="32" y="10"/>
                  </a:lnTo>
                  <a:lnTo>
                    <a:pt x="42" y="16"/>
                  </a:lnTo>
                  <a:lnTo>
                    <a:pt x="50" y="26"/>
                  </a:lnTo>
                  <a:lnTo>
                    <a:pt x="56" y="30"/>
                  </a:lnTo>
                  <a:lnTo>
                    <a:pt x="66" y="36"/>
                  </a:lnTo>
                  <a:lnTo>
                    <a:pt x="70" y="42"/>
                  </a:lnTo>
                  <a:lnTo>
                    <a:pt x="72" y="46"/>
                  </a:lnTo>
                  <a:lnTo>
                    <a:pt x="66" y="48"/>
                  </a:lnTo>
                  <a:lnTo>
                    <a:pt x="56" y="50"/>
                  </a:lnTo>
                  <a:lnTo>
                    <a:pt x="46" y="46"/>
                  </a:lnTo>
                  <a:lnTo>
                    <a:pt x="46" y="38"/>
                  </a:lnTo>
                  <a:lnTo>
                    <a:pt x="40" y="38"/>
                  </a:lnTo>
                  <a:lnTo>
                    <a:pt x="34" y="32"/>
                  </a:lnTo>
                  <a:lnTo>
                    <a:pt x="28" y="24"/>
                  </a:lnTo>
                  <a:lnTo>
                    <a:pt x="22" y="24"/>
                  </a:lnTo>
                  <a:lnTo>
                    <a:pt x="20" y="18"/>
                  </a:lnTo>
                  <a:lnTo>
                    <a:pt x="14" y="18"/>
                  </a:lnTo>
                  <a:lnTo>
                    <a:pt x="6" y="14"/>
                  </a:lnTo>
                  <a:lnTo>
                    <a:pt x="0" y="10"/>
                  </a:lnTo>
                  <a:lnTo>
                    <a:pt x="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grpSp>
          <p:nvGrpSpPr>
            <p:cNvPr id="864" name="Group 38">
              <a:extLst>
                <a:ext uri="{FF2B5EF4-FFF2-40B4-BE49-F238E27FC236}">
                  <a16:creationId xmlns:a16="http://schemas.microsoft.com/office/drawing/2014/main" id="{DEFCE587-5D5F-421D-8C07-4DB216623BAD}"/>
                </a:ext>
              </a:extLst>
            </p:cNvPr>
            <p:cNvGrpSpPr>
              <a:grpSpLocks/>
            </p:cNvGrpSpPr>
            <p:nvPr/>
          </p:nvGrpSpPr>
          <p:grpSpPr bwMode="auto">
            <a:xfrm>
              <a:off x="1433110" y="2397472"/>
              <a:ext cx="980737" cy="770160"/>
              <a:chOff x="44" y="1185"/>
              <a:chExt cx="594" cy="464"/>
            </a:xfrm>
            <a:grpFill/>
          </p:grpSpPr>
          <p:sp>
            <p:nvSpPr>
              <p:cNvPr id="1100" name="Freeform 39">
                <a:extLst>
                  <a:ext uri="{FF2B5EF4-FFF2-40B4-BE49-F238E27FC236}">
                    <a16:creationId xmlns:a16="http://schemas.microsoft.com/office/drawing/2014/main" id="{DA5F9F44-D9CC-40B2-A607-45D71D1980B1}"/>
                  </a:ext>
                </a:extLst>
              </p:cNvPr>
              <p:cNvSpPr>
                <a:spLocks/>
              </p:cNvSpPr>
              <p:nvPr/>
            </p:nvSpPr>
            <p:spPr bwMode="gray">
              <a:xfrm>
                <a:off x="44" y="1185"/>
                <a:ext cx="594" cy="414"/>
              </a:xfrm>
              <a:custGeom>
                <a:avLst/>
                <a:gdLst>
                  <a:gd name="T0" fmla="*/ 540 w 594"/>
                  <a:gd name="T1" fmla="*/ 354 h 414"/>
                  <a:gd name="T2" fmla="*/ 510 w 594"/>
                  <a:gd name="T3" fmla="*/ 318 h 414"/>
                  <a:gd name="T4" fmla="*/ 500 w 594"/>
                  <a:gd name="T5" fmla="*/ 332 h 414"/>
                  <a:gd name="T6" fmla="*/ 464 w 594"/>
                  <a:gd name="T7" fmla="*/ 324 h 414"/>
                  <a:gd name="T8" fmla="*/ 414 w 594"/>
                  <a:gd name="T9" fmla="*/ 298 h 414"/>
                  <a:gd name="T10" fmla="*/ 362 w 594"/>
                  <a:gd name="T11" fmla="*/ 288 h 414"/>
                  <a:gd name="T12" fmla="*/ 318 w 594"/>
                  <a:gd name="T13" fmla="*/ 272 h 414"/>
                  <a:gd name="T14" fmla="*/ 314 w 594"/>
                  <a:gd name="T15" fmla="*/ 294 h 414"/>
                  <a:gd name="T16" fmla="*/ 278 w 594"/>
                  <a:gd name="T17" fmla="*/ 304 h 414"/>
                  <a:gd name="T18" fmla="*/ 252 w 594"/>
                  <a:gd name="T19" fmla="*/ 298 h 414"/>
                  <a:gd name="T20" fmla="*/ 270 w 594"/>
                  <a:gd name="T21" fmla="*/ 274 h 414"/>
                  <a:gd name="T22" fmla="*/ 274 w 594"/>
                  <a:gd name="T23" fmla="*/ 266 h 414"/>
                  <a:gd name="T24" fmla="*/ 236 w 594"/>
                  <a:gd name="T25" fmla="*/ 298 h 414"/>
                  <a:gd name="T26" fmla="*/ 222 w 594"/>
                  <a:gd name="T27" fmla="*/ 322 h 414"/>
                  <a:gd name="T28" fmla="*/ 196 w 594"/>
                  <a:gd name="T29" fmla="*/ 348 h 414"/>
                  <a:gd name="T30" fmla="*/ 146 w 594"/>
                  <a:gd name="T31" fmla="*/ 384 h 414"/>
                  <a:gd name="T32" fmla="*/ 112 w 594"/>
                  <a:gd name="T33" fmla="*/ 398 h 414"/>
                  <a:gd name="T34" fmla="*/ 90 w 594"/>
                  <a:gd name="T35" fmla="*/ 408 h 414"/>
                  <a:gd name="T36" fmla="*/ 84 w 594"/>
                  <a:gd name="T37" fmla="*/ 394 h 414"/>
                  <a:gd name="T38" fmla="*/ 114 w 594"/>
                  <a:gd name="T39" fmla="*/ 382 h 414"/>
                  <a:gd name="T40" fmla="*/ 156 w 594"/>
                  <a:gd name="T41" fmla="*/ 354 h 414"/>
                  <a:gd name="T42" fmla="*/ 170 w 594"/>
                  <a:gd name="T43" fmla="*/ 320 h 414"/>
                  <a:gd name="T44" fmla="*/ 138 w 594"/>
                  <a:gd name="T45" fmla="*/ 328 h 414"/>
                  <a:gd name="T46" fmla="*/ 100 w 594"/>
                  <a:gd name="T47" fmla="*/ 328 h 414"/>
                  <a:gd name="T48" fmla="*/ 86 w 594"/>
                  <a:gd name="T49" fmla="*/ 286 h 414"/>
                  <a:gd name="T50" fmla="*/ 56 w 594"/>
                  <a:gd name="T51" fmla="*/ 300 h 414"/>
                  <a:gd name="T52" fmla="*/ 48 w 594"/>
                  <a:gd name="T53" fmla="*/ 274 h 414"/>
                  <a:gd name="T54" fmla="*/ 24 w 594"/>
                  <a:gd name="T55" fmla="*/ 258 h 414"/>
                  <a:gd name="T56" fmla="*/ 46 w 594"/>
                  <a:gd name="T57" fmla="*/ 226 h 414"/>
                  <a:gd name="T58" fmla="*/ 80 w 594"/>
                  <a:gd name="T59" fmla="*/ 214 h 414"/>
                  <a:gd name="T60" fmla="*/ 102 w 594"/>
                  <a:gd name="T61" fmla="*/ 184 h 414"/>
                  <a:gd name="T62" fmla="*/ 86 w 594"/>
                  <a:gd name="T63" fmla="*/ 180 h 414"/>
                  <a:gd name="T64" fmla="*/ 20 w 594"/>
                  <a:gd name="T65" fmla="*/ 168 h 414"/>
                  <a:gd name="T66" fmla="*/ 10 w 594"/>
                  <a:gd name="T67" fmla="*/ 150 h 414"/>
                  <a:gd name="T68" fmla="*/ 60 w 594"/>
                  <a:gd name="T69" fmla="*/ 132 h 414"/>
                  <a:gd name="T70" fmla="*/ 100 w 594"/>
                  <a:gd name="T71" fmla="*/ 142 h 414"/>
                  <a:gd name="T72" fmla="*/ 102 w 594"/>
                  <a:gd name="T73" fmla="*/ 132 h 414"/>
                  <a:gd name="T74" fmla="*/ 84 w 594"/>
                  <a:gd name="T75" fmla="*/ 116 h 414"/>
                  <a:gd name="T76" fmla="*/ 44 w 594"/>
                  <a:gd name="T77" fmla="*/ 94 h 414"/>
                  <a:gd name="T78" fmla="*/ 22 w 594"/>
                  <a:gd name="T79" fmla="*/ 68 h 414"/>
                  <a:gd name="T80" fmla="*/ 88 w 594"/>
                  <a:gd name="T81" fmla="*/ 28 h 414"/>
                  <a:gd name="T82" fmla="*/ 132 w 594"/>
                  <a:gd name="T83" fmla="*/ 12 h 414"/>
                  <a:gd name="T84" fmla="*/ 186 w 594"/>
                  <a:gd name="T85" fmla="*/ 8 h 414"/>
                  <a:gd name="T86" fmla="*/ 244 w 594"/>
                  <a:gd name="T87" fmla="*/ 16 h 414"/>
                  <a:gd name="T88" fmla="*/ 318 w 594"/>
                  <a:gd name="T89" fmla="*/ 30 h 414"/>
                  <a:gd name="T90" fmla="*/ 400 w 594"/>
                  <a:gd name="T91" fmla="*/ 40 h 414"/>
                  <a:gd name="T92" fmla="*/ 438 w 594"/>
                  <a:gd name="T93" fmla="*/ 288 h 414"/>
                  <a:gd name="T94" fmla="*/ 478 w 594"/>
                  <a:gd name="T95" fmla="*/ 316 h 414"/>
                  <a:gd name="T96" fmla="*/ 508 w 594"/>
                  <a:gd name="T97" fmla="*/ 300 h 414"/>
                  <a:gd name="T98" fmla="*/ 556 w 594"/>
                  <a:gd name="T99" fmla="*/ 358 h 414"/>
                  <a:gd name="T100" fmla="*/ 594 w 594"/>
                  <a:gd name="T101" fmla="*/ 394 h 414"/>
                  <a:gd name="T102" fmla="*/ 582 w 594"/>
                  <a:gd name="T103" fmla="*/ 39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94" h="414">
                    <a:moveTo>
                      <a:pt x="568" y="384"/>
                    </a:moveTo>
                    <a:lnTo>
                      <a:pt x="552" y="370"/>
                    </a:lnTo>
                    <a:lnTo>
                      <a:pt x="542" y="362"/>
                    </a:lnTo>
                    <a:lnTo>
                      <a:pt x="540" y="354"/>
                    </a:lnTo>
                    <a:lnTo>
                      <a:pt x="530" y="342"/>
                    </a:lnTo>
                    <a:lnTo>
                      <a:pt x="522" y="336"/>
                    </a:lnTo>
                    <a:lnTo>
                      <a:pt x="518" y="330"/>
                    </a:lnTo>
                    <a:lnTo>
                      <a:pt x="510" y="318"/>
                    </a:lnTo>
                    <a:lnTo>
                      <a:pt x="506" y="322"/>
                    </a:lnTo>
                    <a:lnTo>
                      <a:pt x="510" y="334"/>
                    </a:lnTo>
                    <a:lnTo>
                      <a:pt x="506" y="338"/>
                    </a:lnTo>
                    <a:lnTo>
                      <a:pt x="500" y="332"/>
                    </a:lnTo>
                    <a:lnTo>
                      <a:pt x="496" y="328"/>
                    </a:lnTo>
                    <a:lnTo>
                      <a:pt x="492" y="336"/>
                    </a:lnTo>
                    <a:lnTo>
                      <a:pt x="480" y="332"/>
                    </a:lnTo>
                    <a:lnTo>
                      <a:pt x="464" y="324"/>
                    </a:lnTo>
                    <a:lnTo>
                      <a:pt x="440" y="310"/>
                    </a:lnTo>
                    <a:lnTo>
                      <a:pt x="438" y="302"/>
                    </a:lnTo>
                    <a:lnTo>
                      <a:pt x="426" y="304"/>
                    </a:lnTo>
                    <a:lnTo>
                      <a:pt x="414" y="298"/>
                    </a:lnTo>
                    <a:lnTo>
                      <a:pt x="400" y="296"/>
                    </a:lnTo>
                    <a:lnTo>
                      <a:pt x="378" y="296"/>
                    </a:lnTo>
                    <a:lnTo>
                      <a:pt x="368" y="296"/>
                    </a:lnTo>
                    <a:lnTo>
                      <a:pt x="362" y="288"/>
                    </a:lnTo>
                    <a:lnTo>
                      <a:pt x="348" y="286"/>
                    </a:lnTo>
                    <a:lnTo>
                      <a:pt x="344" y="280"/>
                    </a:lnTo>
                    <a:lnTo>
                      <a:pt x="332" y="274"/>
                    </a:lnTo>
                    <a:lnTo>
                      <a:pt x="318" y="272"/>
                    </a:lnTo>
                    <a:lnTo>
                      <a:pt x="306" y="272"/>
                    </a:lnTo>
                    <a:lnTo>
                      <a:pt x="306" y="280"/>
                    </a:lnTo>
                    <a:lnTo>
                      <a:pt x="310" y="286"/>
                    </a:lnTo>
                    <a:lnTo>
                      <a:pt x="314" y="294"/>
                    </a:lnTo>
                    <a:lnTo>
                      <a:pt x="310" y="296"/>
                    </a:lnTo>
                    <a:lnTo>
                      <a:pt x="294" y="296"/>
                    </a:lnTo>
                    <a:lnTo>
                      <a:pt x="286" y="298"/>
                    </a:lnTo>
                    <a:lnTo>
                      <a:pt x="278" y="304"/>
                    </a:lnTo>
                    <a:lnTo>
                      <a:pt x="268" y="312"/>
                    </a:lnTo>
                    <a:lnTo>
                      <a:pt x="256" y="316"/>
                    </a:lnTo>
                    <a:lnTo>
                      <a:pt x="250" y="308"/>
                    </a:lnTo>
                    <a:lnTo>
                      <a:pt x="252" y="298"/>
                    </a:lnTo>
                    <a:lnTo>
                      <a:pt x="256" y="290"/>
                    </a:lnTo>
                    <a:lnTo>
                      <a:pt x="258" y="280"/>
                    </a:lnTo>
                    <a:lnTo>
                      <a:pt x="262" y="276"/>
                    </a:lnTo>
                    <a:lnTo>
                      <a:pt x="270" y="274"/>
                    </a:lnTo>
                    <a:lnTo>
                      <a:pt x="280" y="272"/>
                    </a:lnTo>
                    <a:lnTo>
                      <a:pt x="284" y="264"/>
                    </a:lnTo>
                    <a:lnTo>
                      <a:pt x="286" y="260"/>
                    </a:lnTo>
                    <a:lnTo>
                      <a:pt x="274" y="266"/>
                    </a:lnTo>
                    <a:lnTo>
                      <a:pt x="264" y="268"/>
                    </a:lnTo>
                    <a:lnTo>
                      <a:pt x="244" y="282"/>
                    </a:lnTo>
                    <a:lnTo>
                      <a:pt x="236" y="290"/>
                    </a:lnTo>
                    <a:lnTo>
                      <a:pt x="236" y="298"/>
                    </a:lnTo>
                    <a:lnTo>
                      <a:pt x="230" y="304"/>
                    </a:lnTo>
                    <a:lnTo>
                      <a:pt x="220" y="306"/>
                    </a:lnTo>
                    <a:lnTo>
                      <a:pt x="216" y="314"/>
                    </a:lnTo>
                    <a:lnTo>
                      <a:pt x="222" y="322"/>
                    </a:lnTo>
                    <a:lnTo>
                      <a:pt x="224" y="326"/>
                    </a:lnTo>
                    <a:lnTo>
                      <a:pt x="218" y="332"/>
                    </a:lnTo>
                    <a:lnTo>
                      <a:pt x="208" y="340"/>
                    </a:lnTo>
                    <a:lnTo>
                      <a:pt x="196" y="348"/>
                    </a:lnTo>
                    <a:lnTo>
                      <a:pt x="176" y="360"/>
                    </a:lnTo>
                    <a:lnTo>
                      <a:pt x="154" y="372"/>
                    </a:lnTo>
                    <a:lnTo>
                      <a:pt x="148" y="378"/>
                    </a:lnTo>
                    <a:lnTo>
                      <a:pt x="146" y="384"/>
                    </a:lnTo>
                    <a:lnTo>
                      <a:pt x="134" y="390"/>
                    </a:lnTo>
                    <a:lnTo>
                      <a:pt x="130" y="394"/>
                    </a:lnTo>
                    <a:lnTo>
                      <a:pt x="116" y="394"/>
                    </a:lnTo>
                    <a:lnTo>
                      <a:pt x="112" y="398"/>
                    </a:lnTo>
                    <a:lnTo>
                      <a:pt x="104" y="402"/>
                    </a:lnTo>
                    <a:lnTo>
                      <a:pt x="98" y="398"/>
                    </a:lnTo>
                    <a:lnTo>
                      <a:pt x="94" y="400"/>
                    </a:lnTo>
                    <a:lnTo>
                      <a:pt x="90" y="408"/>
                    </a:lnTo>
                    <a:lnTo>
                      <a:pt x="84" y="412"/>
                    </a:lnTo>
                    <a:lnTo>
                      <a:pt x="76" y="410"/>
                    </a:lnTo>
                    <a:lnTo>
                      <a:pt x="78" y="402"/>
                    </a:lnTo>
                    <a:lnTo>
                      <a:pt x="84" y="394"/>
                    </a:lnTo>
                    <a:lnTo>
                      <a:pt x="90" y="390"/>
                    </a:lnTo>
                    <a:lnTo>
                      <a:pt x="100" y="388"/>
                    </a:lnTo>
                    <a:lnTo>
                      <a:pt x="110" y="388"/>
                    </a:lnTo>
                    <a:lnTo>
                      <a:pt x="114" y="382"/>
                    </a:lnTo>
                    <a:lnTo>
                      <a:pt x="124" y="378"/>
                    </a:lnTo>
                    <a:lnTo>
                      <a:pt x="140" y="366"/>
                    </a:lnTo>
                    <a:lnTo>
                      <a:pt x="150" y="356"/>
                    </a:lnTo>
                    <a:lnTo>
                      <a:pt x="156" y="354"/>
                    </a:lnTo>
                    <a:lnTo>
                      <a:pt x="160" y="342"/>
                    </a:lnTo>
                    <a:lnTo>
                      <a:pt x="160" y="332"/>
                    </a:lnTo>
                    <a:lnTo>
                      <a:pt x="168" y="328"/>
                    </a:lnTo>
                    <a:lnTo>
                      <a:pt x="170" y="320"/>
                    </a:lnTo>
                    <a:lnTo>
                      <a:pt x="160" y="322"/>
                    </a:lnTo>
                    <a:lnTo>
                      <a:pt x="148" y="328"/>
                    </a:lnTo>
                    <a:lnTo>
                      <a:pt x="142" y="322"/>
                    </a:lnTo>
                    <a:lnTo>
                      <a:pt x="138" y="328"/>
                    </a:lnTo>
                    <a:lnTo>
                      <a:pt x="134" y="330"/>
                    </a:lnTo>
                    <a:lnTo>
                      <a:pt x="126" y="322"/>
                    </a:lnTo>
                    <a:lnTo>
                      <a:pt x="110" y="320"/>
                    </a:lnTo>
                    <a:lnTo>
                      <a:pt x="100" y="328"/>
                    </a:lnTo>
                    <a:lnTo>
                      <a:pt x="90" y="330"/>
                    </a:lnTo>
                    <a:lnTo>
                      <a:pt x="88" y="304"/>
                    </a:lnTo>
                    <a:lnTo>
                      <a:pt x="86" y="296"/>
                    </a:lnTo>
                    <a:lnTo>
                      <a:pt x="86" y="286"/>
                    </a:lnTo>
                    <a:lnTo>
                      <a:pt x="80" y="286"/>
                    </a:lnTo>
                    <a:lnTo>
                      <a:pt x="78" y="296"/>
                    </a:lnTo>
                    <a:lnTo>
                      <a:pt x="74" y="300"/>
                    </a:lnTo>
                    <a:lnTo>
                      <a:pt x="56" y="300"/>
                    </a:lnTo>
                    <a:lnTo>
                      <a:pt x="48" y="292"/>
                    </a:lnTo>
                    <a:lnTo>
                      <a:pt x="40" y="280"/>
                    </a:lnTo>
                    <a:lnTo>
                      <a:pt x="42" y="274"/>
                    </a:lnTo>
                    <a:lnTo>
                      <a:pt x="48" y="274"/>
                    </a:lnTo>
                    <a:lnTo>
                      <a:pt x="40" y="268"/>
                    </a:lnTo>
                    <a:lnTo>
                      <a:pt x="40" y="260"/>
                    </a:lnTo>
                    <a:lnTo>
                      <a:pt x="36" y="268"/>
                    </a:lnTo>
                    <a:lnTo>
                      <a:pt x="24" y="258"/>
                    </a:lnTo>
                    <a:lnTo>
                      <a:pt x="30" y="246"/>
                    </a:lnTo>
                    <a:lnTo>
                      <a:pt x="34" y="242"/>
                    </a:lnTo>
                    <a:lnTo>
                      <a:pt x="46" y="234"/>
                    </a:lnTo>
                    <a:lnTo>
                      <a:pt x="46" y="226"/>
                    </a:lnTo>
                    <a:lnTo>
                      <a:pt x="50" y="220"/>
                    </a:lnTo>
                    <a:lnTo>
                      <a:pt x="58" y="220"/>
                    </a:lnTo>
                    <a:lnTo>
                      <a:pt x="72" y="222"/>
                    </a:lnTo>
                    <a:lnTo>
                      <a:pt x="80" y="214"/>
                    </a:lnTo>
                    <a:lnTo>
                      <a:pt x="88" y="210"/>
                    </a:lnTo>
                    <a:lnTo>
                      <a:pt x="110" y="208"/>
                    </a:lnTo>
                    <a:lnTo>
                      <a:pt x="108" y="194"/>
                    </a:lnTo>
                    <a:lnTo>
                      <a:pt x="102" y="184"/>
                    </a:lnTo>
                    <a:lnTo>
                      <a:pt x="108" y="178"/>
                    </a:lnTo>
                    <a:lnTo>
                      <a:pt x="104" y="174"/>
                    </a:lnTo>
                    <a:lnTo>
                      <a:pt x="94" y="174"/>
                    </a:lnTo>
                    <a:lnTo>
                      <a:pt x="86" y="180"/>
                    </a:lnTo>
                    <a:lnTo>
                      <a:pt x="76" y="186"/>
                    </a:lnTo>
                    <a:lnTo>
                      <a:pt x="22" y="184"/>
                    </a:lnTo>
                    <a:lnTo>
                      <a:pt x="14" y="176"/>
                    </a:lnTo>
                    <a:lnTo>
                      <a:pt x="20" y="168"/>
                    </a:lnTo>
                    <a:lnTo>
                      <a:pt x="20" y="164"/>
                    </a:lnTo>
                    <a:lnTo>
                      <a:pt x="4" y="164"/>
                    </a:lnTo>
                    <a:lnTo>
                      <a:pt x="0" y="156"/>
                    </a:lnTo>
                    <a:lnTo>
                      <a:pt x="10" y="150"/>
                    </a:lnTo>
                    <a:lnTo>
                      <a:pt x="22" y="140"/>
                    </a:lnTo>
                    <a:lnTo>
                      <a:pt x="36" y="136"/>
                    </a:lnTo>
                    <a:lnTo>
                      <a:pt x="52" y="130"/>
                    </a:lnTo>
                    <a:lnTo>
                      <a:pt x="60" y="132"/>
                    </a:lnTo>
                    <a:lnTo>
                      <a:pt x="62" y="140"/>
                    </a:lnTo>
                    <a:lnTo>
                      <a:pt x="72" y="146"/>
                    </a:lnTo>
                    <a:lnTo>
                      <a:pt x="88" y="144"/>
                    </a:lnTo>
                    <a:lnTo>
                      <a:pt x="100" y="142"/>
                    </a:lnTo>
                    <a:lnTo>
                      <a:pt x="114" y="136"/>
                    </a:lnTo>
                    <a:lnTo>
                      <a:pt x="118" y="130"/>
                    </a:lnTo>
                    <a:lnTo>
                      <a:pt x="108" y="128"/>
                    </a:lnTo>
                    <a:lnTo>
                      <a:pt x="102" y="132"/>
                    </a:lnTo>
                    <a:lnTo>
                      <a:pt x="88" y="130"/>
                    </a:lnTo>
                    <a:lnTo>
                      <a:pt x="88" y="122"/>
                    </a:lnTo>
                    <a:lnTo>
                      <a:pt x="92" y="118"/>
                    </a:lnTo>
                    <a:lnTo>
                      <a:pt x="84" y="116"/>
                    </a:lnTo>
                    <a:lnTo>
                      <a:pt x="66" y="120"/>
                    </a:lnTo>
                    <a:lnTo>
                      <a:pt x="60" y="108"/>
                    </a:lnTo>
                    <a:lnTo>
                      <a:pt x="50" y="100"/>
                    </a:lnTo>
                    <a:lnTo>
                      <a:pt x="44" y="94"/>
                    </a:lnTo>
                    <a:lnTo>
                      <a:pt x="38" y="90"/>
                    </a:lnTo>
                    <a:lnTo>
                      <a:pt x="26" y="90"/>
                    </a:lnTo>
                    <a:lnTo>
                      <a:pt x="20" y="82"/>
                    </a:lnTo>
                    <a:lnTo>
                      <a:pt x="22" y="68"/>
                    </a:lnTo>
                    <a:lnTo>
                      <a:pt x="58" y="64"/>
                    </a:lnTo>
                    <a:lnTo>
                      <a:pt x="70" y="54"/>
                    </a:lnTo>
                    <a:lnTo>
                      <a:pt x="74" y="42"/>
                    </a:lnTo>
                    <a:lnTo>
                      <a:pt x="88" y="28"/>
                    </a:lnTo>
                    <a:lnTo>
                      <a:pt x="104" y="28"/>
                    </a:lnTo>
                    <a:lnTo>
                      <a:pt x="120" y="20"/>
                    </a:lnTo>
                    <a:lnTo>
                      <a:pt x="128" y="20"/>
                    </a:lnTo>
                    <a:lnTo>
                      <a:pt x="132" y="12"/>
                    </a:lnTo>
                    <a:lnTo>
                      <a:pt x="158" y="10"/>
                    </a:lnTo>
                    <a:lnTo>
                      <a:pt x="176" y="0"/>
                    </a:lnTo>
                    <a:lnTo>
                      <a:pt x="190" y="2"/>
                    </a:lnTo>
                    <a:lnTo>
                      <a:pt x="186" y="8"/>
                    </a:lnTo>
                    <a:lnTo>
                      <a:pt x="190" y="14"/>
                    </a:lnTo>
                    <a:lnTo>
                      <a:pt x="204" y="8"/>
                    </a:lnTo>
                    <a:lnTo>
                      <a:pt x="212" y="12"/>
                    </a:lnTo>
                    <a:lnTo>
                      <a:pt x="244" y="16"/>
                    </a:lnTo>
                    <a:lnTo>
                      <a:pt x="244" y="22"/>
                    </a:lnTo>
                    <a:lnTo>
                      <a:pt x="268" y="24"/>
                    </a:lnTo>
                    <a:lnTo>
                      <a:pt x="296" y="24"/>
                    </a:lnTo>
                    <a:lnTo>
                      <a:pt x="318" y="30"/>
                    </a:lnTo>
                    <a:lnTo>
                      <a:pt x="344" y="36"/>
                    </a:lnTo>
                    <a:lnTo>
                      <a:pt x="364" y="40"/>
                    </a:lnTo>
                    <a:lnTo>
                      <a:pt x="394" y="36"/>
                    </a:lnTo>
                    <a:lnTo>
                      <a:pt x="400" y="40"/>
                    </a:lnTo>
                    <a:lnTo>
                      <a:pt x="420" y="48"/>
                    </a:lnTo>
                    <a:lnTo>
                      <a:pt x="420" y="288"/>
                    </a:lnTo>
                    <a:lnTo>
                      <a:pt x="430" y="292"/>
                    </a:lnTo>
                    <a:lnTo>
                      <a:pt x="438" y="288"/>
                    </a:lnTo>
                    <a:lnTo>
                      <a:pt x="446" y="286"/>
                    </a:lnTo>
                    <a:lnTo>
                      <a:pt x="454" y="296"/>
                    </a:lnTo>
                    <a:lnTo>
                      <a:pt x="470" y="308"/>
                    </a:lnTo>
                    <a:lnTo>
                      <a:pt x="478" y="316"/>
                    </a:lnTo>
                    <a:lnTo>
                      <a:pt x="488" y="314"/>
                    </a:lnTo>
                    <a:lnTo>
                      <a:pt x="490" y="308"/>
                    </a:lnTo>
                    <a:lnTo>
                      <a:pt x="498" y="304"/>
                    </a:lnTo>
                    <a:lnTo>
                      <a:pt x="508" y="300"/>
                    </a:lnTo>
                    <a:lnTo>
                      <a:pt x="520" y="312"/>
                    </a:lnTo>
                    <a:lnTo>
                      <a:pt x="530" y="322"/>
                    </a:lnTo>
                    <a:lnTo>
                      <a:pt x="546" y="338"/>
                    </a:lnTo>
                    <a:lnTo>
                      <a:pt x="556" y="358"/>
                    </a:lnTo>
                    <a:lnTo>
                      <a:pt x="566" y="370"/>
                    </a:lnTo>
                    <a:lnTo>
                      <a:pt x="578" y="378"/>
                    </a:lnTo>
                    <a:lnTo>
                      <a:pt x="592" y="386"/>
                    </a:lnTo>
                    <a:lnTo>
                      <a:pt x="594" y="394"/>
                    </a:lnTo>
                    <a:lnTo>
                      <a:pt x="590" y="410"/>
                    </a:lnTo>
                    <a:lnTo>
                      <a:pt x="576" y="414"/>
                    </a:lnTo>
                    <a:lnTo>
                      <a:pt x="580" y="404"/>
                    </a:lnTo>
                    <a:lnTo>
                      <a:pt x="582" y="394"/>
                    </a:lnTo>
                    <a:lnTo>
                      <a:pt x="576" y="392"/>
                    </a:lnTo>
                    <a:lnTo>
                      <a:pt x="570" y="386"/>
                    </a:lnTo>
                    <a:lnTo>
                      <a:pt x="568" y="38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101" name="Freeform 40">
                <a:extLst>
                  <a:ext uri="{FF2B5EF4-FFF2-40B4-BE49-F238E27FC236}">
                    <a16:creationId xmlns:a16="http://schemas.microsoft.com/office/drawing/2014/main" id="{A41997A1-444B-4481-BC60-84246DEF11B3}"/>
                  </a:ext>
                </a:extLst>
              </p:cNvPr>
              <p:cNvSpPr>
                <a:spLocks/>
              </p:cNvSpPr>
              <p:nvPr/>
            </p:nvSpPr>
            <p:spPr bwMode="gray">
              <a:xfrm>
                <a:off x="250" y="1527"/>
                <a:ext cx="38" cy="26"/>
              </a:xfrm>
              <a:custGeom>
                <a:avLst/>
                <a:gdLst>
                  <a:gd name="T0" fmla="*/ 28 w 38"/>
                  <a:gd name="T1" fmla="*/ 2 h 26"/>
                  <a:gd name="T2" fmla="*/ 20 w 38"/>
                  <a:gd name="T3" fmla="*/ 4 h 26"/>
                  <a:gd name="T4" fmla="*/ 14 w 38"/>
                  <a:gd name="T5" fmla="*/ 6 h 26"/>
                  <a:gd name="T6" fmla="*/ 14 w 38"/>
                  <a:gd name="T7" fmla="*/ 14 h 26"/>
                  <a:gd name="T8" fmla="*/ 8 w 38"/>
                  <a:gd name="T9" fmla="*/ 12 h 26"/>
                  <a:gd name="T10" fmla="*/ 4 w 38"/>
                  <a:gd name="T11" fmla="*/ 8 h 26"/>
                  <a:gd name="T12" fmla="*/ 0 w 38"/>
                  <a:gd name="T13" fmla="*/ 12 h 26"/>
                  <a:gd name="T14" fmla="*/ 2 w 38"/>
                  <a:gd name="T15" fmla="*/ 20 h 26"/>
                  <a:gd name="T16" fmla="*/ 8 w 38"/>
                  <a:gd name="T17" fmla="*/ 26 h 26"/>
                  <a:gd name="T18" fmla="*/ 26 w 38"/>
                  <a:gd name="T19" fmla="*/ 24 h 26"/>
                  <a:gd name="T20" fmla="*/ 32 w 38"/>
                  <a:gd name="T21" fmla="*/ 16 h 26"/>
                  <a:gd name="T22" fmla="*/ 38 w 38"/>
                  <a:gd name="T23" fmla="*/ 10 h 26"/>
                  <a:gd name="T24" fmla="*/ 34 w 38"/>
                  <a:gd name="T25" fmla="*/ 0 h 26"/>
                  <a:gd name="T26" fmla="*/ 28 w 38"/>
                  <a:gd name="T27" fmla="*/ 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 h="26">
                    <a:moveTo>
                      <a:pt x="28" y="2"/>
                    </a:moveTo>
                    <a:lnTo>
                      <a:pt x="20" y="4"/>
                    </a:lnTo>
                    <a:lnTo>
                      <a:pt x="14" y="6"/>
                    </a:lnTo>
                    <a:lnTo>
                      <a:pt x="14" y="14"/>
                    </a:lnTo>
                    <a:lnTo>
                      <a:pt x="8" y="12"/>
                    </a:lnTo>
                    <a:lnTo>
                      <a:pt x="4" y="8"/>
                    </a:lnTo>
                    <a:lnTo>
                      <a:pt x="0" y="12"/>
                    </a:lnTo>
                    <a:lnTo>
                      <a:pt x="2" y="20"/>
                    </a:lnTo>
                    <a:lnTo>
                      <a:pt x="8" y="26"/>
                    </a:lnTo>
                    <a:lnTo>
                      <a:pt x="26" y="24"/>
                    </a:lnTo>
                    <a:lnTo>
                      <a:pt x="32" y="16"/>
                    </a:lnTo>
                    <a:lnTo>
                      <a:pt x="38" y="10"/>
                    </a:lnTo>
                    <a:lnTo>
                      <a:pt x="34" y="0"/>
                    </a:lnTo>
                    <a:lnTo>
                      <a:pt x="28" y="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102" name="Freeform 41">
                <a:extLst>
                  <a:ext uri="{FF2B5EF4-FFF2-40B4-BE49-F238E27FC236}">
                    <a16:creationId xmlns:a16="http://schemas.microsoft.com/office/drawing/2014/main" id="{144BF5FE-9F51-4083-9F36-46048D4642B4}"/>
                  </a:ext>
                </a:extLst>
              </p:cNvPr>
              <p:cNvSpPr>
                <a:spLocks/>
              </p:cNvSpPr>
              <p:nvPr/>
            </p:nvSpPr>
            <p:spPr bwMode="gray">
              <a:xfrm>
                <a:off x="50" y="1473"/>
                <a:ext cx="26" cy="16"/>
              </a:xfrm>
              <a:custGeom>
                <a:avLst/>
                <a:gdLst>
                  <a:gd name="T0" fmla="*/ 22 w 26"/>
                  <a:gd name="T1" fmla="*/ 0 h 16"/>
                  <a:gd name="T2" fmla="*/ 26 w 26"/>
                  <a:gd name="T3" fmla="*/ 4 h 16"/>
                  <a:gd name="T4" fmla="*/ 26 w 26"/>
                  <a:gd name="T5" fmla="*/ 8 h 16"/>
                  <a:gd name="T6" fmla="*/ 22 w 26"/>
                  <a:gd name="T7" fmla="*/ 16 h 16"/>
                  <a:gd name="T8" fmla="*/ 14 w 26"/>
                  <a:gd name="T9" fmla="*/ 14 h 16"/>
                  <a:gd name="T10" fmla="*/ 10 w 26"/>
                  <a:gd name="T11" fmla="*/ 16 h 16"/>
                  <a:gd name="T12" fmla="*/ 4 w 26"/>
                  <a:gd name="T13" fmla="*/ 10 h 16"/>
                  <a:gd name="T14" fmla="*/ 0 w 26"/>
                  <a:gd name="T15" fmla="*/ 6 h 16"/>
                  <a:gd name="T16" fmla="*/ 2 w 26"/>
                  <a:gd name="T17" fmla="*/ 0 h 16"/>
                  <a:gd name="T18" fmla="*/ 8 w 26"/>
                  <a:gd name="T19" fmla="*/ 0 h 16"/>
                  <a:gd name="T20" fmla="*/ 22 w 26"/>
                  <a:gd name="T2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16">
                    <a:moveTo>
                      <a:pt x="22" y="0"/>
                    </a:moveTo>
                    <a:lnTo>
                      <a:pt x="26" y="4"/>
                    </a:lnTo>
                    <a:lnTo>
                      <a:pt x="26" y="8"/>
                    </a:lnTo>
                    <a:lnTo>
                      <a:pt x="22" y="16"/>
                    </a:lnTo>
                    <a:lnTo>
                      <a:pt x="14" y="14"/>
                    </a:lnTo>
                    <a:lnTo>
                      <a:pt x="10" y="16"/>
                    </a:lnTo>
                    <a:lnTo>
                      <a:pt x="4" y="10"/>
                    </a:lnTo>
                    <a:lnTo>
                      <a:pt x="0" y="6"/>
                    </a:lnTo>
                    <a:lnTo>
                      <a:pt x="2" y="0"/>
                    </a:lnTo>
                    <a:lnTo>
                      <a:pt x="8" y="0"/>
                    </a:lnTo>
                    <a:lnTo>
                      <a:pt x="22"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103" name="Freeform 42">
                <a:extLst>
                  <a:ext uri="{FF2B5EF4-FFF2-40B4-BE49-F238E27FC236}">
                    <a16:creationId xmlns:a16="http://schemas.microsoft.com/office/drawing/2014/main" id="{74FCFC0F-F244-42F0-BA69-F826E1FE9676}"/>
                  </a:ext>
                </a:extLst>
              </p:cNvPr>
              <p:cNvSpPr>
                <a:spLocks/>
              </p:cNvSpPr>
              <p:nvPr/>
            </p:nvSpPr>
            <p:spPr bwMode="gray">
              <a:xfrm>
                <a:off x="540" y="1525"/>
                <a:ext cx="24" cy="40"/>
              </a:xfrm>
              <a:custGeom>
                <a:avLst/>
                <a:gdLst>
                  <a:gd name="T0" fmla="*/ 0 w 24"/>
                  <a:gd name="T1" fmla="*/ 0 h 40"/>
                  <a:gd name="T2" fmla="*/ 10 w 24"/>
                  <a:gd name="T3" fmla="*/ 2 h 40"/>
                  <a:gd name="T4" fmla="*/ 16 w 24"/>
                  <a:gd name="T5" fmla="*/ 6 h 40"/>
                  <a:gd name="T6" fmla="*/ 18 w 24"/>
                  <a:gd name="T7" fmla="*/ 20 h 40"/>
                  <a:gd name="T8" fmla="*/ 24 w 24"/>
                  <a:gd name="T9" fmla="*/ 30 h 40"/>
                  <a:gd name="T10" fmla="*/ 24 w 24"/>
                  <a:gd name="T11" fmla="*/ 40 h 40"/>
                  <a:gd name="T12" fmla="*/ 16 w 24"/>
                  <a:gd name="T13" fmla="*/ 32 h 40"/>
                  <a:gd name="T14" fmla="*/ 8 w 24"/>
                  <a:gd name="T15" fmla="*/ 22 h 40"/>
                  <a:gd name="T16" fmla="*/ 4 w 24"/>
                  <a:gd name="T17" fmla="*/ 16 h 40"/>
                  <a:gd name="T18" fmla="*/ 0 w 24"/>
                  <a:gd name="T19" fmla="*/ 8 h 40"/>
                  <a:gd name="T20" fmla="*/ 0 w 24"/>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40">
                    <a:moveTo>
                      <a:pt x="0" y="0"/>
                    </a:moveTo>
                    <a:lnTo>
                      <a:pt x="10" y="2"/>
                    </a:lnTo>
                    <a:lnTo>
                      <a:pt x="16" y="6"/>
                    </a:lnTo>
                    <a:lnTo>
                      <a:pt x="18" y="20"/>
                    </a:lnTo>
                    <a:lnTo>
                      <a:pt x="24" y="30"/>
                    </a:lnTo>
                    <a:lnTo>
                      <a:pt x="24" y="40"/>
                    </a:lnTo>
                    <a:lnTo>
                      <a:pt x="16" y="32"/>
                    </a:lnTo>
                    <a:lnTo>
                      <a:pt x="8" y="22"/>
                    </a:lnTo>
                    <a:lnTo>
                      <a:pt x="4" y="16"/>
                    </a:lnTo>
                    <a:lnTo>
                      <a:pt x="0" y="8"/>
                    </a:lnTo>
                    <a:lnTo>
                      <a:pt x="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104" name="Freeform 43">
                <a:extLst>
                  <a:ext uri="{FF2B5EF4-FFF2-40B4-BE49-F238E27FC236}">
                    <a16:creationId xmlns:a16="http://schemas.microsoft.com/office/drawing/2014/main" id="{61EF0D02-5B4B-47CE-AB42-C39BB60FFC9D}"/>
                  </a:ext>
                </a:extLst>
              </p:cNvPr>
              <p:cNvSpPr>
                <a:spLocks/>
              </p:cNvSpPr>
              <p:nvPr/>
            </p:nvSpPr>
            <p:spPr bwMode="gray">
              <a:xfrm>
                <a:off x="584" y="1565"/>
                <a:ext cx="22" cy="38"/>
              </a:xfrm>
              <a:custGeom>
                <a:avLst/>
                <a:gdLst>
                  <a:gd name="T0" fmla="*/ 0 w 22"/>
                  <a:gd name="T1" fmla="*/ 8 h 38"/>
                  <a:gd name="T2" fmla="*/ 0 w 22"/>
                  <a:gd name="T3" fmla="*/ 0 h 38"/>
                  <a:gd name="T4" fmla="*/ 8 w 22"/>
                  <a:gd name="T5" fmla="*/ 2 h 38"/>
                  <a:gd name="T6" fmla="*/ 14 w 22"/>
                  <a:gd name="T7" fmla="*/ 14 h 38"/>
                  <a:gd name="T8" fmla="*/ 22 w 22"/>
                  <a:gd name="T9" fmla="*/ 24 h 38"/>
                  <a:gd name="T10" fmla="*/ 22 w 22"/>
                  <a:gd name="T11" fmla="*/ 32 h 38"/>
                  <a:gd name="T12" fmla="*/ 18 w 22"/>
                  <a:gd name="T13" fmla="*/ 38 h 38"/>
                  <a:gd name="T14" fmla="*/ 12 w 22"/>
                  <a:gd name="T15" fmla="*/ 30 h 38"/>
                  <a:gd name="T16" fmla="*/ 6 w 22"/>
                  <a:gd name="T17" fmla="*/ 24 h 38"/>
                  <a:gd name="T18" fmla="*/ 4 w 22"/>
                  <a:gd name="T19" fmla="*/ 16 h 38"/>
                  <a:gd name="T20" fmla="*/ 0 w 22"/>
                  <a:gd name="T21" fmla="*/ 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 h="38">
                    <a:moveTo>
                      <a:pt x="0" y="8"/>
                    </a:moveTo>
                    <a:lnTo>
                      <a:pt x="0" y="0"/>
                    </a:lnTo>
                    <a:lnTo>
                      <a:pt x="8" y="2"/>
                    </a:lnTo>
                    <a:lnTo>
                      <a:pt x="14" y="14"/>
                    </a:lnTo>
                    <a:lnTo>
                      <a:pt x="22" y="24"/>
                    </a:lnTo>
                    <a:lnTo>
                      <a:pt x="22" y="32"/>
                    </a:lnTo>
                    <a:lnTo>
                      <a:pt x="18" y="38"/>
                    </a:lnTo>
                    <a:lnTo>
                      <a:pt x="12" y="30"/>
                    </a:lnTo>
                    <a:lnTo>
                      <a:pt x="6" y="24"/>
                    </a:lnTo>
                    <a:lnTo>
                      <a:pt x="4" y="16"/>
                    </a:lnTo>
                    <a:lnTo>
                      <a:pt x="0" y="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105" name="Freeform 44">
                <a:extLst>
                  <a:ext uri="{FF2B5EF4-FFF2-40B4-BE49-F238E27FC236}">
                    <a16:creationId xmlns:a16="http://schemas.microsoft.com/office/drawing/2014/main" id="{45A556D7-1794-41E1-A2C6-3E498F1E9CE8}"/>
                  </a:ext>
                </a:extLst>
              </p:cNvPr>
              <p:cNvSpPr>
                <a:spLocks/>
              </p:cNvSpPr>
              <p:nvPr/>
            </p:nvSpPr>
            <p:spPr bwMode="gray">
              <a:xfrm>
                <a:off x="588" y="1615"/>
                <a:ext cx="26" cy="34"/>
              </a:xfrm>
              <a:custGeom>
                <a:avLst/>
                <a:gdLst>
                  <a:gd name="T0" fmla="*/ 0 w 26"/>
                  <a:gd name="T1" fmla="*/ 0 h 34"/>
                  <a:gd name="T2" fmla="*/ 10 w 26"/>
                  <a:gd name="T3" fmla="*/ 4 h 34"/>
                  <a:gd name="T4" fmla="*/ 18 w 26"/>
                  <a:gd name="T5" fmla="*/ 4 h 34"/>
                  <a:gd name="T6" fmla="*/ 20 w 26"/>
                  <a:gd name="T7" fmla="*/ 8 h 34"/>
                  <a:gd name="T8" fmla="*/ 18 w 26"/>
                  <a:gd name="T9" fmla="*/ 16 h 34"/>
                  <a:gd name="T10" fmla="*/ 22 w 26"/>
                  <a:gd name="T11" fmla="*/ 22 h 34"/>
                  <a:gd name="T12" fmla="*/ 26 w 26"/>
                  <a:gd name="T13" fmla="*/ 34 h 34"/>
                  <a:gd name="T14" fmla="*/ 18 w 26"/>
                  <a:gd name="T15" fmla="*/ 32 h 34"/>
                  <a:gd name="T16" fmla="*/ 8 w 26"/>
                  <a:gd name="T17" fmla="*/ 20 h 34"/>
                  <a:gd name="T18" fmla="*/ 2 w 26"/>
                  <a:gd name="T19" fmla="*/ 12 h 34"/>
                  <a:gd name="T20" fmla="*/ 0 w 26"/>
                  <a:gd name="T21"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34">
                    <a:moveTo>
                      <a:pt x="0" y="0"/>
                    </a:moveTo>
                    <a:lnTo>
                      <a:pt x="10" y="4"/>
                    </a:lnTo>
                    <a:lnTo>
                      <a:pt x="18" y="4"/>
                    </a:lnTo>
                    <a:lnTo>
                      <a:pt x="20" y="8"/>
                    </a:lnTo>
                    <a:lnTo>
                      <a:pt x="18" y="16"/>
                    </a:lnTo>
                    <a:lnTo>
                      <a:pt x="22" y="22"/>
                    </a:lnTo>
                    <a:lnTo>
                      <a:pt x="26" y="34"/>
                    </a:lnTo>
                    <a:lnTo>
                      <a:pt x="18" y="32"/>
                    </a:lnTo>
                    <a:lnTo>
                      <a:pt x="8" y="20"/>
                    </a:lnTo>
                    <a:lnTo>
                      <a:pt x="2" y="12"/>
                    </a:lnTo>
                    <a:lnTo>
                      <a:pt x="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106" name="Freeform 45">
                <a:extLst>
                  <a:ext uri="{FF2B5EF4-FFF2-40B4-BE49-F238E27FC236}">
                    <a16:creationId xmlns:a16="http://schemas.microsoft.com/office/drawing/2014/main" id="{90587E6D-A3A5-4BCE-93EC-76DD104EC81E}"/>
                  </a:ext>
                </a:extLst>
              </p:cNvPr>
              <p:cNvSpPr>
                <a:spLocks/>
              </p:cNvSpPr>
              <p:nvPr/>
            </p:nvSpPr>
            <p:spPr bwMode="gray">
              <a:xfrm>
                <a:off x="84" y="1591"/>
                <a:ext cx="32" cy="20"/>
              </a:xfrm>
              <a:custGeom>
                <a:avLst/>
                <a:gdLst>
                  <a:gd name="T0" fmla="*/ 32 w 32"/>
                  <a:gd name="T1" fmla="*/ 4 h 20"/>
                  <a:gd name="T2" fmla="*/ 28 w 32"/>
                  <a:gd name="T3" fmla="*/ 10 h 20"/>
                  <a:gd name="T4" fmla="*/ 22 w 32"/>
                  <a:gd name="T5" fmla="*/ 12 h 20"/>
                  <a:gd name="T6" fmla="*/ 12 w 32"/>
                  <a:gd name="T7" fmla="*/ 14 h 20"/>
                  <a:gd name="T8" fmla="*/ 6 w 32"/>
                  <a:gd name="T9" fmla="*/ 20 h 20"/>
                  <a:gd name="T10" fmla="*/ 0 w 32"/>
                  <a:gd name="T11" fmla="*/ 18 h 20"/>
                  <a:gd name="T12" fmla="*/ 6 w 32"/>
                  <a:gd name="T13" fmla="*/ 8 h 20"/>
                  <a:gd name="T14" fmla="*/ 14 w 32"/>
                  <a:gd name="T15" fmla="*/ 4 h 20"/>
                  <a:gd name="T16" fmla="*/ 26 w 32"/>
                  <a:gd name="T17" fmla="*/ 0 h 20"/>
                  <a:gd name="T18" fmla="*/ 32 w 32"/>
                  <a:gd name="T19"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20">
                    <a:moveTo>
                      <a:pt x="32" y="4"/>
                    </a:moveTo>
                    <a:lnTo>
                      <a:pt x="28" y="10"/>
                    </a:lnTo>
                    <a:lnTo>
                      <a:pt x="22" y="12"/>
                    </a:lnTo>
                    <a:lnTo>
                      <a:pt x="12" y="14"/>
                    </a:lnTo>
                    <a:lnTo>
                      <a:pt x="6" y="20"/>
                    </a:lnTo>
                    <a:lnTo>
                      <a:pt x="0" y="18"/>
                    </a:lnTo>
                    <a:lnTo>
                      <a:pt x="6" y="8"/>
                    </a:lnTo>
                    <a:lnTo>
                      <a:pt x="14" y="4"/>
                    </a:lnTo>
                    <a:lnTo>
                      <a:pt x="26" y="0"/>
                    </a:lnTo>
                    <a:lnTo>
                      <a:pt x="32" y="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107" name="Freeform 46">
                <a:extLst>
                  <a:ext uri="{FF2B5EF4-FFF2-40B4-BE49-F238E27FC236}">
                    <a16:creationId xmlns:a16="http://schemas.microsoft.com/office/drawing/2014/main" id="{0FE83B12-05FF-4514-A93B-BD0648915FDB}"/>
                  </a:ext>
                </a:extLst>
              </p:cNvPr>
              <p:cNvSpPr>
                <a:spLocks/>
              </p:cNvSpPr>
              <p:nvPr/>
            </p:nvSpPr>
            <p:spPr bwMode="gray">
              <a:xfrm>
                <a:off x="560" y="1523"/>
                <a:ext cx="16" cy="30"/>
              </a:xfrm>
              <a:custGeom>
                <a:avLst/>
                <a:gdLst>
                  <a:gd name="T0" fmla="*/ 0 w 16"/>
                  <a:gd name="T1" fmla="*/ 0 h 30"/>
                  <a:gd name="T2" fmla="*/ 10 w 16"/>
                  <a:gd name="T3" fmla="*/ 4 h 30"/>
                  <a:gd name="T4" fmla="*/ 16 w 16"/>
                  <a:gd name="T5" fmla="*/ 16 h 30"/>
                  <a:gd name="T6" fmla="*/ 14 w 16"/>
                  <a:gd name="T7" fmla="*/ 24 h 30"/>
                  <a:gd name="T8" fmla="*/ 10 w 16"/>
                  <a:gd name="T9" fmla="*/ 30 h 30"/>
                  <a:gd name="T10" fmla="*/ 4 w 16"/>
                  <a:gd name="T11" fmla="*/ 22 h 30"/>
                  <a:gd name="T12" fmla="*/ 4 w 16"/>
                  <a:gd name="T13" fmla="*/ 16 h 30"/>
                  <a:gd name="T14" fmla="*/ 0 w 16"/>
                  <a:gd name="T15" fmla="*/ 8 h 30"/>
                  <a:gd name="T16" fmla="*/ 0 w 16"/>
                  <a:gd name="T1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30">
                    <a:moveTo>
                      <a:pt x="0" y="0"/>
                    </a:moveTo>
                    <a:lnTo>
                      <a:pt x="10" y="4"/>
                    </a:lnTo>
                    <a:lnTo>
                      <a:pt x="16" y="16"/>
                    </a:lnTo>
                    <a:lnTo>
                      <a:pt x="14" y="24"/>
                    </a:lnTo>
                    <a:lnTo>
                      <a:pt x="10" y="30"/>
                    </a:lnTo>
                    <a:lnTo>
                      <a:pt x="4" y="22"/>
                    </a:lnTo>
                    <a:lnTo>
                      <a:pt x="4" y="16"/>
                    </a:lnTo>
                    <a:lnTo>
                      <a:pt x="0" y="8"/>
                    </a:lnTo>
                    <a:lnTo>
                      <a:pt x="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108" name="Freeform 47">
                <a:extLst>
                  <a:ext uri="{FF2B5EF4-FFF2-40B4-BE49-F238E27FC236}">
                    <a16:creationId xmlns:a16="http://schemas.microsoft.com/office/drawing/2014/main" id="{874A106F-4922-45BC-A087-5F43428F6F60}"/>
                  </a:ext>
                </a:extLst>
              </p:cNvPr>
              <p:cNvSpPr>
                <a:spLocks/>
              </p:cNvSpPr>
              <p:nvPr/>
            </p:nvSpPr>
            <p:spPr bwMode="gray">
              <a:xfrm>
                <a:off x="608" y="1575"/>
                <a:ext cx="14" cy="20"/>
              </a:xfrm>
              <a:custGeom>
                <a:avLst/>
                <a:gdLst>
                  <a:gd name="T0" fmla="*/ 0 w 14"/>
                  <a:gd name="T1" fmla="*/ 0 h 20"/>
                  <a:gd name="T2" fmla="*/ 6 w 14"/>
                  <a:gd name="T3" fmla="*/ 4 h 20"/>
                  <a:gd name="T4" fmla="*/ 14 w 14"/>
                  <a:gd name="T5" fmla="*/ 6 h 20"/>
                  <a:gd name="T6" fmla="*/ 12 w 14"/>
                  <a:gd name="T7" fmla="*/ 16 h 20"/>
                  <a:gd name="T8" fmla="*/ 6 w 14"/>
                  <a:gd name="T9" fmla="*/ 20 h 20"/>
                  <a:gd name="T10" fmla="*/ 0 w 14"/>
                  <a:gd name="T11" fmla="*/ 12 h 20"/>
                  <a:gd name="T12" fmla="*/ 0 w 14"/>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4" h="20">
                    <a:moveTo>
                      <a:pt x="0" y="0"/>
                    </a:moveTo>
                    <a:lnTo>
                      <a:pt x="6" y="4"/>
                    </a:lnTo>
                    <a:lnTo>
                      <a:pt x="14" y="6"/>
                    </a:lnTo>
                    <a:lnTo>
                      <a:pt x="12" y="16"/>
                    </a:lnTo>
                    <a:lnTo>
                      <a:pt x="6" y="20"/>
                    </a:lnTo>
                    <a:lnTo>
                      <a:pt x="0" y="12"/>
                    </a:lnTo>
                    <a:lnTo>
                      <a:pt x="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109" name="Freeform 48">
                <a:extLst>
                  <a:ext uri="{FF2B5EF4-FFF2-40B4-BE49-F238E27FC236}">
                    <a16:creationId xmlns:a16="http://schemas.microsoft.com/office/drawing/2014/main" id="{BAD4BE42-8167-4E7C-8F07-2F66CEBAF54F}"/>
                  </a:ext>
                </a:extLst>
              </p:cNvPr>
              <p:cNvSpPr>
                <a:spLocks/>
              </p:cNvSpPr>
              <p:nvPr/>
            </p:nvSpPr>
            <p:spPr bwMode="gray">
              <a:xfrm>
                <a:off x="560" y="1523"/>
                <a:ext cx="16" cy="30"/>
              </a:xfrm>
              <a:custGeom>
                <a:avLst/>
                <a:gdLst>
                  <a:gd name="T0" fmla="*/ 0 w 16"/>
                  <a:gd name="T1" fmla="*/ 0 h 30"/>
                  <a:gd name="T2" fmla="*/ 10 w 16"/>
                  <a:gd name="T3" fmla="*/ 4 h 30"/>
                  <a:gd name="T4" fmla="*/ 16 w 16"/>
                  <a:gd name="T5" fmla="*/ 16 h 30"/>
                  <a:gd name="T6" fmla="*/ 14 w 16"/>
                  <a:gd name="T7" fmla="*/ 24 h 30"/>
                  <a:gd name="T8" fmla="*/ 10 w 16"/>
                  <a:gd name="T9" fmla="*/ 30 h 30"/>
                  <a:gd name="T10" fmla="*/ 4 w 16"/>
                  <a:gd name="T11" fmla="*/ 22 h 30"/>
                  <a:gd name="T12" fmla="*/ 4 w 16"/>
                  <a:gd name="T13" fmla="*/ 16 h 30"/>
                  <a:gd name="T14" fmla="*/ 0 w 16"/>
                  <a:gd name="T15" fmla="*/ 8 h 30"/>
                  <a:gd name="T16" fmla="*/ 0 w 16"/>
                  <a:gd name="T1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30">
                    <a:moveTo>
                      <a:pt x="0" y="0"/>
                    </a:moveTo>
                    <a:lnTo>
                      <a:pt x="10" y="4"/>
                    </a:lnTo>
                    <a:lnTo>
                      <a:pt x="16" y="16"/>
                    </a:lnTo>
                    <a:lnTo>
                      <a:pt x="14" y="24"/>
                    </a:lnTo>
                    <a:lnTo>
                      <a:pt x="10" y="30"/>
                    </a:lnTo>
                    <a:lnTo>
                      <a:pt x="4" y="22"/>
                    </a:lnTo>
                    <a:lnTo>
                      <a:pt x="4" y="16"/>
                    </a:lnTo>
                    <a:lnTo>
                      <a:pt x="0" y="8"/>
                    </a:lnTo>
                    <a:lnTo>
                      <a:pt x="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110" name="Freeform 49">
                <a:extLst>
                  <a:ext uri="{FF2B5EF4-FFF2-40B4-BE49-F238E27FC236}">
                    <a16:creationId xmlns:a16="http://schemas.microsoft.com/office/drawing/2014/main" id="{FCCF66C6-D67B-49F5-AA42-2A2097F36BD2}"/>
                  </a:ext>
                </a:extLst>
              </p:cNvPr>
              <p:cNvSpPr>
                <a:spLocks/>
              </p:cNvSpPr>
              <p:nvPr/>
            </p:nvSpPr>
            <p:spPr bwMode="gray">
              <a:xfrm>
                <a:off x="608" y="1575"/>
                <a:ext cx="14" cy="20"/>
              </a:xfrm>
              <a:custGeom>
                <a:avLst/>
                <a:gdLst>
                  <a:gd name="T0" fmla="*/ 0 w 14"/>
                  <a:gd name="T1" fmla="*/ 0 h 20"/>
                  <a:gd name="T2" fmla="*/ 6 w 14"/>
                  <a:gd name="T3" fmla="*/ 4 h 20"/>
                  <a:gd name="T4" fmla="*/ 14 w 14"/>
                  <a:gd name="T5" fmla="*/ 6 h 20"/>
                  <a:gd name="T6" fmla="*/ 12 w 14"/>
                  <a:gd name="T7" fmla="*/ 16 h 20"/>
                  <a:gd name="T8" fmla="*/ 6 w 14"/>
                  <a:gd name="T9" fmla="*/ 20 h 20"/>
                  <a:gd name="T10" fmla="*/ 0 w 14"/>
                  <a:gd name="T11" fmla="*/ 12 h 20"/>
                  <a:gd name="T12" fmla="*/ 0 w 14"/>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4" h="20">
                    <a:moveTo>
                      <a:pt x="0" y="0"/>
                    </a:moveTo>
                    <a:lnTo>
                      <a:pt x="6" y="4"/>
                    </a:lnTo>
                    <a:lnTo>
                      <a:pt x="14" y="6"/>
                    </a:lnTo>
                    <a:lnTo>
                      <a:pt x="12" y="16"/>
                    </a:lnTo>
                    <a:lnTo>
                      <a:pt x="6" y="20"/>
                    </a:lnTo>
                    <a:lnTo>
                      <a:pt x="0" y="12"/>
                    </a:lnTo>
                    <a:lnTo>
                      <a:pt x="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111" name="Freeform 50">
                <a:extLst>
                  <a:ext uri="{FF2B5EF4-FFF2-40B4-BE49-F238E27FC236}">
                    <a16:creationId xmlns:a16="http://schemas.microsoft.com/office/drawing/2014/main" id="{5D7D5F30-3568-4C05-ADAB-1497B931BCA0}"/>
                  </a:ext>
                </a:extLst>
              </p:cNvPr>
              <p:cNvSpPr>
                <a:spLocks/>
              </p:cNvSpPr>
              <p:nvPr/>
            </p:nvSpPr>
            <p:spPr bwMode="gray">
              <a:xfrm>
                <a:off x="576" y="1551"/>
                <a:ext cx="14" cy="14"/>
              </a:xfrm>
              <a:custGeom>
                <a:avLst/>
                <a:gdLst>
                  <a:gd name="T0" fmla="*/ 4 w 14"/>
                  <a:gd name="T1" fmla="*/ 0 h 14"/>
                  <a:gd name="T2" fmla="*/ 8 w 14"/>
                  <a:gd name="T3" fmla="*/ 0 h 14"/>
                  <a:gd name="T4" fmla="*/ 14 w 14"/>
                  <a:gd name="T5" fmla="*/ 6 h 14"/>
                  <a:gd name="T6" fmla="*/ 8 w 14"/>
                  <a:gd name="T7" fmla="*/ 10 h 14"/>
                  <a:gd name="T8" fmla="*/ 2 w 14"/>
                  <a:gd name="T9" fmla="*/ 14 h 14"/>
                  <a:gd name="T10" fmla="*/ 0 w 14"/>
                  <a:gd name="T11" fmla="*/ 6 h 14"/>
                  <a:gd name="T12" fmla="*/ 4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4" y="0"/>
                    </a:moveTo>
                    <a:lnTo>
                      <a:pt x="8" y="0"/>
                    </a:lnTo>
                    <a:lnTo>
                      <a:pt x="14" y="6"/>
                    </a:lnTo>
                    <a:lnTo>
                      <a:pt x="8" y="10"/>
                    </a:lnTo>
                    <a:lnTo>
                      <a:pt x="2" y="14"/>
                    </a:lnTo>
                    <a:lnTo>
                      <a:pt x="0" y="6"/>
                    </a:lnTo>
                    <a:lnTo>
                      <a:pt x="4"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grpSp>
        <p:sp>
          <p:nvSpPr>
            <p:cNvPr id="865" name="Freeform 51">
              <a:extLst>
                <a:ext uri="{FF2B5EF4-FFF2-40B4-BE49-F238E27FC236}">
                  <a16:creationId xmlns:a16="http://schemas.microsoft.com/office/drawing/2014/main" id="{1936F901-62CB-4F37-9BC2-4222FD341D83}"/>
                </a:ext>
              </a:extLst>
            </p:cNvPr>
            <p:cNvSpPr>
              <a:spLocks/>
            </p:cNvSpPr>
            <p:nvPr/>
          </p:nvSpPr>
          <p:spPr bwMode="gray">
            <a:xfrm>
              <a:off x="2555839" y="3277182"/>
              <a:ext cx="1505778" cy="743603"/>
            </a:xfrm>
            <a:custGeom>
              <a:avLst/>
              <a:gdLst>
                <a:gd name="T0" fmla="*/ 24 w 912"/>
                <a:gd name="T1" fmla="*/ 30 h 448"/>
                <a:gd name="T2" fmla="*/ 30 w 912"/>
                <a:gd name="T3" fmla="*/ 20 h 448"/>
                <a:gd name="T4" fmla="*/ 472 w 912"/>
                <a:gd name="T5" fmla="*/ 8 h 448"/>
                <a:gd name="T6" fmla="*/ 550 w 912"/>
                <a:gd name="T7" fmla="*/ 28 h 448"/>
                <a:gd name="T8" fmla="*/ 516 w 912"/>
                <a:gd name="T9" fmla="*/ 52 h 448"/>
                <a:gd name="T10" fmla="*/ 562 w 912"/>
                <a:gd name="T11" fmla="*/ 48 h 448"/>
                <a:gd name="T12" fmla="*/ 604 w 912"/>
                <a:gd name="T13" fmla="*/ 56 h 448"/>
                <a:gd name="T14" fmla="*/ 636 w 912"/>
                <a:gd name="T15" fmla="*/ 68 h 448"/>
                <a:gd name="T16" fmla="*/ 600 w 912"/>
                <a:gd name="T17" fmla="*/ 68 h 448"/>
                <a:gd name="T18" fmla="*/ 588 w 912"/>
                <a:gd name="T19" fmla="*/ 94 h 448"/>
                <a:gd name="T20" fmla="*/ 584 w 912"/>
                <a:gd name="T21" fmla="*/ 154 h 448"/>
                <a:gd name="T22" fmla="*/ 608 w 912"/>
                <a:gd name="T23" fmla="*/ 112 h 448"/>
                <a:gd name="T24" fmla="*/ 620 w 912"/>
                <a:gd name="T25" fmla="*/ 84 h 448"/>
                <a:gd name="T26" fmla="*/ 654 w 912"/>
                <a:gd name="T27" fmla="*/ 90 h 448"/>
                <a:gd name="T28" fmla="*/ 652 w 912"/>
                <a:gd name="T29" fmla="*/ 112 h 448"/>
                <a:gd name="T30" fmla="*/ 662 w 912"/>
                <a:gd name="T31" fmla="*/ 134 h 448"/>
                <a:gd name="T32" fmla="*/ 690 w 912"/>
                <a:gd name="T33" fmla="*/ 148 h 448"/>
                <a:gd name="T34" fmla="*/ 720 w 912"/>
                <a:gd name="T35" fmla="*/ 124 h 448"/>
                <a:gd name="T36" fmla="*/ 766 w 912"/>
                <a:gd name="T37" fmla="*/ 100 h 448"/>
                <a:gd name="T38" fmla="*/ 858 w 912"/>
                <a:gd name="T39" fmla="*/ 74 h 448"/>
                <a:gd name="T40" fmla="*/ 900 w 912"/>
                <a:gd name="T41" fmla="*/ 44 h 448"/>
                <a:gd name="T42" fmla="*/ 912 w 912"/>
                <a:gd name="T43" fmla="*/ 90 h 448"/>
                <a:gd name="T44" fmla="*/ 864 w 912"/>
                <a:gd name="T45" fmla="*/ 110 h 448"/>
                <a:gd name="T46" fmla="*/ 862 w 912"/>
                <a:gd name="T47" fmla="*/ 148 h 448"/>
                <a:gd name="T48" fmla="*/ 804 w 912"/>
                <a:gd name="T49" fmla="*/ 166 h 448"/>
                <a:gd name="T50" fmla="*/ 782 w 912"/>
                <a:gd name="T51" fmla="*/ 198 h 448"/>
                <a:gd name="T52" fmla="*/ 770 w 912"/>
                <a:gd name="T53" fmla="*/ 220 h 448"/>
                <a:gd name="T54" fmla="*/ 760 w 912"/>
                <a:gd name="T55" fmla="*/ 214 h 448"/>
                <a:gd name="T56" fmla="*/ 762 w 912"/>
                <a:gd name="T57" fmla="*/ 234 h 448"/>
                <a:gd name="T58" fmla="*/ 762 w 912"/>
                <a:gd name="T59" fmla="*/ 270 h 448"/>
                <a:gd name="T60" fmla="*/ 724 w 912"/>
                <a:gd name="T61" fmla="*/ 298 h 448"/>
                <a:gd name="T62" fmla="*/ 682 w 912"/>
                <a:gd name="T63" fmla="*/ 350 h 448"/>
                <a:gd name="T64" fmla="*/ 704 w 912"/>
                <a:gd name="T65" fmla="*/ 424 h 448"/>
                <a:gd name="T66" fmla="*/ 680 w 912"/>
                <a:gd name="T67" fmla="*/ 428 h 448"/>
                <a:gd name="T68" fmla="*/ 664 w 912"/>
                <a:gd name="T69" fmla="*/ 382 h 448"/>
                <a:gd name="T70" fmla="*/ 626 w 912"/>
                <a:gd name="T71" fmla="*/ 372 h 448"/>
                <a:gd name="T72" fmla="*/ 566 w 912"/>
                <a:gd name="T73" fmla="*/ 354 h 448"/>
                <a:gd name="T74" fmla="*/ 560 w 912"/>
                <a:gd name="T75" fmla="*/ 374 h 448"/>
                <a:gd name="T76" fmla="*/ 516 w 912"/>
                <a:gd name="T77" fmla="*/ 368 h 448"/>
                <a:gd name="T78" fmla="*/ 484 w 912"/>
                <a:gd name="T79" fmla="*/ 372 h 448"/>
                <a:gd name="T80" fmla="*/ 454 w 912"/>
                <a:gd name="T81" fmla="*/ 388 h 448"/>
                <a:gd name="T82" fmla="*/ 430 w 912"/>
                <a:gd name="T83" fmla="*/ 420 h 448"/>
                <a:gd name="T84" fmla="*/ 390 w 912"/>
                <a:gd name="T85" fmla="*/ 400 h 448"/>
                <a:gd name="T86" fmla="*/ 344 w 912"/>
                <a:gd name="T87" fmla="*/ 368 h 448"/>
                <a:gd name="T88" fmla="*/ 302 w 912"/>
                <a:gd name="T89" fmla="*/ 346 h 448"/>
                <a:gd name="T90" fmla="*/ 192 w 912"/>
                <a:gd name="T91" fmla="*/ 334 h 448"/>
                <a:gd name="T92" fmla="*/ 104 w 912"/>
                <a:gd name="T93" fmla="*/ 298 h 448"/>
                <a:gd name="T94" fmla="*/ 58 w 912"/>
                <a:gd name="T95" fmla="*/ 272 h 448"/>
                <a:gd name="T96" fmla="*/ 32 w 912"/>
                <a:gd name="T97" fmla="*/ 228 h 448"/>
                <a:gd name="T98" fmla="*/ 10 w 912"/>
                <a:gd name="T99" fmla="*/ 186 h 448"/>
                <a:gd name="T100" fmla="*/ 6 w 912"/>
                <a:gd name="T101" fmla="*/ 112 h 448"/>
                <a:gd name="T102" fmla="*/ 8 w 912"/>
                <a:gd name="T103" fmla="*/ 42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12" h="448">
                  <a:moveTo>
                    <a:pt x="4" y="38"/>
                  </a:moveTo>
                  <a:lnTo>
                    <a:pt x="0" y="28"/>
                  </a:lnTo>
                  <a:lnTo>
                    <a:pt x="8" y="24"/>
                  </a:lnTo>
                  <a:lnTo>
                    <a:pt x="18" y="28"/>
                  </a:lnTo>
                  <a:lnTo>
                    <a:pt x="24" y="30"/>
                  </a:lnTo>
                  <a:lnTo>
                    <a:pt x="26" y="38"/>
                  </a:lnTo>
                  <a:lnTo>
                    <a:pt x="28" y="44"/>
                  </a:lnTo>
                  <a:lnTo>
                    <a:pt x="34" y="38"/>
                  </a:lnTo>
                  <a:lnTo>
                    <a:pt x="36" y="28"/>
                  </a:lnTo>
                  <a:lnTo>
                    <a:pt x="30" y="20"/>
                  </a:lnTo>
                  <a:lnTo>
                    <a:pt x="30" y="8"/>
                  </a:lnTo>
                  <a:lnTo>
                    <a:pt x="460" y="8"/>
                  </a:lnTo>
                  <a:lnTo>
                    <a:pt x="462" y="0"/>
                  </a:lnTo>
                  <a:lnTo>
                    <a:pt x="470" y="0"/>
                  </a:lnTo>
                  <a:lnTo>
                    <a:pt x="472" y="8"/>
                  </a:lnTo>
                  <a:lnTo>
                    <a:pt x="476" y="12"/>
                  </a:lnTo>
                  <a:lnTo>
                    <a:pt x="488" y="16"/>
                  </a:lnTo>
                  <a:lnTo>
                    <a:pt x="512" y="20"/>
                  </a:lnTo>
                  <a:lnTo>
                    <a:pt x="526" y="24"/>
                  </a:lnTo>
                  <a:lnTo>
                    <a:pt x="550" y="28"/>
                  </a:lnTo>
                  <a:lnTo>
                    <a:pt x="548" y="32"/>
                  </a:lnTo>
                  <a:lnTo>
                    <a:pt x="536" y="36"/>
                  </a:lnTo>
                  <a:lnTo>
                    <a:pt x="528" y="40"/>
                  </a:lnTo>
                  <a:lnTo>
                    <a:pt x="520" y="48"/>
                  </a:lnTo>
                  <a:lnTo>
                    <a:pt x="516" y="52"/>
                  </a:lnTo>
                  <a:lnTo>
                    <a:pt x="526" y="56"/>
                  </a:lnTo>
                  <a:lnTo>
                    <a:pt x="540" y="56"/>
                  </a:lnTo>
                  <a:lnTo>
                    <a:pt x="552" y="56"/>
                  </a:lnTo>
                  <a:lnTo>
                    <a:pt x="558" y="52"/>
                  </a:lnTo>
                  <a:lnTo>
                    <a:pt x="562" y="48"/>
                  </a:lnTo>
                  <a:lnTo>
                    <a:pt x="570" y="42"/>
                  </a:lnTo>
                  <a:lnTo>
                    <a:pt x="574" y="48"/>
                  </a:lnTo>
                  <a:lnTo>
                    <a:pt x="584" y="54"/>
                  </a:lnTo>
                  <a:lnTo>
                    <a:pt x="594" y="58"/>
                  </a:lnTo>
                  <a:lnTo>
                    <a:pt x="604" y="56"/>
                  </a:lnTo>
                  <a:lnTo>
                    <a:pt x="612" y="56"/>
                  </a:lnTo>
                  <a:lnTo>
                    <a:pt x="622" y="54"/>
                  </a:lnTo>
                  <a:lnTo>
                    <a:pt x="628" y="58"/>
                  </a:lnTo>
                  <a:lnTo>
                    <a:pt x="636" y="64"/>
                  </a:lnTo>
                  <a:lnTo>
                    <a:pt x="636" y="68"/>
                  </a:lnTo>
                  <a:lnTo>
                    <a:pt x="628" y="64"/>
                  </a:lnTo>
                  <a:lnTo>
                    <a:pt x="618" y="64"/>
                  </a:lnTo>
                  <a:lnTo>
                    <a:pt x="610" y="70"/>
                  </a:lnTo>
                  <a:lnTo>
                    <a:pt x="604" y="72"/>
                  </a:lnTo>
                  <a:lnTo>
                    <a:pt x="600" y="68"/>
                  </a:lnTo>
                  <a:lnTo>
                    <a:pt x="596" y="72"/>
                  </a:lnTo>
                  <a:lnTo>
                    <a:pt x="588" y="80"/>
                  </a:lnTo>
                  <a:lnTo>
                    <a:pt x="578" y="88"/>
                  </a:lnTo>
                  <a:lnTo>
                    <a:pt x="580" y="96"/>
                  </a:lnTo>
                  <a:lnTo>
                    <a:pt x="588" y="94"/>
                  </a:lnTo>
                  <a:lnTo>
                    <a:pt x="592" y="86"/>
                  </a:lnTo>
                  <a:lnTo>
                    <a:pt x="584" y="104"/>
                  </a:lnTo>
                  <a:lnTo>
                    <a:pt x="580" y="128"/>
                  </a:lnTo>
                  <a:lnTo>
                    <a:pt x="580" y="140"/>
                  </a:lnTo>
                  <a:lnTo>
                    <a:pt x="584" y="154"/>
                  </a:lnTo>
                  <a:lnTo>
                    <a:pt x="594" y="152"/>
                  </a:lnTo>
                  <a:lnTo>
                    <a:pt x="604" y="144"/>
                  </a:lnTo>
                  <a:lnTo>
                    <a:pt x="608" y="134"/>
                  </a:lnTo>
                  <a:lnTo>
                    <a:pt x="608" y="122"/>
                  </a:lnTo>
                  <a:lnTo>
                    <a:pt x="608" y="112"/>
                  </a:lnTo>
                  <a:lnTo>
                    <a:pt x="608" y="100"/>
                  </a:lnTo>
                  <a:lnTo>
                    <a:pt x="608" y="92"/>
                  </a:lnTo>
                  <a:lnTo>
                    <a:pt x="610" y="88"/>
                  </a:lnTo>
                  <a:lnTo>
                    <a:pt x="616" y="88"/>
                  </a:lnTo>
                  <a:lnTo>
                    <a:pt x="620" y="84"/>
                  </a:lnTo>
                  <a:lnTo>
                    <a:pt x="624" y="78"/>
                  </a:lnTo>
                  <a:lnTo>
                    <a:pt x="632" y="76"/>
                  </a:lnTo>
                  <a:lnTo>
                    <a:pt x="640" y="80"/>
                  </a:lnTo>
                  <a:lnTo>
                    <a:pt x="650" y="82"/>
                  </a:lnTo>
                  <a:lnTo>
                    <a:pt x="654" y="90"/>
                  </a:lnTo>
                  <a:lnTo>
                    <a:pt x="652" y="100"/>
                  </a:lnTo>
                  <a:lnTo>
                    <a:pt x="648" y="108"/>
                  </a:lnTo>
                  <a:lnTo>
                    <a:pt x="644" y="112"/>
                  </a:lnTo>
                  <a:lnTo>
                    <a:pt x="646" y="116"/>
                  </a:lnTo>
                  <a:lnTo>
                    <a:pt x="652" y="112"/>
                  </a:lnTo>
                  <a:lnTo>
                    <a:pt x="658" y="108"/>
                  </a:lnTo>
                  <a:lnTo>
                    <a:pt x="664" y="110"/>
                  </a:lnTo>
                  <a:lnTo>
                    <a:pt x="664" y="120"/>
                  </a:lnTo>
                  <a:lnTo>
                    <a:pt x="662" y="126"/>
                  </a:lnTo>
                  <a:lnTo>
                    <a:pt x="662" y="134"/>
                  </a:lnTo>
                  <a:lnTo>
                    <a:pt x="656" y="140"/>
                  </a:lnTo>
                  <a:lnTo>
                    <a:pt x="652" y="148"/>
                  </a:lnTo>
                  <a:lnTo>
                    <a:pt x="660" y="154"/>
                  </a:lnTo>
                  <a:lnTo>
                    <a:pt x="678" y="154"/>
                  </a:lnTo>
                  <a:lnTo>
                    <a:pt x="690" y="148"/>
                  </a:lnTo>
                  <a:lnTo>
                    <a:pt x="702" y="144"/>
                  </a:lnTo>
                  <a:lnTo>
                    <a:pt x="714" y="138"/>
                  </a:lnTo>
                  <a:lnTo>
                    <a:pt x="720" y="136"/>
                  </a:lnTo>
                  <a:lnTo>
                    <a:pt x="722" y="130"/>
                  </a:lnTo>
                  <a:lnTo>
                    <a:pt x="720" y="124"/>
                  </a:lnTo>
                  <a:lnTo>
                    <a:pt x="722" y="120"/>
                  </a:lnTo>
                  <a:lnTo>
                    <a:pt x="744" y="122"/>
                  </a:lnTo>
                  <a:lnTo>
                    <a:pt x="756" y="120"/>
                  </a:lnTo>
                  <a:lnTo>
                    <a:pt x="766" y="112"/>
                  </a:lnTo>
                  <a:lnTo>
                    <a:pt x="766" y="100"/>
                  </a:lnTo>
                  <a:lnTo>
                    <a:pt x="774" y="94"/>
                  </a:lnTo>
                  <a:lnTo>
                    <a:pt x="782" y="88"/>
                  </a:lnTo>
                  <a:lnTo>
                    <a:pt x="840" y="88"/>
                  </a:lnTo>
                  <a:lnTo>
                    <a:pt x="852" y="82"/>
                  </a:lnTo>
                  <a:lnTo>
                    <a:pt x="858" y="74"/>
                  </a:lnTo>
                  <a:lnTo>
                    <a:pt x="862" y="58"/>
                  </a:lnTo>
                  <a:lnTo>
                    <a:pt x="870" y="44"/>
                  </a:lnTo>
                  <a:lnTo>
                    <a:pt x="878" y="36"/>
                  </a:lnTo>
                  <a:lnTo>
                    <a:pt x="886" y="40"/>
                  </a:lnTo>
                  <a:lnTo>
                    <a:pt x="900" y="44"/>
                  </a:lnTo>
                  <a:lnTo>
                    <a:pt x="902" y="52"/>
                  </a:lnTo>
                  <a:lnTo>
                    <a:pt x="900" y="68"/>
                  </a:lnTo>
                  <a:lnTo>
                    <a:pt x="902" y="76"/>
                  </a:lnTo>
                  <a:lnTo>
                    <a:pt x="908" y="82"/>
                  </a:lnTo>
                  <a:lnTo>
                    <a:pt x="912" y="90"/>
                  </a:lnTo>
                  <a:lnTo>
                    <a:pt x="908" y="96"/>
                  </a:lnTo>
                  <a:lnTo>
                    <a:pt x="896" y="96"/>
                  </a:lnTo>
                  <a:lnTo>
                    <a:pt x="884" y="98"/>
                  </a:lnTo>
                  <a:lnTo>
                    <a:pt x="874" y="104"/>
                  </a:lnTo>
                  <a:lnTo>
                    <a:pt x="864" y="110"/>
                  </a:lnTo>
                  <a:lnTo>
                    <a:pt x="858" y="124"/>
                  </a:lnTo>
                  <a:lnTo>
                    <a:pt x="850" y="134"/>
                  </a:lnTo>
                  <a:lnTo>
                    <a:pt x="850" y="142"/>
                  </a:lnTo>
                  <a:lnTo>
                    <a:pt x="854" y="146"/>
                  </a:lnTo>
                  <a:lnTo>
                    <a:pt x="862" y="148"/>
                  </a:lnTo>
                  <a:lnTo>
                    <a:pt x="854" y="154"/>
                  </a:lnTo>
                  <a:lnTo>
                    <a:pt x="848" y="154"/>
                  </a:lnTo>
                  <a:lnTo>
                    <a:pt x="838" y="158"/>
                  </a:lnTo>
                  <a:lnTo>
                    <a:pt x="822" y="162"/>
                  </a:lnTo>
                  <a:lnTo>
                    <a:pt x="804" y="166"/>
                  </a:lnTo>
                  <a:lnTo>
                    <a:pt x="800" y="170"/>
                  </a:lnTo>
                  <a:lnTo>
                    <a:pt x="802" y="182"/>
                  </a:lnTo>
                  <a:lnTo>
                    <a:pt x="796" y="190"/>
                  </a:lnTo>
                  <a:lnTo>
                    <a:pt x="790" y="200"/>
                  </a:lnTo>
                  <a:lnTo>
                    <a:pt x="782" y="198"/>
                  </a:lnTo>
                  <a:lnTo>
                    <a:pt x="786" y="210"/>
                  </a:lnTo>
                  <a:lnTo>
                    <a:pt x="782" y="218"/>
                  </a:lnTo>
                  <a:lnTo>
                    <a:pt x="774" y="228"/>
                  </a:lnTo>
                  <a:lnTo>
                    <a:pt x="770" y="234"/>
                  </a:lnTo>
                  <a:lnTo>
                    <a:pt x="770" y="220"/>
                  </a:lnTo>
                  <a:lnTo>
                    <a:pt x="766" y="208"/>
                  </a:lnTo>
                  <a:lnTo>
                    <a:pt x="768" y="198"/>
                  </a:lnTo>
                  <a:lnTo>
                    <a:pt x="764" y="194"/>
                  </a:lnTo>
                  <a:lnTo>
                    <a:pt x="762" y="202"/>
                  </a:lnTo>
                  <a:lnTo>
                    <a:pt x="760" y="214"/>
                  </a:lnTo>
                  <a:lnTo>
                    <a:pt x="754" y="212"/>
                  </a:lnTo>
                  <a:lnTo>
                    <a:pt x="750" y="214"/>
                  </a:lnTo>
                  <a:lnTo>
                    <a:pt x="758" y="222"/>
                  </a:lnTo>
                  <a:lnTo>
                    <a:pt x="764" y="228"/>
                  </a:lnTo>
                  <a:lnTo>
                    <a:pt x="762" y="234"/>
                  </a:lnTo>
                  <a:lnTo>
                    <a:pt x="764" y="244"/>
                  </a:lnTo>
                  <a:lnTo>
                    <a:pt x="770" y="246"/>
                  </a:lnTo>
                  <a:lnTo>
                    <a:pt x="774" y="256"/>
                  </a:lnTo>
                  <a:lnTo>
                    <a:pt x="770" y="264"/>
                  </a:lnTo>
                  <a:lnTo>
                    <a:pt x="762" y="270"/>
                  </a:lnTo>
                  <a:lnTo>
                    <a:pt x="762" y="278"/>
                  </a:lnTo>
                  <a:lnTo>
                    <a:pt x="752" y="280"/>
                  </a:lnTo>
                  <a:lnTo>
                    <a:pt x="738" y="292"/>
                  </a:lnTo>
                  <a:lnTo>
                    <a:pt x="734" y="296"/>
                  </a:lnTo>
                  <a:lnTo>
                    <a:pt x="724" y="298"/>
                  </a:lnTo>
                  <a:lnTo>
                    <a:pt x="714" y="314"/>
                  </a:lnTo>
                  <a:lnTo>
                    <a:pt x="702" y="318"/>
                  </a:lnTo>
                  <a:lnTo>
                    <a:pt x="696" y="326"/>
                  </a:lnTo>
                  <a:lnTo>
                    <a:pt x="686" y="338"/>
                  </a:lnTo>
                  <a:lnTo>
                    <a:pt x="682" y="350"/>
                  </a:lnTo>
                  <a:lnTo>
                    <a:pt x="686" y="364"/>
                  </a:lnTo>
                  <a:lnTo>
                    <a:pt x="692" y="378"/>
                  </a:lnTo>
                  <a:lnTo>
                    <a:pt x="696" y="392"/>
                  </a:lnTo>
                  <a:lnTo>
                    <a:pt x="702" y="406"/>
                  </a:lnTo>
                  <a:lnTo>
                    <a:pt x="704" y="424"/>
                  </a:lnTo>
                  <a:lnTo>
                    <a:pt x="704" y="440"/>
                  </a:lnTo>
                  <a:lnTo>
                    <a:pt x="702" y="448"/>
                  </a:lnTo>
                  <a:lnTo>
                    <a:pt x="694" y="448"/>
                  </a:lnTo>
                  <a:lnTo>
                    <a:pt x="686" y="440"/>
                  </a:lnTo>
                  <a:lnTo>
                    <a:pt x="680" y="428"/>
                  </a:lnTo>
                  <a:lnTo>
                    <a:pt x="672" y="422"/>
                  </a:lnTo>
                  <a:lnTo>
                    <a:pt x="664" y="416"/>
                  </a:lnTo>
                  <a:lnTo>
                    <a:pt x="662" y="404"/>
                  </a:lnTo>
                  <a:lnTo>
                    <a:pt x="662" y="392"/>
                  </a:lnTo>
                  <a:lnTo>
                    <a:pt x="664" y="382"/>
                  </a:lnTo>
                  <a:lnTo>
                    <a:pt x="656" y="374"/>
                  </a:lnTo>
                  <a:lnTo>
                    <a:pt x="650" y="366"/>
                  </a:lnTo>
                  <a:lnTo>
                    <a:pt x="640" y="362"/>
                  </a:lnTo>
                  <a:lnTo>
                    <a:pt x="634" y="364"/>
                  </a:lnTo>
                  <a:lnTo>
                    <a:pt x="626" y="372"/>
                  </a:lnTo>
                  <a:lnTo>
                    <a:pt x="618" y="362"/>
                  </a:lnTo>
                  <a:lnTo>
                    <a:pt x="606" y="360"/>
                  </a:lnTo>
                  <a:lnTo>
                    <a:pt x="592" y="358"/>
                  </a:lnTo>
                  <a:lnTo>
                    <a:pt x="582" y="354"/>
                  </a:lnTo>
                  <a:lnTo>
                    <a:pt x="566" y="354"/>
                  </a:lnTo>
                  <a:lnTo>
                    <a:pt x="552" y="356"/>
                  </a:lnTo>
                  <a:lnTo>
                    <a:pt x="542" y="358"/>
                  </a:lnTo>
                  <a:lnTo>
                    <a:pt x="548" y="364"/>
                  </a:lnTo>
                  <a:lnTo>
                    <a:pt x="554" y="368"/>
                  </a:lnTo>
                  <a:lnTo>
                    <a:pt x="560" y="374"/>
                  </a:lnTo>
                  <a:lnTo>
                    <a:pt x="552" y="376"/>
                  </a:lnTo>
                  <a:lnTo>
                    <a:pt x="544" y="376"/>
                  </a:lnTo>
                  <a:lnTo>
                    <a:pt x="534" y="378"/>
                  </a:lnTo>
                  <a:lnTo>
                    <a:pt x="526" y="372"/>
                  </a:lnTo>
                  <a:lnTo>
                    <a:pt x="516" y="368"/>
                  </a:lnTo>
                  <a:lnTo>
                    <a:pt x="512" y="370"/>
                  </a:lnTo>
                  <a:lnTo>
                    <a:pt x="508" y="372"/>
                  </a:lnTo>
                  <a:lnTo>
                    <a:pt x="498" y="366"/>
                  </a:lnTo>
                  <a:lnTo>
                    <a:pt x="488" y="366"/>
                  </a:lnTo>
                  <a:lnTo>
                    <a:pt x="484" y="372"/>
                  </a:lnTo>
                  <a:lnTo>
                    <a:pt x="476" y="374"/>
                  </a:lnTo>
                  <a:lnTo>
                    <a:pt x="470" y="370"/>
                  </a:lnTo>
                  <a:lnTo>
                    <a:pt x="466" y="378"/>
                  </a:lnTo>
                  <a:lnTo>
                    <a:pt x="460" y="384"/>
                  </a:lnTo>
                  <a:lnTo>
                    <a:pt x="454" y="388"/>
                  </a:lnTo>
                  <a:lnTo>
                    <a:pt x="442" y="388"/>
                  </a:lnTo>
                  <a:lnTo>
                    <a:pt x="438" y="394"/>
                  </a:lnTo>
                  <a:lnTo>
                    <a:pt x="432" y="400"/>
                  </a:lnTo>
                  <a:lnTo>
                    <a:pt x="428" y="408"/>
                  </a:lnTo>
                  <a:lnTo>
                    <a:pt x="430" y="420"/>
                  </a:lnTo>
                  <a:lnTo>
                    <a:pt x="434" y="432"/>
                  </a:lnTo>
                  <a:lnTo>
                    <a:pt x="422" y="430"/>
                  </a:lnTo>
                  <a:lnTo>
                    <a:pt x="406" y="424"/>
                  </a:lnTo>
                  <a:lnTo>
                    <a:pt x="398" y="412"/>
                  </a:lnTo>
                  <a:lnTo>
                    <a:pt x="390" y="400"/>
                  </a:lnTo>
                  <a:lnTo>
                    <a:pt x="380" y="388"/>
                  </a:lnTo>
                  <a:lnTo>
                    <a:pt x="374" y="374"/>
                  </a:lnTo>
                  <a:lnTo>
                    <a:pt x="360" y="368"/>
                  </a:lnTo>
                  <a:lnTo>
                    <a:pt x="352" y="364"/>
                  </a:lnTo>
                  <a:lnTo>
                    <a:pt x="344" y="368"/>
                  </a:lnTo>
                  <a:lnTo>
                    <a:pt x="342" y="378"/>
                  </a:lnTo>
                  <a:lnTo>
                    <a:pt x="330" y="380"/>
                  </a:lnTo>
                  <a:lnTo>
                    <a:pt x="314" y="370"/>
                  </a:lnTo>
                  <a:lnTo>
                    <a:pt x="312" y="354"/>
                  </a:lnTo>
                  <a:lnTo>
                    <a:pt x="302" y="346"/>
                  </a:lnTo>
                  <a:lnTo>
                    <a:pt x="282" y="330"/>
                  </a:lnTo>
                  <a:lnTo>
                    <a:pt x="262" y="334"/>
                  </a:lnTo>
                  <a:lnTo>
                    <a:pt x="254" y="340"/>
                  </a:lnTo>
                  <a:lnTo>
                    <a:pt x="208" y="340"/>
                  </a:lnTo>
                  <a:lnTo>
                    <a:pt x="192" y="334"/>
                  </a:lnTo>
                  <a:lnTo>
                    <a:pt x="166" y="322"/>
                  </a:lnTo>
                  <a:lnTo>
                    <a:pt x="148" y="316"/>
                  </a:lnTo>
                  <a:lnTo>
                    <a:pt x="116" y="318"/>
                  </a:lnTo>
                  <a:lnTo>
                    <a:pt x="112" y="306"/>
                  </a:lnTo>
                  <a:lnTo>
                    <a:pt x="104" y="298"/>
                  </a:lnTo>
                  <a:lnTo>
                    <a:pt x="98" y="294"/>
                  </a:lnTo>
                  <a:lnTo>
                    <a:pt x="84" y="290"/>
                  </a:lnTo>
                  <a:lnTo>
                    <a:pt x="74" y="282"/>
                  </a:lnTo>
                  <a:lnTo>
                    <a:pt x="60" y="286"/>
                  </a:lnTo>
                  <a:lnTo>
                    <a:pt x="58" y="272"/>
                  </a:lnTo>
                  <a:lnTo>
                    <a:pt x="48" y="258"/>
                  </a:lnTo>
                  <a:lnTo>
                    <a:pt x="38" y="248"/>
                  </a:lnTo>
                  <a:lnTo>
                    <a:pt x="42" y="242"/>
                  </a:lnTo>
                  <a:lnTo>
                    <a:pt x="36" y="238"/>
                  </a:lnTo>
                  <a:lnTo>
                    <a:pt x="32" y="228"/>
                  </a:lnTo>
                  <a:lnTo>
                    <a:pt x="38" y="218"/>
                  </a:lnTo>
                  <a:lnTo>
                    <a:pt x="26" y="218"/>
                  </a:lnTo>
                  <a:lnTo>
                    <a:pt x="18" y="210"/>
                  </a:lnTo>
                  <a:lnTo>
                    <a:pt x="10" y="198"/>
                  </a:lnTo>
                  <a:lnTo>
                    <a:pt x="10" y="186"/>
                  </a:lnTo>
                  <a:lnTo>
                    <a:pt x="2" y="178"/>
                  </a:lnTo>
                  <a:lnTo>
                    <a:pt x="2" y="170"/>
                  </a:lnTo>
                  <a:lnTo>
                    <a:pt x="6" y="148"/>
                  </a:lnTo>
                  <a:lnTo>
                    <a:pt x="2" y="122"/>
                  </a:lnTo>
                  <a:lnTo>
                    <a:pt x="6" y="112"/>
                  </a:lnTo>
                  <a:lnTo>
                    <a:pt x="10" y="64"/>
                  </a:lnTo>
                  <a:lnTo>
                    <a:pt x="16" y="64"/>
                  </a:lnTo>
                  <a:lnTo>
                    <a:pt x="10" y="54"/>
                  </a:lnTo>
                  <a:lnTo>
                    <a:pt x="6" y="48"/>
                  </a:lnTo>
                  <a:lnTo>
                    <a:pt x="8" y="42"/>
                  </a:lnTo>
                  <a:lnTo>
                    <a:pt x="4" y="3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grpSp>
          <p:nvGrpSpPr>
            <p:cNvPr id="866" name="Group 52">
              <a:extLst>
                <a:ext uri="{FF2B5EF4-FFF2-40B4-BE49-F238E27FC236}">
                  <a16:creationId xmlns:a16="http://schemas.microsoft.com/office/drawing/2014/main" id="{66939954-1697-4130-B51F-9533CCD47EF8}"/>
                </a:ext>
              </a:extLst>
            </p:cNvPr>
            <p:cNvGrpSpPr>
              <a:grpSpLocks/>
            </p:cNvGrpSpPr>
            <p:nvPr/>
          </p:nvGrpSpPr>
          <p:grpSpPr bwMode="auto">
            <a:xfrm>
              <a:off x="1641146" y="4100457"/>
              <a:ext cx="125482" cy="89630"/>
              <a:chOff x="170" y="2211"/>
              <a:chExt cx="76" cy="54"/>
            </a:xfrm>
            <a:grpFill/>
          </p:grpSpPr>
          <p:sp>
            <p:nvSpPr>
              <p:cNvPr id="1094" name="Freeform 53">
                <a:extLst>
                  <a:ext uri="{FF2B5EF4-FFF2-40B4-BE49-F238E27FC236}">
                    <a16:creationId xmlns:a16="http://schemas.microsoft.com/office/drawing/2014/main" id="{CCB64BB9-43CC-404C-AF90-566F081D7A50}"/>
                  </a:ext>
                </a:extLst>
              </p:cNvPr>
              <p:cNvSpPr>
                <a:spLocks/>
              </p:cNvSpPr>
              <p:nvPr/>
            </p:nvSpPr>
            <p:spPr bwMode="gray">
              <a:xfrm>
                <a:off x="214" y="2231"/>
                <a:ext cx="12" cy="10"/>
              </a:xfrm>
              <a:custGeom>
                <a:avLst/>
                <a:gdLst>
                  <a:gd name="T0" fmla="*/ 12 w 12"/>
                  <a:gd name="T1" fmla="*/ 6 h 10"/>
                  <a:gd name="T2" fmla="*/ 10 w 12"/>
                  <a:gd name="T3" fmla="*/ 2 h 10"/>
                  <a:gd name="T4" fmla="*/ 4 w 12"/>
                  <a:gd name="T5" fmla="*/ 0 h 10"/>
                  <a:gd name="T6" fmla="*/ 0 w 12"/>
                  <a:gd name="T7" fmla="*/ 4 h 10"/>
                  <a:gd name="T8" fmla="*/ 4 w 12"/>
                  <a:gd name="T9" fmla="*/ 6 h 10"/>
                  <a:gd name="T10" fmla="*/ 10 w 12"/>
                  <a:gd name="T11" fmla="*/ 10 h 10"/>
                  <a:gd name="T12" fmla="*/ 12 w 12"/>
                  <a:gd name="T13" fmla="*/ 6 h 10"/>
                </a:gdLst>
                <a:ahLst/>
                <a:cxnLst>
                  <a:cxn ang="0">
                    <a:pos x="T0" y="T1"/>
                  </a:cxn>
                  <a:cxn ang="0">
                    <a:pos x="T2" y="T3"/>
                  </a:cxn>
                  <a:cxn ang="0">
                    <a:pos x="T4" y="T5"/>
                  </a:cxn>
                  <a:cxn ang="0">
                    <a:pos x="T6" y="T7"/>
                  </a:cxn>
                  <a:cxn ang="0">
                    <a:pos x="T8" y="T9"/>
                  </a:cxn>
                  <a:cxn ang="0">
                    <a:pos x="T10" y="T11"/>
                  </a:cxn>
                  <a:cxn ang="0">
                    <a:pos x="T12" y="T13"/>
                  </a:cxn>
                </a:cxnLst>
                <a:rect l="0" t="0" r="r" b="b"/>
                <a:pathLst>
                  <a:path w="12" h="10">
                    <a:moveTo>
                      <a:pt x="12" y="6"/>
                    </a:moveTo>
                    <a:lnTo>
                      <a:pt x="10" y="2"/>
                    </a:lnTo>
                    <a:lnTo>
                      <a:pt x="4" y="0"/>
                    </a:lnTo>
                    <a:lnTo>
                      <a:pt x="0" y="4"/>
                    </a:lnTo>
                    <a:lnTo>
                      <a:pt x="4" y="6"/>
                    </a:lnTo>
                    <a:lnTo>
                      <a:pt x="10" y="10"/>
                    </a:lnTo>
                    <a:lnTo>
                      <a:pt x="12" y="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95" name="Freeform 54">
                <a:extLst>
                  <a:ext uri="{FF2B5EF4-FFF2-40B4-BE49-F238E27FC236}">
                    <a16:creationId xmlns:a16="http://schemas.microsoft.com/office/drawing/2014/main" id="{B1D10F90-393A-468F-BDE2-3425CB0CF024}"/>
                  </a:ext>
                </a:extLst>
              </p:cNvPr>
              <p:cNvSpPr>
                <a:spLocks/>
              </p:cNvSpPr>
              <p:nvPr/>
            </p:nvSpPr>
            <p:spPr bwMode="gray">
              <a:xfrm>
                <a:off x="230" y="2245"/>
                <a:ext cx="16" cy="20"/>
              </a:xfrm>
              <a:custGeom>
                <a:avLst/>
                <a:gdLst>
                  <a:gd name="T0" fmla="*/ 16 w 16"/>
                  <a:gd name="T1" fmla="*/ 14 h 20"/>
                  <a:gd name="T2" fmla="*/ 8 w 16"/>
                  <a:gd name="T3" fmla="*/ 16 h 20"/>
                  <a:gd name="T4" fmla="*/ 4 w 16"/>
                  <a:gd name="T5" fmla="*/ 20 h 20"/>
                  <a:gd name="T6" fmla="*/ 0 w 16"/>
                  <a:gd name="T7" fmla="*/ 12 h 20"/>
                  <a:gd name="T8" fmla="*/ 0 w 16"/>
                  <a:gd name="T9" fmla="*/ 6 h 20"/>
                  <a:gd name="T10" fmla="*/ 4 w 16"/>
                  <a:gd name="T11" fmla="*/ 0 h 20"/>
                  <a:gd name="T12" fmla="*/ 8 w 16"/>
                  <a:gd name="T13" fmla="*/ 2 h 20"/>
                  <a:gd name="T14" fmla="*/ 14 w 16"/>
                  <a:gd name="T15" fmla="*/ 6 h 20"/>
                  <a:gd name="T16" fmla="*/ 16 w 16"/>
                  <a:gd name="T17" fmla="*/ 1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20">
                    <a:moveTo>
                      <a:pt x="16" y="14"/>
                    </a:moveTo>
                    <a:lnTo>
                      <a:pt x="8" y="16"/>
                    </a:lnTo>
                    <a:lnTo>
                      <a:pt x="4" y="20"/>
                    </a:lnTo>
                    <a:lnTo>
                      <a:pt x="0" y="12"/>
                    </a:lnTo>
                    <a:lnTo>
                      <a:pt x="0" y="6"/>
                    </a:lnTo>
                    <a:lnTo>
                      <a:pt x="4" y="0"/>
                    </a:lnTo>
                    <a:lnTo>
                      <a:pt x="8" y="2"/>
                    </a:lnTo>
                    <a:lnTo>
                      <a:pt x="14" y="6"/>
                    </a:lnTo>
                    <a:lnTo>
                      <a:pt x="16" y="1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96" name="Freeform 55">
                <a:extLst>
                  <a:ext uri="{FF2B5EF4-FFF2-40B4-BE49-F238E27FC236}">
                    <a16:creationId xmlns:a16="http://schemas.microsoft.com/office/drawing/2014/main" id="{A8242263-71CB-4EFB-A567-EB5B44C7B00D}"/>
                  </a:ext>
                </a:extLst>
              </p:cNvPr>
              <p:cNvSpPr>
                <a:spLocks/>
              </p:cNvSpPr>
              <p:nvPr/>
            </p:nvSpPr>
            <p:spPr bwMode="gray">
              <a:xfrm>
                <a:off x="194" y="2219"/>
                <a:ext cx="6" cy="8"/>
              </a:xfrm>
              <a:custGeom>
                <a:avLst/>
                <a:gdLst>
                  <a:gd name="T0" fmla="*/ 6 w 6"/>
                  <a:gd name="T1" fmla="*/ 6 h 8"/>
                  <a:gd name="T2" fmla="*/ 4 w 6"/>
                  <a:gd name="T3" fmla="*/ 0 h 8"/>
                  <a:gd name="T4" fmla="*/ 0 w 6"/>
                  <a:gd name="T5" fmla="*/ 0 h 8"/>
                  <a:gd name="T6" fmla="*/ 0 w 6"/>
                  <a:gd name="T7" fmla="*/ 4 h 8"/>
                  <a:gd name="T8" fmla="*/ 2 w 6"/>
                  <a:gd name="T9" fmla="*/ 8 h 8"/>
                  <a:gd name="T10" fmla="*/ 6 w 6"/>
                  <a:gd name="T11" fmla="*/ 6 h 8"/>
                </a:gdLst>
                <a:ahLst/>
                <a:cxnLst>
                  <a:cxn ang="0">
                    <a:pos x="T0" y="T1"/>
                  </a:cxn>
                  <a:cxn ang="0">
                    <a:pos x="T2" y="T3"/>
                  </a:cxn>
                  <a:cxn ang="0">
                    <a:pos x="T4" y="T5"/>
                  </a:cxn>
                  <a:cxn ang="0">
                    <a:pos x="T6" y="T7"/>
                  </a:cxn>
                  <a:cxn ang="0">
                    <a:pos x="T8" y="T9"/>
                  </a:cxn>
                  <a:cxn ang="0">
                    <a:pos x="T10" y="T11"/>
                  </a:cxn>
                </a:cxnLst>
                <a:rect l="0" t="0" r="r" b="b"/>
                <a:pathLst>
                  <a:path w="6" h="8">
                    <a:moveTo>
                      <a:pt x="6" y="6"/>
                    </a:moveTo>
                    <a:lnTo>
                      <a:pt x="4" y="0"/>
                    </a:lnTo>
                    <a:lnTo>
                      <a:pt x="0" y="0"/>
                    </a:lnTo>
                    <a:lnTo>
                      <a:pt x="0" y="4"/>
                    </a:lnTo>
                    <a:lnTo>
                      <a:pt x="2" y="8"/>
                    </a:lnTo>
                    <a:lnTo>
                      <a:pt x="6" y="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97" name="Freeform 56">
                <a:extLst>
                  <a:ext uri="{FF2B5EF4-FFF2-40B4-BE49-F238E27FC236}">
                    <a16:creationId xmlns:a16="http://schemas.microsoft.com/office/drawing/2014/main" id="{1037CACA-20EC-4F10-8BA0-B1D605BBD9D3}"/>
                  </a:ext>
                </a:extLst>
              </p:cNvPr>
              <p:cNvSpPr>
                <a:spLocks/>
              </p:cNvSpPr>
              <p:nvPr/>
            </p:nvSpPr>
            <p:spPr bwMode="gray">
              <a:xfrm>
                <a:off x="194" y="2219"/>
                <a:ext cx="6" cy="8"/>
              </a:xfrm>
              <a:custGeom>
                <a:avLst/>
                <a:gdLst>
                  <a:gd name="T0" fmla="*/ 6 w 6"/>
                  <a:gd name="T1" fmla="*/ 6 h 8"/>
                  <a:gd name="T2" fmla="*/ 4 w 6"/>
                  <a:gd name="T3" fmla="*/ 0 h 8"/>
                  <a:gd name="T4" fmla="*/ 0 w 6"/>
                  <a:gd name="T5" fmla="*/ 0 h 8"/>
                  <a:gd name="T6" fmla="*/ 0 w 6"/>
                  <a:gd name="T7" fmla="*/ 4 h 8"/>
                  <a:gd name="T8" fmla="*/ 2 w 6"/>
                  <a:gd name="T9" fmla="*/ 8 h 8"/>
                  <a:gd name="T10" fmla="*/ 6 w 6"/>
                  <a:gd name="T11" fmla="*/ 6 h 8"/>
                </a:gdLst>
                <a:ahLst/>
                <a:cxnLst>
                  <a:cxn ang="0">
                    <a:pos x="T0" y="T1"/>
                  </a:cxn>
                  <a:cxn ang="0">
                    <a:pos x="T2" y="T3"/>
                  </a:cxn>
                  <a:cxn ang="0">
                    <a:pos x="T4" y="T5"/>
                  </a:cxn>
                  <a:cxn ang="0">
                    <a:pos x="T6" y="T7"/>
                  </a:cxn>
                  <a:cxn ang="0">
                    <a:pos x="T8" y="T9"/>
                  </a:cxn>
                  <a:cxn ang="0">
                    <a:pos x="T10" y="T11"/>
                  </a:cxn>
                </a:cxnLst>
                <a:rect l="0" t="0" r="r" b="b"/>
                <a:pathLst>
                  <a:path w="6" h="8">
                    <a:moveTo>
                      <a:pt x="6" y="6"/>
                    </a:moveTo>
                    <a:lnTo>
                      <a:pt x="4" y="0"/>
                    </a:lnTo>
                    <a:lnTo>
                      <a:pt x="0" y="0"/>
                    </a:lnTo>
                    <a:lnTo>
                      <a:pt x="0" y="4"/>
                    </a:lnTo>
                    <a:lnTo>
                      <a:pt x="2" y="8"/>
                    </a:lnTo>
                    <a:lnTo>
                      <a:pt x="6" y="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98" name="Freeform 57">
                <a:extLst>
                  <a:ext uri="{FF2B5EF4-FFF2-40B4-BE49-F238E27FC236}">
                    <a16:creationId xmlns:a16="http://schemas.microsoft.com/office/drawing/2014/main" id="{5F111C5C-0DC9-4C33-A38F-877EE14DF696}"/>
                  </a:ext>
                </a:extLst>
              </p:cNvPr>
              <p:cNvSpPr>
                <a:spLocks/>
              </p:cNvSpPr>
              <p:nvPr/>
            </p:nvSpPr>
            <p:spPr bwMode="gray">
              <a:xfrm>
                <a:off x="170" y="2211"/>
                <a:ext cx="6" cy="4"/>
              </a:xfrm>
              <a:custGeom>
                <a:avLst/>
                <a:gdLst>
                  <a:gd name="T0" fmla="*/ 4 w 6"/>
                  <a:gd name="T1" fmla="*/ 0 h 4"/>
                  <a:gd name="T2" fmla="*/ 0 w 6"/>
                  <a:gd name="T3" fmla="*/ 0 h 4"/>
                  <a:gd name="T4" fmla="*/ 2 w 6"/>
                  <a:gd name="T5" fmla="*/ 4 h 4"/>
                  <a:gd name="T6" fmla="*/ 6 w 6"/>
                  <a:gd name="T7" fmla="*/ 4 h 4"/>
                  <a:gd name="T8" fmla="*/ 4 w 6"/>
                  <a:gd name="T9" fmla="*/ 0 h 4"/>
                </a:gdLst>
                <a:ahLst/>
                <a:cxnLst>
                  <a:cxn ang="0">
                    <a:pos x="T0" y="T1"/>
                  </a:cxn>
                  <a:cxn ang="0">
                    <a:pos x="T2" y="T3"/>
                  </a:cxn>
                  <a:cxn ang="0">
                    <a:pos x="T4" y="T5"/>
                  </a:cxn>
                  <a:cxn ang="0">
                    <a:pos x="T6" y="T7"/>
                  </a:cxn>
                  <a:cxn ang="0">
                    <a:pos x="T8" y="T9"/>
                  </a:cxn>
                </a:cxnLst>
                <a:rect l="0" t="0" r="r" b="b"/>
                <a:pathLst>
                  <a:path w="6" h="4">
                    <a:moveTo>
                      <a:pt x="4" y="0"/>
                    </a:moveTo>
                    <a:lnTo>
                      <a:pt x="0" y="0"/>
                    </a:lnTo>
                    <a:lnTo>
                      <a:pt x="2" y="4"/>
                    </a:lnTo>
                    <a:lnTo>
                      <a:pt x="6" y="4"/>
                    </a:lnTo>
                    <a:lnTo>
                      <a:pt x="4"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99" name="Freeform 58">
                <a:extLst>
                  <a:ext uri="{FF2B5EF4-FFF2-40B4-BE49-F238E27FC236}">
                    <a16:creationId xmlns:a16="http://schemas.microsoft.com/office/drawing/2014/main" id="{6AE5C46C-B211-4D32-8E99-63029AF085EA}"/>
                  </a:ext>
                </a:extLst>
              </p:cNvPr>
              <p:cNvSpPr>
                <a:spLocks/>
              </p:cNvSpPr>
              <p:nvPr/>
            </p:nvSpPr>
            <p:spPr bwMode="gray">
              <a:xfrm>
                <a:off x="170" y="2211"/>
                <a:ext cx="6" cy="4"/>
              </a:xfrm>
              <a:custGeom>
                <a:avLst/>
                <a:gdLst>
                  <a:gd name="T0" fmla="*/ 4 w 6"/>
                  <a:gd name="T1" fmla="*/ 0 h 4"/>
                  <a:gd name="T2" fmla="*/ 0 w 6"/>
                  <a:gd name="T3" fmla="*/ 0 h 4"/>
                  <a:gd name="T4" fmla="*/ 2 w 6"/>
                  <a:gd name="T5" fmla="*/ 4 h 4"/>
                  <a:gd name="T6" fmla="*/ 6 w 6"/>
                  <a:gd name="T7" fmla="*/ 4 h 4"/>
                  <a:gd name="T8" fmla="*/ 4 w 6"/>
                  <a:gd name="T9" fmla="*/ 0 h 4"/>
                </a:gdLst>
                <a:ahLst/>
                <a:cxnLst>
                  <a:cxn ang="0">
                    <a:pos x="T0" y="T1"/>
                  </a:cxn>
                  <a:cxn ang="0">
                    <a:pos x="T2" y="T3"/>
                  </a:cxn>
                  <a:cxn ang="0">
                    <a:pos x="T4" y="T5"/>
                  </a:cxn>
                  <a:cxn ang="0">
                    <a:pos x="T6" y="T7"/>
                  </a:cxn>
                  <a:cxn ang="0">
                    <a:pos x="T8" y="T9"/>
                  </a:cxn>
                </a:cxnLst>
                <a:rect l="0" t="0" r="r" b="b"/>
                <a:pathLst>
                  <a:path w="6" h="4">
                    <a:moveTo>
                      <a:pt x="4" y="0"/>
                    </a:moveTo>
                    <a:lnTo>
                      <a:pt x="0" y="0"/>
                    </a:lnTo>
                    <a:lnTo>
                      <a:pt x="2" y="4"/>
                    </a:lnTo>
                    <a:lnTo>
                      <a:pt x="6" y="4"/>
                    </a:lnTo>
                    <a:lnTo>
                      <a:pt x="4"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grpSp>
        <p:sp>
          <p:nvSpPr>
            <p:cNvPr id="867" name="Freeform 59">
              <a:extLst>
                <a:ext uri="{FF2B5EF4-FFF2-40B4-BE49-F238E27FC236}">
                  <a16:creationId xmlns:a16="http://schemas.microsoft.com/office/drawing/2014/main" id="{29E96C3E-659C-4DCC-921C-F582CC739E21}"/>
                </a:ext>
              </a:extLst>
            </p:cNvPr>
            <p:cNvSpPr>
              <a:spLocks/>
            </p:cNvSpPr>
            <p:nvPr/>
          </p:nvSpPr>
          <p:spPr bwMode="gray">
            <a:xfrm>
              <a:off x="3404489" y="4219963"/>
              <a:ext cx="95762" cy="106229"/>
            </a:xfrm>
            <a:custGeom>
              <a:avLst/>
              <a:gdLst>
                <a:gd name="T0" fmla="*/ 34 w 58"/>
                <a:gd name="T1" fmla="*/ 64 h 64"/>
                <a:gd name="T2" fmla="*/ 42 w 58"/>
                <a:gd name="T3" fmla="*/ 56 h 64"/>
                <a:gd name="T4" fmla="*/ 48 w 58"/>
                <a:gd name="T5" fmla="*/ 50 h 64"/>
                <a:gd name="T6" fmla="*/ 52 w 58"/>
                <a:gd name="T7" fmla="*/ 46 h 64"/>
                <a:gd name="T8" fmla="*/ 58 w 58"/>
                <a:gd name="T9" fmla="*/ 38 h 64"/>
                <a:gd name="T10" fmla="*/ 54 w 58"/>
                <a:gd name="T11" fmla="*/ 34 h 64"/>
                <a:gd name="T12" fmla="*/ 48 w 58"/>
                <a:gd name="T13" fmla="*/ 34 h 64"/>
                <a:gd name="T14" fmla="*/ 48 w 58"/>
                <a:gd name="T15" fmla="*/ 0 h 64"/>
                <a:gd name="T16" fmla="*/ 18 w 58"/>
                <a:gd name="T17" fmla="*/ 2 h 64"/>
                <a:gd name="T18" fmla="*/ 16 w 58"/>
                <a:gd name="T19" fmla="*/ 6 h 64"/>
                <a:gd name="T20" fmla="*/ 18 w 58"/>
                <a:gd name="T21" fmla="*/ 14 h 64"/>
                <a:gd name="T22" fmla="*/ 26 w 58"/>
                <a:gd name="T23" fmla="*/ 20 h 64"/>
                <a:gd name="T24" fmla="*/ 30 w 58"/>
                <a:gd name="T25" fmla="*/ 26 h 64"/>
                <a:gd name="T26" fmla="*/ 26 w 58"/>
                <a:gd name="T27" fmla="*/ 28 h 64"/>
                <a:gd name="T28" fmla="*/ 14 w 58"/>
                <a:gd name="T29" fmla="*/ 30 h 64"/>
                <a:gd name="T30" fmla="*/ 10 w 58"/>
                <a:gd name="T31" fmla="*/ 28 h 64"/>
                <a:gd name="T32" fmla="*/ 4 w 58"/>
                <a:gd name="T33" fmla="*/ 36 h 64"/>
                <a:gd name="T34" fmla="*/ 2 w 58"/>
                <a:gd name="T35" fmla="*/ 42 h 64"/>
                <a:gd name="T36" fmla="*/ 0 w 58"/>
                <a:gd name="T37" fmla="*/ 54 h 64"/>
                <a:gd name="T38" fmla="*/ 6 w 58"/>
                <a:gd name="T39" fmla="*/ 58 h 64"/>
                <a:gd name="T40" fmla="*/ 12 w 58"/>
                <a:gd name="T41" fmla="*/ 62 h 64"/>
                <a:gd name="T42" fmla="*/ 22 w 58"/>
                <a:gd name="T43" fmla="*/ 64 h 64"/>
                <a:gd name="T44" fmla="*/ 34 w 58"/>
                <a:gd name="T4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8" h="64">
                  <a:moveTo>
                    <a:pt x="34" y="64"/>
                  </a:moveTo>
                  <a:lnTo>
                    <a:pt x="42" y="56"/>
                  </a:lnTo>
                  <a:lnTo>
                    <a:pt x="48" y="50"/>
                  </a:lnTo>
                  <a:lnTo>
                    <a:pt x="52" y="46"/>
                  </a:lnTo>
                  <a:lnTo>
                    <a:pt x="58" y="38"/>
                  </a:lnTo>
                  <a:lnTo>
                    <a:pt x="54" y="34"/>
                  </a:lnTo>
                  <a:lnTo>
                    <a:pt x="48" y="34"/>
                  </a:lnTo>
                  <a:lnTo>
                    <a:pt x="48" y="0"/>
                  </a:lnTo>
                  <a:lnTo>
                    <a:pt x="18" y="2"/>
                  </a:lnTo>
                  <a:lnTo>
                    <a:pt x="16" y="6"/>
                  </a:lnTo>
                  <a:lnTo>
                    <a:pt x="18" y="14"/>
                  </a:lnTo>
                  <a:lnTo>
                    <a:pt x="26" y="20"/>
                  </a:lnTo>
                  <a:lnTo>
                    <a:pt x="30" y="26"/>
                  </a:lnTo>
                  <a:lnTo>
                    <a:pt x="26" y="28"/>
                  </a:lnTo>
                  <a:lnTo>
                    <a:pt x="14" y="30"/>
                  </a:lnTo>
                  <a:lnTo>
                    <a:pt x="10" y="28"/>
                  </a:lnTo>
                  <a:lnTo>
                    <a:pt x="4" y="36"/>
                  </a:lnTo>
                  <a:lnTo>
                    <a:pt x="2" y="42"/>
                  </a:lnTo>
                  <a:lnTo>
                    <a:pt x="0" y="54"/>
                  </a:lnTo>
                  <a:lnTo>
                    <a:pt x="6" y="58"/>
                  </a:lnTo>
                  <a:lnTo>
                    <a:pt x="12" y="62"/>
                  </a:lnTo>
                  <a:lnTo>
                    <a:pt x="22" y="64"/>
                  </a:lnTo>
                  <a:lnTo>
                    <a:pt x="34" y="6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68" name="Freeform 60">
              <a:extLst>
                <a:ext uri="{FF2B5EF4-FFF2-40B4-BE49-F238E27FC236}">
                  <a16:creationId xmlns:a16="http://schemas.microsoft.com/office/drawing/2014/main" id="{DB7F40F7-BA10-4B7B-8E87-444F7A3B3D28}"/>
                </a:ext>
              </a:extLst>
            </p:cNvPr>
            <p:cNvSpPr>
              <a:spLocks/>
            </p:cNvSpPr>
            <p:nvPr/>
          </p:nvSpPr>
          <p:spPr bwMode="gray">
            <a:xfrm>
              <a:off x="3483741" y="4203366"/>
              <a:ext cx="19813" cy="73033"/>
            </a:xfrm>
            <a:custGeom>
              <a:avLst/>
              <a:gdLst>
                <a:gd name="T0" fmla="*/ 10 w 12"/>
                <a:gd name="T1" fmla="*/ 0 h 44"/>
                <a:gd name="T2" fmla="*/ 12 w 12"/>
                <a:gd name="T3" fmla="*/ 6 h 44"/>
                <a:gd name="T4" fmla="*/ 10 w 12"/>
                <a:gd name="T5" fmla="*/ 12 h 44"/>
                <a:gd name="T6" fmla="*/ 10 w 12"/>
                <a:gd name="T7" fmla="*/ 26 h 44"/>
                <a:gd name="T8" fmla="*/ 10 w 12"/>
                <a:gd name="T9" fmla="*/ 34 h 44"/>
                <a:gd name="T10" fmla="*/ 6 w 12"/>
                <a:gd name="T11" fmla="*/ 38 h 44"/>
                <a:gd name="T12" fmla="*/ 0 w 12"/>
                <a:gd name="T13" fmla="*/ 44 h 44"/>
                <a:gd name="T14" fmla="*/ 0 w 12"/>
                <a:gd name="T15" fmla="*/ 10 h 44"/>
                <a:gd name="T16" fmla="*/ 6 w 12"/>
                <a:gd name="T17" fmla="*/ 4 h 44"/>
                <a:gd name="T18" fmla="*/ 10 w 12"/>
                <a:gd name="T19"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44">
                  <a:moveTo>
                    <a:pt x="10" y="0"/>
                  </a:moveTo>
                  <a:lnTo>
                    <a:pt x="12" y="6"/>
                  </a:lnTo>
                  <a:lnTo>
                    <a:pt x="10" y="12"/>
                  </a:lnTo>
                  <a:lnTo>
                    <a:pt x="10" y="26"/>
                  </a:lnTo>
                  <a:lnTo>
                    <a:pt x="10" y="34"/>
                  </a:lnTo>
                  <a:lnTo>
                    <a:pt x="6" y="38"/>
                  </a:lnTo>
                  <a:lnTo>
                    <a:pt x="0" y="44"/>
                  </a:lnTo>
                  <a:lnTo>
                    <a:pt x="0" y="10"/>
                  </a:lnTo>
                  <a:lnTo>
                    <a:pt x="6" y="4"/>
                  </a:lnTo>
                  <a:lnTo>
                    <a:pt x="1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69" name="Freeform 61">
              <a:extLst>
                <a:ext uri="{FF2B5EF4-FFF2-40B4-BE49-F238E27FC236}">
                  <a16:creationId xmlns:a16="http://schemas.microsoft.com/office/drawing/2014/main" id="{7095A538-D4C3-40C6-9151-E7D2189CCBA7}"/>
                </a:ext>
              </a:extLst>
            </p:cNvPr>
            <p:cNvSpPr>
              <a:spLocks/>
            </p:cNvSpPr>
            <p:nvPr/>
          </p:nvSpPr>
          <p:spPr bwMode="gray">
            <a:xfrm>
              <a:off x="3460626" y="4309595"/>
              <a:ext cx="56136" cy="36517"/>
            </a:xfrm>
            <a:custGeom>
              <a:avLst/>
              <a:gdLst>
                <a:gd name="T0" fmla="*/ 0 w 34"/>
                <a:gd name="T1" fmla="*/ 10 h 22"/>
                <a:gd name="T2" fmla="*/ 12 w 34"/>
                <a:gd name="T3" fmla="*/ 0 h 22"/>
                <a:gd name="T4" fmla="*/ 18 w 34"/>
                <a:gd name="T5" fmla="*/ 4 h 22"/>
                <a:gd name="T6" fmla="*/ 24 w 34"/>
                <a:gd name="T7" fmla="*/ 8 h 22"/>
                <a:gd name="T8" fmla="*/ 32 w 34"/>
                <a:gd name="T9" fmla="*/ 10 h 22"/>
                <a:gd name="T10" fmla="*/ 34 w 34"/>
                <a:gd name="T11" fmla="*/ 14 h 22"/>
                <a:gd name="T12" fmla="*/ 30 w 34"/>
                <a:gd name="T13" fmla="*/ 20 h 22"/>
                <a:gd name="T14" fmla="*/ 26 w 34"/>
                <a:gd name="T15" fmla="*/ 22 h 22"/>
                <a:gd name="T16" fmla="*/ 16 w 34"/>
                <a:gd name="T17" fmla="*/ 18 h 22"/>
                <a:gd name="T18" fmla="*/ 8 w 34"/>
                <a:gd name="T19" fmla="*/ 14 h 22"/>
                <a:gd name="T20" fmla="*/ 0 w 34"/>
                <a:gd name="T21"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 h="22">
                  <a:moveTo>
                    <a:pt x="0" y="10"/>
                  </a:moveTo>
                  <a:lnTo>
                    <a:pt x="12" y="0"/>
                  </a:lnTo>
                  <a:lnTo>
                    <a:pt x="18" y="4"/>
                  </a:lnTo>
                  <a:lnTo>
                    <a:pt x="24" y="8"/>
                  </a:lnTo>
                  <a:lnTo>
                    <a:pt x="32" y="10"/>
                  </a:lnTo>
                  <a:lnTo>
                    <a:pt x="34" y="14"/>
                  </a:lnTo>
                  <a:lnTo>
                    <a:pt x="30" y="20"/>
                  </a:lnTo>
                  <a:lnTo>
                    <a:pt x="26" y="22"/>
                  </a:lnTo>
                  <a:lnTo>
                    <a:pt x="16" y="18"/>
                  </a:lnTo>
                  <a:lnTo>
                    <a:pt x="8" y="14"/>
                  </a:lnTo>
                  <a:lnTo>
                    <a:pt x="0" y="1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70" name="Freeform 62">
              <a:extLst>
                <a:ext uri="{FF2B5EF4-FFF2-40B4-BE49-F238E27FC236}">
                  <a16:creationId xmlns:a16="http://schemas.microsoft.com/office/drawing/2014/main" id="{8775FD35-CCB7-4F1D-996A-D514BD3EF972}"/>
                </a:ext>
              </a:extLst>
            </p:cNvPr>
            <p:cNvSpPr>
              <a:spLocks/>
            </p:cNvSpPr>
            <p:nvPr/>
          </p:nvSpPr>
          <p:spPr bwMode="gray">
            <a:xfrm>
              <a:off x="3480438" y="4273079"/>
              <a:ext cx="158503" cy="79672"/>
            </a:xfrm>
            <a:custGeom>
              <a:avLst/>
              <a:gdLst>
                <a:gd name="T0" fmla="*/ 12 w 96"/>
                <a:gd name="T1" fmla="*/ 6 h 48"/>
                <a:gd name="T2" fmla="*/ 26 w 96"/>
                <a:gd name="T3" fmla="*/ 2 h 48"/>
                <a:gd name="T4" fmla="*/ 34 w 96"/>
                <a:gd name="T5" fmla="*/ 2 h 48"/>
                <a:gd name="T6" fmla="*/ 42 w 96"/>
                <a:gd name="T7" fmla="*/ 4 h 48"/>
                <a:gd name="T8" fmla="*/ 52 w 96"/>
                <a:gd name="T9" fmla="*/ 2 h 48"/>
                <a:gd name="T10" fmla="*/ 64 w 96"/>
                <a:gd name="T11" fmla="*/ 0 h 48"/>
                <a:gd name="T12" fmla="*/ 74 w 96"/>
                <a:gd name="T13" fmla="*/ 0 h 48"/>
                <a:gd name="T14" fmla="*/ 80 w 96"/>
                <a:gd name="T15" fmla="*/ 0 h 48"/>
                <a:gd name="T16" fmla="*/ 84 w 96"/>
                <a:gd name="T17" fmla="*/ 4 h 48"/>
                <a:gd name="T18" fmla="*/ 96 w 96"/>
                <a:gd name="T19" fmla="*/ 12 h 48"/>
                <a:gd name="T20" fmla="*/ 94 w 96"/>
                <a:gd name="T21" fmla="*/ 16 h 48"/>
                <a:gd name="T22" fmla="*/ 88 w 96"/>
                <a:gd name="T23" fmla="*/ 18 h 48"/>
                <a:gd name="T24" fmla="*/ 80 w 96"/>
                <a:gd name="T25" fmla="*/ 18 h 48"/>
                <a:gd name="T26" fmla="*/ 70 w 96"/>
                <a:gd name="T27" fmla="*/ 18 h 48"/>
                <a:gd name="T28" fmla="*/ 64 w 96"/>
                <a:gd name="T29" fmla="*/ 22 h 48"/>
                <a:gd name="T30" fmla="*/ 56 w 96"/>
                <a:gd name="T31" fmla="*/ 30 h 48"/>
                <a:gd name="T32" fmla="*/ 48 w 96"/>
                <a:gd name="T33" fmla="*/ 32 h 48"/>
                <a:gd name="T34" fmla="*/ 42 w 96"/>
                <a:gd name="T35" fmla="*/ 34 h 48"/>
                <a:gd name="T36" fmla="*/ 40 w 96"/>
                <a:gd name="T37" fmla="*/ 42 h 48"/>
                <a:gd name="T38" fmla="*/ 36 w 96"/>
                <a:gd name="T39" fmla="*/ 46 h 48"/>
                <a:gd name="T40" fmla="*/ 30 w 96"/>
                <a:gd name="T41" fmla="*/ 48 h 48"/>
                <a:gd name="T42" fmla="*/ 30 w 96"/>
                <a:gd name="T43" fmla="*/ 42 h 48"/>
                <a:gd name="T44" fmla="*/ 28 w 96"/>
                <a:gd name="T45" fmla="*/ 36 h 48"/>
                <a:gd name="T46" fmla="*/ 22 w 96"/>
                <a:gd name="T47" fmla="*/ 36 h 48"/>
                <a:gd name="T48" fmla="*/ 20 w 96"/>
                <a:gd name="T49" fmla="*/ 32 h 48"/>
                <a:gd name="T50" fmla="*/ 6 w 96"/>
                <a:gd name="T51" fmla="*/ 26 h 48"/>
                <a:gd name="T52" fmla="*/ 0 w 96"/>
                <a:gd name="T53" fmla="*/ 22 h 48"/>
                <a:gd name="T54" fmla="*/ 12 w 96"/>
                <a:gd name="T55" fmla="*/ 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6" h="48">
                  <a:moveTo>
                    <a:pt x="12" y="6"/>
                  </a:moveTo>
                  <a:lnTo>
                    <a:pt x="26" y="2"/>
                  </a:lnTo>
                  <a:lnTo>
                    <a:pt x="34" y="2"/>
                  </a:lnTo>
                  <a:lnTo>
                    <a:pt x="42" y="4"/>
                  </a:lnTo>
                  <a:lnTo>
                    <a:pt x="52" y="2"/>
                  </a:lnTo>
                  <a:lnTo>
                    <a:pt x="64" y="0"/>
                  </a:lnTo>
                  <a:lnTo>
                    <a:pt x="74" y="0"/>
                  </a:lnTo>
                  <a:lnTo>
                    <a:pt x="80" y="0"/>
                  </a:lnTo>
                  <a:lnTo>
                    <a:pt x="84" y="4"/>
                  </a:lnTo>
                  <a:lnTo>
                    <a:pt x="96" y="12"/>
                  </a:lnTo>
                  <a:lnTo>
                    <a:pt x="94" y="16"/>
                  </a:lnTo>
                  <a:lnTo>
                    <a:pt x="88" y="18"/>
                  </a:lnTo>
                  <a:lnTo>
                    <a:pt x="80" y="18"/>
                  </a:lnTo>
                  <a:lnTo>
                    <a:pt x="70" y="18"/>
                  </a:lnTo>
                  <a:lnTo>
                    <a:pt x="64" y="22"/>
                  </a:lnTo>
                  <a:lnTo>
                    <a:pt x="56" y="30"/>
                  </a:lnTo>
                  <a:lnTo>
                    <a:pt x="48" y="32"/>
                  </a:lnTo>
                  <a:lnTo>
                    <a:pt x="42" y="34"/>
                  </a:lnTo>
                  <a:lnTo>
                    <a:pt x="40" y="42"/>
                  </a:lnTo>
                  <a:lnTo>
                    <a:pt x="36" y="46"/>
                  </a:lnTo>
                  <a:lnTo>
                    <a:pt x="30" y="48"/>
                  </a:lnTo>
                  <a:lnTo>
                    <a:pt x="30" y="42"/>
                  </a:lnTo>
                  <a:lnTo>
                    <a:pt x="28" y="36"/>
                  </a:lnTo>
                  <a:lnTo>
                    <a:pt x="22" y="36"/>
                  </a:lnTo>
                  <a:lnTo>
                    <a:pt x="20" y="32"/>
                  </a:lnTo>
                  <a:lnTo>
                    <a:pt x="6" y="26"/>
                  </a:lnTo>
                  <a:lnTo>
                    <a:pt x="0" y="22"/>
                  </a:lnTo>
                  <a:lnTo>
                    <a:pt x="12" y="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71" name="Freeform 63">
              <a:extLst>
                <a:ext uri="{FF2B5EF4-FFF2-40B4-BE49-F238E27FC236}">
                  <a16:creationId xmlns:a16="http://schemas.microsoft.com/office/drawing/2014/main" id="{9FE247A4-6740-4786-82D8-8EEF64E6D081}"/>
                </a:ext>
              </a:extLst>
            </p:cNvPr>
            <p:cNvSpPr>
              <a:spLocks/>
            </p:cNvSpPr>
            <p:nvPr/>
          </p:nvSpPr>
          <p:spPr bwMode="gray">
            <a:xfrm>
              <a:off x="3529970" y="4299635"/>
              <a:ext cx="105669" cy="109548"/>
            </a:xfrm>
            <a:custGeom>
              <a:avLst/>
              <a:gdLst>
                <a:gd name="T0" fmla="*/ 54 w 64"/>
                <a:gd name="T1" fmla="*/ 66 h 66"/>
                <a:gd name="T2" fmla="*/ 44 w 64"/>
                <a:gd name="T3" fmla="*/ 62 h 66"/>
                <a:gd name="T4" fmla="*/ 26 w 64"/>
                <a:gd name="T5" fmla="*/ 60 h 66"/>
                <a:gd name="T6" fmla="*/ 14 w 64"/>
                <a:gd name="T7" fmla="*/ 50 h 66"/>
                <a:gd name="T8" fmla="*/ 6 w 64"/>
                <a:gd name="T9" fmla="*/ 42 h 66"/>
                <a:gd name="T10" fmla="*/ 0 w 64"/>
                <a:gd name="T11" fmla="*/ 32 h 66"/>
                <a:gd name="T12" fmla="*/ 10 w 64"/>
                <a:gd name="T13" fmla="*/ 26 h 66"/>
                <a:gd name="T14" fmla="*/ 12 w 64"/>
                <a:gd name="T15" fmla="*/ 18 h 66"/>
                <a:gd name="T16" fmla="*/ 26 w 64"/>
                <a:gd name="T17" fmla="*/ 14 h 66"/>
                <a:gd name="T18" fmla="*/ 34 w 64"/>
                <a:gd name="T19" fmla="*/ 6 h 66"/>
                <a:gd name="T20" fmla="*/ 40 w 64"/>
                <a:gd name="T21" fmla="*/ 2 h 66"/>
                <a:gd name="T22" fmla="*/ 50 w 64"/>
                <a:gd name="T23" fmla="*/ 2 h 66"/>
                <a:gd name="T24" fmla="*/ 58 w 64"/>
                <a:gd name="T25" fmla="*/ 2 h 66"/>
                <a:gd name="T26" fmla="*/ 64 w 64"/>
                <a:gd name="T27" fmla="*/ 0 h 66"/>
                <a:gd name="T28" fmla="*/ 64 w 64"/>
                <a:gd name="T29" fmla="*/ 6 h 66"/>
                <a:gd name="T30" fmla="*/ 62 w 64"/>
                <a:gd name="T31" fmla="*/ 18 h 66"/>
                <a:gd name="T32" fmla="*/ 58 w 64"/>
                <a:gd name="T33" fmla="*/ 30 h 66"/>
                <a:gd name="T34" fmla="*/ 56 w 64"/>
                <a:gd name="T35" fmla="*/ 42 h 66"/>
                <a:gd name="T36" fmla="*/ 56 w 64"/>
                <a:gd name="T37" fmla="*/ 52 h 66"/>
                <a:gd name="T38" fmla="*/ 54 w 64"/>
                <a:gd name="T3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4" h="66">
                  <a:moveTo>
                    <a:pt x="54" y="66"/>
                  </a:moveTo>
                  <a:lnTo>
                    <a:pt x="44" y="62"/>
                  </a:lnTo>
                  <a:lnTo>
                    <a:pt x="26" y="60"/>
                  </a:lnTo>
                  <a:lnTo>
                    <a:pt x="14" y="50"/>
                  </a:lnTo>
                  <a:lnTo>
                    <a:pt x="6" y="42"/>
                  </a:lnTo>
                  <a:lnTo>
                    <a:pt x="0" y="32"/>
                  </a:lnTo>
                  <a:lnTo>
                    <a:pt x="10" y="26"/>
                  </a:lnTo>
                  <a:lnTo>
                    <a:pt x="12" y="18"/>
                  </a:lnTo>
                  <a:lnTo>
                    <a:pt x="26" y="14"/>
                  </a:lnTo>
                  <a:lnTo>
                    <a:pt x="34" y="6"/>
                  </a:lnTo>
                  <a:lnTo>
                    <a:pt x="40" y="2"/>
                  </a:lnTo>
                  <a:lnTo>
                    <a:pt x="50" y="2"/>
                  </a:lnTo>
                  <a:lnTo>
                    <a:pt x="58" y="2"/>
                  </a:lnTo>
                  <a:lnTo>
                    <a:pt x="64" y="0"/>
                  </a:lnTo>
                  <a:lnTo>
                    <a:pt x="64" y="6"/>
                  </a:lnTo>
                  <a:lnTo>
                    <a:pt x="62" y="18"/>
                  </a:lnTo>
                  <a:lnTo>
                    <a:pt x="58" y="30"/>
                  </a:lnTo>
                  <a:lnTo>
                    <a:pt x="56" y="42"/>
                  </a:lnTo>
                  <a:lnTo>
                    <a:pt x="56" y="52"/>
                  </a:lnTo>
                  <a:lnTo>
                    <a:pt x="54" y="6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72" name="Freeform 64">
              <a:extLst>
                <a:ext uri="{FF2B5EF4-FFF2-40B4-BE49-F238E27FC236}">
                  <a16:creationId xmlns:a16="http://schemas.microsoft.com/office/drawing/2014/main" id="{E849CED0-A867-4604-A0CA-89DB51DE6EB9}"/>
                </a:ext>
              </a:extLst>
            </p:cNvPr>
            <p:cNvSpPr>
              <a:spLocks/>
            </p:cNvSpPr>
            <p:nvPr/>
          </p:nvSpPr>
          <p:spPr bwMode="gray">
            <a:xfrm>
              <a:off x="3569596" y="4399226"/>
              <a:ext cx="82553" cy="73033"/>
            </a:xfrm>
            <a:custGeom>
              <a:avLst/>
              <a:gdLst>
                <a:gd name="T0" fmla="*/ 18 w 50"/>
                <a:gd name="T1" fmla="*/ 20 h 44"/>
                <a:gd name="T2" fmla="*/ 12 w 50"/>
                <a:gd name="T3" fmla="*/ 16 h 44"/>
                <a:gd name="T4" fmla="*/ 10 w 50"/>
                <a:gd name="T5" fmla="*/ 22 h 44"/>
                <a:gd name="T6" fmla="*/ 8 w 50"/>
                <a:gd name="T7" fmla="*/ 24 h 44"/>
                <a:gd name="T8" fmla="*/ 2 w 50"/>
                <a:gd name="T9" fmla="*/ 20 h 44"/>
                <a:gd name="T10" fmla="*/ 0 w 50"/>
                <a:gd name="T11" fmla="*/ 16 h 44"/>
                <a:gd name="T12" fmla="*/ 0 w 50"/>
                <a:gd name="T13" fmla="*/ 10 h 44"/>
                <a:gd name="T14" fmla="*/ 2 w 50"/>
                <a:gd name="T15" fmla="*/ 6 h 44"/>
                <a:gd name="T16" fmla="*/ 2 w 50"/>
                <a:gd name="T17" fmla="*/ 0 h 44"/>
                <a:gd name="T18" fmla="*/ 18 w 50"/>
                <a:gd name="T19" fmla="*/ 2 h 44"/>
                <a:gd name="T20" fmla="*/ 30 w 50"/>
                <a:gd name="T21" fmla="*/ 6 h 44"/>
                <a:gd name="T22" fmla="*/ 34 w 50"/>
                <a:gd name="T23" fmla="*/ 10 h 44"/>
                <a:gd name="T24" fmla="*/ 42 w 50"/>
                <a:gd name="T25" fmla="*/ 18 h 44"/>
                <a:gd name="T26" fmla="*/ 48 w 50"/>
                <a:gd name="T27" fmla="*/ 24 h 44"/>
                <a:gd name="T28" fmla="*/ 50 w 50"/>
                <a:gd name="T29" fmla="*/ 28 h 44"/>
                <a:gd name="T30" fmla="*/ 46 w 50"/>
                <a:gd name="T31" fmla="*/ 30 h 44"/>
                <a:gd name="T32" fmla="*/ 44 w 50"/>
                <a:gd name="T33" fmla="*/ 36 h 44"/>
                <a:gd name="T34" fmla="*/ 42 w 50"/>
                <a:gd name="T35" fmla="*/ 42 h 44"/>
                <a:gd name="T36" fmla="*/ 38 w 50"/>
                <a:gd name="T37" fmla="*/ 44 h 44"/>
                <a:gd name="T38" fmla="*/ 34 w 50"/>
                <a:gd name="T39" fmla="*/ 32 h 44"/>
                <a:gd name="T40" fmla="*/ 28 w 50"/>
                <a:gd name="T41" fmla="*/ 26 h 44"/>
                <a:gd name="T42" fmla="*/ 24 w 50"/>
                <a:gd name="T43" fmla="*/ 24 h 44"/>
                <a:gd name="T44" fmla="*/ 18 w 50"/>
                <a:gd name="T45"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0" h="44">
                  <a:moveTo>
                    <a:pt x="18" y="20"/>
                  </a:moveTo>
                  <a:lnTo>
                    <a:pt x="12" y="16"/>
                  </a:lnTo>
                  <a:lnTo>
                    <a:pt x="10" y="22"/>
                  </a:lnTo>
                  <a:lnTo>
                    <a:pt x="8" y="24"/>
                  </a:lnTo>
                  <a:lnTo>
                    <a:pt x="2" y="20"/>
                  </a:lnTo>
                  <a:lnTo>
                    <a:pt x="0" y="16"/>
                  </a:lnTo>
                  <a:lnTo>
                    <a:pt x="0" y="10"/>
                  </a:lnTo>
                  <a:lnTo>
                    <a:pt x="2" y="6"/>
                  </a:lnTo>
                  <a:lnTo>
                    <a:pt x="2" y="0"/>
                  </a:lnTo>
                  <a:lnTo>
                    <a:pt x="18" y="2"/>
                  </a:lnTo>
                  <a:lnTo>
                    <a:pt x="30" y="6"/>
                  </a:lnTo>
                  <a:lnTo>
                    <a:pt x="34" y="10"/>
                  </a:lnTo>
                  <a:lnTo>
                    <a:pt x="42" y="18"/>
                  </a:lnTo>
                  <a:lnTo>
                    <a:pt x="48" y="24"/>
                  </a:lnTo>
                  <a:lnTo>
                    <a:pt x="50" y="28"/>
                  </a:lnTo>
                  <a:lnTo>
                    <a:pt x="46" y="30"/>
                  </a:lnTo>
                  <a:lnTo>
                    <a:pt x="44" y="36"/>
                  </a:lnTo>
                  <a:lnTo>
                    <a:pt x="42" y="42"/>
                  </a:lnTo>
                  <a:lnTo>
                    <a:pt x="38" y="44"/>
                  </a:lnTo>
                  <a:lnTo>
                    <a:pt x="34" y="32"/>
                  </a:lnTo>
                  <a:lnTo>
                    <a:pt x="28" y="26"/>
                  </a:lnTo>
                  <a:lnTo>
                    <a:pt x="24" y="24"/>
                  </a:lnTo>
                  <a:lnTo>
                    <a:pt x="18" y="2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73" name="Freeform 65">
              <a:extLst>
                <a:ext uri="{FF2B5EF4-FFF2-40B4-BE49-F238E27FC236}">
                  <a16:creationId xmlns:a16="http://schemas.microsoft.com/office/drawing/2014/main" id="{CB3FE85D-0296-4F67-8B58-74B3BA7F306E}"/>
                </a:ext>
              </a:extLst>
            </p:cNvPr>
            <p:cNvSpPr>
              <a:spLocks/>
            </p:cNvSpPr>
            <p:nvPr/>
          </p:nvSpPr>
          <p:spPr bwMode="gray">
            <a:xfrm>
              <a:off x="3632337" y="4442381"/>
              <a:ext cx="168409" cy="63073"/>
            </a:xfrm>
            <a:custGeom>
              <a:avLst/>
              <a:gdLst>
                <a:gd name="T0" fmla="*/ 88 w 102"/>
                <a:gd name="T1" fmla="*/ 34 h 38"/>
                <a:gd name="T2" fmla="*/ 82 w 102"/>
                <a:gd name="T3" fmla="*/ 32 h 38"/>
                <a:gd name="T4" fmla="*/ 80 w 102"/>
                <a:gd name="T5" fmla="*/ 28 h 38"/>
                <a:gd name="T6" fmla="*/ 80 w 102"/>
                <a:gd name="T7" fmla="*/ 22 h 38"/>
                <a:gd name="T8" fmla="*/ 80 w 102"/>
                <a:gd name="T9" fmla="*/ 16 h 38"/>
                <a:gd name="T10" fmla="*/ 78 w 102"/>
                <a:gd name="T11" fmla="*/ 12 h 38"/>
                <a:gd name="T12" fmla="*/ 72 w 102"/>
                <a:gd name="T13" fmla="*/ 10 h 38"/>
                <a:gd name="T14" fmla="*/ 66 w 102"/>
                <a:gd name="T15" fmla="*/ 10 h 38"/>
                <a:gd name="T16" fmla="*/ 62 w 102"/>
                <a:gd name="T17" fmla="*/ 12 h 38"/>
                <a:gd name="T18" fmla="*/ 60 w 102"/>
                <a:gd name="T19" fmla="*/ 16 h 38"/>
                <a:gd name="T20" fmla="*/ 52 w 102"/>
                <a:gd name="T21" fmla="*/ 18 h 38"/>
                <a:gd name="T22" fmla="*/ 48 w 102"/>
                <a:gd name="T23" fmla="*/ 22 h 38"/>
                <a:gd name="T24" fmla="*/ 50 w 102"/>
                <a:gd name="T25" fmla="*/ 26 h 38"/>
                <a:gd name="T26" fmla="*/ 52 w 102"/>
                <a:gd name="T27" fmla="*/ 30 h 38"/>
                <a:gd name="T28" fmla="*/ 52 w 102"/>
                <a:gd name="T29" fmla="*/ 36 h 38"/>
                <a:gd name="T30" fmla="*/ 44 w 102"/>
                <a:gd name="T31" fmla="*/ 38 h 38"/>
                <a:gd name="T32" fmla="*/ 38 w 102"/>
                <a:gd name="T33" fmla="*/ 32 h 38"/>
                <a:gd name="T34" fmla="*/ 32 w 102"/>
                <a:gd name="T35" fmla="*/ 26 h 38"/>
                <a:gd name="T36" fmla="*/ 26 w 102"/>
                <a:gd name="T37" fmla="*/ 22 h 38"/>
                <a:gd name="T38" fmla="*/ 18 w 102"/>
                <a:gd name="T39" fmla="*/ 20 h 38"/>
                <a:gd name="T40" fmla="*/ 14 w 102"/>
                <a:gd name="T41" fmla="*/ 18 h 38"/>
                <a:gd name="T42" fmla="*/ 8 w 102"/>
                <a:gd name="T43" fmla="*/ 20 h 38"/>
                <a:gd name="T44" fmla="*/ 0 w 102"/>
                <a:gd name="T45" fmla="*/ 18 h 38"/>
                <a:gd name="T46" fmla="*/ 4 w 102"/>
                <a:gd name="T47" fmla="*/ 14 h 38"/>
                <a:gd name="T48" fmla="*/ 6 w 102"/>
                <a:gd name="T49" fmla="*/ 8 h 38"/>
                <a:gd name="T50" fmla="*/ 12 w 102"/>
                <a:gd name="T51" fmla="*/ 2 h 38"/>
                <a:gd name="T52" fmla="*/ 18 w 102"/>
                <a:gd name="T53" fmla="*/ 4 h 38"/>
                <a:gd name="T54" fmla="*/ 22 w 102"/>
                <a:gd name="T55" fmla="*/ 8 h 38"/>
                <a:gd name="T56" fmla="*/ 30 w 102"/>
                <a:gd name="T57" fmla="*/ 12 h 38"/>
                <a:gd name="T58" fmla="*/ 38 w 102"/>
                <a:gd name="T59" fmla="*/ 12 h 38"/>
                <a:gd name="T60" fmla="*/ 44 w 102"/>
                <a:gd name="T61" fmla="*/ 10 h 38"/>
                <a:gd name="T62" fmla="*/ 52 w 102"/>
                <a:gd name="T63" fmla="*/ 6 h 38"/>
                <a:gd name="T64" fmla="*/ 62 w 102"/>
                <a:gd name="T65" fmla="*/ 2 h 38"/>
                <a:gd name="T66" fmla="*/ 72 w 102"/>
                <a:gd name="T67" fmla="*/ 0 h 38"/>
                <a:gd name="T68" fmla="*/ 82 w 102"/>
                <a:gd name="T69" fmla="*/ 2 h 38"/>
                <a:gd name="T70" fmla="*/ 88 w 102"/>
                <a:gd name="T71" fmla="*/ 6 h 38"/>
                <a:gd name="T72" fmla="*/ 94 w 102"/>
                <a:gd name="T73" fmla="*/ 10 h 38"/>
                <a:gd name="T74" fmla="*/ 98 w 102"/>
                <a:gd name="T75" fmla="*/ 16 h 38"/>
                <a:gd name="T76" fmla="*/ 102 w 102"/>
                <a:gd name="T77" fmla="*/ 20 h 38"/>
                <a:gd name="T78" fmla="*/ 100 w 102"/>
                <a:gd name="T79" fmla="*/ 26 h 38"/>
                <a:gd name="T80" fmla="*/ 94 w 102"/>
                <a:gd name="T81" fmla="*/ 30 h 38"/>
                <a:gd name="T82" fmla="*/ 88 w 102"/>
                <a:gd name="T83" fmla="*/ 3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2" h="38">
                  <a:moveTo>
                    <a:pt x="88" y="34"/>
                  </a:moveTo>
                  <a:lnTo>
                    <a:pt x="82" y="32"/>
                  </a:lnTo>
                  <a:lnTo>
                    <a:pt x="80" y="28"/>
                  </a:lnTo>
                  <a:lnTo>
                    <a:pt x="80" y="22"/>
                  </a:lnTo>
                  <a:lnTo>
                    <a:pt x="80" y="16"/>
                  </a:lnTo>
                  <a:lnTo>
                    <a:pt x="78" y="12"/>
                  </a:lnTo>
                  <a:lnTo>
                    <a:pt x="72" y="10"/>
                  </a:lnTo>
                  <a:lnTo>
                    <a:pt x="66" y="10"/>
                  </a:lnTo>
                  <a:lnTo>
                    <a:pt x="62" y="12"/>
                  </a:lnTo>
                  <a:lnTo>
                    <a:pt x="60" y="16"/>
                  </a:lnTo>
                  <a:lnTo>
                    <a:pt x="52" y="18"/>
                  </a:lnTo>
                  <a:lnTo>
                    <a:pt x="48" y="22"/>
                  </a:lnTo>
                  <a:lnTo>
                    <a:pt x="50" y="26"/>
                  </a:lnTo>
                  <a:lnTo>
                    <a:pt x="52" y="30"/>
                  </a:lnTo>
                  <a:lnTo>
                    <a:pt x="52" y="36"/>
                  </a:lnTo>
                  <a:lnTo>
                    <a:pt x="44" y="38"/>
                  </a:lnTo>
                  <a:lnTo>
                    <a:pt x="38" y="32"/>
                  </a:lnTo>
                  <a:lnTo>
                    <a:pt x="32" y="26"/>
                  </a:lnTo>
                  <a:lnTo>
                    <a:pt x="26" y="22"/>
                  </a:lnTo>
                  <a:lnTo>
                    <a:pt x="18" y="20"/>
                  </a:lnTo>
                  <a:lnTo>
                    <a:pt x="14" y="18"/>
                  </a:lnTo>
                  <a:lnTo>
                    <a:pt x="8" y="20"/>
                  </a:lnTo>
                  <a:lnTo>
                    <a:pt x="0" y="18"/>
                  </a:lnTo>
                  <a:lnTo>
                    <a:pt x="4" y="14"/>
                  </a:lnTo>
                  <a:lnTo>
                    <a:pt x="6" y="8"/>
                  </a:lnTo>
                  <a:lnTo>
                    <a:pt x="12" y="2"/>
                  </a:lnTo>
                  <a:lnTo>
                    <a:pt x="18" y="4"/>
                  </a:lnTo>
                  <a:lnTo>
                    <a:pt x="22" y="8"/>
                  </a:lnTo>
                  <a:lnTo>
                    <a:pt x="30" y="12"/>
                  </a:lnTo>
                  <a:lnTo>
                    <a:pt x="38" y="12"/>
                  </a:lnTo>
                  <a:lnTo>
                    <a:pt x="44" y="10"/>
                  </a:lnTo>
                  <a:lnTo>
                    <a:pt x="52" y="6"/>
                  </a:lnTo>
                  <a:lnTo>
                    <a:pt x="62" y="2"/>
                  </a:lnTo>
                  <a:lnTo>
                    <a:pt x="72" y="0"/>
                  </a:lnTo>
                  <a:lnTo>
                    <a:pt x="82" y="2"/>
                  </a:lnTo>
                  <a:lnTo>
                    <a:pt x="88" y="6"/>
                  </a:lnTo>
                  <a:lnTo>
                    <a:pt x="94" y="10"/>
                  </a:lnTo>
                  <a:lnTo>
                    <a:pt x="98" y="16"/>
                  </a:lnTo>
                  <a:lnTo>
                    <a:pt x="102" y="20"/>
                  </a:lnTo>
                  <a:lnTo>
                    <a:pt x="100" y="26"/>
                  </a:lnTo>
                  <a:lnTo>
                    <a:pt x="94" y="30"/>
                  </a:lnTo>
                  <a:lnTo>
                    <a:pt x="88" y="3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74" name="Freeform 66">
              <a:extLst>
                <a:ext uri="{FF2B5EF4-FFF2-40B4-BE49-F238E27FC236}">
                  <a16:creationId xmlns:a16="http://schemas.microsoft.com/office/drawing/2014/main" id="{73BF7B22-6FB0-439F-9FAD-B18B885BC174}"/>
                </a:ext>
              </a:extLst>
            </p:cNvPr>
            <p:cNvSpPr>
              <a:spLocks/>
            </p:cNvSpPr>
            <p:nvPr/>
          </p:nvSpPr>
          <p:spPr bwMode="gray">
            <a:xfrm>
              <a:off x="3596014" y="4073898"/>
              <a:ext cx="274078" cy="92950"/>
            </a:xfrm>
            <a:custGeom>
              <a:avLst/>
              <a:gdLst>
                <a:gd name="T0" fmla="*/ 148 w 166"/>
                <a:gd name="T1" fmla="*/ 56 h 56"/>
                <a:gd name="T2" fmla="*/ 140 w 166"/>
                <a:gd name="T3" fmla="*/ 52 h 56"/>
                <a:gd name="T4" fmla="*/ 130 w 166"/>
                <a:gd name="T5" fmla="*/ 52 h 56"/>
                <a:gd name="T6" fmla="*/ 124 w 166"/>
                <a:gd name="T7" fmla="*/ 56 h 56"/>
                <a:gd name="T8" fmla="*/ 116 w 166"/>
                <a:gd name="T9" fmla="*/ 54 h 56"/>
                <a:gd name="T10" fmla="*/ 118 w 166"/>
                <a:gd name="T11" fmla="*/ 46 h 56"/>
                <a:gd name="T12" fmla="*/ 116 w 166"/>
                <a:gd name="T13" fmla="*/ 40 h 56"/>
                <a:gd name="T14" fmla="*/ 104 w 166"/>
                <a:gd name="T15" fmla="*/ 40 h 56"/>
                <a:gd name="T16" fmla="*/ 100 w 166"/>
                <a:gd name="T17" fmla="*/ 32 h 56"/>
                <a:gd name="T18" fmla="*/ 94 w 166"/>
                <a:gd name="T19" fmla="*/ 30 h 56"/>
                <a:gd name="T20" fmla="*/ 80 w 166"/>
                <a:gd name="T21" fmla="*/ 26 h 56"/>
                <a:gd name="T22" fmla="*/ 76 w 166"/>
                <a:gd name="T23" fmla="*/ 22 h 56"/>
                <a:gd name="T24" fmla="*/ 62 w 166"/>
                <a:gd name="T25" fmla="*/ 18 h 56"/>
                <a:gd name="T26" fmla="*/ 48 w 166"/>
                <a:gd name="T27" fmla="*/ 16 h 56"/>
                <a:gd name="T28" fmla="*/ 44 w 166"/>
                <a:gd name="T29" fmla="*/ 12 h 56"/>
                <a:gd name="T30" fmla="*/ 34 w 166"/>
                <a:gd name="T31" fmla="*/ 10 h 56"/>
                <a:gd name="T32" fmla="*/ 28 w 166"/>
                <a:gd name="T33" fmla="*/ 14 h 56"/>
                <a:gd name="T34" fmla="*/ 20 w 166"/>
                <a:gd name="T35" fmla="*/ 18 h 56"/>
                <a:gd name="T36" fmla="*/ 12 w 166"/>
                <a:gd name="T37" fmla="*/ 22 h 56"/>
                <a:gd name="T38" fmla="*/ 0 w 166"/>
                <a:gd name="T39" fmla="*/ 22 h 56"/>
                <a:gd name="T40" fmla="*/ 2 w 166"/>
                <a:gd name="T41" fmla="*/ 16 h 56"/>
                <a:gd name="T42" fmla="*/ 10 w 166"/>
                <a:gd name="T43" fmla="*/ 6 h 56"/>
                <a:gd name="T44" fmla="*/ 26 w 166"/>
                <a:gd name="T45" fmla="*/ 2 h 56"/>
                <a:gd name="T46" fmla="*/ 40 w 166"/>
                <a:gd name="T47" fmla="*/ 0 h 56"/>
                <a:gd name="T48" fmla="*/ 58 w 166"/>
                <a:gd name="T49" fmla="*/ 0 h 56"/>
                <a:gd name="T50" fmla="*/ 74 w 166"/>
                <a:gd name="T51" fmla="*/ 4 h 56"/>
                <a:gd name="T52" fmla="*/ 88 w 166"/>
                <a:gd name="T53" fmla="*/ 10 h 56"/>
                <a:gd name="T54" fmla="*/ 104 w 166"/>
                <a:gd name="T55" fmla="*/ 14 h 56"/>
                <a:gd name="T56" fmla="*/ 110 w 166"/>
                <a:gd name="T57" fmla="*/ 20 h 56"/>
                <a:gd name="T58" fmla="*/ 116 w 166"/>
                <a:gd name="T59" fmla="*/ 24 h 56"/>
                <a:gd name="T60" fmla="*/ 130 w 166"/>
                <a:gd name="T61" fmla="*/ 30 h 56"/>
                <a:gd name="T62" fmla="*/ 142 w 166"/>
                <a:gd name="T63" fmla="*/ 34 h 56"/>
                <a:gd name="T64" fmla="*/ 154 w 166"/>
                <a:gd name="T65" fmla="*/ 40 h 56"/>
                <a:gd name="T66" fmla="*/ 166 w 166"/>
                <a:gd name="T67" fmla="*/ 46 h 56"/>
                <a:gd name="T68" fmla="*/ 160 w 166"/>
                <a:gd name="T69" fmla="*/ 50 h 56"/>
                <a:gd name="T70" fmla="*/ 152 w 166"/>
                <a:gd name="T71" fmla="*/ 52 h 56"/>
                <a:gd name="T72" fmla="*/ 150 w 166"/>
                <a:gd name="T73" fmla="*/ 56 h 56"/>
                <a:gd name="T74" fmla="*/ 148 w 166"/>
                <a:gd name="T75"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6" h="56">
                  <a:moveTo>
                    <a:pt x="148" y="56"/>
                  </a:moveTo>
                  <a:lnTo>
                    <a:pt x="140" y="52"/>
                  </a:lnTo>
                  <a:lnTo>
                    <a:pt x="130" y="52"/>
                  </a:lnTo>
                  <a:lnTo>
                    <a:pt x="124" y="56"/>
                  </a:lnTo>
                  <a:lnTo>
                    <a:pt x="116" y="54"/>
                  </a:lnTo>
                  <a:lnTo>
                    <a:pt x="118" y="46"/>
                  </a:lnTo>
                  <a:lnTo>
                    <a:pt x="116" y="40"/>
                  </a:lnTo>
                  <a:lnTo>
                    <a:pt x="104" y="40"/>
                  </a:lnTo>
                  <a:lnTo>
                    <a:pt x="100" y="32"/>
                  </a:lnTo>
                  <a:lnTo>
                    <a:pt x="94" y="30"/>
                  </a:lnTo>
                  <a:lnTo>
                    <a:pt x="80" y="26"/>
                  </a:lnTo>
                  <a:lnTo>
                    <a:pt x="76" y="22"/>
                  </a:lnTo>
                  <a:lnTo>
                    <a:pt x="62" y="18"/>
                  </a:lnTo>
                  <a:lnTo>
                    <a:pt x="48" y="16"/>
                  </a:lnTo>
                  <a:lnTo>
                    <a:pt x="44" y="12"/>
                  </a:lnTo>
                  <a:lnTo>
                    <a:pt x="34" y="10"/>
                  </a:lnTo>
                  <a:lnTo>
                    <a:pt x="28" y="14"/>
                  </a:lnTo>
                  <a:lnTo>
                    <a:pt x="20" y="18"/>
                  </a:lnTo>
                  <a:lnTo>
                    <a:pt x="12" y="22"/>
                  </a:lnTo>
                  <a:lnTo>
                    <a:pt x="0" y="22"/>
                  </a:lnTo>
                  <a:lnTo>
                    <a:pt x="2" y="16"/>
                  </a:lnTo>
                  <a:lnTo>
                    <a:pt x="10" y="6"/>
                  </a:lnTo>
                  <a:lnTo>
                    <a:pt x="26" y="2"/>
                  </a:lnTo>
                  <a:lnTo>
                    <a:pt x="40" y="0"/>
                  </a:lnTo>
                  <a:lnTo>
                    <a:pt x="58" y="0"/>
                  </a:lnTo>
                  <a:lnTo>
                    <a:pt x="74" y="4"/>
                  </a:lnTo>
                  <a:lnTo>
                    <a:pt x="88" y="10"/>
                  </a:lnTo>
                  <a:lnTo>
                    <a:pt x="104" y="14"/>
                  </a:lnTo>
                  <a:lnTo>
                    <a:pt x="110" y="20"/>
                  </a:lnTo>
                  <a:lnTo>
                    <a:pt x="116" y="24"/>
                  </a:lnTo>
                  <a:lnTo>
                    <a:pt x="130" y="30"/>
                  </a:lnTo>
                  <a:lnTo>
                    <a:pt x="142" y="34"/>
                  </a:lnTo>
                  <a:lnTo>
                    <a:pt x="154" y="40"/>
                  </a:lnTo>
                  <a:lnTo>
                    <a:pt x="166" y="46"/>
                  </a:lnTo>
                  <a:lnTo>
                    <a:pt x="160" y="50"/>
                  </a:lnTo>
                  <a:lnTo>
                    <a:pt x="152" y="52"/>
                  </a:lnTo>
                  <a:lnTo>
                    <a:pt x="150" y="56"/>
                  </a:lnTo>
                  <a:lnTo>
                    <a:pt x="148" y="5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75" name="Freeform 67">
              <a:extLst>
                <a:ext uri="{FF2B5EF4-FFF2-40B4-BE49-F238E27FC236}">
                  <a16:creationId xmlns:a16="http://schemas.microsoft.com/office/drawing/2014/main" id="{66896519-6D3A-4262-AA88-2F2F1844BDA5}"/>
                </a:ext>
              </a:extLst>
            </p:cNvPr>
            <p:cNvSpPr>
              <a:spLocks/>
            </p:cNvSpPr>
            <p:nvPr/>
          </p:nvSpPr>
          <p:spPr bwMode="gray">
            <a:xfrm>
              <a:off x="3870091" y="4160210"/>
              <a:ext cx="72648" cy="49794"/>
            </a:xfrm>
            <a:custGeom>
              <a:avLst/>
              <a:gdLst>
                <a:gd name="T0" fmla="*/ 0 w 44"/>
                <a:gd name="T1" fmla="*/ 28 h 30"/>
                <a:gd name="T2" fmla="*/ 16 w 44"/>
                <a:gd name="T3" fmla="*/ 30 h 30"/>
                <a:gd name="T4" fmla="*/ 32 w 44"/>
                <a:gd name="T5" fmla="*/ 30 h 30"/>
                <a:gd name="T6" fmla="*/ 40 w 44"/>
                <a:gd name="T7" fmla="*/ 30 h 30"/>
                <a:gd name="T8" fmla="*/ 40 w 44"/>
                <a:gd name="T9" fmla="*/ 24 h 30"/>
                <a:gd name="T10" fmla="*/ 36 w 44"/>
                <a:gd name="T11" fmla="*/ 20 h 30"/>
                <a:gd name="T12" fmla="*/ 42 w 44"/>
                <a:gd name="T13" fmla="*/ 18 h 30"/>
                <a:gd name="T14" fmla="*/ 44 w 44"/>
                <a:gd name="T15" fmla="*/ 14 h 30"/>
                <a:gd name="T16" fmla="*/ 42 w 44"/>
                <a:gd name="T17" fmla="*/ 4 h 30"/>
                <a:gd name="T18" fmla="*/ 32 w 44"/>
                <a:gd name="T19" fmla="*/ 2 h 30"/>
                <a:gd name="T20" fmla="*/ 24 w 44"/>
                <a:gd name="T21" fmla="*/ 0 h 30"/>
                <a:gd name="T22" fmla="*/ 16 w 44"/>
                <a:gd name="T23" fmla="*/ 2 h 30"/>
                <a:gd name="T24" fmla="*/ 22 w 44"/>
                <a:gd name="T25" fmla="*/ 6 h 30"/>
                <a:gd name="T26" fmla="*/ 28 w 44"/>
                <a:gd name="T27" fmla="*/ 14 h 30"/>
                <a:gd name="T28" fmla="*/ 28 w 44"/>
                <a:gd name="T29" fmla="*/ 20 h 30"/>
                <a:gd name="T30" fmla="*/ 20 w 44"/>
                <a:gd name="T31" fmla="*/ 20 h 30"/>
                <a:gd name="T32" fmla="*/ 14 w 44"/>
                <a:gd name="T33" fmla="*/ 18 h 30"/>
                <a:gd name="T34" fmla="*/ 6 w 44"/>
                <a:gd name="T35" fmla="*/ 20 h 30"/>
                <a:gd name="T36" fmla="*/ 0 w 44"/>
                <a:gd name="T37" fmla="*/ 20 h 30"/>
                <a:gd name="T38" fmla="*/ 0 w 44"/>
                <a:gd name="T39" fmla="*/ 2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 h="30">
                  <a:moveTo>
                    <a:pt x="0" y="28"/>
                  </a:moveTo>
                  <a:lnTo>
                    <a:pt x="16" y="30"/>
                  </a:lnTo>
                  <a:lnTo>
                    <a:pt x="32" y="30"/>
                  </a:lnTo>
                  <a:lnTo>
                    <a:pt x="40" y="30"/>
                  </a:lnTo>
                  <a:lnTo>
                    <a:pt x="40" y="24"/>
                  </a:lnTo>
                  <a:lnTo>
                    <a:pt x="36" y="20"/>
                  </a:lnTo>
                  <a:lnTo>
                    <a:pt x="42" y="18"/>
                  </a:lnTo>
                  <a:lnTo>
                    <a:pt x="44" y="14"/>
                  </a:lnTo>
                  <a:lnTo>
                    <a:pt x="42" y="4"/>
                  </a:lnTo>
                  <a:lnTo>
                    <a:pt x="32" y="2"/>
                  </a:lnTo>
                  <a:lnTo>
                    <a:pt x="24" y="0"/>
                  </a:lnTo>
                  <a:lnTo>
                    <a:pt x="16" y="2"/>
                  </a:lnTo>
                  <a:lnTo>
                    <a:pt x="22" y="6"/>
                  </a:lnTo>
                  <a:lnTo>
                    <a:pt x="28" y="14"/>
                  </a:lnTo>
                  <a:lnTo>
                    <a:pt x="28" y="20"/>
                  </a:lnTo>
                  <a:lnTo>
                    <a:pt x="20" y="20"/>
                  </a:lnTo>
                  <a:lnTo>
                    <a:pt x="14" y="18"/>
                  </a:lnTo>
                  <a:lnTo>
                    <a:pt x="6" y="20"/>
                  </a:lnTo>
                  <a:lnTo>
                    <a:pt x="0" y="20"/>
                  </a:lnTo>
                  <a:lnTo>
                    <a:pt x="0" y="2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76" name="Freeform 68">
              <a:extLst>
                <a:ext uri="{FF2B5EF4-FFF2-40B4-BE49-F238E27FC236}">
                  <a16:creationId xmlns:a16="http://schemas.microsoft.com/office/drawing/2014/main" id="{9DEBE63A-CA43-4920-BA84-A32E61434687}"/>
                </a:ext>
              </a:extLst>
            </p:cNvPr>
            <p:cNvSpPr>
              <a:spLocks/>
            </p:cNvSpPr>
            <p:nvPr/>
          </p:nvSpPr>
          <p:spPr bwMode="gray">
            <a:xfrm>
              <a:off x="3767725" y="4196726"/>
              <a:ext cx="52834" cy="29876"/>
            </a:xfrm>
            <a:custGeom>
              <a:avLst/>
              <a:gdLst>
                <a:gd name="T0" fmla="*/ 0 w 32"/>
                <a:gd name="T1" fmla="*/ 6 h 18"/>
                <a:gd name="T2" fmla="*/ 6 w 32"/>
                <a:gd name="T3" fmla="*/ 0 h 18"/>
                <a:gd name="T4" fmla="*/ 14 w 32"/>
                <a:gd name="T5" fmla="*/ 0 h 18"/>
                <a:gd name="T6" fmla="*/ 20 w 32"/>
                <a:gd name="T7" fmla="*/ 2 h 18"/>
                <a:gd name="T8" fmla="*/ 28 w 32"/>
                <a:gd name="T9" fmla="*/ 6 h 18"/>
                <a:gd name="T10" fmla="*/ 32 w 32"/>
                <a:gd name="T11" fmla="*/ 10 h 18"/>
                <a:gd name="T12" fmla="*/ 24 w 32"/>
                <a:gd name="T13" fmla="*/ 14 h 18"/>
                <a:gd name="T14" fmla="*/ 18 w 32"/>
                <a:gd name="T15" fmla="*/ 14 h 18"/>
                <a:gd name="T16" fmla="*/ 14 w 32"/>
                <a:gd name="T17" fmla="*/ 18 h 18"/>
                <a:gd name="T18" fmla="*/ 10 w 32"/>
                <a:gd name="T19" fmla="*/ 12 h 18"/>
                <a:gd name="T20" fmla="*/ 6 w 32"/>
                <a:gd name="T21" fmla="*/ 8 h 18"/>
                <a:gd name="T22" fmla="*/ 0 w 32"/>
                <a:gd name="T23" fmla="*/ 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18">
                  <a:moveTo>
                    <a:pt x="0" y="6"/>
                  </a:moveTo>
                  <a:lnTo>
                    <a:pt x="6" y="0"/>
                  </a:lnTo>
                  <a:lnTo>
                    <a:pt x="14" y="0"/>
                  </a:lnTo>
                  <a:lnTo>
                    <a:pt x="20" y="2"/>
                  </a:lnTo>
                  <a:lnTo>
                    <a:pt x="28" y="6"/>
                  </a:lnTo>
                  <a:lnTo>
                    <a:pt x="32" y="10"/>
                  </a:lnTo>
                  <a:lnTo>
                    <a:pt x="24" y="14"/>
                  </a:lnTo>
                  <a:lnTo>
                    <a:pt x="18" y="14"/>
                  </a:lnTo>
                  <a:lnTo>
                    <a:pt x="14" y="18"/>
                  </a:lnTo>
                  <a:lnTo>
                    <a:pt x="10" y="12"/>
                  </a:lnTo>
                  <a:lnTo>
                    <a:pt x="6" y="8"/>
                  </a:lnTo>
                  <a:lnTo>
                    <a:pt x="0" y="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77" name="Freeform 69">
              <a:extLst>
                <a:ext uri="{FF2B5EF4-FFF2-40B4-BE49-F238E27FC236}">
                  <a16:creationId xmlns:a16="http://schemas.microsoft.com/office/drawing/2014/main" id="{9CBBE023-F945-4859-8286-C1E4CEFAFEDF}"/>
                </a:ext>
              </a:extLst>
            </p:cNvPr>
            <p:cNvSpPr>
              <a:spLocks/>
            </p:cNvSpPr>
            <p:nvPr/>
          </p:nvSpPr>
          <p:spPr bwMode="gray">
            <a:xfrm>
              <a:off x="3929530" y="4166850"/>
              <a:ext cx="95762" cy="59754"/>
            </a:xfrm>
            <a:custGeom>
              <a:avLst/>
              <a:gdLst>
                <a:gd name="T0" fmla="*/ 6 w 58"/>
                <a:gd name="T1" fmla="*/ 0 h 36"/>
                <a:gd name="T2" fmla="*/ 16 w 58"/>
                <a:gd name="T3" fmla="*/ 2 h 36"/>
                <a:gd name="T4" fmla="*/ 24 w 58"/>
                <a:gd name="T5" fmla="*/ 2 h 36"/>
                <a:gd name="T6" fmla="*/ 34 w 58"/>
                <a:gd name="T7" fmla="*/ 4 h 36"/>
                <a:gd name="T8" fmla="*/ 40 w 58"/>
                <a:gd name="T9" fmla="*/ 6 h 36"/>
                <a:gd name="T10" fmla="*/ 46 w 58"/>
                <a:gd name="T11" fmla="*/ 10 h 36"/>
                <a:gd name="T12" fmla="*/ 56 w 58"/>
                <a:gd name="T13" fmla="*/ 16 h 36"/>
                <a:gd name="T14" fmla="*/ 58 w 58"/>
                <a:gd name="T15" fmla="*/ 20 h 36"/>
                <a:gd name="T16" fmla="*/ 54 w 58"/>
                <a:gd name="T17" fmla="*/ 24 h 36"/>
                <a:gd name="T18" fmla="*/ 44 w 58"/>
                <a:gd name="T19" fmla="*/ 22 h 36"/>
                <a:gd name="T20" fmla="*/ 38 w 58"/>
                <a:gd name="T21" fmla="*/ 22 h 36"/>
                <a:gd name="T22" fmla="*/ 30 w 58"/>
                <a:gd name="T23" fmla="*/ 24 h 36"/>
                <a:gd name="T24" fmla="*/ 24 w 58"/>
                <a:gd name="T25" fmla="*/ 24 h 36"/>
                <a:gd name="T26" fmla="*/ 20 w 58"/>
                <a:gd name="T27" fmla="*/ 20 h 36"/>
                <a:gd name="T28" fmla="*/ 14 w 58"/>
                <a:gd name="T29" fmla="*/ 22 h 36"/>
                <a:gd name="T30" fmla="*/ 12 w 58"/>
                <a:gd name="T31" fmla="*/ 28 h 36"/>
                <a:gd name="T32" fmla="*/ 12 w 58"/>
                <a:gd name="T33" fmla="*/ 34 h 36"/>
                <a:gd name="T34" fmla="*/ 8 w 58"/>
                <a:gd name="T35" fmla="*/ 36 h 36"/>
                <a:gd name="T36" fmla="*/ 4 w 58"/>
                <a:gd name="T37" fmla="*/ 30 h 36"/>
                <a:gd name="T38" fmla="*/ 4 w 58"/>
                <a:gd name="T39" fmla="*/ 26 h 36"/>
                <a:gd name="T40" fmla="*/ 4 w 58"/>
                <a:gd name="T41" fmla="*/ 20 h 36"/>
                <a:gd name="T42" fmla="*/ 0 w 58"/>
                <a:gd name="T43" fmla="*/ 16 h 36"/>
                <a:gd name="T44" fmla="*/ 6 w 58"/>
                <a:gd name="T45" fmla="*/ 14 h 36"/>
                <a:gd name="T46" fmla="*/ 8 w 58"/>
                <a:gd name="T47" fmla="*/ 10 h 36"/>
                <a:gd name="T48" fmla="*/ 6 w 58"/>
                <a:gd name="T4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8" h="36">
                  <a:moveTo>
                    <a:pt x="6" y="0"/>
                  </a:moveTo>
                  <a:lnTo>
                    <a:pt x="16" y="2"/>
                  </a:lnTo>
                  <a:lnTo>
                    <a:pt x="24" y="2"/>
                  </a:lnTo>
                  <a:lnTo>
                    <a:pt x="34" y="4"/>
                  </a:lnTo>
                  <a:lnTo>
                    <a:pt x="40" y="6"/>
                  </a:lnTo>
                  <a:lnTo>
                    <a:pt x="46" y="10"/>
                  </a:lnTo>
                  <a:lnTo>
                    <a:pt x="56" y="16"/>
                  </a:lnTo>
                  <a:lnTo>
                    <a:pt x="58" y="20"/>
                  </a:lnTo>
                  <a:lnTo>
                    <a:pt x="54" y="24"/>
                  </a:lnTo>
                  <a:lnTo>
                    <a:pt x="44" y="22"/>
                  </a:lnTo>
                  <a:lnTo>
                    <a:pt x="38" y="22"/>
                  </a:lnTo>
                  <a:lnTo>
                    <a:pt x="30" y="24"/>
                  </a:lnTo>
                  <a:lnTo>
                    <a:pt x="24" y="24"/>
                  </a:lnTo>
                  <a:lnTo>
                    <a:pt x="20" y="20"/>
                  </a:lnTo>
                  <a:lnTo>
                    <a:pt x="14" y="22"/>
                  </a:lnTo>
                  <a:lnTo>
                    <a:pt x="12" y="28"/>
                  </a:lnTo>
                  <a:lnTo>
                    <a:pt x="12" y="34"/>
                  </a:lnTo>
                  <a:lnTo>
                    <a:pt x="8" y="36"/>
                  </a:lnTo>
                  <a:lnTo>
                    <a:pt x="4" y="30"/>
                  </a:lnTo>
                  <a:lnTo>
                    <a:pt x="4" y="26"/>
                  </a:lnTo>
                  <a:lnTo>
                    <a:pt x="4" y="20"/>
                  </a:lnTo>
                  <a:lnTo>
                    <a:pt x="0" y="16"/>
                  </a:lnTo>
                  <a:lnTo>
                    <a:pt x="6" y="14"/>
                  </a:lnTo>
                  <a:lnTo>
                    <a:pt x="8" y="10"/>
                  </a:lnTo>
                  <a:lnTo>
                    <a:pt x="6"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78" name="Freeform 70">
              <a:extLst>
                <a:ext uri="{FF2B5EF4-FFF2-40B4-BE49-F238E27FC236}">
                  <a16:creationId xmlns:a16="http://schemas.microsoft.com/office/drawing/2014/main" id="{974ABD61-9F8A-4A5D-9D44-F17E89ADA77A}"/>
                </a:ext>
              </a:extLst>
            </p:cNvPr>
            <p:cNvSpPr>
              <a:spLocks/>
            </p:cNvSpPr>
            <p:nvPr/>
          </p:nvSpPr>
          <p:spPr bwMode="gray">
            <a:xfrm>
              <a:off x="4055011" y="4200045"/>
              <a:ext cx="42928" cy="16599"/>
            </a:xfrm>
            <a:custGeom>
              <a:avLst/>
              <a:gdLst>
                <a:gd name="T0" fmla="*/ 18 w 26"/>
                <a:gd name="T1" fmla="*/ 0 h 10"/>
                <a:gd name="T2" fmla="*/ 8 w 26"/>
                <a:gd name="T3" fmla="*/ 0 h 10"/>
                <a:gd name="T4" fmla="*/ 0 w 26"/>
                <a:gd name="T5" fmla="*/ 4 h 10"/>
                <a:gd name="T6" fmla="*/ 4 w 26"/>
                <a:gd name="T7" fmla="*/ 10 h 10"/>
                <a:gd name="T8" fmla="*/ 12 w 26"/>
                <a:gd name="T9" fmla="*/ 10 h 10"/>
                <a:gd name="T10" fmla="*/ 22 w 26"/>
                <a:gd name="T11" fmla="*/ 10 h 10"/>
                <a:gd name="T12" fmla="*/ 26 w 26"/>
                <a:gd name="T13" fmla="*/ 8 h 10"/>
                <a:gd name="T14" fmla="*/ 26 w 26"/>
                <a:gd name="T15" fmla="*/ 4 h 10"/>
                <a:gd name="T16" fmla="*/ 22 w 26"/>
                <a:gd name="T17" fmla="*/ 0 h 10"/>
                <a:gd name="T18" fmla="*/ 18 w 26"/>
                <a:gd name="T1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0">
                  <a:moveTo>
                    <a:pt x="18" y="0"/>
                  </a:moveTo>
                  <a:lnTo>
                    <a:pt x="8" y="0"/>
                  </a:lnTo>
                  <a:lnTo>
                    <a:pt x="0" y="4"/>
                  </a:lnTo>
                  <a:lnTo>
                    <a:pt x="4" y="10"/>
                  </a:lnTo>
                  <a:lnTo>
                    <a:pt x="12" y="10"/>
                  </a:lnTo>
                  <a:lnTo>
                    <a:pt x="22" y="10"/>
                  </a:lnTo>
                  <a:lnTo>
                    <a:pt x="26" y="8"/>
                  </a:lnTo>
                  <a:lnTo>
                    <a:pt x="26" y="4"/>
                  </a:lnTo>
                  <a:lnTo>
                    <a:pt x="22" y="0"/>
                  </a:lnTo>
                  <a:lnTo>
                    <a:pt x="18"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79" name="Freeform 71">
              <a:extLst>
                <a:ext uri="{FF2B5EF4-FFF2-40B4-BE49-F238E27FC236}">
                  <a16:creationId xmlns:a16="http://schemas.microsoft.com/office/drawing/2014/main" id="{5D31D364-A674-49EE-BA9D-A58CDFA7145C}"/>
                </a:ext>
              </a:extLst>
            </p:cNvPr>
            <p:cNvSpPr>
              <a:spLocks/>
            </p:cNvSpPr>
            <p:nvPr/>
          </p:nvSpPr>
          <p:spPr bwMode="gray">
            <a:xfrm>
              <a:off x="3764423" y="4017466"/>
              <a:ext cx="19813" cy="26557"/>
            </a:xfrm>
            <a:custGeom>
              <a:avLst/>
              <a:gdLst>
                <a:gd name="T0" fmla="*/ 8 w 12"/>
                <a:gd name="T1" fmla="*/ 4 h 16"/>
                <a:gd name="T2" fmla="*/ 2 w 12"/>
                <a:gd name="T3" fmla="*/ 0 h 16"/>
                <a:gd name="T4" fmla="*/ 0 w 12"/>
                <a:gd name="T5" fmla="*/ 8 h 16"/>
                <a:gd name="T6" fmla="*/ 6 w 12"/>
                <a:gd name="T7" fmla="*/ 12 h 16"/>
                <a:gd name="T8" fmla="*/ 10 w 12"/>
                <a:gd name="T9" fmla="*/ 16 h 16"/>
                <a:gd name="T10" fmla="*/ 12 w 12"/>
                <a:gd name="T11" fmla="*/ 10 h 16"/>
                <a:gd name="T12" fmla="*/ 8 w 12"/>
                <a:gd name="T13" fmla="*/ 4 h 16"/>
              </a:gdLst>
              <a:ahLst/>
              <a:cxnLst>
                <a:cxn ang="0">
                  <a:pos x="T0" y="T1"/>
                </a:cxn>
                <a:cxn ang="0">
                  <a:pos x="T2" y="T3"/>
                </a:cxn>
                <a:cxn ang="0">
                  <a:pos x="T4" y="T5"/>
                </a:cxn>
                <a:cxn ang="0">
                  <a:pos x="T6" y="T7"/>
                </a:cxn>
                <a:cxn ang="0">
                  <a:pos x="T8" y="T9"/>
                </a:cxn>
                <a:cxn ang="0">
                  <a:pos x="T10" y="T11"/>
                </a:cxn>
                <a:cxn ang="0">
                  <a:pos x="T12" y="T13"/>
                </a:cxn>
              </a:cxnLst>
              <a:rect l="0" t="0" r="r" b="b"/>
              <a:pathLst>
                <a:path w="12" h="16">
                  <a:moveTo>
                    <a:pt x="8" y="4"/>
                  </a:moveTo>
                  <a:lnTo>
                    <a:pt x="2" y="0"/>
                  </a:lnTo>
                  <a:lnTo>
                    <a:pt x="0" y="8"/>
                  </a:lnTo>
                  <a:lnTo>
                    <a:pt x="6" y="12"/>
                  </a:lnTo>
                  <a:lnTo>
                    <a:pt x="10" y="16"/>
                  </a:lnTo>
                  <a:lnTo>
                    <a:pt x="12" y="10"/>
                  </a:lnTo>
                  <a:lnTo>
                    <a:pt x="8" y="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80" name="Freeform 72">
              <a:extLst>
                <a:ext uri="{FF2B5EF4-FFF2-40B4-BE49-F238E27FC236}">
                  <a16:creationId xmlns:a16="http://schemas.microsoft.com/office/drawing/2014/main" id="{6618E5CE-E12F-4981-957E-744C0017C6F2}"/>
                </a:ext>
              </a:extLst>
            </p:cNvPr>
            <p:cNvSpPr>
              <a:spLocks/>
            </p:cNvSpPr>
            <p:nvPr/>
          </p:nvSpPr>
          <p:spPr bwMode="gray">
            <a:xfrm>
              <a:off x="4114449" y="3805006"/>
              <a:ext cx="19813" cy="13279"/>
            </a:xfrm>
            <a:custGeom>
              <a:avLst/>
              <a:gdLst>
                <a:gd name="T0" fmla="*/ 6 w 12"/>
                <a:gd name="T1" fmla="*/ 0 h 8"/>
                <a:gd name="T2" fmla="*/ 2 w 12"/>
                <a:gd name="T3" fmla="*/ 2 h 8"/>
                <a:gd name="T4" fmla="*/ 0 w 12"/>
                <a:gd name="T5" fmla="*/ 8 h 8"/>
                <a:gd name="T6" fmla="*/ 8 w 12"/>
                <a:gd name="T7" fmla="*/ 8 h 8"/>
                <a:gd name="T8" fmla="*/ 12 w 12"/>
                <a:gd name="T9" fmla="*/ 8 h 8"/>
                <a:gd name="T10" fmla="*/ 6 w 12"/>
                <a:gd name="T11" fmla="*/ 0 h 8"/>
              </a:gdLst>
              <a:ahLst/>
              <a:cxnLst>
                <a:cxn ang="0">
                  <a:pos x="T0" y="T1"/>
                </a:cxn>
                <a:cxn ang="0">
                  <a:pos x="T2" y="T3"/>
                </a:cxn>
                <a:cxn ang="0">
                  <a:pos x="T4" y="T5"/>
                </a:cxn>
                <a:cxn ang="0">
                  <a:pos x="T6" y="T7"/>
                </a:cxn>
                <a:cxn ang="0">
                  <a:pos x="T8" y="T9"/>
                </a:cxn>
                <a:cxn ang="0">
                  <a:pos x="T10" y="T11"/>
                </a:cxn>
              </a:cxnLst>
              <a:rect l="0" t="0" r="r" b="b"/>
              <a:pathLst>
                <a:path w="12" h="8">
                  <a:moveTo>
                    <a:pt x="6" y="0"/>
                  </a:moveTo>
                  <a:lnTo>
                    <a:pt x="2" y="2"/>
                  </a:lnTo>
                  <a:lnTo>
                    <a:pt x="0" y="8"/>
                  </a:lnTo>
                  <a:lnTo>
                    <a:pt x="8" y="8"/>
                  </a:lnTo>
                  <a:lnTo>
                    <a:pt x="12" y="8"/>
                  </a:lnTo>
                  <a:lnTo>
                    <a:pt x="6"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81" name="Freeform 73">
              <a:extLst>
                <a:ext uri="{FF2B5EF4-FFF2-40B4-BE49-F238E27FC236}">
                  <a16:creationId xmlns:a16="http://schemas.microsoft.com/office/drawing/2014/main" id="{72C6F6E6-BAF8-42BB-B475-DB4803C6D38D}"/>
                </a:ext>
              </a:extLst>
            </p:cNvPr>
            <p:cNvSpPr>
              <a:spLocks/>
            </p:cNvSpPr>
            <p:nvPr/>
          </p:nvSpPr>
          <p:spPr bwMode="gray">
            <a:xfrm>
              <a:off x="3754517" y="4366029"/>
              <a:ext cx="307100" cy="441514"/>
            </a:xfrm>
            <a:custGeom>
              <a:avLst/>
              <a:gdLst>
                <a:gd name="T0" fmla="*/ 30 w 186"/>
                <a:gd name="T1" fmla="*/ 72 h 266"/>
                <a:gd name="T2" fmla="*/ 34 w 186"/>
                <a:gd name="T3" fmla="*/ 58 h 266"/>
                <a:gd name="T4" fmla="*/ 50 w 186"/>
                <a:gd name="T5" fmla="*/ 42 h 266"/>
                <a:gd name="T6" fmla="*/ 54 w 186"/>
                <a:gd name="T7" fmla="*/ 28 h 266"/>
                <a:gd name="T8" fmla="*/ 74 w 186"/>
                <a:gd name="T9" fmla="*/ 20 h 266"/>
                <a:gd name="T10" fmla="*/ 88 w 186"/>
                <a:gd name="T11" fmla="*/ 16 h 266"/>
                <a:gd name="T12" fmla="*/ 104 w 186"/>
                <a:gd name="T13" fmla="*/ 6 h 266"/>
                <a:gd name="T14" fmla="*/ 116 w 186"/>
                <a:gd name="T15" fmla="*/ 0 h 266"/>
                <a:gd name="T16" fmla="*/ 118 w 186"/>
                <a:gd name="T17" fmla="*/ 10 h 266"/>
                <a:gd name="T18" fmla="*/ 106 w 186"/>
                <a:gd name="T19" fmla="*/ 18 h 266"/>
                <a:gd name="T20" fmla="*/ 92 w 186"/>
                <a:gd name="T21" fmla="*/ 34 h 266"/>
                <a:gd name="T22" fmla="*/ 92 w 186"/>
                <a:gd name="T23" fmla="*/ 54 h 266"/>
                <a:gd name="T24" fmla="*/ 100 w 186"/>
                <a:gd name="T25" fmla="*/ 64 h 266"/>
                <a:gd name="T26" fmla="*/ 102 w 186"/>
                <a:gd name="T27" fmla="*/ 82 h 266"/>
                <a:gd name="T28" fmla="*/ 136 w 186"/>
                <a:gd name="T29" fmla="*/ 84 h 266"/>
                <a:gd name="T30" fmla="*/ 176 w 186"/>
                <a:gd name="T31" fmla="*/ 96 h 266"/>
                <a:gd name="T32" fmla="*/ 176 w 186"/>
                <a:gd name="T33" fmla="*/ 110 h 266"/>
                <a:gd name="T34" fmla="*/ 176 w 186"/>
                <a:gd name="T35" fmla="*/ 128 h 266"/>
                <a:gd name="T36" fmla="*/ 178 w 186"/>
                <a:gd name="T37" fmla="*/ 136 h 266"/>
                <a:gd name="T38" fmla="*/ 180 w 186"/>
                <a:gd name="T39" fmla="*/ 150 h 266"/>
                <a:gd name="T40" fmla="*/ 184 w 186"/>
                <a:gd name="T41" fmla="*/ 162 h 266"/>
                <a:gd name="T42" fmla="*/ 178 w 186"/>
                <a:gd name="T43" fmla="*/ 168 h 266"/>
                <a:gd name="T44" fmla="*/ 168 w 186"/>
                <a:gd name="T45" fmla="*/ 170 h 266"/>
                <a:gd name="T46" fmla="*/ 140 w 186"/>
                <a:gd name="T47" fmla="*/ 172 h 266"/>
                <a:gd name="T48" fmla="*/ 138 w 186"/>
                <a:gd name="T49" fmla="*/ 176 h 266"/>
                <a:gd name="T50" fmla="*/ 146 w 186"/>
                <a:gd name="T51" fmla="*/ 180 h 266"/>
                <a:gd name="T52" fmla="*/ 152 w 186"/>
                <a:gd name="T53" fmla="*/ 188 h 266"/>
                <a:gd name="T54" fmla="*/ 142 w 186"/>
                <a:gd name="T55" fmla="*/ 186 h 266"/>
                <a:gd name="T56" fmla="*/ 140 w 186"/>
                <a:gd name="T57" fmla="*/ 200 h 266"/>
                <a:gd name="T58" fmla="*/ 148 w 186"/>
                <a:gd name="T59" fmla="*/ 220 h 266"/>
                <a:gd name="T60" fmla="*/ 144 w 186"/>
                <a:gd name="T61" fmla="*/ 252 h 266"/>
                <a:gd name="T62" fmla="*/ 132 w 186"/>
                <a:gd name="T63" fmla="*/ 262 h 266"/>
                <a:gd name="T64" fmla="*/ 136 w 186"/>
                <a:gd name="T65" fmla="*/ 246 h 266"/>
                <a:gd name="T66" fmla="*/ 132 w 186"/>
                <a:gd name="T67" fmla="*/ 234 h 266"/>
                <a:gd name="T68" fmla="*/ 86 w 186"/>
                <a:gd name="T69" fmla="*/ 224 h 266"/>
                <a:gd name="T70" fmla="*/ 64 w 186"/>
                <a:gd name="T71" fmla="*/ 200 h 266"/>
                <a:gd name="T72" fmla="*/ 38 w 186"/>
                <a:gd name="T73" fmla="*/ 192 h 266"/>
                <a:gd name="T74" fmla="*/ 16 w 186"/>
                <a:gd name="T75" fmla="*/ 186 h 266"/>
                <a:gd name="T76" fmla="*/ 4 w 186"/>
                <a:gd name="T77" fmla="*/ 168 h 266"/>
                <a:gd name="T78" fmla="*/ 12 w 186"/>
                <a:gd name="T79" fmla="*/ 158 h 266"/>
                <a:gd name="T80" fmla="*/ 24 w 186"/>
                <a:gd name="T81" fmla="*/ 138 h 266"/>
                <a:gd name="T82" fmla="*/ 24 w 186"/>
                <a:gd name="T83" fmla="*/ 110 h 266"/>
                <a:gd name="T84" fmla="*/ 20 w 186"/>
                <a:gd name="T85" fmla="*/ 90 h 266"/>
                <a:gd name="T86" fmla="*/ 26 w 186"/>
                <a:gd name="T87" fmla="*/ 72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6" h="266">
                  <a:moveTo>
                    <a:pt x="28" y="66"/>
                  </a:moveTo>
                  <a:lnTo>
                    <a:pt x="30" y="72"/>
                  </a:lnTo>
                  <a:lnTo>
                    <a:pt x="34" y="68"/>
                  </a:lnTo>
                  <a:lnTo>
                    <a:pt x="34" y="58"/>
                  </a:lnTo>
                  <a:lnTo>
                    <a:pt x="44" y="50"/>
                  </a:lnTo>
                  <a:lnTo>
                    <a:pt x="50" y="42"/>
                  </a:lnTo>
                  <a:lnTo>
                    <a:pt x="52" y="36"/>
                  </a:lnTo>
                  <a:lnTo>
                    <a:pt x="54" y="28"/>
                  </a:lnTo>
                  <a:lnTo>
                    <a:pt x="68" y="20"/>
                  </a:lnTo>
                  <a:lnTo>
                    <a:pt x="74" y="20"/>
                  </a:lnTo>
                  <a:lnTo>
                    <a:pt x="78" y="16"/>
                  </a:lnTo>
                  <a:lnTo>
                    <a:pt x="88" y="16"/>
                  </a:lnTo>
                  <a:lnTo>
                    <a:pt x="96" y="12"/>
                  </a:lnTo>
                  <a:lnTo>
                    <a:pt x="104" y="6"/>
                  </a:lnTo>
                  <a:lnTo>
                    <a:pt x="110" y="0"/>
                  </a:lnTo>
                  <a:lnTo>
                    <a:pt x="116" y="0"/>
                  </a:lnTo>
                  <a:lnTo>
                    <a:pt x="120" y="2"/>
                  </a:lnTo>
                  <a:lnTo>
                    <a:pt x="118" y="10"/>
                  </a:lnTo>
                  <a:lnTo>
                    <a:pt x="112" y="14"/>
                  </a:lnTo>
                  <a:lnTo>
                    <a:pt x="106" y="18"/>
                  </a:lnTo>
                  <a:lnTo>
                    <a:pt x="96" y="26"/>
                  </a:lnTo>
                  <a:lnTo>
                    <a:pt x="92" y="34"/>
                  </a:lnTo>
                  <a:lnTo>
                    <a:pt x="90" y="48"/>
                  </a:lnTo>
                  <a:lnTo>
                    <a:pt x="92" y="54"/>
                  </a:lnTo>
                  <a:lnTo>
                    <a:pt x="96" y="60"/>
                  </a:lnTo>
                  <a:lnTo>
                    <a:pt x="100" y="64"/>
                  </a:lnTo>
                  <a:lnTo>
                    <a:pt x="102" y="68"/>
                  </a:lnTo>
                  <a:lnTo>
                    <a:pt x="102" y="82"/>
                  </a:lnTo>
                  <a:lnTo>
                    <a:pt x="108" y="86"/>
                  </a:lnTo>
                  <a:lnTo>
                    <a:pt x="136" y="84"/>
                  </a:lnTo>
                  <a:lnTo>
                    <a:pt x="148" y="98"/>
                  </a:lnTo>
                  <a:lnTo>
                    <a:pt x="176" y="96"/>
                  </a:lnTo>
                  <a:lnTo>
                    <a:pt x="182" y="102"/>
                  </a:lnTo>
                  <a:lnTo>
                    <a:pt x="176" y="110"/>
                  </a:lnTo>
                  <a:lnTo>
                    <a:pt x="176" y="120"/>
                  </a:lnTo>
                  <a:lnTo>
                    <a:pt x="176" y="128"/>
                  </a:lnTo>
                  <a:lnTo>
                    <a:pt x="176" y="136"/>
                  </a:lnTo>
                  <a:lnTo>
                    <a:pt x="178" y="136"/>
                  </a:lnTo>
                  <a:lnTo>
                    <a:pt x="180" y="138"/>
                  </a:lnTo>
                  <a:lnTo>
                    <a:pt x="180" y="150"/>
                  </a:lnTo>
                  <a:lnTo>
                    <a:pt x="180" y="160"/>
                  </a:lnTo>
                  <a:lnTo>
                    <a:pt x="184" y="162"/>
                  </a:lnTo>
                  <a:lnTo>
                    <a:pt x="186" y="172"/>
                  </a:lnTo>
                  <a:lnTo>
                    <a:pt x="178" y="168"/>
                  </a:lnTo>
                  <a:lnTo>
                    <a:pt x="174" y="168"/>
                  </a:lnTo>
                  <a:lnTo>
                    <a:pt x="168" y="170"/>
                  </a:lnTo>
                  <a:lnTo>
                    <a:pt x="150" y="170"/>
                  </a:lnTo>
                  <a:lnTo>
                    <a:pt x="140" y="172"/>
                  </a:lnTo>
                  <a:lnTo>
                    <a:pt x="140" y="174"/>
                  </a:lnTo>
                  <a:lnTo>
                    <a:pt x="138" y="176"/>
                  </a:lnTo>
                  <a:lnTo>
                    <a:pt x="140" y="178"/>
                  </a:lnTo>
                  <a:lnTo>
                    <a:pt x="146" y="180"/>
                  </a:lnTo>
                  <a:lnTo>
                    <a:pt x="152" y="182"/>
                  </a:lnTo>
                  <a:lnTo>
                    <a:pt x="152" y="188"/>
                  </a:lnTo>
                  <a:lnTo>
                    <a:pt x="146" y="186"/>
                  </a:lnTo>
                  <a:lnTo>
                    <a:pt x="142" y="186"/>
                  </a:lnTo>
                  <a:lnTo>
                    <a:pt x="140" y="188"/>
                  </a:lnTo>
                  <a:lnTo>
                    <a:pt x="140" y="200"/>
                  </a:lnTo>
                  <a:lnTo>
                    <a:pt x="146" y="208"/>
                  </a:lnTo>
                  <a:lnTo>
                    <a:pt x="148" y="220"/>
                  </a:lnTo>
                  <a:lnTo>
                    <a:pt x="146" y="234"/>
                  </a:lnTo>
                  <a:lnTo>
                    <a:pt x="144" y="252"/>
                  </a:lnTo>
                  <a:lnTo>
                    <a:pt x="138" y="266"/>
                  </a:lnTo>
                  <a:lnTo>
                    <a:pt x="132" y="262"/>
                  </a:lnTo>
                  <a:lnTo>
                    <a:pt x="132" y="252"/>
                  </a:lnTo>
                  <a:lnTo>
                    <a:pt x="136" y="246"/>
                  </a:lnTo>
                  <a:lnTo>
                    <a:pt x="134" y="240"/>
                  </a:lnTo>
                  <a:lnTo>
                    <a:pt x="132" y="234"/>
                  </a:lnTo>
                  <a:lnTo>
                    <a:pt x="90" y="232"/>
                  </a:lnTo>
                  <a:lnTo>
                    <a:pt x="86" y="224"/>
                  </a:lnTo>
                  <a:lnTo>
                    <a:pt x="74" y="212"/>
                  </a:lnTo>
                  <a:lnTo>
                    <a:pt x="64" y="200"/>
                  </a:lnTo>
                  <a:lnTo>
                    <a:pt x="50" y="196"/>
                  </a:lnTo>
                  <a:lnTo>
                    <a:pt x="38" y="192"/>
                  </a:lnTo>
                  <a:lnTo>
                    <a:pt x="26" y="192"/>
                  </a:lnTo>
                  <a:lnTo>
                    <a:pt x="16" y="186"/>
                  </a:lnTo>
                  <a:lnTo>
                    <a:pt x="0" y="176"/>
                  </a:lnTo>
                  <a:lnTo>
                    <a:pt x="4" y="168"/>
                  </a:lnTo>
                  <a:lnTo>
                    <a:pt x="4" y="158"/>
                  </a:lnTo>
                  <a:lnTo>
                    <a:pt x="12" y="158"/>
                  </a:lnTo>
                  <a:lnTo>
                    <a:pt x="20" y="152"/>
                  </a:lnTo>
                  <a:lnTo>
                    <a:pt x="24" y="138"/>
                  </a:lnTo>
                  <a:lnTo>
                    <a:pt x="24" y="124"/>
                  </a:lnTo>
                  <a:lnTo>
                    <a:pt x="24" y="110"/>
                  </a:lnTo>
                  <a:lnTo>
                    <a:pt x="22" y="96"/>
                  </a:lnTo>
                  <a:lnTo>
                    <a:pt x="20" y="90"/>
                  </a:lnTo>
                  <a:lnTo>
                    <a:pt x="14" y="80"/>
                  </a:lnTo>
                  <a:lnTo>
                    <a:pt x="26" y="72"/>
                  </a:lnTo>
                  <a:lnTo>
                    <a:pt x="28" y="6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82" name="Freeform 74">
              <a:extLst>
                <a:ext uri="{FF2B5EF4-FFF2-40B4-BE49-F238E27FC236}">
                  <a16:creationId xmlns:a16="http://schemas.microsoft.com/office/drawing/2014/main" id="{AEE25394-281A-4B2D-9C7C-642F373FFE99}"/>
                </a:ext>
              </a:extLst>
            </p:cNvPr>
            <p:cNvSpPr>
              <a:spLocks/>
            </p:cNvSpPr>
            <p:nvPr/>
          </p:nvSpPr>
          <p:spPr bwMode="gray">
            <a:xfrm>
              <a:off x="3701683" y="4658159"/>
              <a:ext cx="145294" cy="165983"/>
            </a:xfrm>
            <a:custGeom>
              <a:avLst/>
              <a:gdLst>
                <a:gd name="T0" fmla="*/ 26 w 88"/>
                <a:gd name="T1" fmla="*/ 100 h 100"/>
                <a:gd name="T2" fmla="*/ 20 w 88"/>
                <a:gd name="T3" fmla="*/ 94 h 100"/>
                <a:gd name="T4" fmla="*/ 8 w 88"/>
                <a:gd name="T5" fmla="*/ 88 h 100"/>
                <a:gd name="T6" fmla="*/ 8 w 88"/>
                <a:gd name="T7" fmla="*/ 76 h 100"/>
                <a:gd name="T8" fmla="*/ 14 w 88"/>
                <a:gd name="T9" fmla="*/ 72 h 100"/>
                <a:gd name="T10" fmla="*/ 18 w 88"/>
                <a:gd name="T11" fmla="*/ 64 h 100"/>
                <a:gd name="T12" fmla="*/ 18 w 88"/>
                <a:gd name="T13" fmla="*/ 58 h 100"/>
                <a:gd name="T14" fmla="*/ 14 w 88"/>
                <a:gd name="T15" fmla="*/ 58 h 100"/>
                <a:gd name="T16" fmla="*/ 10 w 88"/>
                <a:gd name="T17" fmla="*/ 62 h 100"/>
                <a:gd name="T18" fmla="*/ 6 w 88"/>
                <a:gd name="T19" fmla="*/ 62 h 100"/>
                <a:gd name="T20" fmla="*/ 0 w 88"/>
                <a:gd name="T21" fmla="*/ 58 h 100"/>
                <a:gd name="T22" fmla="*/ 0 w 88"/>
                <a:gd name="T23" fmla="*/ 48 h 100"/>
                <a:gd name="T24" fmla="*/ 2 w 88"/>
                <a:gd name="T25" fmla="*/ 38 h 100"/>
                <a:gd name="T26" fmla="*/ 6 w 88"/>
                <a:gd name="T27" fmla="*/ 26 h 100"/>
                <a:gd name="T28" fmla="*/ 10 w 88"/>
                <a:gd name="T29" fmla="*/ 18 h 100"/>
                <a:gd name="T30" fmla="*/ 14 w 88"/>
                <a:gd name="T31" fmla="*/ 12 h 100"/>
                <a:gd name="T32" fmla="*/ 22 w 88"/>
                <a:gd name="T33" fmla="*/ 6 h 100"/>
                <a:gd name="T34" fmla="*/ 32 w 88"/>
                <a:gd name="T35" fmla="*/ 0 h 100"/>
                <a:gd name="T36" fmla="*/ 58 w 88"/>
                <a:gd name="T37" fmla="*/ 16 h 100"/>
                <a:gd name="T38" fmla="*/ 70 w 88"/>
                <a:gd name="T39" fmla="*/ 16 h 100"/>
                <a:gd name="T40" fmla="*/ 88 w 88"/>
                <a:gd name="T41" fmla="*/ 22 h 100"/>
                <a:gd name="T42" fmla="*/ 86 w 88"/>
                <a:gd name="T43" fmla="*/ 30 h 100"/>
                <a:gd name="T44" fmla="*/ 86 w 88"/>
                <a:gd name="T45" fmla="*/ 40 h 100"/>
                <a:gd name="T46" fmla="*/ 82 w 88"/>
                <a:gd name="T47" fmla="*/ 48 h 100"/>
                <a:gd name="T48" fmla="*/ 76 w 88"/>
                <a:gd name="T49" fmla="*/ 56 h 100"/>
                <a:gd name="T50" fmla="*/ 68 w 88"/>
                <a:gd name="T51" fmla="*/ 62 h 100"/>
                <a:gd name="T52" fmla="*/ 52 w 88"/>
                <a:gd name="T53" fmla="*/ 68 h 100"/>
                <a:gd name="T54" fmla="*/ 46 w 88"/>
                <a:gd name="T55" fmla="*/ 74 h 100"/>
                <a:gd name="T56" fmla="*/ 40 w 88"/>
                <a:gd name="T57" fmla="*/ 82 h 100"/>
                <a:gd name="T58" fmla="*/ 36 w 88"/>
                <a:gd name="T59" fmla="*/ 92 h 100"/>
                <a:gd name="T60" fmla="*/ 26 w 88"/>
                <a:gd name="T61"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8" h="100">
                  <a:moveTo>
                    <a:pt x="26" y="100"/>
                  </a:moveTo>
                  <a:lnTo>
                    <a:pt x="20" y="94"/>
                  </a:lnTo>
                  <a:lnTo>
                    <a:pt x="8" y="88"/>
                  </a:lnTo>
                  <a:lnTo>
                    <a:pt x="8" y="76"/>
                  </a:lnTo>
                  <a:lnTo>
                    <a:pt x="14" y="72"/>
                  </a:lnTo>
                  <a:lnTo>
                    <a:pt x="18" y="64"/>
                  </a:lnTo>
                  <a:lnTo>
                    <a:pt x="18" y="58"/>
                  </a:lnTo>
                  <a:lnTo>
                    <a:pt x="14" y="58"/>
                  </a:lnTo>
                  <a:lnTo>
                    <a:pt x="10" y="62"/>
                  </a:lnTo>
                  <a:lnTo>
                    <a:pt x="6" y="62"/>
                  </a:lnTo>
                  <a:lnTo>
                    <a:pt x="0" y="58"/>
                  </a:lnTo>
                  <a:lnTo>
                    <a:pt x="0" y="48"/>
                  </a:lnTo>
                  <a:lnTo>
                    <a:pt x="2" y="38"/>
                  </a:lnTo>
                  <a:lnTo>
                    <a:pt x="6" y="26"/>
                  </a:lnTo>
                  <a:lnTo>
                    <a:pt x="10" y="18"/>
                  </a:lnTo>
                  <a:lnTo>
                    <a:pt x="14" y="12"/>
                  </a:lnTo>
                  <a:lnTo>
                    <a:pt x="22" y="6"/>
                  </a:lnTo>
                  <a:lnTo>
                    <a:pt x="32" y="0"/>
                  </a:lnTo>
                  <a:lnTo>
                    <a:pt x="58" y="16"/>
                  </a:lnTo>
                  <a:lnTo>
                    <a:pt x="70" y="16"/>
                  </a:lnTo>
                  <a:lnTo>
                    <a:pt x="88" y="22"/>
                  </a:lnTo>
                  <a:lnTo>
                    <a:pt x="86" y="30"/>
                  </a:lnTo>
                  <a:lnTo>
                    <a:pt x="86" y="40"/>
                  </a:lnTo>
                  <a:lnTo>
                    <a:pt x="82" y="48"/>
                  </a:lnTo>
                  <a:lnTo>
                    <a:pt x="76" y="56"/>
                  </a:lnTo>
                  <a:lnTo>
                    <a:pt x="68" y="62"/>
                  </a:lnTo>
                  <a:lnTo>
                    <a:pt x="52" y="68"/>
                  </a:lnTo>
                  <a:lnTo>
                    <a:pt x="46" y="74"/>
                  </a:lnTo>
                  <a:lnTo>
                    <a:pt x="40" y="82"/>
                  </a:lnTo>
                  <a:lnTo>
                    <a:pt x="36" y="92"/>
                  </a:lnTo>
                  <a:lnTo>
                    <a:pt x="26" y="10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83" name="Freeform 75">
              <a:extLst>
                <a:ext uri="{FF2B5EF4-FFF2-40B4-BE49-F238E27FC236}">
                  <a16:creationId xmlns:a16="http://schemas.microsoft.com/office/drawing/2014/main" id="{80EEABF5-D50A-4519-BEA1-98B4364AF91D}"/>
                </a:ext>
              </a:extLst>
            </p:cNvPr>
            <p:cNvSpPr>
              <a:spLocks/>
            </p:cNvSpPr>
            <p:nvPr/>
          </p:nvSpPr>
          <p:spPr bwMode="gray">
            <a:xfrm>
              <a:off x="4193701" y="4405864"/>
              <a:ext cx="33021" cy="26557"/>
            </a:xfrm>
            <a:custGeom>
              <a:avLst/>
              <a:gdLst>
                <a:gd name="T0" fmla="*/ 12 w 20"/>
                <a:gd name="T1" fmla="*/ 0 h 16"/>
                <a:gd name="T2" fmla="*/ 20 w 20"/>
                <a:gd name="T3" fmla="*/ 0 h 16"/>
                <a:gd name="T4" fmla="*/ 18 w 20"/>
                <a:gd name="T5" fmla="*/ 10 h 16"/>
                <a:gd name="T6" fmla="*/ 14 w 20"/>
                <a:gd name="T7" fmla="*/ 16 h 16"/>
                <a:gd name="T8" fmla="*/ 0 w 20"/>
                <a:gd name="T9" fmla="*/ 14 h 16"/>
                <a:gd name="T10" fmla="*/ 6 w 20"/>
                <a:gd name="T11" fmla="*/ 6 h 16"/>
                <a:gd name="T12" fmla="*/ 10 w 20"/>
                <a:gd name="T13" fmla="*/ 6 h 16"/>
                <a:gd name="T14" fmla="*/ 12 w 20"/>
                <a:gd name="T15" fmla="*/ 0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6">
                  <a:moveTo>
                    <a:pt x="12" y="0"/>
                  </a:moveTo>
                  <a:lnTo>
                    <a:pt x="20" y="0"/>
                  </a:lnTo>
                  <a:lnTo>
                    <a:pt x="18" y="10"/>
                  </a:lnTo>
                  <a:lnTo>
                    <a:pt x="14" y="16"/>
                  </a:lnTo>
                  <a:lnTo>
                    <a:pt x="0" y="14"/>
                  </a:lnTo>
                  <a:lnTo>
                    <a:pt x="6" y="6"/>
                  </a:lnTo>
                  <a:lnTo>
                    <a:pt x="10" y="6"/>
                  </a:lnTo>
                  <a:lnTo>
                    <a:pt x="12"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84" name="Freeform 76">
              <a:extLst>
                <a:ext uri="{FF2B5EF4-FFF2-40B4-BE49-F238E27FC236}">
                  <a16:creationId xmlns:a16="http://schemas.microsoft.com/office/drawing/2014/main" id="{35B97ACF-9C36-4D8D-AC88-BD84DC5AD351}"/>
                </a:ext>
              </a:extLst>
            </p:cNvPr>
            <p:cNvSpPr>
              <a:spLocks/>
            </p:cNvSpPr>
            <p:nvPr/>
          </p:nvSpPr>
          <p:spPr bwMode="gray">
            <a:xfrm>
              <a:off x="3903113" y="4369349"/>
              <a:ext cx="346724" cy="305408"/>
            </a:xfrm>
            <a:custGeom>
              <a:avLst/>
              <a:gdLst>
                <a:gd name="T0" fmla="*/ 46 w 210"/>
                <a:gd name="T1" fmla="*/ 8 h 184"/>
                <a:gd name="T2" fmla="*/ 50 w 210"/>
                <a:gd name="T3" fmla="*/ 0 h 184"/>
                <a:gd name="T4" fmla="*/ 52 w 210"/>
                <a:gd name="T5" fmla="*/ 12 h 184"/>
                <a:gd name="T6" fmla="*/ 70 w 210"/>
                <a:gd name="T7" fmla="*/ 16 h 184"/>
                <a:gd name="T8" fmla="*/ 80 w 210"/>
                <a:gd name="T9" fmla="*/ 24 h 184"/>
                <a:gd name="T10" fmla="*/ 108 w 210"/>
                <a:gd name="T11" fmla="*/ 28 h 184"/>
                <a:gd name="T12" fmla="*/ 138 w 210"/>
                <a:gd name="T13" fmla="*/ 32 h 184"/>
                <a:gd name="T14" fmla="*/ 156 w 210"/>
                <a:gd name="T15" fmla="*/ 26 h 184"/>
                <a:gd name="T16" fmla="*/ 174 w 210"/>
                <a:gd name="T17" fmla="*/ 28 h 184"/>
                <a:gd name="T18" fmla="*/ 162 w 210"/>
                <a:gd name="T19" fmla="*/ 32 h 184"/>
                <a:gd name="T20" fmla="*/ 176 w 210"/>
                <a:gd name="T21" fmla="*/ 40 h 184"/>
                <a:gd name="T22" fmla="*/ 192 w 210"/>
                <a:gd name="T23" fmla="*/ 46 h 184"/>
                <a:gd name="T24" fmla="*/ 188 w 210"/>
                <a:gd name="T25" fmla="*/ 56 h 184"/>
                <a:gd name="T26" fmla="*/ 196 w 210"/>
                <a:gd name="T27" fmla="*/ 60 h 184"/>
                <a:gd name="T28" fmla="*/ 210 w 210"/>
                <a:gd name="T29" fmla="*/ 62 h 184"/>
                <a:gd name="T30" fmla="*/ 200 w 210"/>
                <a:gd name="T31" fmla="*/ 76 h 184"/>
                <a:gd name="T32" fmla="*/ 192 w 210"/>
                <a:gd name="T33" fmla="*/ 90 h 184"/>
                <a:gd name="T34" fmla="*/ 190 w 210"/>
                <a:gd name="T35" fmla="*/ 104 h 184"/>
                <a:gd name="T36" fmla="*/ 196 w 210"/>
                <a:gd name="T37" fmla="*/ 116 h 184"/>
                <a:gd name="T38" fmla="*/ 180 w 210"/>
                <a:gd name="T39" fmla="*/ 130 h 184"/>
                <a:gd name="T40" fmla="*/ 164 w 210"/>
                <a:gd name="T41" fmla="*/ 136 h 184"/>
                <a:gd name="T42" fmla="*/ 148 w 210"/>
                <a:gd name="T43" fmla="*/ 134 h 184"/>
                <a:gd name="T44" fmla="*/ 134 w 210"/>
                <a:gd name="T45" fmla="*/ 132 h 184"/>
                <a:gd name="T46" fmla="*/ 142 w 210"/>
                <a:gd name="T47" fmla="*/ 148 h 184"/>
                <a:gd name="T48" fmla="*/ 154 w 210"/>
                <a:gd name="T49" fmla="*/ 156 h 184"/>
                <a:gd name="T50" fmla="*/ 152 w 210"/>
                <a:gd name="T51" fmla="*/ 166 h 184"/>
                <a:gd name="T52" fmla="*/ 140 w 210"/>
                <a:gd name="T53" fmla="*/ 168 h 184"/>
                <a:gd name="T54" fmla="*/ 116 w 210"/>
                <a:gd name="T55" fmla="*/ 184 h 184"/>
                <a:gd name="T56" fmla="*/ 98 w 210"/>
                <a:gd name="T57" fmla="*/ 174 h 184"/>
                <a:gd name="T58" fmla="*/ 94 w 210"/>
                <a:gd name="T59" fmla="*/ 160 h 184"/>
                <a:gd name="T60" fmla="*/ 90 w 210"/>
                <a:gd name="T61" fmla="*/ 136 h 184"/>
                <a:gd name="T62" fmla="*/ 86 w 210"/>
                <a:gd name="T63" fmla="*/ 108 h 184"/>
                <a:gd name="T64" fmla="*/ 86 w 210"/>
                <a:gd name="T65" fmla="*/ 94 h 184"/>
                <a:gd name="T66" fmla="*/ 46 w 210"/>
                <a:gd name="T67" fmla="*/ 82 h 184"/>
                <a:gd name="T68" fmla="*/ 12 w 210"/>
                <a:gd name="T69" fmla="*/ 80 h 184"/>
                <a:gd name="T70" fmla="*/ 0 w 210"/>
                <a:gd name="T71" fmla="*/ 46 h 184"/>
                <a:gd name="T72" fmla="*/ 8 w 210"/>
                <a:gd name="T73" fmla="*/ 22 h 184"/>
                <a:gd name="T74" fmla="*/ 22 w 210"/>
                <a:gd name="T75" fmla="*/ 16 h 184"/>
                <a:gd name="T76" fmla="*/ 22 w 210"/>
                <a:gd name="T77" fmla="*/ 30 h 184"/>
                <a:gd name="T78" fmla="*/ 18 w 210"/>
                <a:gd name="T79" fmla="*/ 46 h 184"/>
                <a:gd name="T80" fmla="*/ 30 w 210"/>
                <a:gd name="T81" fmla="*/ 48 h 184"/>
                <a:gd name="T82" fmla="*/ 30 w 210"/>
                <a:gd name="T83" fmla="*/ 32 h 184"/>
                <a:gd name="T84" fmla="*/ 32 w 210"/>
                <a:gd name="T85" fmla="*/ 20 h 184"/>
                <a:gd name="T86" fmla="*/ 44 w 210"/>
                <a:gd name="T87" fmla="*/ 1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0" h="184">
                  <a:moveTo>
                    <a:pt x="44" y="14"/>
                  </a:moveTo>
                  <a:lnTo>
                    <a:pt x="46" y="8"/>
                  </a:lnTo>
                  <a:lnTo>
                    <a:pt x="46" y="2"/>
                  </a:lnTo>
                  <a:lnTo>
                    <a:pt x="50" y="0"/>
                  </a:lnTo>
                  <a:lnTo>
                    <a:pt x="52" y="4"/>
                  </a:lnTo>
                  <a:lnTo>
                    <a:pt x="52" y="12"/>
                  </a:lnTo>
                  <a:lnTo>
                    <a:pt x="60" y="14"/>
                  </a:lnTo>
                  <a:lnTo>
                    <a:pt x="70" y="16"/>
                  </a:lnTo>
                  <a:lnTo>
                    <a:pt x="76" y="22"/>
                  </a:lnTo>
                  <a:lnTo>
                    <a:pt x="80" y="24"/>
                  </a:lnTo>
                  <a:lnTo>
                    <a:pt x="98" y="28"/>
                  </a:lnTo>
                  <a:lnTo>
                    <a:pt x="108" y="28"/>
                  </a:lnTo>
                  <a:lnTo>
                    <a:pt x="126" y="36"/>
                  </a:lnTo>
                  <a:lnTo>
                    <a:pt x="138" y="32"/>
                  </a:lnTo>
                  <a:lnTo>
                    <a:pt x="146" y="28"/>
                  </a:lnTo>
                  <a:lnTo>
                    <a:pt x="156" y="26"/>
                  </a:lnTo>
                  <a:lnTo>
                    <a:pt x="164" y="28"/>
                  </a:lnTo>
                  <a:lnTo>
                    <a:pt x="174" y="28"/>
                  </a:lnTo>
                  <a:lnTo>
                    <a:pt x="170" y="30"/>
                  </a:lnTo>
                  <a:lnTo>
                    <a:pt x="162" y="32"/>
                  </a:lnTo>
                  <a:lnTo>
                    <a:pt x="164" y="40"/>
                  </a:lnTo>
                  <a:lnTo>
                    <a:pt x="176" y="40"/>
                  </a:lnTo>
                  <a:lnTo>
                    <a:pt x="188" y="42"/>
                  </a:lnTo>
                  <a:lnTo>
                    <a:pt x="192" y="46"/>
                  </a:lnTo>
                  <a:lnTo>
                    <a:pt x="192" y="52"/>
                  </a:lnTo>
                  <a:lnTo>
                    <a:pt x="188" y="56"/>
                  </a:lnTo>
                  <a:lnTo>
                    <a:pt x="188" y="62"/>
                  </a:lnTo>
                  <a:lnTo>
                    <a:pt x="196" y="60"/>
                  </a:lnTo>
                  <a:lnTo>
                    <a:pt x="202" y="58"/>
                  </a:lnTo>
                  <a:lnTo>
                    <a:pt x="210" y="62"/>
                  </a:lnTo>
                  <a:lnTo>
                    <a:pt x="204" y="70"/>
                  </a:lnTo>
                  <a:lnTo>
                    <a:pt x="200" y="76"/>
                  </a:lnTo>
                  <a:lnTo>
                    <a:pt x="202" y="84"/>
                  </a:lnTo>
                  <a:lnTo>
                    <a:pt x="192" y="90"/>
                  </a:lnTo>
                  <a:lnTo>
                    <a:pt x="188" y="96"/>
                  </a:lnTo>
                  <a:lnTo>
                    <a:pt x="190" y="104"/>
                  </a:lnTo>
                  <a:lnTo>
                    <a:pt x="194" y="110"/>
                  </a:lnTo>
                  <a:lnTo>
                    <a:pt x="196" y="116"/>
                  </a:lnTo>
                  <a:lnTo>
                    <a:pt x="192" y="126"/>
                  </a:lnTo>
                  <a:lnTo>
                    <a:pt x="180" y="130"/>
                  </a:lnTo>
                  <a:lnTo>
                    <a:pt x="170" y="132"/>
                  </a:lnTo>
                  <a:lnTo>
                    <a:pt x="164" y="136"/>
                  </a:lnTo>
                  <a:lnTo>
                    <a:pt x="158" y="136"/>
                  </a:lnTo>
                  <a:lnTo>
                    <a:pt x="148" y="134"/>
                  </a:lnTo>
                  <a:lnTo>
                    <a:pt x="140" y="130"/>
                  </a:lnTo>
                  <a:lnTo>
                    <a:pt x="134" y="132"/>
                  </a:lnTo>
                  <a:lnTo>
                    <a:pt x="140" y="138"/>
                  </a:lnTo>
                  <a:lnTo>
                    <a:pt x="142" y="148"/>
                  </a:lnTo>
                  <a:lnTo>
                    <a:pt x="148" y="156"/>
                  </a:lnTo>
                  <a:lnTo>
                    <a:pt x="154" y="156"/>
                  </a:lnTo>
                  <a:lnTo>
                    <a:pt x="154" y="160"/>
                  </a:lnTo>
                  <a:lnTo>
                    <a:pt x="152" y="166"/>
                  </a:lnTo>
                  <a:lnTo>
                    <a:pt x="146" y="166"/>
                  </a:lnTo>
                  <a:lnTo>
                    <a:pt x="140" y="168"/>
                  </a:lnTo>
                  <a:lnTo>
                    <a:pt x="130" y="180"/>
                  </a:lnTo>
                  <a:lnTo>
                    <a:pt x="116" y="184"/>
                  </a:lnTo>
                  <a:lnTo>
                    <a:pt x="106" y="182"/>
                  </a:lnTo>
                  <a:lnTo>
                    <a:pt x="98" y="174"/>
                  </a:lnTo>
                  <a:lnTo>
                    <a:pt x="96" y="170"/>
                  </a:lnTo>
                  <a:lnTo>
                    <a:pt x="94" y="160"/>
                  </a:lnTo>
                  <a:lnTo>
                    <a:pt x="90" y="158"/>
                  </a:lnTo>
                  <a:lnTo>
                    <a:pt x="90" y="136"/>
                  </a:lnTo>
                  <a:lnTo>
                    <a:pt x="86" y="134"/>
                  </a:lnTo>
                  <a:lnTo>
                    <a:pt x="86" y="108"/>
                  </a:lnTo>
                  <a:lnTo>
                    <a:pt x="92" y="100"/>
                  </a:lnTo>
                  <a:lnTo>
                    <a:pt x="86" y="94"/>
                  </a:lnTo>
                  <a:lnTo>
                    <a:pt x="58" y="96"/>
                  </a:lnTo>
                  <a:lnTo>
                    <a:pt x="46" y="82"/>
                  </a:lnTo>
                  <a:lnTo>
                    <a:pt x="18" y="84"/>
                  </a:lnTo>
                  <a:lnTo>
                    <a:pt x="12" y="80"/>
                  </a:lnTo>
                  <a:lnTo>
                    <a:pt x="12" y="66"/>
                  </a:lnTo>
                  <a:lnTo>
                    <a:pt x="0" y="46"/>
                  </a:lnTo>
                  <a:lnTo>
                    <a:pt x="2" y="32"/>
                  </a:lnTo>
                  <a:lnTo>
                    <a:pt x="8" y="22"/>
                  </a:lnTo>
                  <a:lnTo>
                    <a:pt x="18" y="14"/>
                  </a:lnTo>
                  <a:lnTo>
                    <a:pt x="22" y="16"/>
                  </a:lnTo>
                  <a:lnTo>
                    <a:pt x="22" y="20"/>
                  </a:lnTo>
                  <a:lnTo>
                    <a:pt x="22" y="30"/>
                  </a:lnTo>
                  <a:lnTo>
                    <a:pt x="16" y="34"/>
                  </a:lnTo>
                  <a:lnTo>
                    <a:pt x="18" y="46"/>
                  </a:lnTo>
                  <a:lnTo>
                    <a:pt x="22" y="52"/>
                  </a:lnTo>
                  <a:lnTo>
                    <a:pt x="30" y="48"/>
                  </a:lnTo>
                  <a:lnTo>
                    <a:pt x="34" y="40"/>
                  </a:lnTo>
                  <a:lnTo>
                    <a:pt x="30" y="32"/>
                  </a:lnTo>
                  <a:lnTo>
                    <a:pt x="28" y="26"/>
                  </a:lnTo>
                  <a:lnTo>
                    <a:pt x="32" y="20"/>
                  </a:lnTo>
                  <a:lnTo>
                    <a:pt x="38" y="18"/>
                  </a:lnTo>
                  <a:lnTo>
                    <a:pt x="44" y="1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85" name="Freeform 77">
              <a:extLst>
                <a:ext uri="{FF2B5EF4-FFF2-40B4-BE49-F238E27FC236}">
                  <a16:creationId xmlns:a16="http://schemas.microsoft.com/office/drawing/2014/main" id="{895259ED-385D-4BA2-BFDE-2358ECA8696A}"/>
                </a:ext>
              </a:extLst>
            </p:cNvPr>
            <p:cNvSpPr>
              <a:spLocks/>
            </p:cNvSpPr>
            <p:nvPr/>
          </p:nvSpPr>
          <p:spPr bwMode="gray">
            <a:xfrm>
              <a:off x="4213515" y="4472258"/>
              <a:ext cx="115574" cy="189220"/>
            </a:xfrm>
            <a:custGeom>
              <a:avLst/>
              <a:gdLst>
                <a:gd name="T0" fmla="*/ 42 w 70"/>
                <a:gd name="T1" fmla="*/ 30 h 114"/>
                <a:gd name="T2" fmla="*/ 50 w 70"/>
                <a:gd name="T3" fmla="*/ 24 h 114"/>
                <a:gd name="T4" fmla="*/ 58 w 70"/>
                <a:gd name="T5" fmla="*/ 30 h 114"/>
                <a:gd name="T6" fmla="*/ 66 w 70"/>
                <a:gd name="T7" fmla="*/ 40 h 114"/>
                <a:gd name="T8" fmla="*/ 64 w 70"/>
                <a:gd name="T9" fmla="*/ 48 h 114"/>
                <a:gd name="T10" fmla="*/ 60 w 70"/>
                <a:gd name="T11" fmla="*/ 54 h 114"/>
                <a:gd name="T12" fmla="*/ 54 w 70"/>
                <a:gd name="T13" fmla="*/ 62 h 114"/>
                <a:gd name="T14" fmla="*/ 52 w 70"/>
                <a:gd name="T15" fmla="*/ 72 h 114"/>
                <a:gd name="T16" fmla="*/ 56 w 70"/>
                <a:gd name="T17" fmla="*/ 76 h 114"/>
                <a:gd name="T18" fmla="*/ 60 w 70"/>
                <a:gd name="T19" fmla="*/ 82 h 114"/>
                <a:gd name="T20" fmla="*/ 64 w 70"/>
                <a:gd name="T21" fmla="*/ 86 h 114"/>
                <a:gd name="T22" fmla="*/ 66 w 70"/>
                <a:gd name="T23" fmla="*/ 90 h 114"/>
                <a:gd name="T24" fmla="*/ 70 w 70"/>
                <a:gd name="T25" fmla="*/ 100 h 114"/>
                <a:gd name="T26" fmla="*/ 66 w 70"/>
                <a:gd name="T27" fmla="*/ 104 h 114"/>
                <a:gd name="T28" fmla="*/ 58 w 70"/>
                <a:gd name="T29" fmla="*/ 108 h 114"/>
                <a:gd name="T30" fmla="*/ 52 w 70"/>
                <a:gd name="T31" fmla="*/ 112 h 114"/>
                <a:gd name="T32" fmla="*/ 42 w 70"/>
                <a:gd name="T33" fmla="*/ 114 h 114"/>
                <a:gd name="T34" fmla="*/ 34 w 70"/>
                <a:gd name="T35" fmla="*/ 114 h 114"/>
                <a:gd name="T36" fmla="*/ 26 w 70"/>
                <a:gd name="T37" fmla="*/ 106 h 114"/>
                <a:gd name="T38" fmla="*/ 20 w 70"/>
                <a:gd name="T39" fmla="*/ 98 h 114"/>
                <a:gd name="T40" fmla="*/ 20 w 70"/>
                <a:gd name="T41" fmla="*/ 90 h 114"/>
                <a:gd name="T42" fmla="*/ 20 w 70"/>
                <a:gd name="T43" fmla="*/ 78 h 114"/>
                <a:gd name="T44" fmla="*/ 26 w 70"/>
                <a:gd name="T45" fmla="*/ 72 h 114"/>
                <a:gd name="T46" fmla="*/ 22 w 70"/>
                <a:gd name="T47" fmla="*/ 62 h 114"/>
                <a:gd name="T48" fmla="*/ 18 w 70"/>
                <a:gd name="T49" fmla="*/ 50 h 114"/>
                <a:gd name="T50" fmla="*/ 6 w 70"/>
                <a:gd name="T51" fmla="*/ 50 h 114"/>
                <a:gd name="T52" fmla="*/ 2 w 70"/>
                <a:gd name="T53" fmla="*/ 42 h 114"/>
                <a:gd name="T54" fmla="*/ 0 w 70"/>
                <a:gd name="T55" fmla="*/ 34 h 114"/>
                <a:gd name="T56" fmla="*/ 4 w 70"/>
                <a:gd name="T57" fmla="*/ 28 h 114"/>
                <a:gd name="T58" fmla="*/ 14 w 70"/>
                <a:gd name="T59" fmla="*/ 22 h 114"/>
                <a:gd name="T60" fmla="*/ 12 w 70"/>
                <a:gd name="T61" fmla="*/ 14 h 114"/>
                <a:gd name="T62" fmla="*/ 16 w 70"/>
                <a:gd name="T63" fmla="*/ 8 h 114"/>
                <a:gd name="T64" fmla="*/ 22 w 70"/>
                <a:gd name="T65" fmla="*/ 0 h 114"/>
                <a:gd name="T66" fmla="*/ 28 w 70"/>
                <a:gd name="T67" fmla="*/ 2 h 114"/>
                <a:gd name="T68" fmla="*/ 34 w 70"/>
                <a:gd name="T69" fmla="*/ 6 h 114"/>
                <a:gd name="T70" fmla="*/ 42 w 70"/>
                <a:gd name="T71" fmla="*/ 12 h 114"/>
                <a:gd name="T72" fmla="*/ 44 w 70"/>
                <a:gd name="T73" fmla="*/ 16 h 114"/>
                <a:gd name="T74" fmla="*/ 44 w 70"/>
                <a:gd name="T75" fmla="*/ 22 h 114"/>
                <a:gd name="T76" fmla="*/ 42 w 70"/>
                <a:gd name="T77" fmla="*/ 3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0" h="114">
                  <a:moveTo>
                    <a:pt x="42" y="30"/>
                  </a:moveTo>
                  <a:lnTo>
                    <a:pt x="50" y="24"/>
                  </a:lnTo>
                  <a:lnTo>
                    <a:pt x="58" y="30"/>
                  </a:lnTo>
                  <a:lnTo>
                    <a:pt x="66" y="40"/>
                  </a:lnTo>
                  <a:lnTo>
                    <a:pt x="64" y="48"/>
                  </a:lnTo>
                  <a:lnTo>
                    <a:pt x="60" y="54"/>
                  </a:lnTo>
                  <a:lnTo>
                    <a:pt x="54" y="62"/>
                  </a:lnTo>
                  <a:lnTo>
                    <a:pt x="52" y="72"/>
                  </a:lnTo>
                  <a:lnTo>
                    <a:pt x="56" y="76"/>
                  </a:lnTo>
                  <a:lnTo>
                    <a:pt x="60" y="82"/>
                  </a:lnTo>
                  <a:lnTo>
                    <a:pt x="64" y="86"/>
                  </a:lnTo>
                  <a:lnTo>
                    <a:pt x="66" y="90"/>
                  </a:lnTo>
                  <a:lnTo>
                    <a:pt x="70" y="100"/>
                  </a:lnTo>
                  <a:lnTo>
                    <a:pt x="66" y="104"/>
                  </a:lnTo>
                  <a:lnTo>
                    <a:pt x="58" y="108"/>
                  </a:lnTo>
                  <a:lnTo>
                    <a:pt x="52" y="112"/>
                  </a:lnTo>
                  <a:lnTo>
                    <a:pt x="42" y="114"/>
                  </a:lnTo>
                  <a:lnTo>
                    <a:pt x="34" y="114"/>
                  </a:lnTo>
                  <a:lnTo>
                    <a:pt x="26" y="106"/>
                  </a:lnTo>
                  <a:lnTo>
                    <a:pt x="20" y="98"/>
                  </a:lnTo>
                  <a:lnTo>
                    <a:pt x="20" y="90"/>
                  </a:lnTo>
                  <a:lnTo>
                    <a:pt x="20" y="78"/>
                  </a:lnTo>
                  <a:lnTo>
                    <a:pt x="26" y="72"/>
                  </a:lnTo>
                  <a:lnTo>
                    <a:pt x="22" y="62"/>
                  </a:lnTo>
                  <a:lnTo>
                    <a:pt x="18" y="50"/>
                  </a:lnTo>
                  <a:lnTo>
                    <a:pt x="6" y="50"/>
                  </a:lnTo>
                  <a:lnTo>
                    <a:pt x="2" y="42"/>
                  </a:lnTo>
                  <a:lnTo>
                    <a:pt x="0" y="34"/>
                  </a:lnTo>
                  <a:lnTo>
                    <a:pt x="4" y="28"/>
                  </a:lnTo>
                  <a:lnTo>
                    <a:pt x="14" y="22"/>
                  </a:lnTo>
                  <a:lnTo>
                    <a:pt x="12" y="14"/>
                  </a:lnTo>
                  <a:lnTo>
                    <a:pt x="16" y="8"/>
                  </a:lnTo>
                  <a:lnTo>
                    <a:pt x="22" y="0"/>
                  </a:lnTo>
                  <a:lnTo>
                    <a:pt x="28" y="2"/>
                  </a:lnTo>
                  <a:lnTo>
                    <a:pt x="34" y="6"/>
                  </a:lnTo>
                  <a:lnTo>
                    <a:pt x="42" y="12"/>
                  </a:lnTo>
                  <a:lnTo>
                    <a:pt x="44" y="16"/>
                  </a:lnTo>
                  <a:lnTo>
                    <a:pt x="44" y="22"/>
                  </a:lnTo>
                  <a:lnTo>
                    <a:pt x="42" y="3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86" name="Freeform 78">
              <a:extLst>
                <a:ext uri="{FF2B5EF4-FFF2-40B4-BE49-F238E27FC236}">
                  <a16:creationId xmlns:a16="http://schemas.microsoft.com/office/drawing/2014/main" id="{2BEB15BA-FD97-4C25-B066-059C507CD384}"/>
                </a:ext>
              </a:extLst>
            </p:cNvPr>
            <p:cNvSpPr>
              <a:spLocks/>
            </p:cNvSpPr>
            <p:nvPr/>
          </p:nvSpPr>
          <p:spPr bwMode="gray">
            <a:xfrm>
              <a:off x="4388528" y="4541970"/>
              <a:ext cx="79252" cy="99590"/>
            </a:xfrm>
            <a:custGeom>
              <a:avLst/>
              <a:gdLst>
                <a:gd name="T0" fmla="*/ 6 w 48"/>
                <a:gd name="T1" fmla="*/ 0 h 60"/>
                <a:gd name="T2" fmla="*/ 16 w 48"/>
                <a:gd name="T3" fmla="*/ 2 h 60"/>
                <a:gd name="T4" fmla="*/ 28 w 48"/>
                <a:gd name="T5" fmla="*/ 6 h 60"/>
                <a:gd name="T6" fmla="*/ 38 w 48"/>
                <a:gd name="T7" fmla="*/ 12 h 60"/>
                <a:gd name="T8" fmla="*/ 44 w 48"/>
                <a:gd name="T9" fmla="*/ 20 h 60"/>
                <a:gd name="T10" fmla="*/ 48 w 48"/>
                <a:gd name="T11" fmla="*/ 26 h 60"/>
                <a:gd name="T12" fmla="*/ 42 w 48"/>
                <a:gd name="T13" fmla="*/ 34 h 60"/>
                <a:gd name="T14" fmla="*/ 36 w 48"/>
                <a:gd name="T15" fmla="*/ 46 h 60"/>
                <a:gd name="T16" fmla="*/ 30 w 48"/>
                <a:gd name="T17" fmla="*/ 60 h 60"/>
                <a:gd name="T18" fmla="*/ 24 w 48"/>
                <a:gd name="T19" fmla="*/ 56 h 60"/>
                <a:gd name="T20" fmla="*/ 14 w 48"/>
                <a:gd name="T21" fmla="*/ 54 h 60"/>
                <a:gd name="T22" fmla="*/ 8 w 48"/>
                <a:gd name="T23" fmla="*/ 58 h 60"/>
                <a:gd name="T24" fmla="*/ 2 w 48"/>
                <a:gd name="T25" fmla="*/ 58 h 60"/>
                <a:gd name="T26" fmla="*/ 2 w 48"/>
                <a:gd name="T27" fmla="*/ 50 h 60"/>
                <a:gd name="T28" fmla="*/ 6 w 48"/>
                <a:gd name="T29" fmla="*/ 36 h 60"/>
                <a:gd name="T30" fmla="*/ 10 w 48"/>
                <a:gd name="T31" fmla="*/ 28 h 60"/>
                <a:gd name="T32" fmla="*/ 4 w 48"/>
                <a:gd name="T33" fmla="*/ 24 h 60"/>
                <a:gd name="T34" fmla="*/ 0 w 48"/>
                <a:gd name="T35" fmla="*/ 18 h 60"/>
                <a:gd name="T36" fmla="*/ 0 w 48"/>
                <a:gd name="T37" fmla="*/ 12 h 60"/>
                <a:gd name="T38" fmla="*/ 2 w 48"/>
                <a:gd name="T39" fmla="*/ 6 h 60"/>
                <a:gd name="T40" fmla="*/ 6 w 48"/>
                <a:gd name="T41"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8" h="60">
                  <a:moveTo>
                    <a:pt x="6" y="0"/>
                  </a:moveTo>
                  <a:lnTo>
                    <a:pt x="16" y="2"/>
                  </a:lnTo>
                  <a:lnTo>
                    <a:pt x="28" y="6"/>
                  </a:lnTo>
                  <a:lnTo>
                    <a:pt x="38" y="12"/>
                  </a:lnTo>
                  <a:lnTo>
                    <a:pt x="44" y="20"/>
                  </a:lnTo>
                  <a:lnTo>
                    <a:pt x="48" y="26"/>
                  </a:lnTo>
                  <a:lnTo>
                    <a:pt x="42" y="34"/>
                  </a:lnTo>
                  <a:lnTo>
                    <a:pt x="36" y="46"/>
                  </a:lnTo>
                  <a:lnTo>
                    <a:pt x="30" y="60"/>
                  </a:lnTo>
                  <a:lnTo>
                    <a:pt x="24" y="56"/>
                  </a:lnTo>
                  <a:lnTo>
                    <a:pt x="14" y="54"/>
                  </a:lnTo>
                  <a:lnTo>
                    <a:pt x="8" y="58"/>
                  </a:lnTo>
                  <a:lnTo>
                    <a:pt x="2" y="58"/>
                  </a:lnTo>
                  <a:lnTo>
                    <a:pt x="2" y="50"/>
                  </a:lnTo>
                  <a:lnTo>
                    <a:pt x="6" y="36"/>
                  </a:lnTo>
                  <a:lnTo>
                    <a:pt x="10" y="28"/>
                  </a:lnTo>
                  <a:lnTo>
                    <a:pt x="4" y="24"/>
                  </a:lnTo>
                  <a:lnTo>
                    <a:pt x="0" y="18"/>
                  </a:lnTo>
                  <a:lnTo>
                    <a:pt x="0" y="12"/>
                  </a:lnTo>
                  <a:lnTo>
                    <a:pt x="2" y="6"/>
                  </a:lnTo>
                  <a:lnTo>
                    <a:pt x="6"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87" name="Freeform 79">
              <a:extLst>
                <a:ext uri="{FF2B5EF4-FFF2-40B4-BE49-F238E27FC236}">
                  <a16:creationId xmlns:a16="http://schemas.microsoft.com/office/drawing/2014/main" id="{90813E70-9715-4D53-9E87-25A38F2502B5}"/>
                </a:ext>
              </a:extLst>
            </p:cNvPr>
            <p:cNvSpPr>
              <a:spLocks/>
            </p:cNvSpPr>
            <p:nvPr/>
          </p:nvSpPr>
          <p:spPr bwMode="gray">
            <a:xfrm>
              <a:off x="4299370" y="4538651"/>
              <a:ext cx="105669" cy="106229"/>
            </a:xfrm>
            <a:custGeom>
              <a:avLst/>
              <a:gdLst>
                <a:gd name="T0" fmla="*/ 14 w 64"/>
                <a:gd name="T1" fmla="*/ 0 h 64"/>
                <a:gd name="T2" fmla="*/ 22 w 64"/>
                <a:gd name="T3" fmla="*/ 0 h 64"/>
                <a:gd name="T4" fmla="*/ 32 w 64"/>
                <a:gd name="T5" fmla="*/ 2 h 64"/>
                <a:gd name="T6" fmla="*/ 36 w 64"/>
                <a:gd name="T7" fmla="*/ 2 h 64"/>
                <a:gd name="T8" fmla="*/ 42 w 64"/>
                <a:gd name="T9" fmla="*/ 2 h 64"/>
                <a:gd name="T10" fmla="*/ 48 w 64"/>
                <a:gd name="T11" fmla="*/ 2 h 64"/>
                <a:gd name="T12" fmla="*/ 54 w 64"/>
                <a:gd name="T13" fmla="*/ 2 h 64"/>
                <a:gd name="T14" fmla="*/ 60 w 64"/>
                <a:gd name="T15" fmla="*/ 2 h 64"/>
                <a:gd name="T16" fmla="*/ 54 w 64"/>
                <a:gd name="T17" fmla="*/ 14 h 64"/>
                <a:gd name="T18" fmla="*/ 54 w 64"/>
                <a:gd name="T19" fmla="*/ 20 h 64"/>
                <a:gd name="T20" fmla="*/ 58 w 64"/>
                <a:gd name="T21" fmla="*/ 26 h 64"/>
                <a:gd name="T22" fmla="*/ 64 w 64"/>
                <a:gd name="T23" fmla="*/ 30 h 64"/>
                <a:gd name="T24" fmla="*/ 56 w 64"/>
                <a:gd name="T25" fmla="*/ 52 h 64"/>
                <a:gd name="T26" fmla="*/ 56 w 64"/>
                <a:gd name="T27" fmla="*/ 60 h 64"/>
                <a:gd name="T28" fmla="*/ 50 w 64"/>
                <a:gd name="T29" fmla="*/ 58 h 64"/>
                <a:gd name="T30" fmla="*/ 42 w 64"/>
                <a:gd name="T31" fmla="*/ 56 h 64"/>
                <a:gd name="T32" fmla="*/ 36 w 64"/>
                <a:gd name="T33" fmla="*/ 54 h 64"/>
                <a:gd name="T34" fmla="*/ 32 w 64"/>
                <a:gd name="T35" fmla="*/ 54 h 64"/>
                <a:gd name="T36" fmla="*/ 32 w 64"/>
                <a:gd name="T37" fmla="*/ 60 h 64"/>
                <a:gd name="T38" fmla="*/ 30 w 64"/>
                <a:gd name="T39" fmla="*/ 64 h 64"/>
                <a:gd name="T40" fmla="*/ 28 w 64"/>
                <a:gd name="T41" fmla="*/ 64 h 64"/>
                <a:gd name="T42" fmla="*/ 22 w 64"/>
                <a:gd name="T43" fmla="*/ 64 h 64"/>
                <a:gd name="T44" fmla="*/ 18 w 64"/>
                <a:gd name="T45" fmla="*/ 60 h 64"/>
                <a:gd name="T46" fmla="*/ 12 w 64"/>
                <a:gd name="T47" fmla="*/ 46 h 64"/>
                <a:gd name="T48" fmla="*/ 0 w 64"/>
                <a:gd name="T49" fmla="*/ 32 h 64"/>
                <a:gd name="T50" fmla="*/ 2 w 64"/>
                <a:gd name="T51" fmla="*/ 22 h 64"/>
                <a:gd name="T52" fmla="*/ 8 w 64"/>
                <a:gd name="T53" fmla="*/ 14 h 64"/>
                <a:gd name="T54" fmla="*/ 12 w 64"/>
                <a:gd name="T55" fmla="*/ 8 h 64"/>
                <a:gd name="T56" fmla="*/ 14 w 64"/>
                <a:gd name="T5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4" h="64">
                  <a:moveTo>
                    <a:pt x="14" y="0"/>
                  </a:moveTo>
                  <a:lnTo>
                    <a:pt x="22" y="0"/>
                  </a:lnTo>
                  <a:lnTo>
                    <a:pt x="32" y="2"/>
                  </a:lnTo>
                  <a:lnTo>
                    <a:pt x="36" y="2"/>
                  </a:lnTo>
                  <a:lnTo>
                    <a:pt x="42" y="2"/>
                  </a:lnTo>
                  <a:lnTo>
                    <a:pt x="48" y="2"/>
                  </a:lnTo>
                  <a:lnTo>
                    <a:pt x="54" y="2"/>
                  </a:lnTo>
                  <a:lnTo>
                    <a:pt x="60" y="2"/>
                  </a:lnTo>
                  <a:lnTo>
                    <a:pt x="54" y="14"/>
                  </a:lnTo>
                  <a:lnTo>
                    <a:pt x="54" y="20"/>
                  </a:lnTo>
                  <a:lnTo>
                    <a:pt x="58" y="26"/>
                  </a:lnTo>
                  <a:lnTo>
                    <a:pt x="64" y="30"/>
                  </a:lnTo>
                  <a:lnTo>
                    <a:pt x="56" y="52"/>
                  </a:lnTo>
                  <a:lnTo>
                    <a:pt x="56" y="60"/>
                  </a:lnTo>
                  <a:lnTo>
                    <a:pt x="50" y="58"/>
                  </a:lnTo>
                  <a:lnTo>
                    <a:pt x="42" y="56"/>
                  </a:lnTo>
                  <a:lnTo>
                    <a:pt x="36" y="54"/>
                  </a:lnTo>
                  <a:lnTo>
                    <a:pt x="32" y="54"/>
                  </a:lnTo>
                  <a:lnTo>
                    <a:pt x="32" y="60"/>
                  </a:lnTo>
                  <a:lnTo>
                    <a:pt x="30" y="64"/>
                  </a:lnTo>
                  <a:lnTo>
                    <a:pt x="28" y="64"/>
                  </a:lnTo>
                  <a:lnTo>
                    <a:pt x="22" y="64"/>
                  </a:lnTo>
                  <a:lnTo>
                    <a:pt x="18" y="60"/>
                  </a:lnTo>
                  <a:lnTo>
                    <a:pt x="12" y="46"/>
                  </a:lnTo>
                  <a:lnTo>
                    <a:pt x="0" y="32"/>
                  </a:lnTo>
                  <a:lnTo>
                    <a:pt x="2" y="22"/>
                  </a:lnTo>
                  <a:lnTo>
                    <a:pt x="8" y="14"/>
                  </a:lnTo>
                  <a:lnTo>
                    <a:pt x="12" y="8"/>
                  </a:lnTo>
                  <a:lnTo>
                    <a:pt x="14"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88" name="Freeform 80">
              <a:extLst>
                <a:ext uri="{FF2B5EF4-FFF2-40B4-BE49-F238E27FC236}">
                  <a16:creationId xmlns:a16="http://schemas.microsoft.com/office/drawing/2014/main" id="{A0769C81-5AB0-4136-BBBF-7BCF830047CB}"/>
                </a:ext>
              </a:extLst>
            </p:cNvPr>
            <p:cNvSpPr>
              <a:spLocks/>
            </p:cNvSpPr>
            <p:nvPr/>
          </p:nvSpPr>
          <p:spPr bwMode="gray">
            <a:xfrm>
              <a:off x="3688474" y="4694675"/>
              <a:ext cx="326912" cy="484671"/>
            </a:xfrm>
            <a:custGeom>
              <a:avLst/>
              <a:gdLst>
                <a:gd name="T0" fmla="*/ 6 w 198"/>
                <a:gd name="T1" fmla="*/ 60 h 292"/>
                <a:gd name="T2" fmla="*/ 16 w 198"/>
                <a:gd name="T3" fmla="*/ 54 h 292"/>
                <a:gd name="T4" fmla="*/ 24 w 198"/>
                <a:gd name="T5" fmla="*/ 68 h 292"/>
                <a:gd name="T6" fmla="*/ 44 w 198"/>
                <a:gd name="T7" fmla="*/ 70 h 292"/>
                <a:gd name="T8" fmla="*/ 54 w 198"/>
                <a:gd name="T9" fmla="*/ 52 h 292"/>
                <a:gd name="T10" fmla="*/ 72 w 198"/>
                <a:gd name="T11" fmla="*/ 40 h 292"/>
                <a:gd name="T12" fmla="*/ 84 w 198"/>
                <a:gd name="T13" fmla="*/ 34 h 292"/>
                <a:gd name="T14" fmla="*/ 94 w 198"/>
                <a:gd name="T15" fmla="*/ 18 h 292"/>
                <a:gd name="T16" fmla="*/ 104 w 198"/>
                <a:gd name="T17" fmla="*/ 2 h 292"/>
                <a:gd name="T18" fmla="*/ 114 w 198"/>
                <a:gd name="T19" fmla="*/ 14 h 292"/>
                <a:gd name="T20" fmla="*/ 126 w 198"/>
                <a:gd name="T21" fmla="*/ 26 h 292"/>
                <a:gd name="T22" fmla="*/ 172 w 198"/>
                <a:gd name="T23" fmla="*/ 36 h 292"/>
                <a:gd name="T24" fmla="*/ 176 w 198"/>
                <a:gd name="T25" fmla="*/ 48 h 292"/>
                <a:gd name="T26" fmla="*/ 172 w 198"/>
                <a:gd name="T27" fmla="*/ 64 h 292"/>
                <a:gd name="T28" fmla="*/ 172 w 198"/>
                <a:gd name="T29" fmla="*/ 68 h 292"/>
                <a:gd name="T30" fmla="*/ 142 w 198"/>
                <a:gd name="T31" fmla="*/ 76 h 292"/>
                <a:gd name="T32" fmla="*/ 130 w 198"/>
                <a:gd name="T33" fmla="*/ 98 h 292"/>
                <a:gd name="T34" fmla="*/ 116 w 198"/>
                <a:gd name="T35" fmla="*/ 116 h 292"/>
                <a:gd name="T36" fmla="*/ 124 w 198"/>
                <a:gd name="T37" fmla="*/ 138 h 292"/>
                <a:gd name="T38" fmla="*/ 144 w 198"/>
                <a:gd name="T39" fmla="*/ 158 h 292"/>
                <a:gd name="T40" fmla="*/ 162 w 198"/>
                <a:gd name="T41" fmla="*/ 156 h 292"/>
                <a:gd name="T42" fmla="*/ 172 w 198"/>
                <a:gd name="T43" fmla="*/ 154 h 292"/>
                <a:gd name="T44" fmla="*/ 170 w 198"/>
                <a:gd name="T45" fmla="*/ 172 h 292"/>
                <a:gd name="T46" fmla="*/ 188 w 198"/>
                <a:gd name="T47" fmla="*/ 174 h 292"/>
                <a:gd name="T48" fmla="*/ 198 w 198"/>
                <a:gd name="T49" fmla="*/ 208 h 292"/>
                <a:gd name="T50" fmla="*/ 196 w 198"/>
                <a:gd name="T51" fmla="*/ 228 h 292"/>
                <a:gd name="T52" fmla="*/ 190 w 198"/>
                <a:gd name="T53" fmla="*/ 240 h 292"/>
                <a:gd name="T54" fmla="*/ 192 w 198"/>
                <a:gd name="T55" fmla="*/ 256 h 292"/>
                <a:gd name="T56" fmla="*/ 194 w 198"/>
                <a:gd name="T57" fmla="*/ 268 h 292"/>
                <a:gd name="T58" fmla="*/ 184 w 198"/>
                <a:gd name="T59" fmla="*/ 282 h 292"/>
                <a:gd name="T60" fmla="*/ 174 w 198"/>
                <a:gd name="T61" fmla="*/ 292 h 292"/>
                <a:gd name="T62" fmla="*/ 140 w 198"/>
                <a:gd name="T63" fmla="*/ 268 h 292"/>
                <a:gd name="T64" fmla="*/ 100 w 198"/>
                <a:gd name="T65" fmla="*/ 248 h 292"/>
                <a:gd name="T66" fmla="*/ 76 w 198"/>
                <a:gd name="T67" fmla="*/ 222 h 292"/>
                <a:gd name="T68" fmla="*/ 72 w 198"/>
                <a:gd name="T69" fmla="*/ 198 h 292"/>
                <a:gd name="T70" fmla="*/ 56 w 198"/>
                <a:gd name="T71" fmla="*/ 172 h 292"/>
                <a:gd name="T72" fmla="*/ 36 w 198"/>
                <a:gd name="T73" fmla="*/ 132 h 292"/>
                <a:gd name="T74" fmla="*/ 16 w 198"/>
                <a:gd name="T75" fmla="*/ 102 h 292"/>
                <a:gd name="T76" fmla="*/ 6 w 198"/>
                <a:gd name="T77" fmla="*/ 84 h 292"/>
                <a:gd name="T78" fmla="*/ 2 w 198"/>
                <a:gd name="T79" fmla="*/ 68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98" h="292">
                  <a:moveTo>
                    <a:pt x="2" y="68"/>
                  </a:moveTo>
                  <a:lnTo>
                    <a:pt x="6" y="60"/>
                  </a:lnTo>
                  <a:lnTo>
                    <a:pt x="10" y="54"/>
                  </a:lnTo>
                  <a:lnTo>
                    <a:pt x="16" y="54"/>
                  </a:lnTo>
                  <a:lnTo>
                    <a:pt x="16" y="66"/>
                  </a:lnTo>
                  <a:lnTo>
                    <a:pt x="24" y="68"/>
                  </a:lnTo>
                  <a:lnTo>
                    <a:pt x="34" y="78"/>
                  </a:lnTo>
                  <a:lnTo>
                    <a:pt x="44" y="70"/>
                  </a:lnTo>
                  <a:lnTo>
                    <a:pt x="48" y="60"/>
                  </a:lnTo>
                  <a:lnTo>
                    <a:pt x="54" y="52"/>
                  </a:lnTo>
                  <a:lnTo>
                    <a:pt x="60" y="46"/>
                  </a:lnTo>
                  <a:lnTo>
                    <a:pt x="72" y="40"/>
                  </a:lnTo>
                  <a:lnTo>
                    <a:pt x="80" y="36"/>
                  </a:lnTo>
                  <a:lnTo>
                    <a:pt x="84" y="34"/>
                  </a:lnTo>
                  <a:lnTo>
                    <a:pt x="90" y="26"/>
                  </a:lnTo>
                  <a:lnTo>
                    <a:pt x="94" y="18"/>
                  </a:lnTo>
                  <a:lnTo>
                    <a:pt x="96" y="0"/>
                  </a:lnTo>
                  <a:lnTo>
                    <a:pt x="104" y="2"/>
                  </a:lnTo>
                  <a:lnTo>
                    <a:pt x="110" y="10"/>
                  </a:lnTo>
                  <a:lnTo>
                    <a:pt x="114" y="14"/>
                  </a:lnTo>
                  <a:lnTo>
                    <a:pt x="120" y="20"/>
                  </a:lnTo>
                  <a:lnTo>
                    <a:pt x="126" y="26"/>
                  </a:lnTo>
                  <a:lnTo>
                    <a:pt x="130" y="34"/>
                  </a:lnTo>
                  <a:lnTo>
                    <a:pt x="172" y="36"/>
                  </a:lnTo>
                  <a:lnTo>
                    <a:pt x="174" y="42"/>
                  </a:lnTo>
                  <a:lnTo>
                    <a:pt x="176" y="48"/>
                  </a:lnTo>
                  <a:lnTo>
                    <a:pt x="172" y="54"/>
                  </a:lnTo>
                  <a:lnTo>
                    <a:pt x="172" y="64"/>
                  </a:lnTo>
                  <a:lnTo>
                    <a:pt x="178" y="68"/>
                  </a:lnTo>
                  <a:lnTo>
                    <a:pt x="172" y="68"/>
                  </a:lnTo>
                  <a:lnTo>
                    <a:pt x="156" y="70"/>
                  </a:lnTo>
                  <a:lnTo>
                    <a:pt x="142" y="76"/>
                  </a:lnTo>
                  <a:lnTo>
                    <a:pt x="132" y="88"/>
                  </a:lnTo>
                  <a:lnTo>
                    <a:pt x="130" y="98"/>
                  </a:lnTo>
                  <a:lnTo>
                    <a:pt x="124" y="104"/>
                  </a:lnTo>
                  <a:lnTo>
                    <a:pt x="116" y="116"/>
                  </a:lnTo>
                  <a:lnTo>
                    <a:pt x="120" y="126"/>
                  </a:lnTo>
                  <a:lnTo>
                    <a:pt x="124" y="138"/>
                  </a:lnTo>
                  <a:lnTo>
                    <a:pt x="134" y="148"/>
                  </a:lnTo>
                  <a:lnTo>
                    <a:pt x="144" y="158"/>
                  </a:lnTo>
                  <a:lnTo>
                    <a:pt x="152" y="160"/>
                  </a:lnTo>
                  <a:lnTo>
                    <a:pt x="162" y="156"/>
                  </a:lnTo>
                  <a:lnTo>
                    <a:pt x="170" y="148"/>
                  </a:lnTo>
                  <a:lnTo>
                    <a:pt x="172" y="154"/>
                  </a:lnTo>
                  <a:lnTo>
                    <a:pt x="168" y="166"/>
                  </a:lnTo>
                  <a:lnTo>
                    <a:pt x="170" y="172"/>
                  </a:lnTo>
                  <a:lnTo>
                    <a:pt x="176" y="172"/>
                  </a:lnTo>
                  <a:lnTo>
                    <a:pt x="188" y="174"/>
                  </a:lnTo>
                  <a:lnTo>
                    <a:pt x="198" y="200"/>
                  </a:lnTo>
                  <a:lnTo>
                    <a:pt x="198" y="208"/>
                  </a:lnTo>
                  <a:lnTo>
                    <a:pt x="196" y="222"/>
                  </a:lnTo>
                  <a:lnTo>
                    <a:pt x="196" y="228"/>
                  </a:lnTo>
                  <a:lnTo>
                    <a:pt x="194" y="230"/>
                  </a:lnTo>
                  <a:lnTo>
                    <a:pt x="190" y="240"/>
                  </a:lnTo>
                  <a:lnTo>
                    <a:pt x="188" y="250"/>
                  </a:lnTo>
                  <a:lnTo>
                    <a:pt x="192" y="256"/>
                  </a:lnTo>
                  <a:lnTo>
                    <a:pt x="198" y="262"/>
                  </a:lnTo>
                  <a:lnTo>
                    <a:pt x="194" y="268"/>
                  </a:lnTo>
                  <a:lnTo>
                    <a:pt x="186" y="276"/>
                  </a:lnTo>
                  <a:lnTo>
                    <a:pt x="184" y="282"/>
                  </a:lnTo>
                  <a:lnTo>
                    <a:pt x="180" y="290"/>
                  </a:lnTo>
                  <a:lnTo>
                    <a:pt x="174" y="292"/>
                  </a:lnTo>
                  <a:lnTo>
                    <a:pt x="158" y="278"/>
                  </a:lnTo>
                  <a:lnTo>
                    <a:pt x="140" y="268"/>
                  </a:lnTo>
                  <a:lnTo>
                    <a:pt x="118" y="258"/>
                  </a:lnTo>
                  <a:lnTo>
                    <a:pt x="100" y="248"/>
                  </a:lnTo>
                  <a:lnTo>
                    <a:pt x="90" y="236"/>
                  </a:lnTo>
                  <a:lnTo>
                    <a:pt x="76" y="222"/>
                  </a:lnTo>
                  <a:lnTo>
                    <a:pt x="82" y="214"/>
                  </a:lnTo>
                  <a:lnTo>
                    <a:pt x="72" y="198"/>
                  </a:lnTo>
                  <a:lnTo>
                    <a:pt x="64" y="186"/>
                  </a:lnTo>
                  <a:lnTo>
                    <a:pt x="56" y="172"/>
                  </a:lnTo>
                  <a:lnTo>
                    <a:pt x="48" y="152"/>
                  </a:lnTo>
                  <a:lnTo>
                    <a:pt x="36" y="132"/>
                  </a:lnTo>
                  <a:lnTo>
                    <a:pt x="26" y="112"/>
                  </a:lnTo>
                  <a:lnTo>
                    <a:pt x="16" y="102"/>
                  </a:lnTo>
                  <a:lnTo>
                    <a:pt x="4" y="96"/>
                  </a:lnTo>
                  <a:lnTo>
                    <a:pt x="6" y="84"/>
                  </a:lnTo>
                  <a:lnTo>
                    <a:pt x="0" y="78"/>
                  </a:lnTo>
                  <a:lnTo>
                    <a:pt x="2" y="6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89" name="Freeform 81">
              <a:extLst>
                <a:ext uri="{FF2B5EF4-FFF2-40B4-BE49-F238E27FC236}">
                  <a16:creationId xmlns:a16="http://schemas.microsoft.com/office/drawing/2014/main" id="{3CF5A303-F27C-4ABB-9B90-7FD8D00324B7}"/>
                </a:ext>
              </a:extLst>
            </p:cNvPr>
            <p:cNvSpPr>
              <a:spLocks/>
            </p:cNvSpPr>
            <p:nvPr/>
          </p:nvSpPr>
          <p:spPr bwMode="gray">
            <a:xfrm>
              <a:off x="3998875" y="4953608"/>
              <a:ext cx="310401" cy="355203"/>
            </a:xfrm>
            <a:custGeom>
              <a:avLst/>
              <a:gdLst>
                <a:gd name="T0" fmla="*/ 54 w 188"/>
                <a:gd name="T1" fmla="*/ 0 h 214"/>
                <a:gd name="T2" fmla="*/ 68 w 188"/>
                <a:gd name="T3" fmla="*/ 28 h 214"/>
                <a:gd name="T4" fmla="*/ 100 w 188"/>
                <a:gd name="T5" fmla="*/ 44 h 214"/>
                <a:gd name="T6" fmla="*/ 122 w 188"/>
                <a:gd name="T7" fmla="*/ 56 h 214"/>
                <a:gd name="T8" fmla="*/ 146 w 188"/>
                <a:gd name="T9" fmla="*/ 74 h 214"/>
                <a:gd name="T10" fmla="*/ 146 w 188"/>
                <a:gd name="T11" fmla="*/ 90 h 214"/>
                <a:gd name="T12" fmla="*/ 160 w 188"/>
                <a:gd name="T13" fmla="*/ 102 h 214"/>
                <a:gd name="T14" fmla="*/ 174 w 188"/>
                <a:gd name="T15" fmla="*/ 110 h 214"/>
                <a:gd name="T16" fmla="*/ 186 w 188"/>
                <a:gd name="T17" fmla="*/ 126 h 214"/>
                <a:gd name="T18" fmla="*/ 188 w 188"/>
                <a:gd name="T19" fmla="*/ 142 h 214"/>
                <a:gd name="T20" fmla="*/ 184 w 188"/>
                <a:gd name="T21" fmla="*/ 162 h 214"/>
                <a:gd name="T22" fmla="*/ 174 w 188"/>
                <a:gd name="T23" fmla="*/ 160 h 214"/>
                <a:gd name="T24" fmla="*/ 152 w 188"/>
                <a:gd name="T25" fmla="*/ 152 h 214"/>
                <a:gd name="T26" fmla="*/ 126 w 188"/>
                <a:gd name="T27" fmla="*/ 158 h 214"/>
                <a:gd name="T28" fmla="*/ 114 w 188"/>
                <a:gd name="T29" fmla="*/ 174 h 214"/>
                <a:gd name="T30" fmla="*/ 112 w 188"/>
                <a:gd name="T31" fmla="*/ 194 h 214"/>
                <a:gd name="T32" fmla="*/ 90 w 188"/>
                <a:gd name="T33" fmla="*/ 198 h 214"/>
                <a:gd name="T34" fmla="*/ 74 w 188"/>
                <a:gd name="T35" fmla="*/ 200 h 214"/>
                <a:gd name="T36" fmla="*/ 52 w 188"/>
                <a:gd name="T37" fmla="*/ 196 h 214"/>
                <a:gd name="T38" fmla="*/ 40 w 188"/>
                <a:gd name="T39" fmla="*/ 210 h 214"/>
                <a:gd name="T40" fmla="*/ 32 w 188"/>
                <a:gd name="T41" fmla="*/ 214 h 214"/>
                <a:gd name="T42" fmla="*/ 28 w 188"/>
                <a:gd name="T43" fmla="*/ 214 h 214"/>
                <a:gd name="T44" fmla="*/ 22 w 188"/>
                <a:gd name="T45" fmla="*/ 186 h 214"/>
                <a:gd name="T46" fmla="*/ 14 w 188"/>
                <a:gd name="T47" fmla="*/ 156 h 214"/>
                <a:gd name="T48" fmla="*/ 2 w 188"/>
                <a:gd name="T49" fmla="*/ 126 h 214"/>
                <a:gd name="T50" fmla="*/ 6 w 188"/>
                <a:gd name="T51" fmla="*/ 112 h 214"/>
                <a:gd name="T52" fmla="*/ 4 w 188"/>
                <a:gd name="T53" fmla="*/ 100 h 214"/>
                <a:gd name="T54" fmla="*/ 2 w 188"/>
                <a:gd name="T55" fmla="*/ 84 h 214"/>
                <a:gd name="T56" fmla="*/ 8 w 188"/>
                <a:gd name="T57" fmla="*/ 72 h 214"/>
                <a:gd name="T58" fmla="*/ 10 w 188"/>
                <a:gd name="T59" fmla="*/ 44 h 214"/>
                <a:gd name="T60" fmla="*/ 10 w 188"/>
                <a:gd name="T61" fmla="*/ 18 h 214"/>
                <a:gd name="T62" fmla="*/ 34 w 188"/>
                <a:gd name="T63" fmla="*/ 10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8" h="214">
                  <a:moveTo>
                    <a:pt x="42" y="4"/>
                  </a:moveTo>
                  <a:lnTo>
                    <a:pt x="54" y="0"/>
                  </a:lnTo>
                  <a:lnTo>
                    <a:pt x="66" y="0"/>
                  </a:lnTo>
                  <a:lnTo>
                    <a:pt x="68" y="28"/>
                  </a:lnTo>
                  <a:lnTo>
                    <a:pt x="80" y="40"/>
                  </a:lnTo>
                  <a:lnTo>
                    <a:pt x="100" y="44"/>
                  </a:lnTo>
                  <a:lnTo>
                    <a:pt x="104" y="50"/>
                  </a:lnTo>
                  <a:lnTo>
                    <a:pt x="122" y="56"/>
                  </a:lnTo>
                  <a:lnTo>
                    <a:pt x="142" y="62"/>
                  </a:lnTo>
                  <a:lnTo>
                    <a:pt x="146" y="74"/>
                  </a:lnTo>
                  <a:lnTo>
                    <a:pt x="148" y="82"/>
                  </a:lnTo>
                  <a:lnTo>
                    <a:pt x="146" y="90"/>
                  </a:lnTo>
                  <a:lnTo>
                    <a:pt x="148" y="102"/>
                  </a:lnTo>
                  <a:lnTo>
                    <a:pt x="160" y="102"/>
                  </a:lnTo>
                  <a:lnTo>
                    <a:pt x="176" y="102"/>
                  </a:lnTo>
                  <a:lnTo>
                    <a:pt x="174" y="110"/>
                  </a:lnTo>
                  <a:lnTo>
                    <a:pt x="176" y="122"/>
                  </a:lnTo>
                  <a:lnTo>
                    <a:pt x="186" y="126"/>
                  </a:lnTo>
                  <a:lnTo>
                    <a:pt x="188" y="136"/>
                  </a:lnTo>
                  <a:lnTo>
                    <a:pt x="188" y="142"/>
                  </a:lnTo>
                  <a:lnTo>
                    <a:pt x="180" y="156"/>
                  </a:lnTo>
                  <a:lnTo>
                    <a:pt x="184" y="162"/>
                  </a:lnTo>
                  <a:lnTo>
                    <a:pt x="180" y="166"/>
                  </a:lnTo>
                  <a:lnTo>
                    <a:pt x="174" y="160"/>
                  </a:lnTo>
                  <a:lnTo>
                    <a:pt x="164" y="154"/>
                  </a:lnTo>
                  <a:lnTo>
                    <a:pt x="152" y="152"/>
                  </a:lnTo>
                  <a:lnTo>
                    <a:pt x="136" y="154"/>
                  </a:lnTo>
                  <a:lnTo>
                    <a:pt x="126" y="158"/>
                  </a:lnTo>
                  <a:lnTo>
                    <a:pt x="120" y="160"/>
                  </a:lnTo>
                  <a:lnTo>
                    <a:pt x="114" y="174"/>
                  </a:lnTo>
                  <a:lnTo>
                    <a:pt x="114" y="184"/>
                  </a:lnTo>
                  <a:lnTo>
                    <a:pt x="112" y="194"/>
                  </a:lnTo>
                  <a:lnTo>
                    <a:pt x="108" y="198"/>
                  </a:lnTo>
                  <a:lnTo>
                    <a:pt x="90" y="198"/>
                  </a:lnTo>
                  <a:lnTo>
                    <a:pt x="84" y="212"/>
                  </a:lnTo>
                  <a:lnTo>
                    <a:pt x="74" y="200"/>
                  </a:lnTo>
                  <a:lnTo>
                    <a:pt x="60" y="202"/>
                  </a:lnTo>
                  <a:lnTo>
                    <a:pt x="52" y="196"/>
                  </a:lnTo>
                  <a:lnTo>
                    <a:pt x="44" y="202"/>
                  </a:lnTo>
                  <a:lnTo>
                    <a:pt x="40" y="210"/>
                  </a:lnTo>
                  <a:lnTo>
                    <a:pt x="38" y="214"/>
                  </a:lnTo>
                  <a:lnTo>
                    <a:pt x="32" y="214"/>
                  </a:lnTo>
                  <a:lnTo>
                    <a:pt x="30" y="214"/>
                  </a:lnTo>
                  <a:lnTo>
                    <a:pt x="28" y="214"/>
                  </a:lnTo>
                  <a:lnTo>
                    <a:pt x="26" y="200"/>
                  </a:lnTo>
                  <a:lnTo>
                    <a:pt x="22" y="186"/>
                  </a:lnTo>
                  <a:lnTo>
                    <a:pt x="14" y="174"/>
                  </a:lnTo>
                  <a:lnTo>
                    <a:pt x="14" y="156"/>
                  </a:lnTo>
                  <a:lnTo>
                    <a:pt x="8" y="144"/>
                  </a:lnTo>
                  <a:lnTo>
                    <a:pt x="2" y="126"/>
                  </a:lnTo>
                  <a:lnTo>
                    <a:pt x="0" y="118"/>
                  </a:lnTo>
                  <a:lnTo>
                    <a:pt x="6" y="112"/>
                  </a:lnTo>
                  <a:lnTo>
                    <a:pt x="10" y="106"/>
                  </a:lnTo>
                  <a:lnTo>
                    <a:pt x="4" y="100"/>
                  </a:lnTo>
                  <a:lnTo>
                    <a:pt x="0" y="94"/>
                  </a:lnTo>
                  <a:lnTo>
                    <a:pt x="2" y="84"/>
                  </a:lnTo>
                  <a:lnTo>
                    <a:pt x="6" y="74"/>
                  </a:lnTo>
                  <a:lnTo>
                    <a:pt x="8" y="72"/>
                  </a:lnTo>
                  <a:lnTo>
                    <a:pt x="8" y="66"/>
                  </a:lnTo>
                  <a:lnTo>
                    <a:pt x="10" y="44"/>
                  </a:lnTo>
                  <a:lnTo>
                    <a:pt x="0" y="18"/>
                  </a:lnTo>
                  <a:lnTo>
                    <a:pt x="10" y="18"/>
                  </a:lnTo>
                  <a:lnTo>
                    <a:pt x="20" y="16"/>
                  </a:lnTo>
                  <a:lnTo>
                    <a:pt x="34" y="10"/>
                  </a:lnTo>
                  <a:lnTo>
                    <a:pt x="42" y="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90" name="Freeform 82">
              <a:extLst>
                <a:ext uri="{FF2B5EF4-FFF2-40B4-BE49-F238E27FC236}">
                  <a16:creationId xmlns:a16="http://schemas.microsoft.com/office/drawing/2014/main" id="{264214CA-69A8-45AF-88D8-F196959928A5}"/>
                </a:ext>
              </a:extLst>
            </p:cNvPr>
            <p:cNvSpPr>
              <a:spLocks/>
            </p:cNvSpPr>
            <p:nvPr/>
          </p:nvSpPr>
          <p:spPr bwMode="gray">
            <a:xfrm>
              <a:off x="4177191" y="5205902"/>
              <a:ext cx="221243" cy="232376"/>
            </a:xfrm>
            <a:custGeom>
              <a:avLst/>
              <a:gdLst>
                <a:gd name="T0" fmla="*/ 108 w 134"/>
                <a:gd name="T1" fmla="*/ 136 h 140"/>
                <a:gd name="T2" fmla="*/ 94 w 134"/>
                <a:gd name="T3" fmla="*/ 140 h 140"/>
                <a:gd name="T4" fmla="*/ 72 w 134"/>
                <a:gd name="T5" fmla="*/ 140 h 140"/>
                <a:gd name="T6" fmla="*/ 66 w 134"/>
                <a:gd name="T7" fmla="*/ 132 h 140"/>
                <a:gd name="T8" fmla="*/ 72 w 134"/>
                <a:gd name="T9" fmla="*/ 118 h 140"/>
                <a:gd name="T10" fmla="*/ 80 w 134"/>
                <a:gd name="T11" fmla="*/ 106 h 140"/>
                <a:gd name="T12" fmla="*/ 74 w 134"/>
                <a:gd name="T13" fmla="*/ 98 h 140"/>
                <a:gd name="T14" fmla="*/ 54 w 134"/>
                <a:gd name="T15" fmla="*/ 90 h 140"/>
                <a:gd name="T16" fmla="*/ 38 w 134"/>
                <a:gd name="T17" fmla="*/ 78 h 140"/>
                <a:gd name="T18" fmla="*/ 30 w 134"/>
                <a:gd name="T19" fmla="*/ 78 h 140"/>
                <a:gd name="T20" fmla="*/ 20 w 134"/>
                <a:gd name="T21" fmla="*/ 72 h 140"/>
                <a:gd name="T22" fmla="*/ 8 w 134"/>
                <a:gd name="T23" fmla="*/ 60 h 140"/>
                <a:gd name="T24" fmla="*/ 2 w 134"/>
                <a:gd name="T25" fmla="*/ 52 h 140"/>
                <a:gd name="T26" fmla="*/ 0 w 134"/>
                <a:gd name="T27" fmla="*/ 46 h 140"/>
                <a:gd name="T28" fmla="*/ 4 w 134"/>
                <a:gd name="T29" fmla="*/ 42 h 140"/>
                <a:gd name="T30" fmla="*/ 6 w 134"/>
                <a:gd name="T31" fmla="*/ 32 h 140"/>
                <a:gd name="T32" fmla="*/ 6 w 134"/>
                <a:gd name="T33" fmla="*/ 22 h 140"/>
                <a:gd name="T34" fmla="*/ 12 w 134"/>
                <a:gd name="T35" fmla="*/ 8 h 140"/>
                <a:gd name="T36" fmla="*/ 28 w 134"/>
                <a:gd name="T37" fmla="*/ 2 h 140"/>
                <a:gd name="T38" fmla="*/ 44 w 134"/>
                <a:gd name="T39" fmla="*/ 0 h 140"/>
                <a:gd name="T40" fmla="*/ 56 w 134"/>
                <a:gd name="T41" fmla="*/ 2 h 140"/>
                <a:gd name="T42" fmla="*/ 66 w 134"/>
                <a:gd name="T43" fmla="*/ 8 h 140"/>
                <a:gd name="T44" fmla="*/ 72 w 134"/>
                <a:gd name="T45" fmla="*/ 14 h 140"/>
                <a:gd name="T46" fmla="*/ 76 w 134"/>
                <a:gd name="T47" fmla="*/ 22 h 140"/>
                <a:gd name="T48" fmla="*/ 76 w 134"/>
                <a:gd name="T49" fmla="*/ 34 h 140"/>
                <a:gd name="T50" fmla="*/ 76 w 134"/>
                <a:gd name="T51" fmla="*/ 50 h 140"/>
                <a:gd name="T52" fmla="*/ 86 w 134"/>
                <a:gd name="T53" fmla="*/ 50 h 140"/>
                <a:gd name="T54" fmla="*/ 94 w 134"/>
                <a:gd name="T55" fmla="*/ 48 h 140"/>
                <a:gd name="T56" fmla="*/ 104 w 134"/>
                <a:gd name="T57" fmla="*/ 50 h 140"/>
                <a:gd name="T58" fmla="*/ 110 w 134"/>
                <a:gd name="T59" fmla="*/ 54 h 140"/>
                <a:gd name="T60" fmla="*/ 108 w 134"/>
                <a:gd name="T61" fmla="*/ 64 h 140"/>
                <a:gd name="T62" fmla="*/ 112 w 134"/>
                <a:gd name="T63" fmla="*/ 74 h 140"/>
                <a:gd name="T64" fmla="*/ 120 w 134"/>
                <a:gd name="T65" fmla="*/ 82 h 140"/>
                <a:gd name="T66" fmla="*/ 128 w 134"/>
                <a:gd name="T67" fmla="*/ 80 h 140"/>
                <a:gd name="T68" fmla="*/ 134 w 134"/>
                <a:gd name="T69" fmla="*/ 82 h 140"/>
                <a:gd name="T70" fmla="*/ 132 w 134"/>
                <a:gd name="T71" fmla="*/ 90 h 140"/>
                <a:gd name="T72" fmla="*/ 128 w 134"/>
                <a:gd name="T73" fmla="*/ 100 h 140"/>
                <a:gd name="T74" fmla="*/ 128 w 134"/>
                <a:gd name="T75" fmla="*/ 114 h 140"/>
                <a:gd name="T76" fmla="*/ 126 w 134"/>
                <a:gd name="T77" fmla="*/ 120 h 140"/>
                <a:gd name="T78" fmla="*/ 122 w 134"/>
                <a:gd name="T79" fmla="*/ 128 h 140"/>
                <a:gd name="T80" fmla="*/ 112 w 134"/>
                <a:gd name="T81" fmla="*/ 134 h 140"/>
                <a:gd name="T82" fmla="*/ 108 w 134"/>
                <a:gd name="T83" fmla="*/ 13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4" h="140">
                  <a:moveTo>
                    <a:pt x="108" y="136"/>
                  </a:moveTo>
                  <a:lnTo>
                    <a:pt x="94" y="140"/>
                  </a:lnTo>
                  <a:lnTo>
                    <a:pt x="72" y="140"/>
                  </a:lnTo>
                  <a:lnTo>
                    <a:pt x="66" y="132"/>
                  </a:lnTo>
                  <a:lnTo>
                    <a:pt x="72" y="118"/>
                  </a:lnTo>
                  <a:lnTo>
                    <a:pt x="80" y="106"/>
                  </a:lnTo>
                  <a:lnTo>
                    <a:pt x="74" y="98"/>
                  </a:lnTo>
                  <a:lnTo>
                    <a:pt x="54" y="90"/>
                  </a:lnTo>
                  <a:lnTo>
                    <a:pt x="38" y="78"/>
                  </a:lnTo>
                  <a:lnTo>
                    <a:pt x="30" y="78"/>
                  </a:lnTo>
                  <a:lnTo>
                    <a:pt x="20" y="72"/>
                  </a:lnTo>
                  <a:lnTo>
                    <a:pt x="8" y="60"/>
                  </a:lnTo>
                  <a:lnTo>
                    <a:pt x="2" y="52"/>
                  </a:lnTo>
                  <a:lnTo>
                    <a:pt x="0" y="46"/>
                  </a:lnTo>
                  <a:lnTo>
                    <a:pt x="4" y="42"/>
                  </a:lnTo>
                  <a:lnTo>
                    <a:pt x="6" y="32"/>
                  </a:lnTo>
                  <a:lnTo>
                    <a:pt x="6" y="22"/>
                  </a:lnTo>
                  <a:lnTo>
                    <a:pt x="12" y="8"/>
                  </a:lnTo>
                  <a:lnTo>
                    <a:pt x="28" y="2"/>
                  </a:lnTo>
                  <a:lnTo>
                    <a:pt x="44" y="0"/>
                  </a:lnTo>
                  <a:lnTo>
                    <a:pt x="56" y="2"/>
                  </a:lnTo>
                  <a:lnTo>
                    <a:pt x="66" y="8"/>
                  </a:lnTo>
                  <a:lnTo>
                    <a:pt x="72" y="14"/>
                  </a:lnTo>
                  <a:lnTo>
                    <a:pt x="76" y="22"/>
                  </a:lnTo>
                  <a:lnTo>
                    <a:pt x="76" y="34"/>
                  </a:lnTo>
                  <a:lnTo>
                    <a:pt x="76" y="50"/>
                  </a:lnTo>
                  <a:lnTo>
                    <a:pt x="86" y="50"/>
                  </a:lnTo>
                  <a:lnTo>
                    <a:pt x="94" y="48"/>
                  </a:lnTo>
                  <a:lnTo>
                    <a:pt x="104" y="50"/>
                  </a:lnTo>
                  <a:lnTo>
                    <a:pt x="110" y="54"/>
                  </a:lnTo>
                  <a:lnTo>
                    <a:pt x="108" y="64"/>
                  </a:lnTo>
                  <a:lnTo>
                    <a:pt x="112" y="74"/>
                  </a:lnTo>
                  <a:lnTo>
                    <a:pt x="120" y="82"/>
                  </a:lnTo>
                  <a:lnTo>
                    <a:pt x="128" y="80"/>
                  </a:lnTo>
                  <a:lnTo>
                    <a:pt x="134" y="82"/>
                  </a:lnTo>
                  <a:lnTo>
                    <a:pt x="132" y="90"/>
                  </a:lnTo>
                  <a:lnTo>
                    <a:pt x="128" y="100"/>
                  </a:lnTo>
                  <a:lnTo>
                    <a:pt x="128" y="114"/>
                  </a:lnTo>
                  <a:lnTo>
                    <a:pt x="126" y="120"/>
                  </a:lnTo>
                  <a:lnTo>
                    <a:pt x="122" y="128"/>
                  </a:lnTo>
                  <a:lnTo>
                    <a:pt x="112" y="134"/>
                  </a:lnTo>
                  <a:lnTo>
                    <a:pt x="108" y="13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91" name="Freeform 83">
              <a:extLst>
                <a:ext uri="{FF2B5EF4-FFF2-40B4-BE49-F238E27FC236}">
                  <a16:creationId xmlns:a16="http://schemas.microsoft.com/office/drawing/2014/main" id="{599BC40F-3A28-4E2F-A174-FBD5DC7BB48B}"/>
                </a:ext>
              </a:extLst>
            </p:cNvPr>
            <p:cNvSpPr>
              <a:spLocks/>
            </p:cNvSpPr>
            <p:nvPr/>
          </p:nvSpPr>
          <p:spPr bwMode="gray">
            <a:xfrm>
              <a:off x="4289464" y="5504672"/>
              <a:ext cx="138690" cy="149384"/>
            </a:xfrm>
            <a:custGeom>
              <a:avLst/>
              <a:gdLst>
                <a:gd name="T0" fmla="*/ 20 w 84"/>
                <a:gd name="T1" fmla="*/ 0 h 90"/>
                <a:gd name="T2" fmla="*/ 30 w 84"/>
                <a:gd name="T3" fmla="*/ 8 h 90"/>
                <a:gd name="T4" fmla="*/ 38 w 84"/>
                <a:gd name="T5" fmla="*/ 18 h 90"/>
                <a:gd name="T6" fmla="*/ 46 w 84"/>
                <a:gd name="T7" fmla="*/ 20 h 90"/>
                <a:gd name="T8" fmla="*/ 60 w 84"/>
                <a:gd name="T9" fmla="*/ 28 h 90"/>
                <a:gd name="T10" fmla="*/ 72 w 84"/>
                <a:gd name="T11" fmla="*/ 38 h 90"/>
                <a:gd name="T12" fmla="*/ 78 w 84"/>
                <a:gd name="T13" fmla="*/ 44 h 90"/>
                <a:gd name="T14" fmla="*/ 82 w 84"/>
                <a:gd name="T15" fmla="*/ 50 h 90"/>
                <a:gd name="T16" fmla="*/ 80 w 84"/>
                <a:gd name="T17" fmla="*/ 56 h 90"/>
                <a:gd name="T18" fmla="*/ 80 w 84"/>
                <a:gd name="T19" fmla="*/ 62 h 90"/>
                <a:gd name="T20" fmla="*/ 84 w 84"/>
                <a:gd name="T21" fmla="*/ 66 h 90"/>
                <a:gd name="T22" fmla="*/ 80 w 84"/>
                <a:gd name="T23" fmla="*/ 70 h 90"/>
                <a:gd name="T24" fmla="*/ 72 w 84"/>
                <a:gd name="T25" fmla="*/ 80 h 90"/>
                <a:gd name="T26" fmla="*/ 66 w 84"/>
                <a:gd name="T27" fmla="*/ 86 h 90"/>
                <a:gd name="T28" fmla="*/ 62 w 84"/>
                <a:gd name="T29" fmla="*/ 88 h 90"/>
                <a:gd name="T30" fmla="*/ 60 w 84"/>
                <a:gd name="T31" fmla="*/ 90 h 90"/>
                <a:gd name="T32" fmla="*/ 42 w 84"/>
                <a:gd name="T33" fmla="*/ 88 h 90"/>
                <a:gd name="T34" fmla="*/ 28 w 84"/>
                <a:gd name="T35" fmla="*/ 86 h 90"/>
                <a:gd name="T36" fmla="*/ 18 w 84"/>
                <a:gd name="T37" fmla="*/ 82 h 90"/>
                <a:gd name="T38" fmla="*/ 6 w 84"/>
                <a:gd name="T39" fmla="*/ 80 h 90"/>
                <a:gd name="T40" fmla="*/ 0 w 84"/>
                <a:gd name="T41" fmla="*/ 76 h 90"/>
                <a:gd name="T42" fmla="*/ 0 w 84"/>
                <a:gd name="T43" fmla="*/ 60 h 90"/>
                <a:gd name="T44" fmla="*/ 4 w 84"/>
                <a:gd name="T45" fmla="*/ 40 h 90"/>
                <a:gd name="T46" fmla="*/ 6 w 84"/>
                <a:gd name="T47" fmla="*/ 24 h 90"/>
                <a:gd name="T48" fmla="*/ 10 w 84"/>
                <a:gd name="T49" fmla="*/ 8 h 90"/>
                <a:gd name="T50" fmla="*/ 12 w 84"/>
                <a:gd name="T51" fmla="*/ 2 h 90"/>
                <a:gd name="T52" fmla="*/ 20 w 84"/>
                <a:gd name="T53"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4" h="90">
                  <a:moveTo>
                    <a:pt x="20" y="0"/>
                  </a:moveTo>
                  <a:lnTo>
                    <a:pt x="30" y="8"/>
                  </a:lnTo>
                  <a:lnTo>
                    <a:pt x="38" y="18"/>
                  </a:lnTo>
                  <a:lnTo>
                    <a:pt x="46" y="20"/>
                  </a:lnTo>
                  <a:lnTo>
                    <a:pt x="60" y="28"/>
                  </a:lnTo>
                  <a:lnTo>
                    <a:pt x="72" y="38"/>
                  </a:lnTo>
                  <a:lnTo>
                    <a:pt x="78" y="44"/>
                  </a:lnTo>
                  <a:lnTo>
                    <a:pt x="82" y="50"/>
                  </a:lnTo>
                  <a:lnTo>
                    <a:pt x="80" y="56"/>
                  </a:lnTo>
                  <a:lnTo>
                    <a:pt x="80" y="62"/>
                  </a:lnTo>
                  <a:lnTo>
                    <a:pt x="84" y="66"/>
                  </a:lnTo>
                  <a:lnTo>
                    <a:pt x="80" y="70"/>
                  </a:lnTo>
                  <a:lnTo>
                    <a:pt x="72" y="80"/>
                  </a:lnTo>
                  <a:lnTo>
                    <a:pt x="66" y="86"/>
                  </a:lnTo>
                  <a:lnTo>
                    <a:pt x="62" y="88"/>
                  </a:lnTo>
                  <a:lnTo>
                    <a:pt x="60" y="90"/>
                  </a:lnTo>
                  <a:lnTo>
                    <a:pt x="42" y="88"/>
                  </a:lnTo>
                  <a:lnTo>
                    <a:pt x="28" y="86"/>
                  </a:lnTo>
                  <a:lnTo>
                    <a:pt x="18" y="82"/>
                  </a:lnTo>
                  <a:lnTo>
                    <a:pt x="6" y="80"/>
                  </a:lnTo>
                  <a:lnTo>
                    <a:pt x="0" y="76"/>
                  </a:lnTo>
                  <a:lnTo>
                    <a:pt x="0" y="60"/>
                  </a:lnTo>
                  <a:lnTo>
                    <a:pt x="4" y="40"/>
                  </a:lnTo>
                  <a:lnTo>
                    <a:pt x="6" y="24"/>
                  </a:lnTo>
                  <a:lnTo>
                    <a:pt x="10" y="8"/>
                  </a:lnTo>
                  <a:lnTo>
                    <a:pt x="12" y="2"/>
                  </a:lnTo>
                  <a:lnTo>
                    <a:pt x="2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92" name="Freeform 84">
              <a:extLst>
                <a:ext uri="{FF2B5EF4-FFF2-40B4-BE49-F238E27FC236}">
                  <a16:creationId xmlns:a16="http://schemas.microsoft.com/office/drawing/2014/main" id="{57C9AF96-B61B-4DD1-84D4-A149F3AFB936}"/>
                </a:ext>
              </a:extLst>
            </p:cNvPr>
            <p:cNvSpPr>
              <a:spLocks/>
            </p:cNvSpPr>
            <p:nvPr/>
          </p:nvSpPr>
          <p:spPr bwMode="gray">
            <a:xfrm>
              <a:off x="3893206" y="5278935"/>
              <a:ext cx="521738" cy="932823"/>
            </a:xfrm>
            <a:custGeom>
              <a:avLst/>
              <a:gdLst>
                <a:gd name="T0" fmla="*/ 108 w 316"/>
                <a:gd name="T1" fmla="*/ 6 h 562"/>
                <a:gd name="T2" fmla="*/ 138 w 316"/>
                <a:gd name="T3" fmla="*/ 4 h 562"/>
                <a:gd name="T4" fmla="*/ 172 w 316"/>
                <a:gd name="T5" fmla="*/ 2 h 562"/>
                <a:gd name="T6" fmla="*/ 190 w 316"/>
                <a:gd name="T7" fmla="*/ 26 h 562"/>
                <a:gd name="T8" fmla="*/ 210 w 316"/>
                <a:gd name="T9" fmla="*/ 34 h 562"/>
                <a:gd name="T10" fmla="*/ 236 w 316"/>
                <a:gd name="T11" fmla="*/ 50 h 562"/>
                <a:gd name="T12" fmla="*/ 246 w 316"/>
                <a:gd name="T13" fmla="*/ 72 h 562"/>
                <a:gd name="T14" fmla="*/ 266 w 316"/>
                <a:gd name="T15" fmla="*/ 96 h 562"/>
                <a:gd name="T16" fmla="*/ 294 w 316"/>
                <a:gd name="T17" fmla="*/ 84 h 562"/>
                <a:gd name="T18" fmla="*/ 310 w 316"/>
                <a:gd name="T19" fmla="*/ 62 h 562"/>
                <a:gd name="T20" fmla="*/ 312 w 316"/>
                <a:gd name="T21" fmla="*/ 88 h 562"/>
                <a:gd name="T22" fmla="*/ 292 w 316"/>
                <a:gd name="T23" fmla="*/ 104 h 562"/>
                <a:gd name="T24" fmla="*/ 268 w 316"/>
                <a:gd name="T25" fmla="*/ 128 h 562"/>
                <a:gd name="T26" fmla="*/ 252 w 316"/>
                <a:gd name="T27" fmla="*/ 138 h 562"/>
                <a:gd name="T28" fmla="*/ 240 w 316"/>
                <a:gd name="T29" fmla="*/ 192 h 562"/>
                <a:gd name="T30" fmla="*/ 234 w 316"/>
                <a:gd name="T31" fmla="*/ 222 h 562"/>
                <a:gd name="T32" fmla="*/ 258 w 316"/>
                <a:gd name="T33" fmla="*/ 236 h 562"/>
                <a:gd name="T34" fmla="*/ 266 w 316"/>
                <a:gd name="T35" fmla="*/ 254 h 562"/>
                <a:gd name="T36" fmla="*/ 240 w 316"/>
                <a:gd name="T37" fmla="*/ 294 h 562"/>
                <a:gd name="T38" fmla="*/ 190 w 316"/>
                <a:gd name="T39" fmla="*/ 300 h 562"/>
                <a:gd name="T40" fmla="*/ 180 w 316"/>
                <a:gd name="T41" fmla="*/ 314 h 562"/>
                <a:gd name="T42" fmla="*/ 162 w 316"/>
                <a:gd name="T43" fmla="*/ 342 h 562"/>
                <a:gd name="T44" fmla="*/ 136 w 316"/>
                <a:gd name="T45" fmla="*/ 332 h 562"/>
                <a:gd name="T46" fmla="*/ 136 w 316"/>
                <a:gd name="T47" fmla="*/ 362 h 562"/>
                <a:gd name="T48" fmla="*/ 150 w 316"/>
                <a:gd name="T49" fmla="*/ 362 h 562"/>
                <a:gd name="T50" fmla="*/ 158 w 316"/>
                <a:gd name="T51" fmla="*/ 370 h 562"/>
                <a:gd name="T52" fmla="*/ 146 w 316"/>
                <a:gd name="T53" fmla="*/ 368 h 562"/>
                <a:gd name="T54" fmla="*/ 140 w 316"/>
                <a:gd name="T55" fmla="*/ 376 h 562"/>
                <a:gd name="T56" fmla="*/ 132 w 316"/>
                <a:gd name="T57" fmla="*/ 396 h 562"/>
                <a:gd name="T58" fmla="*/ 118 w 316"/>
                <a:gd name="T59" fmla="*/ 414 h 562"/>
                <a:gd name="T60" fmla="*/ 96 w 316"/>
                <a:gd name="T61" fmla="*/ 444 h 562"/>
                <a:gd name="T62" fmla="*/ 112 w 316"/>
                <a:gd name="T63" fmla="*/ 456 h 562"/>
                <a:gd name="T64" fmla="*/ 118 w 316"/>
                <a:gd name="T65" fmla="*/ 474 h 562"/>
                <a:gd name="T66" fmla="*/ 90 w 316"/>
                <a:gd name="T67" fmla="*/ 510 h 562"/>
                <a:gd name="T68" fmla="*/ 70 w 316"/>
                <a:gd name="T69" fmla="*/ 524 h 562"/>
                <a:gd name="T70" fmla="*/ 72 w 316"/>
                <a:gd name="T71" fmla="*/ 552 h 562"/>
                <a:gd name="T72" fmla="*/ 60 w 316"/>
                <a:gd name="T73" fmla="*/ 558 h 562"/>
                <a:gd name="T74" fmla="*/ 18 w 316"/>
                <a:gd name="T75" fmla="*/ 544 h 562"/>
                <a:gd name="T76" fmla="*/ 2 w 316"/>
                <a:gd name="T77" fmla="*/ 520 h 562"/>
                <a:gd name="T78" fmla="*/ 10 w 316"/>
                <a:gd name="T79" fmla="*/ 492 h 562"/>
                <a:gd name="T80" fmla="*/ 28 w 316"/>
                <a:gd name="T81" fmla="*/ 450 h 562"/>
                <a:gd name="T82" fmla="*/ 26 w 316"/>
                <a:gd name="T83" fmla="*/ 400 h 562"/>
                <a:gd name="T84" fmla="*/ 24 w 316"/>
                <a:gd name="T85" fmla="*/ 360 h 562"/>
                <a:gd name="T86" fmla="*/ 36 w 316"/>
                <a:gd name="T87" fmla="*/ 302 h 562"/>
                <a:gd name="T88" fmla="*/ 40 w 316"/>
                <a:gd name="T89" fmla="*/ 278 h 562"/>
                <a:gd name="T90" fmla="*/ 48 w 316"/>
                <a:gd name="T91" fmla="*/ 244 h 562"/>
                <a:gd name="T92" fmla="*/ 56 w 316"/>
                <a:gd name="T93" fmla="*/ 196 h 562"/>
                <a:gd name="T94" fmla="*/ 48 w 316"/>
                <a:gd name="T95" fmla="*/ 156 h 562"/>
                <a:gd name="T96" fmla="*/ 64 w 316"/>
                <a:gd name="T97" fmla="*/ 106 h 562"/>
                <a:gd name="T98" fmla="*/ 76 w 316"/>
                <a:gd name="T99" fmla="*/ 52 h 562"/>
                <a:gd name="T100" fmla="*/ 100 w 316"/>
                <a:gd name="T101" fmla="*/ 30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16" h="562">
                  <a:moveTo>
                    <a:pt x="102" y="18"/>
                  </a:moveTo>
                  <a:lnTo>
                    <a:pt x="104" y="10"/>
                  </a:lnTo>
                  <a:lnTo>
                    <a:pt x="108" y="6"/>
                  </a:lnTo>
                  <a:lnTo>
                    <a:pt x="116" y="0"/>
                  </a:lnTo>
                  <a:lnTo>
                    <a:pt x="124" y="6"/>
                  </a:lnTo>
                  <a:lnTo>
                    <a:pt x="138" y="4"/>
                  </a:lnTo>
                  <a:lnTo>
                    <a:pt x="148" y="16"/>
                  </a:lnTo>
                  <a:lnTo>
                    <a:pt x="154" y="2"/>
                  </a:lnTo>
                  <a:lnTo>
                    <a:pt x="172" y="2"/>
                  </a:lnTo>
                  <a:lnTo>
                    <a:pt x="174" y="8"/>
                  </a:lnTo>
                  <a:lnTo>
                    <a:pt x="180" y="16"/>
                  </a:lnTo>
                  <a:lnTo>
                    <a:pt x="190" y="26"/>
                  </a:lnTo>
                  <a:lnTo>
                    <a:pt x="192" y="28"/>
                  </a:lnTo>
                  <a:lnTo>
                    <a:pt x="202" y="34"/>
                  </a:lnTo>
                  <a:lnTo>
                    <a:pt x="210" y="34"/>
                  </a:lnTo>
                  <a:lnTo>
                    <a:pt x="220" y="40"/>
                  </a:lnTo>
                  <a:lnTo>
                    <a:pt x="226" y="46"/>
                  </a:lnTo>
                  <a:lnTo>
                    <a:pt x="236" y="50"/>
                  </a:lnTo>
                  <a:lnTo>
                    <a:pt x="246" y="54"/>
                  </a:lnTo>
                  <a:lnTo>
                    <a:pt x="252" y="62"/>
                  </a:lnTo>
                  <a:lnTo>
                    <a:pt x="246" y="72"/>
                  </a:lnTo>
                  <a:lnTo>
                    <a:pt x="238" y="88"/>
                  </a:lnTo>
                  <a:lnTo>
                    <a:pt x="244" y="96"/>
                  </a:lnTo>
                  <a:lnTo>
                    <a:pt x="266" y="96"/>
                  </a:lnTo>
                  <a:lnTo>
                    <a:pt x="280" y="92"/>
                  </a:lnTo>
                  <a:lnTo>
                    <a:pt x="288" y="86"/>
                  </a:lnTo>
                  <a:lnTo>
                    <a:pt x="294" y="84"/>
                  </a:lnTo>
                  <a:lnTo>
                    <a:pt x="300" y="70"/>
                  </a:lnTo>
                  <a:lnTo>
                    <a:pt x="300" y="60"/>
                  </a:lnTo>
                  <a:lnTo>
                    <a:pt x="310" y="62"/>
                  </a:lnTo>
                  <a:lnTo>
                    <a:pt x="314" y="66"/>
                  </a:lnTo>
                  <a:lnTo>
                    <a:pt x="316" y="76"/>
                  </a:lnTo>
                  <a:lnTo>
                    <a:pt x="312" y="88"/>
                  </a:lnTo>
                  <a:lnTo>
                    <a:pt x="308" y="94"/>
                  </a:lnTo>
                  <a:lnTo>
                    <a:pt x="300" y="98"/>
                  </a:lnTo>
                  <a:lnTo>
                    <a:pt x="292" y="104"/>
                  </a:lnTo>
                  <a:lnTo>
                    <a:pt x="282" y="112"/>
                  </a:lnTo>
                  <a:lnTo>
                    <a:pt x="274" y="118"/>
                  </a:lnTo>
                  <a:lnTo>
                    <a:pt x="268" y="128"/>
                  </a:lnTo>
                  <a:lnTo>
                    <a:pt x="262" y="132"/>
                  </a:lnTo>
                  <a:lnTo>
                    <a:pt x="260" y="136"/>
                  </a:lnTo>
                  <a:lnTo>
                    <a:pt x="252" y="138"/>
                  </a:lnTo>
                  <a:lnTo>
                    <a:pt x="246" y="160"/>
                  </a:lnTo>
                  <a:lnTo>
                    <a:pt x="244" y="174"/>
                  </a:lnTo>
                  <a:lnTo>
                    <a:pt x="240" y="192"/>
                  </a:lnTo>
                  <a:lnTo>
                    <a:pt x="240" y="212"/>
                  </a:lnTo>
                  <a:lnTo>
                    <a:pt x="236" y="216"/>
                  </a:lnTo>
                  <a:lnTo>
                    <a:pt x="234" y="222"/>
                  </a:lnTo>
                  <a:lnTo>
                    <a:pt x="244" y="224"/>
                  </a:lnTo>
                  <a:lnTo>
                    <a:pt x="254" y="228"/>
                  </a:lnTo>
                  <a:lnTo>
                    <a:pt x="258" y="236"/>
                  </a:lnTo>
                  <a:lnTo>
                    <a:pt x="256" y="244"/>
                  </a:lnTo>
                  <a:lnTo>
                    <a:pt x="258" y="248"/>
                  </a:lnTo>
                  <a:lnTo>
                    <a:pt x="266" y="254"/>
                  </a:lnTo>
                  <a:lnTo>
                    <a:pt x="266" y="268"/>
                  </a:lnTo>
                  <a:lnTo>
                    <a:pt x="254" y="284"/>
                  </a:lnTo>
                  <a:lnTo>
                    <a:pt x="240" y="294"/>
                  </a:lnTo>
                  <a:lnTo>
                    <a:pt x="220" y="296"/>
                  </a:lnTo>
                  <a:lnTo>
                    <a:pt x="206" y="298"/>
                  </a:lnTo>
                  <a:lnTo>
                    <a:pt x="190" y="300"/>
                  </a:lnTo>
                  <a:lnTo>
                    <a:pt x="180" y="298"/>
                  </a:lnTo>
                  <a:lnTo>
                    <a:pt x="178" y="304"/>
                  </a:lnTo>
                  <a:lnTo>
                    <a:pt x="180" y="314"/>
                  </a:lnTo>
                  <a:lnTo>
                    <a:pt x="178" y="330"/>
                  </a:lnTo>
                  <a:lnTo>
                    <a:pt x="170" y="338"/>
                  </a:lnTo>
                  <a:lnTo>
                    <a:pt x="162" y="342"/>
                  </a:lnTo>
                  <a:lnTo>
                    <a:pt x="148" y="336"/>
                  </a:lnTo>
                  <a:lnTo>
                    <a:pt x="142" y="334"/>
                  </a:lnTo>
                  <a:lnTo>
                    <a:pt x="136" y="332"/>
                  </a:lnTo>
                  <a:lnTo>
                    <a:pt x="134" y="338"/>
                  </a:lnTo>
                  <a:lnTo>
                    <a:pt x="136" y="354"/>
                  </a:lnTo>
                  <a:lnTo>
                    <a:pt x="136" y="362"/>
                  </a:lnTo>
                  <a:lnTo>
                    <a:pt x="142" y="364"/>
                  </a:lnTo>
                  <a:lnTo>
                    <a:pt x="150" y="364"/>
                  </a:lnTo>
                  <a:lnTo>
                    <a:pt x="150" y="362"/>
                  </a:lnTo>
                  <a:lnTo>
                    <a:pt x="154" y="360"/>
                  </a:lnTo>
                  <a:lnTo>
                    <a:pt x="158" y="364"/>
                  </a:lnTo>
                  <a:lnTo>
                    <a:pt x="158" y="370"/>
                  </a:lnTo>
                  <a:lnTo>
                    <a:pt x="152" y="374"/>
                  </a:lnTo>
                  <a:lnTo>
                    <a:pt x="148" y="372"/>
                  </a:lnTo>
                  <a:lnTo>
                    <a:pt x="146" y="368"/>
                  </a:lnTo>
                  <a:lnTo>
                    <a:pt x="142" y="368"/>
                  </a:lnTo>
                  <a:lnTo>
                    <a:pt x="138" y="370"/>
                  </a:lnTo>
                  <a:lnTo>
                    <a:pt x="140" y="376"/>
                  </a:lnTo>
                  <a:lnTo>
                    <a:pt x="136" y="382"/>
                  </a:lnTo>
                  <a:lnTo>
                    <a:pt x="130" y="384"/>
                  </a:lnTo>
                  <a:lnTo>
                    <a:pt x="132" y="396"/>
                  </a:lnTo>
                  <a:lnTo>
                    <a:pt x="126" y="408"/>
                  </a:lnTo>
                  <a:lnTo>
                    <a:pt x="124" y="410"/>
                  </a:lnTo>
                  <a:lnTo>
                    <a:pt x="118" y="414"/>
                  </a:lnTo>
                  <a:lnTo>
                    <a:pt x="106" y="420"/>
                  </a:lnTo>
                  <a:lnTo>
                    <a:pt x="94" y="432"/>
                  </a:lnTo>
                  <a:lnTo>
                    <a:pt x="96" y="444"/>
                  </a:lnTo>
                  <a:lnTo>
                    <a:pt x="106" y="454"/>
                  </a:lnTo>
                  <a:lnTo>
                    <a:pt x="106" y="456"/>
                  </a:lnTo>
                  <a:lnTo>
                    <a:pt x="112" y="456"/>
                  </a:lnTo>
                  <a:lnTo>
                    <a:pt x="122" y="458"/>
                  </a:lnTo>
                  <a:lnTo>
                    <a:pt x="122" y="466"/>
                  </a:lnTo>
                  <a:lnTo>
                    <a:pt x="118" y="474"/>
                  </a:lnTo>
                  <a:lnTo>
                    <a:pt x="104" y="486"/>
                  </a:lnTo>
                  <a:lnTo>
                    <a:pt x="94" y="496"/>
                  </a:lnTo>
                  <a:lnTo>
                    <a:pt x="90" y="510"/>
                  </a:lnTo>
                  <a:lnTo>
                    <a:pt x="88" y="516"/>
                  </a:lnTo>
                  <a:lnTo>
                    <a:pt x="76" y="518"/>
                  </a:lnTo>
                  <a:lnTo>
                    <a:pt x="70" y="524"/>
                  </a:lnTo>
                  <a:lnTo>
                    <a:pt x="66" y="538"/>
                  </a:lnTo>
                  <a:lnTo>
                    <a:pt x="68" y="546"/>
                  </a:lnTo>
                  <a:lnTo>
                    <a:pt x="72" y="552"/>
                  </a:lnTo>
                  <a:lnTo>
                    <a:pt x="78" y="560"/>
                  </a:lnTo>
                  <a:lnTo>
                    <a:pt x="76" y="562"/>
                  </a:lnTo>
                  <a:lnTo>
                    <a:pt x="60" y="558"/>
                  </a:lnTo>
                  <a:lnTo>
                    <a:pt x="34" y="558"/>
                  </a:lnTo>
                  <a:lnTo>
                    <a:pt x="24" y="556"/>
                  </a:lnTo>
                  <a:lnTo>
                    <a:pt x="18" y="544"/>
                  </a:lnTo>
                  <a:lnTo>
                    <a:pt x="18" y="528"/>
                  </a:lnTo>
                  <a:lnTo>
                    <a:pt x="6" y="526"/>
                  </a:lnTo>
                  <a:lnTo>
                    <a:pt x="2" y="520"/>
                  </a:lnTo>
                  <a:lnTo>
                    <a:pt x="0" y="510"/>
                  </a:lnTo>
                  <a:lnTo>
                    <a:pt x="2" y="500"/>
                  </a:lnTo>
                  <a:lnTo>
                    <a:pt x="10" y="492"/>
                  </a:lnTo>
                  <a:lnTo>
                    <a:pt x="18" y="480"/>
                  </a:lnTo>
                  <a:lnTo>
                    <a:pt x="20" y="462"/>
                  </a:lnTo>
                  <a:lnTo>
                    <a:pt x="28" y="450"/>
                  </a:lnTo>
                  <a:lnTo>
                    <a:pt x="28" y="424"/>
                  </a:lnTo>
                  <a:lnTo>
                    <a:pt x="30" y="412"/>
                  </a:lnTo>
                  <a:lnTo>
                    <a:pt x="26" y="400"/>
                  </a:lnTo>
                  <a:lnTo>
                    <a:pt x="26" y="380"/>
                  </a:lnTo>
                  <a:lnTo>
                    <a:pt x="22" y="376"/>
                  </a:lnTo>
                  <a:lnTo>
                    <a:pt x="24" y="360"/>
                  </a:lnTo>
                  <a:lnTo>
                    <a:pt x="26" y="348"/>
                  </a:lnTo>
                  <a:lnTo>
                    <a:pt x="28" y="318"/>
                  </a:lnTo>
                  <a:lnTo>
                    <a:pt x="36" y="302"/>
                  </a:lnTo>
                  <a:lnTo>
                    <a:pt x="38" y="296"/>
                  </a:lnTo>
                  <a:lnTo>
                    <a:pt x="40" y="292"/>
                  </a:lnTo>
                  <a:lnTo>
                    <a:pt x="40" y="278"/>
                  </a:lnTo>
                  <a:lnTo>
                    <a:pt x="38" y="254"/>
                  </a:lnTo>
                  <a:lnTo>
                    <a:pt x="44" y="248"/>
                  </a:lnTo>
                  <a:lnTo>
                    <a:pt x="48" y="244"/>
                  </a:lnTo>
                  <a:lnTo>
                    <a:pt x="50" y="224"/>
                  </a:lnTo>
                  <a:lnTo>
                    <a:pt x="54" y="216"/>
                  </a:lnTo>
                  <a:lnTo>
                    <a:pt x="56" y="196"/>
                  </a:lnTo>
                  <a:lnTo>
                    <a:pt x="52" y="180"/>
                  </a:lnTo>
                  <a:lnTo>
                    <a:pt x="48" y="172"/>
                  </a:lnTo>
                  <a:lnTo>
                    <a:pt x="48" y="156"/>
                  </a:lnTo>
                  <a:lnTo>
                    <a:pt x="52" y="148"/>
                  </a:lnTo>
                  <a:lnTo>
                    <a:pt x="56" y="120"/>
                  </a:lnTo>
                  <a:lnTo>
                    <a:pt x="64" y="106"/>
                  </a:lnTo>
                  <a:lnTo>
                    <a:pt x="74" y="92"/>
                  </a:lnTo>
                  <a:lnTo>
                    <a:pt x="80" y="82"/>
                  </a:lnTo>
                  <a:lnTo>
                    <a:pt x="76" y="52"/>
                  </a:lnTo>
                  <a:lnTo>
                    <a:pt x="82" y="46"/>
                  </a:lnTo>
                  <a:lnTo>
                    <a:pt x="90" y="42"/>
                  </a:lnTo>
                  <a:lnTo>
                    <a:pt x="100" y="30"/>
                  </a:lnTo>
                  <a:lnTo>
                    <a:pt x="102" y="1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93" name="Freeform 85">
              <a:extLst>
                <a:ext uri="{FF2B5EF4-FFF2-40B4-BE49-F238E27FC236}">
                  <a16:creationId xmlns:a16="http://schemas.microsoft.com/office/drawing/2014/main" id="{798528A9-F46A-441C-B499-CF6E6D97DEAC}"/>
                </a:ext>
              </a:extLst>
            </p:cNvPr>
            <p:cNvSpPr>
              <a:spLocks/>
            </p:cNvSpPr>
            <p:nvPr/>
          </p:nvSpPr>
          <p:spPr bwMode="gray">
            <a:xfrm>
              <a:off x="3837070" y="5149468"/>
              <a:ext cx="224546" cy="1115405"/>
            </a:xfrm>
            <a:custGeom>
              <a:avLst/>
              <a:gdLst>
                <a:gd name="T0" fmla="*/ 96 w 136"/>
                <a:gd name="T1" fmla="*/ 2 h 672"/>
                <a:gd name="T2" fmla="*/ 112 w 136"/>
                <a:gd name="T3" fmla="*/ 38 h 672"/>
                <a:gd name="T4" fmla="*/ 124 w 136"/>
                <a:gd name="T5" fmla="*/ 82 h 672"/>
                <a:gd name="T6" fmla="*/ 134 w 136"/>
                <a:gd name="T7" fmla="*/ 108 h 672"/>
                <a:gd name="T8" fmla="*/ 110 w 136"/>
                <a:gd name="T9" fmla="*/ 130 h 672"/>
                <a:gd name="T10" fmla="*/ 90 w 136"/>
                <a:gd name="T11" fmla="*/ 198 h 672"/>
                <a:gd name="T12" fmla="*/ 82 w 136"/>
                <a:gd name="T13" fmla="*/ 250 h 672"/>
                <a:gd name="T14" fmla="*/ 84 w 136"/>
                <a:gd name="T15" fmla="*/ 302 h 672"/>
                <a:gd name="T16" fmla="*/ 74 w 136"/>
                <a:gd name="T17" fmla="*/ 354 h 672"/>
                <a:gd name="T18" fmla="*/ 60 w 136"/>
                <a:gd name="T19" fmla="*/ 426 h 672"/>
                <a:gd name="T20" fmla="*/ 60 w 136"/>
                <a:gd name="T21" fmla="*/ 458 h 672"/>
                <a:gd name="T22" fmla="*/ 62 w 136"/>
                <a:gd name="T23" fmla="*/ 502 h 672"/>
                <a:gd name="T24" fmla="*/ 52 w 136"/>
                <a:gd name="T25" fmla="*/ 558 h 672"/>
                <a:gd name="T26" fmla="*/ 34 w 136"/>
                <a:gd name="T27" fmla="*/ 588 h 672"/>
                <a:gd name="T28" fmla="*/ 52 w 136"/>
                <a:gd name="T29" fmla="*/ 606 h 672"/>
                <a:gd name="T30" fmla="*/ 68 w 136"/>
                <a:gd name="T31" fmla="*/ 636 h 672"/>
                <a:gd name="T32" fmla="*/ 88 w 136"/>
                <a:gd name="T33" fmla="*/ 648 h 672"/>
                <a:gd name="T34" fmla="*/ 74 w 136"/>
                <a:gd name="T35" fmla="*/ 666 h 672"/>
                <a:gd name="T36" fmla="*/ 58 w 136"/>
                <a:gd name="T37" fmla="*/ 668 h 672"/>
                <a:gd name="T38" fmla="*/ 70 w 136"/>
                <a:gd name="T39" fmla="*/ 652 h 672"/>
                <a:gd name="T40" fmla="*/ 52 w 136"/>
                <a:gd name="T41" fmla="*/ 662 h 672"/>
                <a:gd name="T42" fmla="*/ 46 w 136"/>
                <a:gd name="T43" fmla="*/ 648 h 672"/>
                <a:gd name="T44" fmla="*/ 38 w 136"/>
                <a:gd name="T45" fmla="*/ 646 h 672"/>
                <a:gd name="T46" fmla="*/ 42 w 136"/>
                <a:gd name="T47" fmla="*/ 632 h 672"/>
                <a:gd name="T48" fmla="*/ 26 w 136"/>
                <a:gd name="T49" fmla="*/ 630 h 672"/>
                <a:gd name="T50" fmla="*/ 20 w 136"/>
                <a:gd name="T51" fmla="*/ 606 h 672"/>
                <a:gd name="T52" fmla="*/ 16 w 136"/>
                <a:gd name="T53" fmla="*/ 590 h 672"/>
                <a:gd name="T54" fmla="*/ 8 w 136"/>
                <a:gd name="T55" fmla="*/ 558 h 672"/>
                <a:gd name="T56" fmla="*/ 18 w 136"/>
                <a:gd name="T57" fmla="*/ 568 h 672"/>
                <a:gd name="T58" fmla="*/ 28 w 136"/>
                <a:gd name="T59" fmla="*/ 556 h 672"/>
                <a:gd name="T60" fmla="*/ 28 w 136"/>
                <a:gd name="T61" fmla="*/ 548 h 672"/>
                <a:gd name="T62" fmla="*/ 18 w 136"/>
                <a:gd name="T63" fmla="*/ 536 h 672"/>
                <a:gd name="T64" fmla="*/ 16 w 136"/>
                <a:gd name="T65" fmla="*/ 530 h 672"/>
                <a:gd name="T66" fmla="*/ 10 w 136"/>
                <a:gd name="T67" fmla="*/ 514 h 672"/>
                <a:gd name="T68" fmla="*/ 24 w 136"/>
                <a:gd name="T69" fmla="*/ 506 h 672"/>
                <a:gd name="T70" fmla="*/ 42 w 136"/>
                <a:gd name="T71" fmla="*/ 494 h 672"/>
                <a:gd name="T72" fmla="*/ 44 w 136"/>
                <a:gd name="T73" fmla="*/ 462 h 672"/>
                <a:gd name="T74" fmla="*/ 46 w 136"/>
                <a:gd name="T75" fmla="*/ 440 h 672"/>
                <a:gd name="T76" fmla="*/ 36 w 136"/>
                <a:gd name="T77" fmla="*/ 428 h 672"/>
                <a:gd name="T78" fmla="*/ 32 w 136"/>
                <a:gd name="T79" fmla="*/ 456 h 672"/>
                <a:gd name="T80" fmla="*/ 22 w 136"/>
                <a:gd name="T81" fmla="*/ 450 h 672"/>
                <a:gd name="T82" fmla="*/ 28 w 136"/>
                <a:gd name="T83" fmla="*/ 426 h 672"/>
                <a:gd name="T84" fmla="*/ 32 w 136"/>
                <a:gd name="T85" fmla="*/ 394 h 672"/>
                <a:gd name="T86" fmla="*/ 34 w 136"/>
                <a:gd name="T87" fmla="*/ 366 h 672"/>
                <a:gd name="T88" fmla="*/ 38 w 136"/>
                <a:gd name="T89" fmla="*/ 346 h 672"/>
                <a:gd name="T90" fmla="*/ 52 w 136"/>
                <a:gd name="T91" fmla="*/ 308 h 672"/>
                <a:gd name="T92" fmla="*/ 64 w 136"/>
                <a:gd name="T93" fmla="*/ 270 h 672"/>
                <a:gd name="T94" fmla="*/ 70 w 136"/>
                <a:gd name="T95" fmla="*/ 214 h 672"/>
                <a:gd name="T96" fmla="*/ 70 w 136"/>
                <a:gd name="T97" fmla="*/ 194 h 672"/>
                <a:gd name="T98" fmla="*/ 82 w 136"/>
                <a:gd name="T99" fmla="*/ 98 h 672"/>
                <a:gd name="T100" fmla="*/ 84 w 136"/>
                <a:gd name="T101" fmla="*/ 18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6" h="672">
                  <a:moveTo>
                    <a:pt x="84" y="18"/>
                  </a:moveTo>
                  <a:lnTo>
                    <a:pt x="90" y="16"/>
                  </a:lnTo>
                  <a:lnTo>
                    <a:pt x="96" y="2"/>
                  </a:lnTo>
                  <a:lnTo>
                    <a:pt x="98" y="0"/>
                  </a:lnTo>
                  <a:lnTo>
                    <a:pt x="102" y="12"/>
                  </a:lnTo>
                  <a:lnTo>
                    <a:pt x="112" y="38"/>
                  </a:lnTo>
                  <a:lnTo>
                    <a:pt x="112" y="56"/>
                  </a:lnTo>
                  <a:lnTo>
                    <a:pt x="120" y="68"/>
                  </a:lnTo>
                  <a:lnTo>
                    <a:pt x="124" y="82"/>
                  </a:lnTo>
                  <a:lnTo>
                    <a:pt x="126" y="96"/>
                  </a:lnTo>
                  <a:lnTo>
                    <a:pt x="136" y="96"/>
                  </a:lnTo>
                  <a:lnTo>
                    <a:pt x="134" y="108"/>
                  </a:lnTo>
                  <a:lnTo>
                    <a:pt x="124" y="120"/>
                  </a:lnTo>
                  <a:lnTo>
                    <a:pt x="116" y="124"/>
                  </a:lnTo>
                  <a:lnTo>
                    <a:pt x="110" y="130"/>
                  </a:lnTo>
                  <a:lnTo>
                    <a:pt x="114" y="160"/>
                  </a:lnTo>
                  <a:lnTo>
                    <a:pt x="96" y="186"/>
                  </a:lnTo>
                  <a:lnTo>
                    <a:pt x="90" y="198"/>
                  </a:lnTo>
                  <a:lnTo>
                    <a:pt x="86" y="222"/>
                  </a:lnTo>
                  <a:lnTo>
                    <a:pt x="82" y="234"/>
                  </a:lnTo>
                  <a:lnTo>
                    <a:pt x="82" y="250"/>
                  </a:lnTo>
                  <a:lnTo>
                    <a:pt x="90" y="274"/>
                  </a:lnTo>
                  <a:lnTo>
                    <a:pt x="88" y="292"/>
                  </a:lnTo>
                  <a:lnTo>
                    <a:pt x="84" y="302"/>
                  </a:lnTo>
                  <a:lnTo>
                    <a:pt x="82" y="322"/>
                  </a:lnTo>
                  <a:lnTo>
                    <a:pt x="72" y="332"/>
                  </a:lnTo>
                  <a:lnTo>
                    <a:pt x="74" y="354"/>
                  </a:lnTo>
                  <a:lnTo>
                    <a:pt x="74" y="370"/>
                  </a:lnTo>
                  <a:lnTo>
                    <a:pt x="62" y="396"/>
                  </a:lnTo>
                  <a:lnTo>
                    <a:pt x="60" y="426"/>
                  </a:lnTo>
                  <a:lnTo>
                    <a:pt x="58" y="438"/>
                  </a:lnTo>
                  <a:lnTo>
                    <a:pt x="56" y="454"/>
                  </a:lnTo>
                  <a:lnTo>
                    <a:pt x="60" y="458"/>
                  </a:lnTo>
                  <a:lnTo>
                    <a:pt x="60" y="478"/>
                  </a:lnTo>
                  <a:lnTo>
                    <a:pt x="64" y="490"/>
                  </a:lnTo>
                  <a:lnTo>
                    <a:pt x="62" y="502"/>
                  </a:lnTo>
                  <a:lnTo>
                    <a:pt x="62" y="528"/>
                  </a:lnTo>
                  <a:lnTo>
                    <a:pt x="54" y="540"/>
                  </a:lnTo>
                  <a:lnTo>
                    <a:pt x="52" y="558"/>
                  </a:lnTo>
                  <a:lnTo>
                    <a:pt x="44" y="570"/>
                  </a:lnTo>
                  <a:lnTo>
                    <a:pt x="36" y="578"/>
                  </a:lnTo>
                  <a:lnTo>
                    <a:pt x="34" y="588"/>
                  </a:lnTo>
                  <a:lnTo>
                    <a:pt x="36" y="596"/>
                  </a:lnTo>
                  <a:lnTo>
                    <a:pt x="40" y="604"/>
                  </a:lnTo>
                  <a:lnTo>
                    <a:pt x="52" y="606"/>
                  </a:lnTo>
                  <a:lnTo>
                    <a:pt x="52" y="622"/>
                  </a:lnTo>
                  <a:lnTo>
                    <a:pt x="58" y="634"/>
                  </a:lnTo>
                  <a:lnTo>
                    <a:pt x="68" y="636"/>
                  </a:lnTo>
                  <a:lnTo>
                    <a:pt x="94" y="636"/>
                  </a:lnTo>
                  <a:lnTo>
                    <a:pt x="96" y="644"/>
                  </a:lnTo>
                  <a:lnTo>
                    <a:pt x="88" y="648"/>
                  </a:lnTo>
                  <a:lnTo>
                    <a:pt x="80" y="650"/>
                  </a:lnTo>
                  <a:lnTo>
                    <a:pt x="74" y="656"/>
                  </a:lnTo>
                  <a:lnTo>
                    <a:pt x="74" y="666"/>
                  </a:lnTo>
                  <a:lnTo>
                    <a:pt x="72" y="672"/>
                  </a:lnTo>
                  <a:lnTo>
                    <a:pt x="64" y="672"/>
                  </a:lnTo>
                  <a:lnTo>
                    <a:pt x="58" y="668"/>
                  </a:lnTo>
                  <a:lnTo>
                    <a:pt x="60" y="664"/>
                  </a:lnTo>
                  <a:lnTo>
                    <a:pt x="66" y="660"/>
                  </a:lnTo>
                  <a:lnTo>
                    <a:pt x="70" y="652"/>
                  </a:lnTo>
                  <a:lnTo>
                    <a:pt x="64" y="648"/>
                  </a:lnTo>
                  <a:lnTo>
                    <a:pt x="56" y="654"/>
                  </a:lnTo>
                  <a:lnTo>
                    <a:pt x="52" y="662"/>
                  </a:lnTo>
                  <a:lnTo>
                    <a:pt x="44" y="660"/>
                  </a:lnTo>
                  <a:lnTo>
                    <a:pt x="38" y="654"/>
                  </a:lnTo>
                  <a:lnTo>
                    <a:pt x="46" y="648"/>
                  </a:lnTo>
                  <a:lnTo>
                    <a:pt x="48" y="644"/>
                  </a:lnTo>
                  <a:lnTo>
                    <a:pt x="46" y="640"/>
                  </a:lnTo>
                  <a:lnTo>
                    <a:pt x="38" y="646"/>
                  </a:lnTo>
                  <a:lnTo>
                    <a:pt x="28" y="646"/>
                  </a:lnTo>
                  <a:lnTo>
                    <a:pt x="30" y="638"/>
                  </a:lnTo>
                  <a:lnTo>
                    <a:pt x="42" y="632"/>
                  </a:lnTo>
                  <a:lnTo>
                    <a:pt x="42" y="628"/>
                  </a:lnTo>
                  <a:lnTo>
                    <a:pt x="34" y="630"/>
                  </a:lnTo>
                  <a:lnTo>
                    <a:pt x="26" y="630"/>
                  </a:lnTo>
                  <a:lnTo>
                    <a:pt x="28" y="622"/>
                  </a:lnTo>
                  <a:lnTo>
                    <a:pt x="22" y="618"/>
                  </a:lnTo>
                  <a:lnTo>
                    <a:pt x="20" y="606"/>
                  </a:lnTo>
                  <a:lnTo>
                    <a:pt x="20" y="602"/>
                  </a:lnTo>
                  <a:lnTo>
                    <a:pt x="20" y="594"/>
                  </a:lnTo>
                  <a:lnTo>
                    <a:pt x="16" y="590"/>
                  </a:lnTo>
                  <a:lnTo>
                    <a:pt x="10" y="582"/>
                  </a:lnTo>
                  <a:lnTo>
                    <a:pt x="6" y="574"/>
                  </a:lnTo>
                  <a:lnTo>
                    <a:pt x="8" y="558"/>
                  </a:lnTo>
                  <a:lnTo>
                    <a:pt x="14" y="558"/>
                  </a:lnTo>
                  <a:lnTo>
                    <a:pt x="16" y="560"/>
                  </a:lnTo>
                  <a:lnTo>
                    <a:pt x="18" y="568"/>
                  </a:lnTo>
                  <a:lnTo>
                    <a:pt x="24" y="566"/>
                  </a:lnTo>
                  <a:lnTo>
                    <a:pt x="24" y="556"/>
                  </a:lnTo>
                  <a:lnTo>
                    <a:pt x="28" y="556"/>
                  </a:lnTo>
                  <a:lnTo>
                    <a:pt x="32" y="554"/>
                  </a:lnTo>
                  <a:lnTo>
                    <a:pt x="32" y="546"/>
                  </a:lnTo>
                  <a:lnTo>
                    <a:pt x="28" y="548"/>
                  </a:lnTo>
                  <a:lnTo>
                    <a:pt x="20" y="550"/>
                  </a:lnTo>
                  <a:lnTo>
                    <a:pt x="18" y="544"/>
                  </a:lnTo>
                  <a:lnTo>
                    <a:pt x="18" y="536"/>
                  </a:lnTo>
                  <a:lnTo>
                    <a:pt x="24" y="534"/>
                  </a:lnTo>
                  <a:lnTo>
                    <a:pt x="24" y="530"/>
                  </a:lnTo>
                  <a:lnTo>
                    <a:pt x="16" y="530"/>
                  </a:lnTo>
                  <a:lnTo>
                    <a:pt x="0" y="530"/>
                  </a:lnTo>
                  <a:lnTo>
                    <a:pt x="6" y="522"/>
                  </a:lnTo>
                  <a:lnTo>
                    <a:pt x="10" y="514"/>
                  </a:lnTo>
                  <a:lnTo>
                    <a:pt x="16" y="506"/>
                  </a:lnTo>
                  <a:lnTo>
                    <a:pt x="22" y="502"/>
                  </a:lnTo>
                  <a:lnTo>
                    <a:pt x="24" y="506"/>
                  </a:lnTo>
                  <a:lnTo>
                    <a:pt x="28" y="518"/>
                  </a:lnTo>
                  <a:lnTo>
                    <a:pt x="36" y="508"/>
                  </a:lnTo>
                  <a:lnTo>
                    <a:pt x="42" y="494"/>
                  </a:lnTo>
                  <a:lnTo>
                    <a:pt x="40" y="484"/>
                  </a:lnTo>
                  <a:lnTo>
                    <a:pt x="38" y="472"/>
                  </a:lnTo>
                  <a:lnTo>
                    <a:pt x="44" y="462"/>
                  </a:lnTo>
                  <a:lnTo>
                    <a:pt x="42" y="452"/>
                  </a:lnTo>
                  <a:lnTo>
                    <a:pt x="44" y="446"/>
                  </a:lnTo>
                  <a:lnTo>
                    <a:pt x="46" y="440"/>
                  </a:lnTo>
                  <a:lnTo>
                    <a:pt x="46" y="428"/>
                  </a:lnTo>
                  <a:lnTo>
                    <a:pt x="40" y="426"/>
                  </a:lnTo>
                  <a:lnTo>
                    <a:pt x="36" y="428"/>
                  </a:lnTo>
                  <a:lnTo>
                    <a:pt x="34" y="438"/>
                  </a:lnTo>
                  <a:lnTo>
                    <a:pt x="32" y="444"/>
                  </a:lnTo>
                  <a:lnTo>
                    <a:pt x="32" y="456"/>
                  </a:lnTo>
                  <a:lnTo>
                    <a:pt x="28" y="462"/>
                  </a:lnTo>
                  <a:lnTo>
                    <a:pt x="22" y="458"/>
                  </a:lnTo>
                  <a:lnTo>
                    <a:pt x="22" y="450"/>
                  </a:lnTo>
                  <a:lnTo>
                    <a:pt x="22" y="438"/>
                  </a:lnTo>
                  <a:lnTo>
                    <a:pt x="26" y="430"/>
                  </a:lnTo>
                  <a:lnTo>
                    <a:pt x="28" y="426"/>
                  </a:lnTo>
                  <a:lnTo>
                    <a:pt x="28" y="416"/>
                  </a:lnTo>
                  <a:lnTo>
                    <a:pt x="30" y="402"/>
                  </a:lnTo>
                  <a:lnTo>
                    <a:pt x="32" y="394"/>
                  </a:lnTo>
                  <a:lnTo>
                    <a:pt x="40" y="386"/>
                  </a:lnTo>
                  <a:lnTo>
                    <a:pt x="36" y="376"/>
                  </a:lnTo>
                  <a:lnTo>
                    <a:pt x="34" y="366"/>
                  </a:lnTo>
                  <a:lnTo>
                    <a:pt x="34" y="358"/>
                  </a:lnTo>
                  <a:lnTo>
                    <a:pt x="32" y="346"/>
                  </a:lnTo>
                  <a:lnTo>
                    <a:pt x="38" y="346"/>
                  </a:lnTo>
                  <a:lnTo>
                    <a:pt x="42" y="332"/>
                  </a:lnTo>
                  <a:lnTo>
                    <a:pt x="48" y="320"/>
                  </a:lnTo>
                  <a:lnTo>
                    <a:pt x="52" y="308"/>
                  </a:lnTo>
                  <a:lnTo>
                    <a:pt x="58" y="292"/>
                  </a:lnTo>
                  <a:lnTo>
                    <a:pt x="60" y="278"/>
                  </a:lnTo>
                  <a:lnTo>
                    <a:pt x="64" y="270"/>
                  </a:lnTo>
                  <a:lnTo>
                    <a:pt x="62" y="232"/>
                  </a:lnTo>
                  <a:lnTo>
                    <a:pt x="62" y="220"/>
                  </a:lnTo>
                  <a:lnTo>
                    <a:pt x="70" y="214"/>
                  </a:lnTo>
                  <a:lnTo>
                    <a:pt x="70" y="206"/>
                  </a:lnTo>
                  <a:lnTo>
                    <a:pt x="66" y="200"/>
                  </a:lnTo>
                  <a:lnTo>
                    <a:pt x="70" y="194"/>
                  </a:lnTo>
                  <a:lnTo>
                    <a:pt x="74" y="174"/>
                  </a:lnTo>
                  <a:lnTo>
                    <a:pt x="80" y="144"/>
                  </a:lnTo>
                  <a:lnTo>
                    <a:pt x="82" y="98"/>
                  </a:lnTo>
                  <a:lnTo>
                    <a:pt x="88" y="52"/>
                  </a:lnTo>
                  <a:lnTo>
                    <a:pt x="86" y="28"/>
                  </a:lnTo>
                  <a:lnTo>
                    <a:pt x="84" y="1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94" name="Freeform 86">
              <a:extLst>
                <a:ext uri="{FF2B5EF4-FFF2-40B4-BE49-F238E27FC236}">
                  <a16:creationId xmlns:a16="http://schemas.microsoft.com/office/drawing/2014/main" id="{9B3C3187-5D4E-4A3B-B065-345B86962D63}"/>
                </a:ext>
              </a:extLst>
            </p:cNvPr>
            <p:cNvSpPr>
              <a:spLocks/>
            </p:cNvSpPr>
            <p:nvPr/>
          </p:nvSpPr>
          <p:spPr bwMode="gray">
            <a:xfrm>
              <a:off x="4021989" y="6234995"/>
              <a:ext cx="92460" cy="76353"/>
            </a:xfrm>
            <a:custGeom>
              <a:avLst/>
              <a:gdLst>
                <a:gd name="T0" fmla="*/ 0 w 56"/>
                <a:gd name="T1" fmla="*/ 0 h 46"/>
                <a:gd name="T2" fmla="*/ 0 w 56"/>
                <a:gd name="T3" fmla="*/ 42 h 46"/>
                <a:gd name="T4" fmla="*/ 12 w 56"/>
                <a:gd name="T5" fmla="*/ 42 h 46"/>
                <a:gd name="T6" fmla="*/ 22 w 56"/>
                <a:gd name="T7" fmla="*/ 42 h 46"/>
                <a:gd name="T8" fmla="*/ 36 w 56"/>
                <a:gd name="T9" fmla="*/ 46 h 46"/>
                <a:gd name="T10" fmla="*/ 50 w 56"/>
                <a:gd name="T11" fmla="*/ 44 h 46"/>
                <a:gd name="T12" fmla="*/ 56 w 56"/>
                <a:gd name="T13" fmla="*/ 42 h 46"/>
                <a:gd name="T14" fmla="*/ 48 w 56"/>
                <a:gd name="T15" fmla="*/ 40 h 46"/>
                <a:gd name="T16" fmla="*/ 32 w 56"/>
                <a:gd name="T17" fmla="*/ 36 h 46"/>
                <a:gd name="T18" fmla="*/ 20 w 56"/>
                <a:gd name="T19" fmla="*/ 28 h 46"/>
                <a:gd name="T20" fmla="*/ 8 w 56"/>
                <a:gd name="T21" fmla="*/ 16 h 46"/>
                <a:gd name="T22" fmla="*/ 6 w 56"/>
                <a:gd name="T23" fmla="*/ 8 h 46"/>
                <a:gd name="T24" fmla="*/ 4 w 56"/>
                <a:gd name="T25" fmla="*/ 2 h 46"/>
                <a:gd name="T26" fmla="*/ 0 w 56"/>
                <a:gd name="T2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 h="46">
                  <a:moveTo>
                    <a:pt x="0" y="0"/>
                  </a:moveTo>
                  <a:lnTo>
                    <a:pt x="0" y="42"/>
                  </a:lnTo>
                  <a:lnTo>
                    <a:pt x="12" y="42"/>
                  </a:lnTo>
                  <a:lnTo>
                    <a:pt x="22" y="42"/>
                  </a:lnTo>
                  <a:lnTo>
                    <a:pt x="36" y="46"/>
                  </a:lnTo>
                  <a:lnTo>
                    <a:pt x="50" y="44"/>
                  </a:lnTo>
                  <a:lnTo>
                    <a:pt x="56" y="42"/>
                  </a:lnTo>
                  <a:lnTo>
                    <a:pt x="48" y="40"/>
                  </a:lnTo>
                  <a:lnTo>
                    <a:pt x="32" y="36"/>
                  </a:lnTo>
                  <a:lnTo>
                    <a:pt x="20" y="28"/>
                  </a:lnTo>
                  <a:lnTo>
                    <a:pt x="8" y="16"/>
                  </a:lnTo>
                  <a:lnTo>
                    <a:pt x="6" y="8"/>
                  </a:lnTo>
                  <a:lnTo>
                    <a:pt x="4" y="2"/>
                  </a:lnTo>
                  <a:lnTo>
                    <a:pt x="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95" name="Freeform 87">
              <a:extLst>
                <a:ext uri="{FF2B5EF4-FFF2-40B4-BE49-F238E27FC236}">
                  <a16:creationId xmlns:a16="http://schemas.microsoft.com/office/drawing/2014/main" id="{E1DD91E8-2BE6-4B51-9C2A-359F512CC9CC}"/>
                </a:ext>
              </a:extLst>
            </p:cNvPr>
            <p:cNvSpPr>
              <a:spLocks/>
            </p:cNvSpPr>
            <p:nvPr/>
          </p:nvSpPr>
          <p:spPr bwMode="gray">
            <a:xfrm>
              <a:off x="3952645" y="6225037"/>
              <a:ext cx="112273" cy="106229"/>
            </a:xfrm>
            <a:custGeom>
              <a:avLst/>
              <a:gdLst>
                <a:gd name="T0" fmla="*/ 2 w 68"/>
                <a:gd name="T1" fmla="*/ 46 h 64"/>
                <a:gd name="T2" fmla="*/ 0 w 68"/>
                <a:gd name="T3" fmla="*/ 40 h 64"/>
                <a:gd name="T4" fmla="*/ 6 w 68"/>
                <a:gd name="T5" fmla="*/ 38 h 64"/>
                <a:gd name="T6" fmla="*/ 10 w 68"/>
                <a:gd name="T7" fmla="*/ 38 h 64"/>
                <a:gd name="T8" fmla="*/ 20 w 68"/>
                <a:gd name="T9" fmla="*/ 38 h 64"/>
                <a:gd name="T10" fmla="*/ 26 w 68"/>
                <a:gd name="T11" fmla="*/ 40 h 64"/>
                <a:gd name="T12" fmla="*/ 30 w 68"/>
                <a:gd name="T13" fmla="*/ 38 h 64"/>
                <a:gd name="T14" fmla="*/ 22 w 68"/>
                <a:gd name="T15" fmla="*/ 32 h 64"/>
                <a:gd name="T16" fmla="*/ 16 w 68"/>
                <a:gd name="T17" fmla="*/ 28 h 64"/>
                <a:gd name="T18" fmla="*/ 18 w 68"/>
                <a:gd name="T19" fmla="*/ 22 h 64"/>
                <a:gd name="T20" fmla="*/ 22 w 68"/>
                <a:gd name="T21" fmla="*/ 22 h 64"/>
                <a:gd name="T22" fmla="*/ 28 w 68"/>
                <a:gd name="T23" fmla="*/ 20 h 64"/>
                <a:gd name="T24" fmla="*/ 26 w 68"/>
                <a:gd name="T25" fmla="*/ 14 h 64"/>
                <a:gd name="T26" fmla="*/ 20 w 68"/>
                <a:gd name="T27" fmla="*/ 16 h 64"/>
                <a:gd name="T28" fmla="*/ 14 w 68"/>
                <a:gd name="T29" fmla="*/ 18 h 64"/>
                <a:gd name="T30" fmla="*/ 12 w 68"/>
                <a:gd name="T31" fmla="*/ 12 h 64"/>
                <a:gd name="T32" fmla="*/ 14 w 68"/>
                <a:gd name="T33" fmla="*/ 8 h 64"/>
                <a:gd name="T34" fmla="*/ 20 w 68"/>
                <a:gd name="T35" fmla="*/ 6 h 64"/>
                <a:gd name="T36" fmla="*/ 24 w 68"/>
                <a:gd name="T37" fmla="*/ 2 h 64"/>
                <a:gd name="T38" fmla="*/ 32 w 68"/>
                <a:gd name="T39" fmla="*/ 0 h 64"/>
                <a:gd name="T40" fmla="*/ 38 w 68"/>
                <a:gd name="T41" fmla="*/ 0 h 64"/>
                <a:gd name="T42" fmla="*/ 42 w 68"/>
                <a:gd name="T43" fmla="*/ 6 h 64"/>
                <a:gd name="T44" fmla="*/ 42 w 68"/>
                <a:gd name="T45" fmla="*/ 48 h 64"/>
                <a:gd name="T46" fmla="*/ 64 w 68"/>
                <a:gd name="T47" fmla="*/ 48 h 64"/>
                <a:gd name="T48" fmla="*/ 68 w 68"/>
                <a:gd name="T49" fmla="*/ 52 h 64"/>
                <a:gd name="T50" fmla="*/ 68 w 68"/>
                <a:gd name="T51" fmla="*/ 56 h 64"/>
                <a:gd name="T52" fmla="*/ 60 w 68"/>
                <a:gd name="T53" fmla="*/ 58 h 64"/>
                <a:gd name="T54" fmla="*/ 52 w 68"/>
                <a:gd name="T55" fmla="*/ 58 h 64"/>
                <a:gd name="T56" fmla="*/ 44 w 68"/>
                <a:gd name="T57" fmla="*/ 60 h 64"/>
                <a:gd name="T58" fmla="*/ 42 w 68"/>
                <a:gd name="T59" fmla="*/ 64 h 64"/>
                <a:gd name="T60" fmla="*/ 34 w 68"/>
                <a:gd name="T61" fmla="*/ 62 h 64"/>
                <a:gd name="T62" fmla="*/ 24 w 68"/>
                <a:gd name="T63" fmla="*/ 60 h 64"/>
                <a:gd name="T64" fmla="*/ 20 w 68"/>
                <a:gd name="T65" fmla="*/ 56 h 64"/>
                <a:gd name="T66" fmla="*/ 20 w 68"/>
                <a:gd name="T67" fmla="*/ 50 h 64"/>
                <a:gd name="T68" fmla="*/ 16 w 68"/>
                <a:gd name="T69" fmla="*/ 50 h 64"/>
                <a:gd name="T70" fmla="*/ 12 w 68"/>
                <a:gd name="T71" fmla="*/ 50 h 64"/>
                <a:gd name="T72" fmla="*/ 12 w 68"/>
                <a:gd name="T73" fmla="*/ 56 h 64"/>
                <a:gd name="T74" fmla="*/ 2 w 68"/>
                <a:gd name="T75" fmla="*/ 52 h 64"/>
                <a:gd name="T76" fmla="*/ 2 w 68"/>
                <a:gd name="T77" fmla="*/ 4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8" h="64">
                  <a:moveTo>
                    <a:pt x="2" y="46"/>
                  </a:moveTo>
                  <a:lnTo>
                    <a:pt x="0" y="40"/>
                  </a:lnTo>
                  <a:lnTo>
                    <a:pt x="6" y="38"/>
                  </a:lnTo>
                  <a:lnTo>
                    <a:pt x="10" y="38"/>
                  </a:lnTo>
                  <a:lnTo>
                    <a:pt x="20" y="38"/>
                  </a:lnTo>
                  <a:lnTo>
                    <a:pt x="26" y="40"/>
                  </a:lnTo>
                  <a:lnTo>
                    <a:pt x="30" y="38"/>
                  </a:lnTo>
                  <a:lnTo>
                    <a:pt x="22" y="32"/>
                  </a:lnTo>
                  <a:lnTo>
                    <a:pt x="16" y="28"/>
                  </a:lnTo>
                  <a:lnTo>
                    <a:pt x="18" y="22"/>
                  </a:lnTo>
                  <a:lnTo>
                    <a:pt x="22" y="22"/>
                  </a:lnTo>
                  <a:lnTo>
                    <a:pt x="28" y="20"/>
                  </a:lnTo>
                  <a:lnTo>
                    <a:pt x="26" y="14"/>
                  </a:lnTo>
                  <a:lnTo>
                    <a:pt x="20" y="16"/>
                  </a:lnTo>
                  <a:lnTo>
                    <a:pt x="14" y="18"/>
                  </a:lnTo>
                  <a:lnTo>
                    <a:pt x="12" y="12"/>
                  </a:lnTo>
                  <a:lnTo>
                    <a:pt x="14" y="8"/>
                  </a:lnTo>
                  <a:lnTo>
                    <a:pt x="20" y="6"/>
                  </a:lnTo>
                  <a:lnTo>
                    <a:pt x="24" y="2"/>
                  </a:lnTo>
                  <a:lnTo>
                    <a:pt x="32" y="0"/>
                  </a:lnTo>
                  <a:lnTo>
                    <a:pt x="38" y="0"/>
                  </a:lnTo>
                  <a:lnTo>
                    <a:pt x="42" y="6"/>
                  </a:lnTo>
                  <a:lnTo>
                    <a:pt x="42" y="48"/>
                  </a:lnTo>
                  <a:lnTo>
                    <a:pt x="64" y="48"/>
                  </a:lnTo>
                  <a:lnTo>
                    <a:pt x="68" y="52"/>
                  </a:lnTo>
                  <a:lnTo>
                    <a:pt x="68" y="56"/>
                  </a:lnTo>
                  <a:lnTo>
                    <a:pt x="60" y="58"/>
                  </a:lnTo>
                  <a:lnTo>
                    <a:pt x="52" y="58"/>
                  </a:lnTo>
                  <a:lnTo>
                    <a:pt x="44" y="60"/>
                  </a:lnTo>
                  <a:lnTo>
                    <a:pt x="42" y="64"/>
                  </a:lnTo>
                  <a:lnTo>
                    <a:pt x="34" y="62"/>
                  </a:lnTo>
                  <a:lnTo>
                    <a:pt x="24" y="60"/>
                  </a:lnTo>
                  <a:lnTo>
                    <a:pt x="20" y="56"/>
                  </a:lnTo>
                  <a:lnTo>
                    <a:pt x="20" y="50"/>
                  </a:lnTo>
                  <a:lnTo>
                    <a:pt x="16" y="50"/>
                  </a:lnTo>
                  <a:lnTo>
                    <a:pt x="12" y="50"/>
                  </a:lnTo>
                  <a:lnTo>
                    <a:pt x="12" y="56"/>
                  </a:lnTo>
                  <a:lnTo>
                    <a:pt x="2" y="52"/>
                  </a:lnTo>
                  <a:lnTo>
                    <a:pt x="2" y="4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96" name="Freeform 88">
              <a:extLst>
                <a:ext uri="{FF2B5EF4-FFF2-40B4-BE49-F238E27FC236}">
                  <a16:creationId xmlns:a16="http://schemas.microsoft.com/office/drawing/2014/main" id="{82A0C04F-F1AB-4904-98FC-2D268D67F7AA}"/>
                </a:ext>
              </a:extLst>
            </p:cNvPr>
            <p:cNvSpPr>
              <a:spLocks/>
            </p:cNvSpPr>
            <p:nvPr/>
          </p:nvSpPr>
          <p:spPr bwMode="gray">
            <a:xfrm>
              <a:off x="4230025" y="6178562"/>
              <a:ext cx="29719" cy="29876"/>
            </a:xfrm>
            <a:custGeom>
              <a:avLst/>
              <a:gdLst>
                <a:gd name="T0" fmla="*/ 6 w 18"/>
                <a:gd name="T1" fmla="*/ 4 h 18"/>
                <a:gd name="T2" fmla="*/ 12 w 18"/>
                <a:gd name="T3" fmla="*/ 0 h 18"/>
                <a:gd name="T4" fmla="*/ 18 w 18"/>
                <a:gd name="T5" fmla="*/ 2 h 18"/>
                <a:gd name="T6" fmla="*/ 18 w 18"/>
                <a:gd name="T7" fmla="*/ 6 h 18"/>
                <a:gd name="T8" fmla="*/ 14 w 18"/>
                <a:gd name="T9" fmla="*/ 10 h 18"/>
                <a:gd name="T10" fmla="*/ 8 w 18"/>
                <a:gd name="T11" fmla="*/ 16 h 18"/>
                <a:gd name="T12" fmla="*/ 4 w 18"/>
                <a:gd name="T13" fmla="*/ 18 h 18"/>
                <a:gd name="T14" fmla="*/ 0 w 18"/>
                <a:gd name="T15" fmla="*/ 16 h 18"/>
                <a:gd name="T16" fmla="*/ 0 w 18"/>
                <a:gd name="T17" fmla="*/ 12 h 18"/>
                <a:gd name="T18" fmla="*/ 4 w 18"/>
                <a:gd name="T19" fmla="*/ 8 h 18"/>
                <a:gd name="T20" fmla="*/ 6 w 18"/>
                <a:gd name="T21" fmla="*/ 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 h="18">
                  <a:moveTo>
                    <a:pt x="6" y="4"/>
                  </a:moveTo>
                  <a:lnTo>
                    <a:pt x="12" y="0"/>
                  </a:lnTo>
                  <a:lnTo>
                    <a:pt x="18" y="2"/>
                  </a:lnTo>
                  <a:lnTo>
                    <a:pt x="18" y="6"/>
                  </a:lnTo>
                  <a:lnTo>
                    <a:pt x="14" y="10"/>
                  </a:lnTo>
                  <a:lnTo>
                    <a:pt x="8" y="16"/>
                  </a:lnTo>
                  <a:lnTo>
                    <a:pt x="4" y="18"/>
                  </a:lnTo>
                  <a:lnTo>
                    <a:pt x="0" y="16"/>
                  </a:lnTo>
                  <a:lnTo>
                    <a:pt x="0" y="12"/>
                  </a:lnTo>
                  <a:lnTo>
                    <a:pt x="4" y="8"/>
                  </a:lnTo>
                  <a:lnTo>
                    <a:pt x="6" y="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97" name="Freeform 89">
              <a:extLst>
                <a:ext uri="{FF2B5EF4-FFF2-40B4-BE49-F238E27FC236}">
                  <a16:creationId xmlns:a16="http://schemas.microsoft.com/office/drawing/2014/main" id="{8ECD711D-2C9B-4661-BE7F-BEDAF72469E2}"/>
                </a:ext>
              </a:extLst>
            </p:cNvPr>
            <p:cNvSpPr>
              <a:spLocks/>
            </p:cNvSpPr>
            <p:nvPr/>
          </p:nvSpPr>
          <p:spPr bwMode="gray">
            <a:xfrm>
              <a:off x="4256442" y="6181882"/>
              <a:ext cx="46230" cy="33197"/>
            </a:xfrm>
            <a:custGeom>
              <a:avLst/>
              <a:gdLst>
                <a:gd name="T0" fmla="*/ 6 w 28"/>
                <a:gd name="T1" fmla="*/ 8 h 20"/>
                <a:gd name="T2" fmla="*/ 10 w 28"/>
                <a:gd name="T3" fmla="*/ 0 h 20"/>
                <a:gd name="T4" fmla="*/ 16 w 28"/>
                <a:gd name="T5" fmla="*/ 0 h 20"/>
                <a:gd name="T6" fmla="*/ 22 w 28"/>
                <a:gd name="T7" fmla="*/ 0 h 20"/>
                <a:gd name="T8" fmla="*/ 28 w 28"/>
                <a:gd name="T9" fmla="*/ 2 h 20"/>
                <a:gd name="T10" fmla="*/ 28 w 28"/>
                <a:gd name="T11" fmla="*/ 6 h 20"/>
                <a:gd name="T12" fmla="*/ 22 w 28"/>
                <a:gd name="T13" fmla="*/ 8 h 20"/>
                <a:gd name="T14" fmla="*/ 18 w 28"/>
                <a:gd name="T15" fmla="*/ 10 h 20"/>
                <a:gd name="T16" fmla="*/ 16 w 28"/>
                <a:gd name="T17" fmla="*/ 10 h 20"/>
                <a:gd name="T18" fmla="*/ 12 w 28"/>
                <a:gd name="T19" fmla="*/ 14 h 20"/>
                <a:gd name="T20" fmla="*/ 8 w 28"/>
                <a:gd name="T21" fmla="*/ 16 h 20"/>
                <a:gd name="T22" fmla="*/ 6 w 28"/>
                <a:gd name="T23" fmla="*/ 20 h 20"/>
                <a:gd name="T24" fmla="*/ 0 w 28"/>
                <a:gd name="T25" fmla="*/ 18 h 20"/>
                <a:gd name="T26" fmla="*/ 0 w 28"/>
                <a:gd name="T27" fmla="*/ 12 h 20"/>
                <a:gd name="T28" fmla="*/ 2 w 28"/>
                <a:gd name="T29" fmla="*/ 10 h 20"/>
                <a:gd name="T30" fmla="*/ 6 w 28"/>
                <a:gd name="T31" fmla="*/ 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 h="20">
                  <a:moveTo>
                    <a:pt x="6" y="8"/>
                  </a:moveTo>
                  <a:lnTo>
                    <a:pt x="10" y="0"/>
                  </a:lnTo>
                  <a:lnTo>
                    <a:pt x="16" y="0"/>
                  </a:lnTo>
                  <a:lnTo>
                    <a:pt x="22" y="0"/>
                  </a:lnTo>
                  <a:lnTo>
                    <a:pt x="28" y="2"/>
                  </a:lnTo>
                  <a:lnTo>
                    <a:pt x="28" y="6"/>
                  </a:lnTo>
                  <a:lnTo>
                    <a:pt x="22" y="8"/>
                  </a:lnTo>
                  <a:lnTo>
                    <a:pt x="18" y="10"/>
                  </a:lnTo>
                  <a:lnTo>
                    <a:pt x="16" y="10"/>
                  </a:lnTo>
                  <a:lnTo>
                    <a:pt x="12" y="14"/>
                  </a:lnTo>
                  <a:lnTo>
                    <a:pt x="8" y="16"/>
                  </a:lnTo>
                  <a:lnTo>
                    <a:pt x="6" y="20"/>
                  </a:lnTo>
                  <a:lnTo>
                    <a:pt x="0" y="18"/>
                  </a:lnTo>
                  <a:lnTo>
                    <a:pt x="0" y="12"/>
                  </a:lnTo>
                  <a:lnTo>
                    <a:pt x="2" y="10"/>
                  </a:lnTo>
                  <a:lnTo>
                    <a:pt x="6" y="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98" name="Freeform 90">
              <a:extLst>
                <a:ext uri="{FF2B5EF4-FFF2-40B4-BE49-F238E27FC236}">
                  <a16:creationId xmlns:a16="http://schemas.microsoft.com/office/drawing/2014/main" id="{BF9B2A95-6C35-42C1-ADA9-A04CCCB2087B}"/>
                </a:ext>
              </a:extLst>
            </p:cNvPr>
            <p:cNvSpPr>
              <a:spLocks/>
            </p:cNvSpPr>
            <p:nvPr/>
          </p:nvSpPr>
          <p:spPr bwMode="gray">
            <a:xfrm>
              <a:off x="3879997" y="4555250"/>
              <a:ext cx="1023665" cy="1058970"/>
            </a:xfrm>
            <a:custGeom>
              <a:avLst/>
              <a:gdLst>
                <a:gd name="T0" fmla="*/ 366 w 620"/>
                <a:gd name="T1" fmla="*/ 36 h 638"/>
                <a:gd name="T2" fmla="*/ 378 w 620"/>
                <a:gd name="T3" fmla="*/ 70 h 638"/>
                <a:gd name="T4" fmla="*/ 362 w 620"/>
                <a:gd name="T5" fmla="*/ 100 h 638"/>
                <a:gd name="T6" fmla="*/ 388 w 620"/>
                <a:gd name="T7" fmla="*/ 78 h 638"/>
                <a:gd name="T8" fmla="*/ 402 w 620"/>
                <a:gd name="T9" fmla="*/ 98 h 638"/>
                <a:gd name="T10" fmla="*/ 404 w 620"/>
                <a:gd name="T11" fmla="*/ 108 h 638"/>
                <a:gd name="T12" fmla="*/ 420 w 620"/>
                <a:gd name="T13" fmla="*/ 92 h 638"/>
                <a:gd name="T14" fmla="*/ 472 w 620"/>
                <a:gd name="T15" fmla="*/ 114 h 638"/>
                <a:gd name="T16" fmla="*/ 476 w 620"/>
                <a:gd name="T17" fmla="*/ 126 h 638"/>
                <a:gd name="T18" fmla="*/ 516 w 620"/>
                <a:gd name="T19" fmla="*/ 130 h 638"/>
                <a:gd name="T20" fmla="*/ 572 w 620"/>
                <a:gd name="T21" fmla="*/ 152 h 638"/>
                <a:gd name="T22" fmla="*/ 614 w 620"/>
                <a:gd name="T23" fmla="*/ 174 h 638"/>
                <a:gd name="T24" fmla="*/ 600 w 620"/>
                <a:gd name="T25" fmla="*/ 246 h 638"/>
                <a:gd name="T26" fmla="*/ 570 w 620"/>
                <a:gd name="T27" fmla="*/ 286 h 638"/>
                <a:gd name="T28" fmla="*/ 556 w 620"/>
                <a:gd name="T29" fmla="*/ 322 h 638"/>
                <a:gd name="T30" fmla="*/ 544 w 620"/>
                <a:gd name="T31" fmla="*/ 392 h 638"/>
                <a:gd name="T32" fmla="*/ 512 w 620"/>
                <a:gd name="T33" fmla="*/ 446 h 638"/>
                <a:gd name="T34" fmla="*/ 454 w 620"/>
                <a:gd name="T35" fmla="*/ 468 h 638"/>
                <a:gd name="T36" fmla="*/ 408 w 620"/>
                <a:gd name="T37" fmla="*/ 494 h 638"/>
                <a:gd name="T38" fmla="*/ 398 w 620"/>
                <a:gd name="T39" fmla="*/ 550 h 638"/>
                <a:gd name="T40" fmla="*/ 374 w 620"/>
                <a:gd name="T41" fmla="*/ 588 h 638"/>
                <a:gd name="T42" fmla="*/ 352 w 620"/>
                <a:gd name="T43" fmla="*/ 606 h 638"/>
                <a:gd name="T44" fmla="*/ 370 w 620"/>
                <a:gd name="T45" fmla="*/ 584 h 638"/>
                <a:gd name="T46" fmla="*/ 352 w 620"/>
                <a:gd name="T47" fmla="*/ 596 h 638"/>
                <a:gd name="T48" fmla="*/ 342 w 620"/>
                <a:gd name="T49" fmla="*/ 622 h 638"/>
                <a:gd name="T50" fmla="*/ 330 w 620"/>
                <a:gd name="T51" fmla="*/ 622 h 638"/>
                <a:gd name="T52" fmla="*/ 286 w 620"/>
                <a:gd name="T53" fmla="*/ 590 h 638"/>
                <a:gd name="T54" fmla="*/ 300 w 620"/>
                <a:gd name="T55" fmla="*/ 540 h 638"/>
                <a:gd name="T56" fmla="*/ 322 w 620"/>
                <a:gd name="T57" fmla="*/ 502 h 638"/>
                <a:gd name="T58" fmla="*/ 314 w 620"/>
                <a:gd name="T59" fmla="*/ 474 h 638"/>
                <a:gd name="T60" fmla="*/ 290 w 620"/>
                <a:gd name="T61" fmla="*/ 446 h 638"/>
                <a:gd name="T62" fmla="*/ 256 w 620"/>
                <a:gd name="T63" fmla="*/ 414 h 638"/>
                <a:gd name="T64" fmla="*/ 260 w 620"/>
                <a:gd name="T65" fmla="*/ 376 h 638"/>
                <a:gd name="T66" fmla="*/ 220 w 620"/>
                <a:gd name="T67" fmla="*/ 342 h 638"/>
                <a:gd name="T68" fmla="*/ 214 w 620"/>
                <a:gd name="T69" fmla="*/ 302 h 638"/>
                <a:gd name="T70" fmla="*/ 162 w 620"/>
                <a:gd name="T71" fmla="*/ 282 h 638"/>
                <a:gd name="T72" fmla="*/ 116 w 620"/>
                <a:gd name="T73" fmla="*/ 244 h 638"/>
                <a:gd name="T74" fmla="*/ 60 w 620"/>
                <a:gd name="T75" fmla="*/ 256 h 638"/>
                <a:gd name="T76" fmla="*/ 48 w 620"/>
                <a:gd name="T77" fmla="*/ 238 h 638"/>
                <a:gd name="T78" fmla="*/ 8 w 620"/>
                <a:gd name="T79" fmla="*/ 222 h 638"/>
                <a:gd name="T80" fmla="*/ 26 w 620"/>
                <a:gd name="T81" fmla="*/ 160 h 638"/>
                <a:gd name="T82" fmla="*/ 70 w 620"/>
                <a:gd name="T83" fmla="*/ 120 h 638"/>
                <a:gd name="T84" fmla="*/ 66 w 620"/>
                <a:gd name="T85" fmla="*/ 72 h 638"/>
                <a:gd name="T86" fmla="*/ 92 w 620"/>
                <a:gd name="T87" fmla="*/ 56 h 638"/>
                <a:gd name="T88" fmla="*/ 130 w 620"/>
                <a:gd name="T89" fmla="*/ 72 h 638"/>
                <a:gd name="T90" fmla="*/ 168 w 620"/>
                <a:gd name="T91" fmla="*/ 44 h 638"/>
                <a:gd name="T92" fmla="*/ 154 w 620"/>
                <a:gd name="T93" fmla="*/ 18 h 638"/>
                <a:gd name="T94" fmla="*/ 194 w 620"/>
                <a:gd name="T95" fmla="*/ 18 h 638"/>
                <a:gd name="T96" fmla="*/ 228 w 620"/>
                <a:gd name="T97" fmla="*/ 22 h 638"/>
                <a:gd name="T98" fmla="*/ 244 w 620"/>
                <a:gd name="T99" fmla="*/ 64 h 638"/>
                <a:gd name="T100" fmla="*/ 276 w 620"/>
                <a:gd name="T101" fmla="*/ 54 h 638"/>
                <a:gd name="T102" fmla="*/ 290 w 620"/>
                <a:gd name="T103" fmla="*/ 44 h 638"/>
                <a:gd name="T104" fmla="*/ 332 w 620"/>
                <a:gd name="T105" fmla="*/ 4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20" h="638">
                  <a:moveTo>
                    <a:pt x="356" y="18"/>
                  </a:moveTo>
                  <a:lnTo>
                    <a:pt x="362" y="20"/>
                  </a:lnTo>
                  <a:lnTo>
                    <a:pt x="366" y="24"/>
                  </a:lnTo>
                  <a:lnTo>
                    <a:pt x="364" y="28"/>
                  </a:lnTo>
                  <a:lnTo>
                    <a:pt x="366" y="36"/>
                  </a:lnTo>
                  <a:lnTo>
                    <a:pt x="368" y="44"/>
                  </a:lnTo>
                  <a:lnTo>
                    <a:pt x="376" y="54"/>
                  </a:lnTo>
                  <a:lnTo>
                    <a:pt x="382" y="60"/>
                  </a:lnTo>
                  <a:lnTo>
                    <a:pt x="382" y="68"/>
                  </a:lnTo>
                  <a:lnTo>
                    <a:pt x="378" y="70"/>
                  </a:lnTo>
                  <a:lnTo>
                    <a:pt x="370" y="76"/>
                  </a:lnTo>
                  <a:lnTo>
                    <a:pt x="362" y="84"/>
                  </a:lnTo>
                  <a:lnTo>
                    <a:pt x="360" y="88"/>
                  </a:lnTo>
                  <a:lnTo>
                    <a:pt x="360" y="96"/>
                  </a:lnTo>
                  <a:lnTo>
                    <a:pt x="362" y="100"/>
                  </a:lnTo>
                  <a:lnTo>
                    <a:pt x="368" y="98"/>
                  </a:lnTo>
                  <a:lnTo>
                    <a:pt x="372" y="92"/>
                  </a:lnTo>
                  <a:lnTo>
                    <a:pt x="372" y="82"/>
                  </a:lnTo>
                  <a:lnTo>
                    <a:pt x="380" y="78"/>
                  </a:lnTo>
                  <a:lnTo>
                    <a:pt x="388" y="78"/>
                  </a:lnTo>
                  <a:lnTo>
                    <a:pt x="392" y="82"/>
                  </a:lnTo>
                  <a:lnTo>
                    <a:pt x="400" y="84"/>
                  </a:lnTo>
                  <a:lnTo>
                    <a:pt x="404" y="88"/>
                  </a:lnTo>
                  <a:lnTo>
                    <a:pt x="404" y="92"/>
                  </a:lnTo>
                  <a:lnTo>
                    <a:pt x="402" y="98"/>
                  </a:lnTo>
                  <a:lnTo>
                    <a:pt x="398" y="102"/>
                  </a:lnTo>
                  <a:lnTo>
                    <a:pt x="392" y="108"/>
                  </a:lnTo>
                  <a:lnTo>
                    <a:pt x="392" y="116"/>
                  </a:lnTo>
                  <a:lnTo>
                    <a:pt x="396" y="116"/>
                  </a:lnTo>
                  <a:lnTo>
                    <a:pt x="404" y="108"/>
                  </a:lnTo>
                  <a:lnTo>
                    <a:pt x="406" y="108"/>
                  </a:lnTo>
                  <a:lnTo>
                    <a:pt x="408" y="104"/>
                  </a:lnTo>
                  <a:lnTo>
                    <a:pt x="410" y="98"/>
                  </a:lnTo>
                  <a:lnTo>
                    <a:pt x="414" y="94"/>
                  </a:lnTo>
                  <a:lnTo>
                    <a:pt x="420" y="92"/>
                  </a:lnTo>
                  <a:lnTo>
                    <a:pt x="426" y="94"/>
                  </a:lnTo>
                  <a:lnTo>
                    <a:pt x="440" y="98"/>
                  </a:lnTo>
                  <a:lnTo>
                    <a:pt x="448" y="104"/>
                  </a:lnTo>
                  <a:lnTo>
                    <a:pt x="462" y="110"/>
                  </a:lnTo>
                  <a:lnTo>
                    <a:pt x="472" y="114"/>
                  </a:lnTo>
                  <a:lnTo>
                    <a:pt x="472" y="120"/>
                  </a:lnTo>
                  <a:lnTo>
                    <a:pt x="468" y="126"/>
                  </a:lnTo>
                  <a:lnTo>
                    <a:pt x="466" y="134"/>
                  </a:lnTo>
                  <a:lnTo>
                    <a:pt x="468" y="134"/>
                  </a:lnTo>
                  <a:lnTo>
                    <a:pt x="476" y="126"/>
                  </a:lnTo>
                  <a:lnTo>
                    <a:pt x="482" y="124"/>
                  </a:lnTo>
                  <a:lnTo>
                    <a:pt x="488" y="122"/>
                  </a:lnTo>
                  <a:lnTo>
                    <a:pt x="496" y="124"/>
                  </a:lnTo>
                  <a:lnTo>
                    <a:pt x="506" y="128"/>
                  </a:lnTo>
                  <a:lnTo>
                    <a:pt x="516" y="130"/>
                  </a:lnTo>
                  <a:lnTo>
                    <a:pt x="528" y="130"/>
                  </a:lnTo>
                  <a:lnTo>
                    <a:pt x="538" y="132"/>
                  </a:lnTo>
                  <a:lnTo>
                    <a:pt x="548" y="134"/>
                  </a:lnTo>
                  <a:lnTo>
                    <a:pt x="560" y="142"/>
                  </a:lnTo>
                  <a:lnTo>
                    <a:pt x="572" y="152"/>
                  </a:lnTo>
                  <a:lnTo>
                    <a:pt x="582" y="160"/>
                  </a:lnTo>
                  <a:lnTo>
                    <a:pt x="592" y="166"/>
                  </a:lnTo>
                  <a:lnTo>
                    <a:pt x="602" y="164"/>
                  </a:lnTo>
                  <a:lnTo>
                    <a:pt x="610" y="164"/>
                  </a:lnTo>
                  <a:lnTo>
                    <a:pt x="614" y="174"/>
                  </a:lnTo>
                  <a:lnTo>
                    <a:pt x="620" y="190"/>
                  </a:lnTo>
                  <a:lnTo>
                    <a:pt x="620" y="206"/>
                  </a:lnTo>
                  <a:lnTo>
                    <a:pt x="618" y="224"/>
                  </a:lnTo>
                  <a:lnTo>
                    <a:pt x="608" y="236"/>
                  </a:lnTo>
                  <a:lnTo>
                    <a:pt x="600" y="246"/>
                  </a:lnTo>
                  <a:lnTo>
                    <a:pt x="580" y="264"/>
                  </a:lnTo>
                  <a:lnTo>
                    <a:pt x="580" y="272"/>
                  </a:lnTo>
                  <a:lnTo>
                    <a:pt x="578" y="278"/>
                  </a:lnTo>
                  <a:lnTo>
                    <a:pt x="574" y="282"/>
                  </a:lnTo>
                  <a:lnTo>
                    <a:pt x="570" y="286"/>
                  </a:lnTo>
                  <a:lnTo>
                    <a:pt x="562" y="290"/>
                  </a:lnTo>
                  <a:lnTo>
                    <a:pt x="556" y="294"/>
                  </a:lnTo>
                  <a:lnTo>
                    <a:pt x="554" y="302"/>
                  </a:lnTo>
                  <a:lnTo>
                    <a:pt x="554" y="310"/>
                  </a:lnTo>
                  <a:lnTo>
                    <a:pt x="556" y="322"/>
                  </a:lnTo>
                  <a:lnTo>
                    <a:pt x="556" y="338"/>
                  </a:lnTo>
                  <a:lnTo>
                    <a:pt x="554" y="350"/>
                  </a:lnTo>
                  <a:lnTo>
                    <a:pt x="552" y="366"/>
                  </a:lnTo>
                  <a:lnTo>
                    <a:pt x="548" y="376"/>
                  </a:lnTo>
                  <a:lnTo>
                    <a:pt x="544" y="392"/>
                  </a:lnTo>
                  <a:lnTo>
                    <a:pt x="536" y="408"/>
                  </a:lnTo>
                  <a:lnTo>
                    <a:pt x="528" y="420"/>
                  </a:lnTo>
                  <a:lnTo>
                    <a:pt x="524" y="434"/>
                  </a:lnTo>
                  <a:lnTo>
                    <a:pt x="518" y="440"/>
                  </a:lnTo>
                  <a:lnTo>
                    <a:pt x="512" y="446"/>
                  </a:lnTo>
                  <a:lnTo>
                    <a:pt x="508" y="452"/>
                  </a:lnTo>
                  <a:lnTo>
                    <a:pt x="494" y="456"/>
                  </a:lnTo>
                  <a:lnTo>
                    <a:pt x="482" y="456"/>
                  </a:lnTo>
                  <a:lnTo>
                    <a:pt x="464" y="458"/>
                  </a:lnTo>
                  <a:lnTo>
                    <a:pt x="454" y="468"/>
                  </a:lnTo>
                  <a:lnTo>
                    <a:pt x="446" y="472"/>
                  </a:lnTo>
                  <a:lnTo>
                    <a:pt x="438" y="472"/>
                  </a:lnTo>
                  <a:lnTo>
                    <a:pt x="430" y="480"/>
                  </a:lnTo>
                  <a:lnTo>
                    <a:pt x="418" y="484"/>
                  </a:lnTo>
                  <a:lnTo>
                    <a:pt x="408" y="494"/>
                  </a:lnTo>
                  <a:lnTo>
                    <a:pt x="404" y="502"/>
                  </a:lnTo>
                  <a:lnTo>
                    <a:pt x="402" y="516"/>
                  </a:lnTo>
                  <a:lnTo>
                    <a:pt x="402" y="526"/>
                  </a:lnTo>
                  <a:lnTo>
                    <a:pt x="404" y="542"/>
                  </a:lnTo>
                  <a:lnTo>
                    <a:pt x="398" y="550"/>
                  </a:lnTo>
                  <a:lnTo>
                    <a:pt x="390" y="560"/>
                  </a:lnTo>
                  <a:lnTo>
                    <a:pt x="384" y="566"/>
                  </a:lnTo>
                  <a:lnTo>
                    <a:pt x="380" y="574"/>
                  </a:lnTo>
                  <a:lnTo>
                    <a:pt x="376" y="584"/>
                  </a:lnTo>
                  <a:lnTo>
                    <a:pt x="374" y="588"/>
                  </a:lnTo>
                  <a:lnTo>
                    <a:pt x="370" y="592"/>
                  </a:lnTo>
                  <a:lnTo>
                    <a:pt x="366" y="600"/>
                  </a:lnTo>
                  <a:lnTo>
                    <a:pt x="360" y="604"/>
                  </a:lnTo>
                  <a:lnTo>
                    <a:pt x="352" y="610"/>
                  </a:lnTo>
                  <a:lnTo>
                    <a:pt x="352" y="606"/>
                  </a:lnTo>
                  <a:lnTo>
                    <a:pt x="352" y="604"/>
                  </a:lnTo>
                  <a:lnTo>
                    <a:pt x="356" y="600"/>
                  </a:lnTo>
                  <a:lnTo>
                    <a:pt x="360" y="596"/>
                  </a:lnTo>
                  <a:lnTo>
                    <a:pt x="366" y="590"/>
                  </a:lnTo>
                  <a:lnTo>
                    <a:pt x="370" y="584"/>
                  </a:lnTo>
                  <a:lnTo>
                    <a:pt x="368" y="580"/>
                  </a:lnTo>
                  <a:lnTo>
                    <a:pt x="364" y="582"/>
                  </a:lnTo>
                  <a:lnTo>
                    <a:pt x="360" y="586"/>
                  </a:lnTo>
                  <a:lnTo>
                    <a:pt x="356" y="592"/>
                  </a:lnTo>
                  <a:lnTo>
                    <a:pt x="352" y="596"/>
                  </a:lnTo>
                  <a:lnTo>
                    <a:pt x="348" y="600"/>
                  </a:lnTo>
                  <a:lnTo>
                    <a:pt x="348" y="606"/>
                  </a:lnTo>
                  <a:lnTo>
                    <a:pt x="346" y="612"/>
                  </a:lnTo>
                  <a:lnTo>
                    <a:pt x="344" y="618"/>
                  </a:lnTo>
                  <a:lnTo>
                    <a:pt x="342" y="622"/>
                  </a:lnTo>
                  <a:lnTo>
                    <a:pt x="336" y="630"/>
                  </a:lnTo>
                  <a:lnTo>
                    <a:pt x="332" y="638"/>
                  </a:lnTo>
                  <a:lnTo>
                    <a:pt x="328" y="634"/>
                  </a:lnTo>
                  <a:lnTo>
                    <a:pt x="328" y="628"/>
                  </a:lnTo>
                  <a:lnTo>
                    <a:pt x="330" y="622"/>
                  </a:lnTo>
                  <a:lnTo>
                    <a:pt x="326" y="614"/>
                  </a:lnTo>
                  <a:lnTo>
                    <a:pt x="320" y="610"/>
                  </a:lnTo>
                  <a:lnTo>
                    <a:pt x="308" y="600"/>
                  </a:lnTo>
                  <a:lnTo>
                    <a:pt x="294" y="592"/>
                  </a:lnTo>
                  <a:lnTo>
                    <a:pt x="286" y="590"/>
                  </a:lnTo>
                  <a:lnTo>
                    <a:pt x="278" y="580"/>
                  </a:lnTo>
                  <a:lnTo>
                    <a:pt x="268" y="572"/>
                  </a:lnTo>
                  <a:lnTo>
                    <a:pt x="270" y="568"/>
                  </a:lnTo>
                  <a:lnTo>
                    <a:pt x="276" y="564"/>
                  </a:lnTo>
                  <a:lnTo>
                    <a:pt x="300" y="540"/>
                  </a:lnTo>
                  <a:lnTo>
                    <a:pt x="308" y="534"/>
                  </a:lnTo>
                  <a:lnTo>
                    <a:pt x="316" y="530"/>
                  </a:lnTo>
                  <a:lnTo>
                    <a:pt x="320" y="524"/>
                  </a:lnTo>
                  <a:lnTo>
                    <a:pt x="324" y="512"/>
                  </a:lnTo>
                  <a:lnTo>
                    <a:pt x="322" y="502"/>
                  </a:lnTo>
                  <a:lnTo>
                    <a:pt x="318" y="498"/>
                  </a:lnTo>
                  <a:lnTo>
                    <a:pt x="308" y="496"/>
                  </a:lnTo>
                  <a:lnTo>
                    <a:pt x="308" y="490"/>
                  </a:lnTo>
                  <a:lnTo>
                    <a:pt x="312" y="482"/>
                  </a:lnTo>
                  <a:lnTo>
                    <a:pt x="314" y="474"/>
                  </a:lnTo>
                  <a:lnTo>
                    <a:pt x="308" y="472"/>
                  </a:lnTo>
                  <a:lnTo>
                    <a:pt x="300" y="474"/>
                  </a:lnTo>
                  <a:lnTo>
                    <a:pt x="292" y="466"/>
                  </a:lnTo>
                  <a:lnTo>
                    <a:pt x="288" y="456"/>
                  </a:lnTo>
                  <a:lnTo>
                    <a:pt x="290" y="446"/>
                  </a:lnTo>
                  <a:lnTo>
                    <a:pt x="284" y="442"/>
                  </a:lnTo>
                  <a:lnTo>
                    <a:pt x="274" y="440"/>
                  </a:lnTo>
                  <a:lnTo>
                    <a:pt x="266" y="442"/>
                  </a:lnTo>
                  <a:lnTo>
                    <a:pt x="256" y="442"/>
                  </a:lnTo>
                  <a:lnTo>
                    <a:pt x="256" y="414"/>
                  </a:lnTo>
                  <a:lnTo>
                    <a:pt x="252" y="406"/>
                  </a:lnTo>
                  <a:lnTo>
                    <a:pt x="256" y="402"/>
                  </a:lnTo>
                  <a:lnTo>
                    <a:pt x="252" y="396"/>
                  </a:lnTo>
                  <a:lnTo>
                    <a:pt x="260" y="382"/>
                  </a:lnTo>
                  <a:lnTo>
                    <a:pt x="260" y="376"/>
                  </a:lnTo>
                  <a:lnTo>
                    <a:pt x="258" y="366"/>
                  </a:lnTo>
                  <a:lnTo>
                    <a:pt x="248" y="362"/>
                  </a:lnTo>
                  <a:lnTo>
                    <a:pt x="246" y="350"/>
                  </a:lnTo>
                  <a:lnTo>
                    <a:pt x="248" y="342"/>
                  </a:lnTo>
                  <a:lnTo>
                    <a:pt x="220" y="342"/>
                  </a:lnTo>
                  <a:lnTo>
                    <a:pt x="218" y="330"/>
                  </a:lnTo>
                  <a:lnTo>
                    <a:pt x="218" y="326"/>
                  </a:lnTo>
                  <a:lnTo>
                    <a:pt x="220" y="322"/>
                  </a:lnTo>
                  <a:lnTo>
                    <a:pt x="218" y="314"/>
                  </a:lnTo>
                  <a:lnTo>
                    <a:pt x="214" y="302"/>
                  </a:lnTo>
                  <a:lnTo>
                    <a:pt x="196" y="298"/>
                  </a:lnTo>
                  <a:lnTo>
                    <a:pt x="184" y="292"/>
                  </a:lnTo>
                  <a:lnTo>
                    <a:pt x="176" y="290"/>
                  </a:lnTo>
                  <a:lnTo>
                    <a:pt x="172" y="284"/>
                  </a:lnTo>
                  <a:lnTo>
                    <a:pt x="162" y="282"/>
                  </a:lnTo>
                  <a:lnTo>
                    <a:pt x="152" y="280"/>
                  </a:lnTo>
                  <a:lnTo>
                    <a:pt x="140" y="268"/>
                  </a:lnTo>
                  <a:lnTo>
                    <a:pt x="138" y="240"/>
                  </a:lnTo>
                  <a:lnTo>
                    <a:pt x="126" y="240"/>
                  </a:lnTo>
                  <a:lnTo>
                    <a:pt x="116" y="244"/>
                  </a:lnTo>
                  <a:lnTo>
                    <a:pt x="114" y="244"/>
                  </a:lnTo>
                  <a:lnTo>
                    <a:pt x="106" y="250"/>
                  </a:lnTo>
                  <a:lnTo>
                    <a:pt x="92" y="256"/>
                  </a:lnTo>
                  <a:lnTo>
                    <a:pt x="72" y="258"/>
                  </a:lnTo>
                  <a:lnTo>
                    <a:pt x="60" y="256"/>
                  </a:lnTo>
                  <a:lnTo>
                    <a:pt x="54" y="256"/>
                  </a:lnTo>
                  <a:lnTo>
                    <a:pt x="52" y="250"/>
                  </a:lnTo>
                  <a:lnTo>
                    <a:pt x="56" y="238"/>
                  </a:lnTo>
                  <a:lnTo>
                    <a:pt x="54" y="232"/>
                  </a:lnTo>
                  <a:lnTo>
                    <a:pt x="48" y="238"/>
                  </a:lnTo>
                  <a:lnTo>
                    <a:pt x="38" y="242"/>
                  </a:lnTo>
                  <a:lnTo>
                    <a:pt x="36" y="244"/>
                  </a:lnTo>
                  <a:lnTo>
                    <a:pt x="28" y="242"/>
                  </a:lnTo>
                  <a:lnTo>
                    <a:pt x="18" y="232"/>
                  </a:lnTo>
                  <a:lnTo>
                    <a:pt x="8" y="222"/>
                  </a:lnTo>
                  <a:lnTo>
                    <a:pt x="0" y="200"/>
                  </a:lnTo>
                  <a:lnTo>
                    <a:pt x="8" y="188"/>
                  </a:lnTo>
                  <a:lnTo>
                    <a:pt x="14" y="182"/>
                  </a:lnTo>
                  <a:lnTo>
                    <a:pt x="16" y="172"/>
                  </a:lnTo>
                  <a:lnTo>
                    <a:pt x="26" y="160"/>
                  </a:lnTo>
                  <a:lnTo>
                    <a:pt x="40" y="154"/>
                  </a:lnTo>
                  <a:lnTo>
                    <a:pt x="62" y="152"/>
                  </a:lnTo>
                  <a:lnTo>
                    <a:pt x="68" y="138"/>
                  </a:lnTo>
                  <a:lnTo>
                    <a:pt x="68" y="126"/>
                  </a:lnTo>
                  <a:lnTo>
                    <a:pt x="70" y="120"/>
                  </a:lnTo>
                  <a:lnTo>
                    <a:pt x="72" y="106"/>
                  </a:lnTo>
                  <a:lnTo>
                    <a:pt x="70" y="94"/>
                  </a:lnTo>
                  <a:lnTo>
                    <a:pt x="64" y="86"/>
                  </a:lnTo>
                  <a:lnTo>
                    <a:pt x="64" y="74"/>
                  </a:lnTo>
                  <a:lnTo>
                    <a:pt x="66" y="72"/>
                  </a:lnTo>
                  <a:lnTo>
                    <a:pt x="76" y="74"/>
                  </a:lnTo>
                  <a:lnTo>
                    <a:pt x="76" y="68"/>
                  </a:lnTo>
                  <a:lnTo>
                    <a:pt x="64" y="64"/>
                  </a:lnTo>
                  <a:lnTo>
                    <a:pt x="64" y="58"/>
                  </a:lnTo>
                  <a:lnTo>
                    <a:pt x="92" y="56"/>
                  </a:lnTo>
                  <a:lnTo>
                    <a:pt x="102" y="54"/>
                  </a:lnTo>
                  <a:lnTo>
                    <a:pt x="108" y="56"/>
                  </a:lnTo>
                  <a:lnTo>
                    <a:pt x="112" y="62"/>
                  </a:lnTo>
                  <a:lnTo>
                    <a:pt x="120" y="70"/>
                  </a:lnTo>
                  <a:lnTo>
                    <a:pt x="130" y="72"/>
                  </a:lnTo>
                  <a:lnTo>
                    <a:pt x="144" y="68"/>
                  </a:lnTo>
                  <a:lnTo>
                    <a:pt x="150" y="62"/>
                  </a:lnTo>
                  <a:lnTo>
                    <a:pt x="156" y="56"/>
                  </a:lnTo>
                  <a:lnTo>
                    <a:pt x="168" y="52"/>
                  </a:lnTo>
                  <a:lnTo>
                    <a:pt x="168" y="44"/>
                  </a:lnTo>
                  <a:lnTo>
                    <a:pt x="162" y="44"/>
                  </a:lnTo>
                  <a:lnTo>
                    <a:pt x="156" y="36"/>
                  </a:lnTo>
                  <a:lnTo>
                    <a:pt x="154" y="26"/>
                  </a:lnTo>
                  <a:lnTo>
                    <a:pt x="148" y="20"/>
                  </a:lnTo>
                  <a:lnTo>
                    <a:pt x="154" y="18"/>
                  </a:lnTo>
                  <a:lnTo>
                    <a:pt x="162" y="22"/>
                  </a:lnTo>
                  <a:lnTo>
                    <a:pt x="174" y="22"/>
                  </a:lnTo>
                  <a:lnTo>
                    <a:pt x="178" y="24"/>
                  </a:lnTo>
                  <a:lnTo>
                    <a:pt x="184" y="20"/>
                  </a:lnTo>
                  <a:lnTo>
                    <a:pt x="194" y="18"/>
                  </a:lnTo>
                  <a:lnTo>
                    <a:pt x="206" y="14"/>
                  </a:lnTo>
                  <a:lnTo>
                    <a:pt x="210" y="4"/>
                  </a:lnTo>
                  <a:lnTo>
                    <a:pt x="208" y="0"/>
                  </a:lnTo>
                  <a:lnTo>
                    <a:pt x="220" y="0"/>
                  </a:lnTo>
                  <a:lnTo>
                    <a:pt x="228" y="22"/>
                  </a:lnTo>
                  <a:lnTo>
                    <a:pt x="222" y="28"/>
                  </a:lnTo>
                  <a:lnTo>
                    <a:pt x="222" y="48"/>
                  </a:lnTo>
                  <a:lnTo>
                    <a:pt x="228" y="56"/>
                  </a:lnTo>
                  <a:lnTo>
                    <a:pt x="236" y="64"/>
                  </a:lnTo>
                  <a:lnTo>
                    <a:pt x="244" y="64"/>
                  </a:lnTo>
                  <a:lnTo>
                    <a:pt x="254" y="62"/>
                  </a:lnTo>
                  <a:lnTo>
                    <a:pt x="260" y="58"/>
                  </a:lnTo>
                  <a:lnTo>
                    <a:pt x="268" y="54"/>
                  </a:lnTo>
                  <a:lnTo>
                    <a:pt x="272" y="50"/>
                  </a:lnTo>
                  <a:lnTo>
                    <a:pt x="276" y="54"/>
                  </a:lnTo>
                  <a:lnTo>
                    <a:pt x="282" y="54"/>
                  </a:lnTo>
                  <a:lnTo>
                    <a:pt x="284" y="54"/>
                  </a:lnTo>
                  <a:lnTo>
                    <a:pt x="286" y="48"/>
                  </a:lnTo>
                  <a:lnTo>
                    <a:pt x="286" y="44"/>
                  </a:lnTo>
                  <a:lnTo>
                    <a:pt x="290" y="44"/>
                  </a:lnTo>
                  <a:lnTo>
                    <a:pt x="300" y="46"/>
                  </a:lnTo>
                  <a:lnTo>
                    <a:pt x="310" y="50"/>
                  </a:lnTo>
                  <a:lnTo>
                    <a:pt x="316" y="50"/>
                  </a:lnTo>
                  <a:lnTo>
                    <a:pt x="322" y="46"/>
                  </a:lnTo>
                  <a:lnTo>
                    <a:pt x="332" y="48"/>
                  </a:lnTo>
                  <a:lnTo>
                    <a:pt x="338" y="52"/>
                  </a:lnTo>
                  <a:lnTo>
                    <a:pt x="350" y="24"/>
                  </a:lnTo>
                  <a:lnTo>
                    <a:pt x="356" y="1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99" name="Freeform 91">
              <a:extLst>
                <a:ext uri="{FF2B5EF4-FFF2-40B4-BE49-F238E27FC236}">
                  <a16:creationId xmlns:a16="http://schemas.microsoft.com/office/drawing/2014/main" id="{346B3A75-0AD9-4410-9739-503E5FCFD21A}"/>
                </a:ext>
              </a:extLst>
            </p:cNvPr>
            <p:cNvSpPr>
              <a:spLocks/>
            </p:cNvSpPr>
            <p:nvPr/>
          </p:nvSpPr>
          <p:spPr bwMode="gray">
            <a:xfrm>
              <a:off x="6105642" y="1929400"/>
              <a:ext cx="275729" cy="199179"/>
            </a:xfrm>
            <a:custGeom>
              <a:avLst/>
              <a:gdLst>
                <a:gd name="T0" fmla="*/ 55 w 167"/>
                <a:gd name="T1" fmla="*/ 84 h 120"/>
                <a:gd name="T2" fmla="*/ 71 w 167"/>
                <a:gd name="T3" fmla="*/ 80 h 120"/>
                <a:gd name="T4" fmla="*/ 43 w 167"/>
                <a:gd name="T5" fmla="*/ 78 h 120"/>
                <a:gd name="T6" fmla="*/ 55 w 167"/>
                <a:gd name="T7" fmla="*/ 64 h 120"/>
                <a:gd name="T8" fmla="*/ 85 w 167"/>
                <a:gd name="T9" fmla="*/ 60 h 120"/>
                <a:gd name="T10" fmla="*/ 89 w 167"/>
                <a:gd name="T11" fmla="*/ 48 h 120"/>
                <a:gd name="T12" fmla="*/ 71 w 167"/>
                <a:gd name="T13" fmla="*/ 52 h 120"/>
                <a:gd name="T14" fmla="*/ 65 w 167"/>
                <a:gd name="T15" fmla="*/ 42 h 120"/>
                <a:gd name="T16" fmla="*/ 55 w 167"/>
                <a:gd name="T17" fmla="*/ 48 h 120"/>
                <a:gd name="T18" fmla="*/ 37 w 167"/>
                <a:gd name="T19" fmla="*/ 64 h 120"/>
                <a:gd name="T20" fmla="*/ 11 w 167"/>
                <a:gd name="T21" fmla="*/ 46 h 120"/>
                <a:gd name="T22" fmla="*/ 19 w 167"/>
                <a:gd name="T23" fmla="*/ 28 h 120"/>
                <a:gd name="T24" fmla="*/ 11 w 167"/>
                <a:gd name="T25" fmla="*/ 24 h 120"/>
                <a:gd name="T26" fmla="*/ 0 w 167"/>
                <a:gd name="T27" fmla="*/ 20 h 120"/>
                <a:gd name="T28" fmla="*/ 19 w 167"/>
                <a:gd name="T29" fmla="*/ 8 h 120"/>
                <a:gd name="T30" fmla="*/ 47 w 167"/>
                <a:gd name="T31" fmla="*/ 10 h 120"/>
                <a:gd name="T32" fmla="*/ 55 w 167"/>
                <a:gd name="T33" fmla="*/ 12 h 120"/>
                <a:gd name="T34" fmla="*/ 73 w 167"/>
                <a:gd name="T35" fmla="*/ 14 h 120"/>
                <a:gd name="T36" fmla="*/ 77 w 167"/>
                <a:gd name="T37" fmla="*/ 28 h 120"/>
                <a:gd name="T38" fmla="*/ 89 w 167"/>
                <a:gd name="T39" fmla="*/ 38 h 120"/>
                <a:gd name="T40" fmla="*/ 83 w 167"/>
                <a:gd name="T41" fmla="*/ 12 h 120"/>
                <a:gd name="T42" fmla="*/ 85 w 167"/>
                <a:gd name="T43" fmla="*/ 0 h 120"/>
                <a:gd name="T44" fmla="*/ 107 w 167"/>
                <a:gd name="T45" fmla="*/ 8 h 120"/>
                <a:gd name="T46" fmla="*/ 111 w 167"/>
                <a:gd name="T47" fmla="*/ 22 h 120"/>
                <a:gd name="T48" fmla="*/ 127 w 167"/>
                <a:gd name="T49" fmla="*/ 22 h 120"/>
                <a:gd name="T50" fmla="*/ 151 w 167"/>
                <a:gd name="T51" fmla="*/ 36 h 120"/>
                <a:gd name="T52" fmla="*/ 159 w 167"/>
                <a:gd name="T53" fmla="*/ 48 h 120"/>
                <a:gd name="T54" fmla="*/ 123 w 167"/>
                <a:gd name="T55" fmla="*/ 60 h 120"/>
                <a:gd name="T56" fmla="*/ 117 w 167"/>
                <a:gd name="T57" fmla="*/ 84 h 120"/>
                <a:gd name="T58" fmla="*/ 101 w 167"/>
                <a:gd name="T59" fmla="*/ 102 h 120"/>
                <a:gd name="T60" fmla="*/ 81 w 167"/>
                <a:gd name="T61" fmla="*/ 114 h 120"/>
                <a:gd name="T62" fmla="*/ 67 w 167"/>
                <a:gd name="T63" fmla="*/ 104 h 120"/>
                <a:gd name="T64" fmla="*/ 45 w 167"/>
                <a:gd name="T65" fmla="*/ 9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7" h="120">
                  <a:moveTo>
                    <a:pt x="45" y="92"/>
                  </a:moveTo>
                  <a:lnTo>
                    <a:pt x="55" y="84"/>
                  </a:lnTo>
                  <a:lnTo>
                    <a:pt x="83" y="88"/>
                  </a:lnTo>
                  <a:lnTo>
                    <a:pt x="71" y="80"/>
                  </a:lnTo>
                  <a:lnTo>
                    <a:pt x="59" y="76"/>
                  </a:lnTo>
                  <a:lnTo>
                    <a:pt x="43" y="78"/>
                  </a:lnTo>
                  <a:lnTo>
                    <a:pt x="43" y="68"/>
                  </a:lnTo>
                  <a:lnTo>
                    <a:pt x="55" y="64"/>
                  </a:lnTo>
                  <a:lnTo>
                    <a:pt x="69" y="60"/>
                  </a:lnTo>
                  <a:lnTo>
                    <a:pt x="85" y="60"/>
                  </a:lnTo>
                  <a:lnTo>
                    <a:pt x="97" y="56"/>
                  </a:lnTo>
                  <a:lnTo>
                    <a:pt x="89" y="48"/>
                  </a:lnTo>
                  <a:lnTo>
                    <a:pt x="83" y="52"/>
                  </a:lnTo>
                  <a:lnTo>
                    <a:pt x="71" y="52"/>
                  </a:lnTo>
                  <a:lnTo>
                    <a:pt x="71" y="44"/>
                  </a:lnTo>
                  <a:lnTo>
                    <a:pt x="65" y="42"/>
                  </a:lnTo>
                  <a:lnTo>
                    <a:pt x="61" y="48"/>
                  </a:lnTo>
                  <a:lnTo>
                    <a:pt x="55" y="48"/>
                  </a:lnTo>
                  <a:lnTo>
                    <a:pt x="51" y="56"/>
                  </a:lnTo>
                  <a:lnTo>
                    <a:pt x="37" y="64"/>
                  </a:lnTo>
                  <a:lnTo>
                    <a:pt x="27" y="58"/>
                  </a:lnTo>
                  <a:lnTo>
                    <a:pt x="11" y="46"/>
                  </a:lnTo>
                  <a:lnTo>
                    <a:pt x="7" y="36"/>
                  </a:lnTo>
                  <a:lnTo>
                    <a:pt x="19" y="28"/>
                  </a:lnTo>
                  <a:lnTo>
                    <a:pt x="19" y="24"/>
                  </a:lnTo>
                  <a:lnTo>
                    <a:pt x="11" y="24"/>
                  </a:lnTo>
                  <a:lnTo>
                    <a:pt x="2" y="30"/>
                  </a:lnTo>
                  <a:lnTo>
                    <a:pt x="0" y="20"/>
                  </a:lnTo>
                  <a:lnTo>
                    <a:pt x="4" y="12"/>
                  </a:lnTo>
                  <a:lnTo>
                    <a:pt x="19" y="8"/>
                  </a:lnTo>
                  <a:lnTo>
                    <a:pt x="33" y="8"/>
                  </a:lnTo>
                  <a:lnTo>
                    <a:pt x="47" y="10"/>
                  </a:lnTo>
                  <a:lnTo>
                    <a:pt x="51" y="26"/>
                  </a:lnTo>
                  <a:lnTo>
                    <a:pt x="55" y="12"/>
                  </a:lnTo>
                  <a:lnTo>
                    <a:pt x="63" y="10"/>
                  </a:lnTo>
                  <a:lnTo>
                    <a:pt x="73" y="14"/>
                  </a:lnTo>
                  <a:lnTo>
                    <a:pt x="75" y="22"/>
                  </a:lnTo>
                  <a:lnTo>
                    <a:pt x="77" y="28"/>
                  </a:lnTo>
                  <a:lnTo>
                    <a:pt x="83" y="36"/>
                  </a:lnTo>
                  <a:lnTo>
                    <a:pt x="89" y="38"/>
                  </a:lnTo>
                  <a:lnTo>
                    <a:pt x="87" y="24"/>
                  </a:lnTo>
                  <a:lnTo>
                    <a:pt x="83" y="12"/>
                  </a:lnTo>
                  <a:lnTo>
                    <a:pt x="81" y="4"/>
                  </a:lnTo>
                  <a:lnTo>
                    <a:pt x="85" y="0"/>
                  </a:lnTo>
                  <a:lnTo>
                    <a:pt x="95" y="4"/>
                  </a:lnTo>
                  <a:lnTo>
                    <a:pt x="107" y="8"/>
                  </a:lnTo>
                  <a:lnTo>
                    <a:pt x="103" y="20"/>
                  </a:lnTo>
                  <a:lnTo>
                    <a:pt x="111" y="22"/>
                  </a:lnTo>
                  <a:lnTo>
                    <a:pt x="115" y="16"/>
                  </a:lnTo>
                  <a:lnTo>
                    <a:pt x="127" y="22"/>
                  </a:lnTo>
                  <a:lnTo>
                    <a:pt x="127" y="30"/>
                  </a:lnTo>
                  <a:lnTo>
                    <a:pt x="151" y="36"/>
                  </a:lnTo>
                  <a:lnTo>
                    <a:pt x="167" y="44"/>
                  </a:lnTo>
                  <a:lnTo>
                    <a:pt x="159" y="48"/>
                  </a:lnTo>
                  <a:lnTo>
                    <a:pt x="137" y="52"/>
                  </a:lnTo>
                  <a:lnTo>
                    <a:pt x="123" y="60"/>
                  </a:lnTo>
                  <a:lnTo>
                    <a:pt x="119" y="68"/>
                  </a:lnTo>
                  <a:lnTo>
                    <a:pt x="117" y="84"/>
                  </a:lnTo>
                  <a:lnTo>
                    <a:pt x="107" y="88"/>
                  </a:lnTo>
                  <a:lnTo>
                    <a:pt x="101" y="102"/>
                  </a:lnTo>
                  <a:lnTo>
                    <a:pt x="93" y="120"/>
                  </a:lnTo>
                  <a:lnTo>
                    <a:pt x="81" y="114"/>
                  </a:lnTo>
                  <a:lnTo>
                    <a:pt x="81" y="102"/>
                  </a:lnTo>
                  <a:lnTo>
                    <a:pt x="67" y="104"/>
                  </a:lnTo>
                  <a:lnTo>
                    <a:pt x="59" y="98"/>
                  </a:lnTo>
                  <a:lnTo>
                    <a:pt x="45" y="9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00" name="Freeform 92">
              <a:extLst>
                <a:ext uri="{FF2B5EF4-FFF2-40B4-BE49-F238E27FC236}">
                  <a16:creationId xmlns:a16="http://schemas.microsoft.com/office/drawing/2014/main" id="{A3A714C4-5741-402A-8B0F-3EFCBE758A57}"/>
                </a:ext>
              </a:extLst>
            </p:cNvPr>
            <p:cNvSpPr>
              <a:spLocks/>
            </p:cNvSpPr>
            <p:nvPr/>
          </p:nvSpPr>
          <p:spPr bwMode="gray">
            <a:xfrm>
              <a:off x="6298817" y="1899523"/>
              <a:ext cx="237754" cy="82991"/>
            </a:xfrm>
            <a:custGeom>
              <a:avLst/>
              <a:gdLst>
                <a:gd name="T0" fmla="*/ 62 w 144"/>
                <a:gd name="T1" fmla="*/ 38 h 50"/>
                <a:gd name="T2" fmla="*/ 52 w 144"/>
                <a:gd name="T3" fmla="*/ 38 h 50"/>
                <a:gd name="T4" fmla="*/ 34 w 144"/>
                <a:gd name="T5" fmla="*/ 38 h 50"/>
                <a:gd name="T6" fmla="*/ 36 w 144"/>
                <a:gd name="T7" fmla="*/ 30 h 50"/>
                <a:gd name="T8" fmla="*/ 54 w 144"/>
                <a:gd name="T9" fmla="*/ 28 h 50"/>
                <a:gd name="T10" fmla="*/ 60 w 144"/>
                <a:gd name="T11" fmla="*/ 24 h 50"/>
                <a:gd name="T12" fmla="*/ 50 w 144"/>
                <a:gd name="T13" fmla="*/ 22 h 50"/>
                <a:gd name="T14" fmla="*/ 34 w 144"/>
                <a:gd name="T15" fmla="*/ 22 h 50"/>
                <a:gd name="T16" fmla="*/ 18 w 144"/>
                <a:gd name="T17" fmla="*/ 26 h 50"/>
                <a:gd name="T18" fmla="*/ 2 w 144"/>
                <a:gd name="T19" fmla="*/ 24 h 50"/>
                <a:gd name="T20" fmla="*/ 0 w 144"/>
                <a:gd name="T21" fmla="*/ 18 h 50"/>
                <a:gd name="T22" fmla="*/ 10 w 144"/>
                <a:gd name="T23" fmla="*/ 14 h 50"/>
                <a:gd name="T24" fmla="*/ 22 w 144"/>
                <a:gd name="T25" fmla="*/ 6 h 50"/>
                <a:gd name="T26" fmla="*/ 30 w 144"/>
                <a:gd name="T27" fmla="*/ 6 h 50"/>
                <a:gd name="T28" fmla="*/ 46 w 144"/>
                <a:gd name="T29" fmla="*/ 10 h 50"/>
                <a:gd name="T30" fmla="*/ 56 w 144"/>
                <a:gd name="T31" fmla="*/ 10 h 50"/>
                <a:gd name="T32" fmla="*/ 66 w 144"/>
                <a:gd name="T33" fmla="*/ 12 h 50"/>
                <a:gd name="T34" fmla="*/ 74 w 144"/>
                <a:gd name="T35" fmla="*/ 0 h 50"/>
                <a:gd name="T36" fmla="*/ 82 w 144"/>
                <a:gd name="T37" fmla="*/ 14 h 50"/>
                <a:gd name="T38" fmla="*/ 96 w 144"/>
                <a:gd name="T39" fmla="*/ 8 h 50"/>
                <a:gd name="T40" fmla="*/ 114 w 144"/>
                <a:gd name="T41" fmla="*/ 10 h 50"/>
                <a:gd name="T42" fmla="*/ 132 w 144"/>
                <a:gd name="T43" fmla="*/ 14 h 50"/>
                <a:gd name="T44" fmla="*/ 144 w 144"/>
                <a:gd name="T45" fmla="*/ 16 h 50"/>
                <a:gd name="T46" fmla="*/ 138 w 144"/>
                <a:gd name="T47" fmla="*/ 22 h 50"/>
                <a:gd name="T48" fmla="*/ 122 w 144"/>
                <a:gd name="T49" fmla="*/ 30 h 50"/>
                <a:gd name="T50" fmla="*/ 114 w 144"/>
                <a:gd name="T51" fmla="*/ 38 h 50"/>
                <a:gd name="T52" fmla="*/ 100 w 144"/>
                <a:gd name="T53" fmla="*/ 38 h 50"/>
                <a:gd name="T54" fmla="*/ 92 w 144"/>
                <a:gd name="T55" fmla="*/ 50 h 50"/>
                <a:gd name="T56" fmla="*/ 74 w 144"/>
                <a:gd name="T57" fmla="*/ 46 h 50"/>
                <a:gd name="T58" fmla="*/ 68 w 144"/>
                <a:gd name="T59" fmla="*/ 38 h 50"/>
                <a:gd name="T60" fmla="*/ 62 w 144"/>
                <a:gd name="T61" fmla="*/ 3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4" h="50">
                  <a:moveTo>
                    <a:pt x="62" y="38"/>
                  </a:moveTo>
                  <a:lnTo>
                    <a:pt x="52" y="38"/>
                  </a:lnTo>
                  <a:lnTo>
                    <a:pt x="34" y="38"/>
                  </a:lnTo>
                  <a:lnTo>
                    <a:pt x="36" y="30"/>
                  </a:lnTo>
                  <a:lnTo>
                    <a:pt x="54" y="28"/>
                  </a:lnTo>
                  <a:lnTo>
                    <a:pt x="60" y="24"/>
                  </a:lnTo>
                  <a:lnTo>
                    <a:pt x="50" y="22"/>
                  </a:lnTo>
                  <a:lnTo>
                    <a:pt x="34" y="22"/>
                  </a:lnTo>
                  <a:lnTo>
                    <a:pt x="18" y="26"/>
                  </a:lnTo>
                  <a:lnTo>
                    <a:pt x="2" y="24"/>
                  </a:lnTo>
                  <a:lnTo>
                    <a:pt x="0" y="18"/>
                  </a:lnTo>
                  <a:lnTo>
                    <a:pt x="10" y="14"/>
                  </a:lnTo>
                  <a:lnTo>
                    <a:pt x="22" y="6"/>
                  </a:lnTo>
                  <a:lnTo>
                    <a:pt x="30" y="6"/>
                  </a:lnTo>
                  <a:lnTo>
                    <a:pt x="46" y="10"/>
                  </a:lnTo>
                  <a:lnTo>
                    <a:pt x="56" y="10"/>
                  </a:lnTo>
                  <a:lnTo>
                    <a:pt x="66" y="12"/>
                  </a:lnTo>
                  <a:lnTo>
                    <a:pt x="74" y="0"/>
                  </a:lnTo>
                  <a:lnTo>
                    <a:pt x="82" y="14"/>
                  </a:lnTo>
                  <a:lnTo>
                    <a:pt x="96" y="8"/>
                  </a:lnTo>
                  <a:lnTo>
                    <a:pt x="114" y="10"/>
                  </a:lnTo>
                  <a:lnTo>
                    <a:pt x="132" y="14"/>
                  </a:lnTo>
                  <a:lnTo>
                    <a:pt x="144" y="16"/>
                  </a:lnTo>
                  <a:lnTo>
                    <a:pt x="138" y="22"/>
                  </a:lnTo>
                  <a:lnTo>
                    <a:pt x="122" y="30"/>
                  </a:lnTo>
                  <a:lnTo>
                    <a:pt x="114" y="38"/>
                  </a:lnTo>
                  <a:lnTo>
                    <a:pt x="100" y="38"/>
                  </a:lnTo>
                  <a:lnTo>
                    <a:pt x="92" y="50"/>
                  </a:lnTo>
                  <a:lnTo>
                    <a:pt x="74" y="46"/>
                  </a:lnTo>
                  <a:lnTo>
                    <a:pt x="68" y="38"/>
                  </a:lnTo>
                  <a:lnTo>
                    <a:pt x="62" y="3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01" name="Freeform 93">
              <a:extLst>
                <a:ext uri="{FF2B5EF4-FFF2-40B4-BE49-F238E27FC236}">
                  <a16:creationId xmlns:a16="http://schemas.microsoft.com/office/drawing/2014/main" id="{1E91237B-8344-4547-8075-1BB3D0C2B3E6}"/>
                </a:ext>
              </a:extLst>
            </p:cNvPr>
            <p:cNvSpPr>
              <a:spLocks/>
            </p:cNvSpPr>
            <p:nvPr/>
          </p:nvSpPr>
          <p:spPr bwMode="gray">
            <a:xfrm>
              <a:off x="6364860" y="2035629"/>
              <a:ext cx="95762" cy="53115"/>
            </a:xfrm>
            <a:custGeom>
              <a:avLst/>
              <a:gdLst>
                <a:gd name="T0" fmla="*/ 10 w 58"/>
                <a:gd name="T1" fmla="*/ 8 h 32"/>
                <a:gd name="T2" fmla="*/ 14 w 58"/>
                <a:gd name="T3" fmla="*/ 4 h 32"/>
                <a:gd name="T4" fmla="*/ 30 w 58"/>
                <a:gd name="T5" fmla="*/ 0 h 32"/>
                <a:gd name="T6" fmla="*/ 38 w 58"/>
                <a:gd name="T7" fmla="*/ 0 h 32"/>
                <a:gd name="T8" fmla="*/ 42 w 58"/>
                <a:gd name="T9" fmla="*/ 8 h 32"/>
                <a:gd name="T10" fmla="*/ 48 w 58"/>
                <a:gd name="T11" fmla="*/ 12 h 32"/>
                <a:gd name="T12" fmla="*/ 58 w 58"/>
                <a:gd name="T13" fmla="*/ 12 h 32"/>
                <a:gd name="T14" fmla="*/ 52 w 58"/>
                <a:gd name="T15" fmla="*/ 20 h 32"/>
                <a:gd name="T16" fmla="*/ 38 w 58"/>
                <a:gd name="T17" fmla="*/ 28 h 32"/>
                <a:gd name="T18" fmla="*/ 26 w 58"/>
                <a:gd name="T19" fmla="*/ 32 h 32"/>
                <a:gd name="T20" fmla="*/ 26 w 58"/>
                <a:gd name="T21" fmla="*/ 20 h 32"/>
                <a:gd name="T22" fmla="*/ 18 w 58"/>
                <a:gd name="T23" fmla="*/ 20 h 32"/>
                <a:gd name="T24" fmla="*/ 10 w 58"/>
                <a:gd name="T25" fmla="*/ 22 h 32"/>
                <a:gd name="T26" fmla="*/ 4 w 58"/>
                <a:gd name="T27" fmla="*/ 28 h 32"/>
                <a:gd name="T28" fmla="*/ 0 w 58"/>
                <a:gd name="T29" fmla="*/ 20 h 32"/>
                <a:gd name="T30" fmla="*/ 6 w 58"/>
                <a:gd name="T31" fmla="*/ 14 h 32"/>
                <a:gd name="T32" fmla="*/ 10 w 58"/>
                <a:gd name="T33"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8" h="32">
                  <a:moveTo>
                    <a:pt x="10" y="8"/>
                  </a:moveTo>
                  <a:lnTo>
                    <a:pt x="14" y="4"/>
                  </a:lnTo>
                  <a:lnTo>
                    <a:pt x="30" y="0"/>
                  </a:lnTo>
                  <a:lnTo>
                    <a:pt x="38" y="0"/>
                  </a:lnTo>
                  <a:lnTo>
                    <a:pt x="42" y="8"/>
                  </a:lnTo>
                  <a:lnTo>
                    <a:pt x="48" y="12"/>
                  </a:lnTo>
                  <a:lnTo>
                    <a:pt x="58" y="12"/>
                  </a:lnTo>
                  <a:lnTo>
                    <a:pt x="52" y="20"/>
                  </a:lnTo>
                  <a:lnTo>
                    <a:pt x="38" y="28"/>
                  </a:lnTo>
                  <a:lnTo>
                    <a:pt x="26" y="32"/>
                  </a:lnTo>
                  <a:lnTo>
                    <a:pt x="26" y="20"/>
                  </a:lnTo>
                  <a:lnTo>
                    <a:pt x="18" y="20"/>
                  </a:lnTo>
                  <a:lnTo>
                    <a:pt x="10" y="22"/>
                  </a:lnTo>
                  <a:lnTo>
                    <a:pt x="4" y="28"/>
                  </a:lnTo>
                  <a:lnTo>
                    <a:pt x="0" y="20"/>
                  </a:lnTo>
                  <a:lnTo>
                    <a:pt x="6" y="14"/>
                  </a:lnTo>
                  <a:lnTo>
                    <a:pt x="10" y="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02" name="Freeform 94">
              <a:extLst>
                <a:ext uri="{FF2B5EF4-FFF2-40B4-BE49-F238E27FC236}">
                  <a16:creationId xmlns:a16="http://schemas.microsoft.com/office/drawing/2014/main" id="{09D68118-F13E-42C0-AEF7-10006793AEB2}"/>
                </a:ext>
              </a:extLst>
            </p:cNvPr>
            <p:cNvSpPr>
              <a:spLocks/>
            </p:cNvSpPr>
            <p:nvPr/>
          </p:nvSpPr>
          <p:spPr bwMode="gray">
            <a:xfrm>
              <a:off x="6962547" y="3539434"/>
              <a:ext cx="85856" cy="73033"/>
            </a:xfrm>
            <a:custGeom>
              <a:avLst/>
              <a:gdLst>
                <a:gd name="T0" fmla="*/ 0 w 52"/>
                <a:gd name="T1" fmla="*/ 6 h 44"/>
                <a:gd name="T2" fmla="*/ 6 w 52"/>
                <a:gd name="T3" fmla="*/ 4 h 44"/>
                <a:gd name="T4" fmla="*/ 16 w 52"/>
                <a:gd name="T5" fmla="*/ 0 h 44"/>
                <a:gd name="T6" fmla="*/ 24 w 52"/>
                <a:gd name="T7" fmla="*/ 0 h 44"/>
                <a:gd name="T8" fmla="*/ 28 w 52"/>
                <a:gd name="T9" fmla="*/ 4 h 44"/>
                <a:gd name="T10" fmla="*/ 30 w 52"/>
                <a:gd name="T11" fmla="*/ 10 h 44"/>
                <a:gd name="T12" fmla="*/ 32 w 52"/>
                <a:gd name="T13" fmla="*/ 18 h 44"/>
                <a:gd name="T14" fmla="*/ 36 w 52"/>
                <a:gd name="T15" fmla="*/ 24 h 44"/>
                <a:gd name="T16" fmla="*/ 40 w 52"/>
                <a:gd name="T17" fmla="*/ 28 h 44"/>
                <a:gd name="T18" fmla="*/ 46 w 52"/>
                <a:gd name="T19" fmla="*/ 30 h 44"/>
                <a:gd name="T20" fmla="*/ 50 w 52"/>
                <a:gd name="T21" fmla="*/ 34 h 44"/>
                <a:gd name="T22" fmla="*/ 52 w 52"/>
                <a:gd name="T23" fmla="*/ 38 h 44"/>
                <a:gd name="T24" fmla="*/ 50 w 52"/>
                <a:gd name="T25" fmla="*/ 44 h 44"/>
                <a:gd name="T26" fmla="*/ 42 w 52"/>
                <a:gd name="T27" fmla="*/ 42 h 44"/>
                <a:gd name="T28" fmla="*/ 40 w 52"/>
                <a:gd name="T29" fmla="*/ 34 h 44"/>
                <a:gd name="T30" fmla="*/ 34 w 52"/>
                <a:gd name="T31" fmla="*/ 32 h 44"/>
                <a:gd name="T32" fmla="*/ 28 w 52"/>
                <a:gd name="T33" fmla="*/ 28 h 44"/>
                <a:gd name="T34" fmla="*/ 20 w 52"/>
                <a:gd name="T35" fmla="*/ 28 h 44"/>
                <a:gd name="T36" fmla="*/ 18 w 52"/>
                <a:gd name="T37" fmla="*/ 32 h 44"/>
                <a:gd name="T38" fmla="*/ 12 w 52"/>
                <a:gd name="T39" fmla="*/ 28 h 44"/>
                <a:gd name="T40" fmla="*/ 0 w 52"/>
                <a:gd name="T41" fmla="*/ 28 h 44"/>
                <a:gd name="T42" fmla="*/ 0 w 52"/>
                <a:gd name="T43" fmla="*/ 16 h 44"/>
                <a:gd name="T44" fmla="*/ 0 w 52"/>
                <a:gd name="T45" fmla="*/ 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2" h="44">
                  <a:moveTo>
                    <a:pt x="0" y="6"/>
                  </a:moveTo>
                  <a:lnTo>
                    <a:pt x="6" y="4"/>
                  </a:lnTo>
                  <a:lnTo>
                    <a:pt x="16" y="0"/>
                  </a:lnTo>
                  <a:lnTo>
                    <a:pt x="24" y="0"/>
                  </a:lnTo>
                  <a:lnTo>
                    <a:pt x="28" y="4"/>
                  </a:lnTo>
                  <a:lnTo>
                    <a:pt x="30" y="10"/>
                  </a:lnTo>
                  <a:lnTo>
                    <a:pt x="32" y="18"/>
                  </a:lnTo>
                  <a:lnTo>
                    <a:pt x="36" y="24"/>
                  </a:lnTo>
                  <a:lnTo>
                    <a:pt x="40" y="28"/>
                  </a:lnTo>
                  <a:lnTo>
                    <a:pt x="46" y="30"/>
                  </a:lnTo>
                  <a:lnTo>
                    <a:pt x="50" y="34"/>
                  </a:lnTo>
                  <a:lnTo>
                    <a:pt x="52" y="38"/>
                  </a:lnTo>
                  <a:lnTo>
                    <a:pt x="50" y="44"/>
                  </a:lnTo>
                  <a:lnTo>
                    <a:pt x="42" y="42"/>
                  </a:lnTo>
                  <a:lnTo>
                    <a:pt x="40" y="34"/>
                  </a:lnTo>
                  <a:lnTo>
                    <a:pt x="34" y="32"/>
                  </a:lnTo>
                  <a:lnTo>
                    <a:pt x="28" y="28"/>
                  </a:lnTo>
                  <a:lnTo>
                    <a:pt x="20" y="28"/>
                  </a:lnTo>
                  <a:lnTo>
                    <a:pt x="18" y="32"/>
                  </a:lnTo>
                  <a:lnTo>
                    <a:pt x="12" y="28"/>
                  </a:lnTo>
                  <a:lnTo>
                    <a:pt x="0" y="28"/>
                  </a:lnTo>
                  <a:lnTo>
                    <a:pt x="0" y="16"/>
                  </a:lnTo>
                  <a:lnTo>
                    <a:pt x="0" y="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03" name="Freeform 95">
              <a:extLst>
                <a:ext uri="{FF2B5EF4-FFF2-40B4-BE49-F238E27FC236}">
                  <a16:creationId xmlns:a16="http://schemas.microsoft.com/office/drawing/2014/main" id="{0434F2B0-178E-4CA9-8834-4FBC968BF747}"/>
                </a:ext>
              </a:extLst>
            </p:cNvPr>
            <p:cNvSpPr>
              <a:spLocks/>
            </p:cNvSpPr>
            <p:nvPr/>
          </p:nvSpPr>
          <p:spPr bwMode="gray">
            <a:xfrm>
              <a:off x="7002174" y="3519516"/>
              <a:ext cx="138690" cy="109548"/>
            </a:xfrm>
            <a:custGeom>
              <a:avLst/>
              <a:gdLst>
                <a:gd name="T0" fmla="*/ 20 w 84"/>
                <a:gd name="T1" fmla="*/ 0 h 66"/>
                <a:gd name="T2" fmla="*/ 26 w 84"/>
                <a:gd name="T3" fmla="*/ 2 h 66"/>
                <a:gd name="T4" fmla="*/ 32 w 84"/>
                <a:gd name="T5" fmla="*/ 8 h 66"/>
                <a:gd name="T6" fmla="*/ 42 w 84"/>
                <a:gd name="T7" fmla="*/ 14 h 66"/>
                <a:gd name="T8" fmla="*/ 46 w 84"/>
                <a:gd name="T9" fmla="*/ 12 h 66"/>
                <a:gd name="T10" fmla="*/ 52 w 84"/>
                <a:gd name="T11" fmla="*/ 6 h 66"/>
                <a:gd name="T12" fmla="*/ 56 w 84"/>
                <a:gd name="T13" fmla="*/ 2 h 66"/>
                <a:gd name="T14" fmla="*/ 60 w 84"/>
                <a:gd name="T15" fmla="*/ 8 h 66"/>
                <a:gd name="T16" fmla="*/ 66 w 84"/>
                <a:gd name="T17" fmla="*/ 20 h 66"/>
                <a:gd name="T18" fmla="*/ 70 w 84"/>
                <a:gd name="T19" fmla="*/ 24 h 66"/>
                <a:gd name="T20" fmla="*/ 80 w 84"/>
                <a:gd name="T21" fmla="*/ 28 h 66"/>
                <a:gd name="T22" fmla="*/ 84 w 84"/>
                <a:gd name="T23" fmla="*/ 30 h 66"/>
                <a:gd name="T24" fmla="*/ 84 w 84"/>
                <a:gd name="T25" fmla="*/ 36 h 66"/>
                <a:gd name="T26" fmla="*/ 72 w 84"/>
                <a:gd name="T27" fmla="*/ 36 h 66"/>
                <a:gd name="T28" fmla="*/ 68 w 84"/>
                <a:gd name="T29" fmla="*/ 38 h 66"/>
                <a:gd name="T30" fmla="*/ 66 w 84"/>
                <a:gd name="T31" fmla="*/ 44 h 66"/>
                <a:gd name="T32" fmla="*/ 68 w 84"/>
                <a:gd name="T33" fmla="*/ 48 h 66"/>
                <a:gd name="T34" fmla="*/ 68 w 84"/>
                <a:gd name="T35" fmla="*/ 50 h 66"/>
                <a:gd name="T36" fmla="*/ 68 w 84"/>
                <a:gd name="T37" fmla="*/ 52 h 66"/>
                <a:gd name="T38" fmla="*/ 68 w 84"/>
                <a:gd name="T39" fmla="*/ 54 h 66"/>
                <a:gd name="T40" fmla="*/ 60 w 84"/>
                <a:gd name="T41" fmla="*/ 54 h 66"/>
                <a:gd name="T42" fmla="*/ 60 w 84"/>
                <a:gd name="T43" fmla="*/ 58 h 66"/>
                <a:gd name="T44" fmla="*/ 60 w 84"/>
                <a:gd name="T45" fmla="*/ 62 h 66"/>
                <a:gd name="T46" fmla="*/ 60 w 84"/>
                <a:gd name="T47" fmla="*/ 66 h 66"/>
                <a:gd name="T48" fmla="*/ 52 w 84"/>
                <a:gd name="T49" fmla="*/ 66 h 66"/>
                <a:gd name="T50" fmla="*/ 46 w 84"/>
                <a:gd name="T51" fmla="*/ 62 h 66"/>
                <a:gd name="T52" fmla="*/ 52 w 84"/>
                <a:gd name="T53" fmla="*/ 58 h 66"/>
                <a:gd name="T54" fmla="*/ 48 w 84"/>
                <a:gd name="T55" fmla="*/ 52 h 66"/>
                <a:gd name="T56" fmla="*/ 48 w 84"/>
                <a:gd name="T57" fmla="*/ 44 h 66"/>
                <a:gd name="T58" fmla="*/ 44 w 84"/>
                <a:gd name="T59" fmla="*/ 42 h 66"/>
                <a:gd name="T60" fmla="*/ 42 w 84"/>
                <a:gd name="T61" fmla="*/ 44 h 66"/>
                <a:gd name="T62" fmla="*/ 38 w 84"/>
                <a:gd name="T63" fmla="*/ 48 h 66"/>
                <a:gd name="T64" fmla="*/ 32 w 84"/>
                <a:gd name="T65" fmla="*/ 52 h 66"/>
                <a:gd name="T66" fmla="*/ 26 w 84"/>
                <a:gd name="T67" fmla="*/ 56 h 66"/>
                <a:gd name="T68" fmla="*/ 28 w 84"/>
                <a:gd name="T69" fmla="*/ 50 h 66"/>
                <a:gd name="T70" fmla="*/ 26 w 84"/>
                <a:gd name="T71" fmla="*/ 46 h 66"/>
                <a:gd name="T72" fmla="*/ 12 w 84"/>
                <a:gd name="T73" fmla="*/ 36 h 66"/>
                <a:gd name="T74" fmla="*/ 6 w 84"/>
                <a:gd name="T75" fmla="*/ 20 h 66"/>
                <a:gd name="T76" fmla="*/ 4 w 84"/>
                <a:gd name="T77" fmla="*/ 16 h 66"/>
                <a:gd name="T78" fmla="*/ 0 w 84"/>
                <a:gd name="T79" fmla="*/ 12 h 66"/>
                <a:gd name="T80" fmla="*/ 6 w 84"/>
                <a:gd name="T81" fmla="*/ 8 h 66"/>
                <a:gd name="T82" fmla="*/ 12 w 84"/>
                <a:gd name="T83" fmla="*/ 12 h 66"/>
                <a:gd name="T84" fmla="*/ 18 w 84"/>
                <a:gd name="T85" fmla="*/ 18 h 66"/>
                <a:gd name="T86" fmla="*/ 24 w 84"/>
                <a:gd name="T87" fmla="*/ 18 h 66"/>
                <a:gd name="T88" fmla="*/ 26 w 84"/>
                <a:gd name="T89" fmla="*/ 14 h 66"/>
                <a:gd name="T90" fmla="*/ 22 w 84"/>
                <a:gd name="T91" fmla="*/ 8 h 66"/>
                <a:gd name="T92" fmla="*/ 16 w 84"/>
                <a:gd name="T93" fmla="*/ 2 h 66"/>
                <a:gd name="T94" fmla="*/ 20 w 84"/>
                <a:gd name="T95"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4" h="66">
                  <a:moveTo>
                    <a:pt x="20" y="0"/>
                  </a:moveTo>
                  <a:lnTo>
                    <a:pt x="26" y="2"/>
                  </a:lnTo>
                  <a:lnTo>
                    <a:pt x="32" y="8"/>
                  </a:lnTo>
                  <a:lnTo>
                    <a:pt x="42" y="14"/>
                  </a:lnTo>
                  <a:lnTo>
                    <a:pt x="46" y="12"/>
                  </a:lnTo>
                  <a:lnTo>
                    <a:pt x="52" y="6"/>
                  </a:lnTo>
                  <a:lnTo>
                    <a:pt x="56" y="2"/>
                  </a:lnTo>
                  <a:lnTo>
                    <a:pt x="60" y="8"/>
                  </a:lnTo>
                  <a:lnTo>
                    <a:pt x="66" y="20"/>
                  </a:lnTo>
                  <a:lnTo>
                    <a:pt x="70" y="24"/>
                  </a:lnTo>
                  <a:lnTo>
                    <a:pt x="80" y="28"/>
                  </a:lnTo>
                  <a:lnTo>
                    <a:pt x="84" y="30"/>
                  </a:lnTo>
                  <a:lnTo>
                    <a:pt x="84" y="36"/>
                  </a:lnTo>
                  <a:lnTo>
                    <a:pt x="72" y="36"/>
                  </a:lnTo>
                  <a:lnTo>
                    <a:pt x="68" y="38"/>
                  </a:lnTo>
                  <a:lnTo>
                    <a:pt x="66" y="44"/>
                  </a:lnTo>
                  <a:lnTo>
                    <a:pt x="68" y="48"/>
                  </a:lnTo>
                  <a:lnTo>
                    <a:pt x="68" y="50"/>
                  </a:lnTo>
                  <a:lnTo>
                    <a:pt x="68" y="52"/>
                  </a:lnTo>
                  <a:lnTo>
                    <a:pt x="68" y="54"/>
                  </a:lnTo>
                  <a:lnTo>
                    <a:pt x="60" y="54"/>
                  </a:lnTo>
                  <a:lnTo>
                    <a:pt x="60" y="58"/>
                  </a:lnTo>
                  <a:lnTo>
                    <a:pt x="60" y="62"/>
                  </a:lnTo>
                  <a:lnTo>
                    <a:pt x="60" y="66"/>
                  </a:lnTo>
                  <a:lnTo>
                    <a:pt x="52" y="66"/>
                  </a:lnTo>
                  <a:lnTo>
                    <a:pt x="46" y="62"/>
                  </a:lnTo>
                  <a:lnTo>
                    <a:pt x="52" y="58"/>
                  </a:lnTo>
                  <a:lnTo>
                    <a:pt x="48" y="52"/>
                  </a:lnTo>
                  <a:lnTo>
                    <a:pt x="48" y="44"/>
                  </a:lnTo>
                  <a:lnTo>
                    <a:pt x="44" y="42"/>
                  </a:lnTo>
                  <a:lnTo>
                    <a:pt x="42" y="44"/>
                  </a:lnTo>
                  <a:lnTo>
                    <a:pt x="38" y="48"/>
                  </a:lnTo>
                  <a:lnTo>
                    <a:pt x="32" y="52"/>
                  </a:lnTo>
                  <a:lnTo>
                    <a:pt x="26" y="56"/>
                  </a:lnTo>
                  <a:lnTo>
                    <a:pt x="28" y="50"/>
                  </a:lnTo>
                  <a:lnTo>
                    <a:pt x="26" y="46"/>
                  </a:lnTo>
                  <a:lnTo>
                    <a:pt x="12" y="36"/>
                  </a:lnTo>
                  <a:lnTo>
                    <a:pt x="6" y="20"/>
                  </a:lnTo>
                  <a:lnTo>
                    <a:pt x="4" y="16"/>
                  </a:lnTo>
                  <a:lnTo>
                    <a:pt x="0" y="12"/>
                  </a:lnTo>
                  <a:lnTo>
                    <a:pt x="6" y="8"/>
                  </a:lnTo>
                  <a:lnTo>
                    <a:pt x="12" y="12"/>
                  </a:lnTo>
                  <a:lnTo>
                    <a:pt x="18" y="18"/>
                  </a:lnTo>
                  <a:lnTo>
                    <a:pt x="24" y="18"/>
                  </a:lnTo>
                  <a:lnTo>
                    <a:pt x="26" y="14"/>
                  </a:lnTo>
                  <a:lnTo>
                    <a:pt x="22" y="8"/>
                  </a:lnTo>
                  <a:lnTo>
                    <a:pt x="16" y="2"/>
                  </a:lnTo>
                  <a:lnTo>
                    <a:pt x="2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04" name="Freeform 96">
              <a:extLst>
                <a:ext uri="{FF2B5EF4-FFF2-40B4-BE49-F238E27FC236}">
                  <a16:creationId xmlns:a16="http://schemas.microsoft.com/office/drawing/2014/main" id="{F6F9B9F0-D8CF-4BB4-AA6F-CBCBE30CB5CE}"/>
                </a:ext>
              </a:extLst>
            </p:cNvPr>
            <p:cNvSpPr>
              <a:spLocks/>
            </p:cNvSpPr>
            <p:nvPr/>
          </p:nvSpPr>
          <p:spPr bwMode="gray">
            <a:xfrm>
              <a:off x="6866786" y="3466402"/>
              <a:ext cx="178316" cy="82991"/>
            </a:xfrm>
            <a:custGeom>
              <a:avLst/>
              <a:gdLst>
                <a:gd name="T0" fmla="*/ 0 w 108"/>
                <a:gd name="T1" fmla="*/ 2 h 50"/>
                <a:gd name="T2" fmla="*/ 12 w 108"/>
                <a:gd name="T3" fmla="*/ 0 h 50"/>
                <a:gd name="T4" fmla="*/ 18 w 108"/>
                <a:gd name="T5" fmla="*/ 4 h 50"/>
                <a:gd name="T6" fmla="*/ 24 w 108"/>
                <a:gd name="T7" fmla="*/ 8 h 50"/>
                <a:gd name="T8" fmla="*/ 34 w 108"/>
                <a:gd name="T9" fmla="*/ 6 h 50"/>
                <a:gd name="T10" fmla="*/ 42 w 108"/>
                <a:gd name="T11" fmla="*/ 6 h 50"/>
                <a:gd name="T12" fmla="*/ 52 w 108"/>
                <a:gd name="T13" fmla="*/ 12 h 50"/>
                <a:gd name="T14" fmla="*/ 56 w 108"/>
                <a:gd name="T15" fmla="*/ 14 h 50"/>
                <a:gd name="T16" fmla="*/ 66 w 108"/>
                <a:gd name="T17" fmla="*/ 18 h 50"/>
                <a:gd name="T18" fmla="*/ 72 w 108"/>
                <a:gd name="T19" fmla="*/ 18 h 50"/>
                <a:gd name="T20" fmla="*/ 82 w 108"/>
                <a:gd name="T21" fmla="*/ 16 h 50"/>
                <a:gd name="T22" fmla="*/ 92 w 108"/>
                <a:gd name="T23" fmla="*/ 22 h 50"/>
                <a:gd name="T24" fmla="*/ 94 w 108"/>
                <a:gd name="T25" fmla="*/ 24 h 50"/>
                <a:gd name="T26" fmla="*/ 102 w 108"/>
                <a:gd name="T27" fmla="*/ 32 h 50"/>
                <a:gd name="T28" fmla="*/ 98 w 108"/>
                <a:gd name="T29" fmla="*/ 34 h 50"/>
                <a:gd name="T30" fmla="*/ 104 w 108"/>
                <a:gd name="T31" fmla="*/ 40 h 50"/>
                <a:gd name="T32" fmla="*/ 108 w 108"/>
                <a:gd name="T33" fmla="*/ 46 h 50"/>
                <a:gd name="T34" fmla="*/ 106 w 108"/>
                <a:gd name="T35" fmla="*/ 50 h 50"/>
                <a:gd name="T36" fmla="*/ 100 w 108"/>
                <a:gd name="T37" fmla="*/ 50 h 50"/>
                <a:gd name="T38" fmla="*/ 88 w 108"/>
                <a:gd name="T39" fmla="*/ 40 h 50"/>
                <a:gd name="T40" fmla="*/ 82 w 108"/>
                <a:gd name="T41" fmla="*/ 44 h 50"/>
                <a:gd name="T42" fmla="*/ 74 w 108"/>
                <a:gd name="T43" fmla="*/ 44 h 50"/>
                <a:gd name="T44" fmla="*/ 66 w 108"/>
                <a:gd name="T45" fmla="*/ 46 h 50"/>
                <a:gd name="T46" fmla="*/ 58 w 108"/>
                <a:gd name="T47" fmla="*/ 50 h 50"/>
                <a:gd name="T48" fmla="*/ 52 w 108"/>
                <a:gd name="T49" fmla="*/ 46 h 50"/>
                <a:gd name="T50" fmla="*/ 46 w 108"/>
                <a:gd name="T51" fmla="*/ 40 h 50"/>
                <a:gd name="T52" fmla="*/ 38 w 108"/>
                <a:gd name="T53" fmla="*/ 38 h 50"/>
                <a:gd name="T54" fmla="*/ 36 w 108"/>
                <a:gd name="T55" fmla="*/ 44 h 50"/>
                <a:gd name="T56" fmla="*/ 26 w 108"/>
                <a:gd name="T57" fmla="*/ 40 h 50"/>
                <a:gd name="T58" fmla="*/ 30 w 108"/>
                <a:gd name="T59" fmla="*/ 32 h 50"/>
                <a:gd name="T60" fmla="*/ 26 w 108"/>
                <a:gd name="T61" fmla="*/ 22 h 50"/>
                <a:gd name="T62" fmla="*/ 20 w 108"/>
                <a:gd name="T63" fmla="*/ 14 h 50"/>
                <a:gd name="T64" fmla="*/ 12 w 108"/>
                <a:gd name="T65" fmla="*/ 10 h 50"/>
                <a:gd name="T66" fmla="*/ 6 w 108"/>
                <a:gd name="T67" fmla="*/ 6 h 50"/>
                <a:gd name="T68" fmla="*/ 0 w 108"/>
                <a:gd name="T69" fmla="*/ 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50">
                  <a:moveTo>
                    <a:pt x="0" y="2"/>
                  </a:moveTo>
                  <a:lnTo>
                    <a:pt x="12" y="0"/>
                  </a:lnTo>
                  <a:lnTo>
                    <a:pt x="18" y="4"/>
                  </a:lnTo>
                  <a:lnTo>
                    <a:pt x="24" y="8"/>
                  </a:lnTo>
                  <a:lnTo>
                    <a:pt x="34" y="6"/>
                  </a:lnTo>
                  <a:lnTo>
                    <a:pt x="42" y="6"/>
                  </a:lnTo>
                  <a:lnTo>
                    <a:pt x="52" y="12"/>
                  </a:lnTo>
                  <a:lnTo>
                    <a:pt x="56" y="14"/>
                  </a:lnTo>
                  <a:lnTo>
                    <a:pt x="66" y="18"/>
                  </a:lnTo>
                  <a:lnTo>
                    <a:pt x="72" y="18"/>
                  </a:lnTo>
                  <a:lnTo>
                    <a:pt x="82" y="16"/>
                  </a:lnTo>
                  <a:lnTo>
                    <a:pt x="92" y="22"/>
                  </a:lnTo>
                  <a:lnTo>
                    <a:pt x="94" y="24"/>
                  </a:lnTo>
                  <a:lnTo>
                    <a:pt x="102" y="32"/>
                  </a:lnTo>
                  <a:lnTo>
                    <a:pt x="98" y="34"/>
                  </a:lnTo>
                  <a:lnTo>
                    <a:pt x="104" y="40"/>
                  </a:lnTo>
                  <a:lnTo>
                    <a:pt x="108" y="46"/>
                  </a:lnTo>
                  <a:lnTo>
                    <a:pt x="106" y="50"/>
                  </a:lnTo>
                  <a:lnTo>
                    <a:pt x="100" y="50"/>
                  </a:lnTo>
                  <a:lnTo>
                    <a:pt x="88" y="40"/>
                  </a:lnTo>
                  <a:lnTo>
                    <a:pt x="82" y="44"/>
                  </a:lnTo>
                  <a:lnTo>
                    <a:pt x="74" y="44"/>
                  </a:lnTo>
                  <a:lnTo>
                    <a:pt x="66" y="46"/>
                  </a:lnTo>
                  <a:lnTo>
                    <a:pt x="58" y="50"/>
                  </a:lnTo>
                  <a:lnTo>
                    <a:pt x="52" y="46"/>
                  </a:lnTo>
                  <a:lnTo>
                    <a:pt x="46" y="40"/>
                  </a:lnTo>
                  <a:lnTo>
                    <a:pt x="38" y="38"/>
                  </a:lnTo>
                  <a:lnTo>
                    <a:pt x="36" y="44"/>
                  </a:lnTo>
                  <a:lnTo>
                    <a:pt x="26" y="40"/>
                  </a:lnTo>
                  <a:lnTo>
                    <a:pt x="30" y="32"/>
                  </a:lnTo>
                  <a:lnTo>
                    <a:pt x="26" y="22"/>
                  </a:lnTo>
                  <a:lnTo>
                    <a:pt x="20" y="14"/>
                  </a:lnTo>
                  <a:lnTo>
                    <a:pt x="12" y="10"/>
                  </a:lnTo>
                  <a:lnTo>
                    <a:pt x="6" y="6"/>
                  </a:lnTo>
                  <a:lnTo>
                    <a:pt x="0" y="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05" name="Freeform 97">
              <a:extLst>
                <a:ext uri="{FF2B5EF4-FFF2-40B4-BE49-F238E27FC236}">
                  <a16:creationId xmlns:a16="http://schemas.microsoft.com/office/drawing/2014/main" id="{3A2D7E63-A876-4EFD-B456-FDA0812C6930}"/>
                </a:ext>
              </a:extLst>
            </p:cNvPr>
            <p:cNvSpPr>
              <a:spLocks/>
            </p:cNvSpPr>
            <p:nvPr/>
          </p:nvSpPr>
          <p:spPr bwMode="gray">
            <a:xfrm>
              <a:off x="7200302" y="3496278"/>
              <a:ext cx="366538" cy="229056"/>
            </a:xfrm>
            <a:custGeom>
              <a:avLst/>
              <a:gdLst>
                <a:gd name="T0" fmla="*/ 20 w 222"/>
                <a:gd name="T1" fmla="*/ 104 h 138"/>
                <a:gd name="T2" fmla="*/ 18 w 222"/>
                <a:gd name="T3" fmla="*/ 80 h 138"/>
                <a:gd name="T4" fmla="*/ 24 w 222"/>
                <a:gd name="T5" fmla="*/ 72 h 138"/>
                <a:gd name="T6" fmla="*/ 12 w 222"/>
                <a:gd name="T7" fmla="*/ 56 h 138"/>
                <a:gd name="T8" fmla="*/ 8 w 222"/>
                <a:gd name="T9" fmla="*/ 50 h 138"/>
                <a:gd name="T10" fmla="*/ 0 w 222"/>
                <a:gd name="T11" fmla="*/ 52 h 138"/>
                <a:gd name="T12" fmla="*/ 0 w 222"/>
                <a:gd name="T13" fmla="*/ 44 h 138"/>
                <a:gd name="T14" fmla="*/ 6 w 222"/>
                <a:gd name="T15" fmla="*/ 36 h 138"/>
                <a:gd name="T16" fmla="*/ 12 w 222"/>
                <a:gd name="T17" fmla="*/ 40 h 138"/>
                <a:gd name="T18" fmla="*/ 28 w 222"/>
                <a:gd name="T19" fmla="*/ 40 h 138"/>
                <a:gd name="T20" fmla="*/ 34 w 222"/>
                <a:gd name="T21" fmla="*/ 32 h 138"/>
                <a:gd name="T22" fmla="*/ 26 w 222"/>
                <a:gd name="T23" fmla="*/ 24 h 138"/>
                <a:gd name="T24" fmla="*/ 20 w 222"/>
                <a:gd name="T25" fmla="*/ 16 h 138"/>
                <a:gd name="T26" fmla="*/ 14 w 222"/>
                <a:gd name="T27" fmla="*/ 10 h 138"/>
                <a:gd name="T28" fmla="*/ 4 w 222"/>
                <a:gd name="T29" fmla="*/ 14 h 138"/>
                <a:gd name="T30" fmla="*/ 2 w 222"/>
                <a:gd name="T31" fmla="*/ 28 h 138"/>
                <a:gd name="T32" fmla="*/ 0 w 222"/>
                <a:gd name="T33" fmla="*/ 22 h 138"/>
                <a:gd name="T34" fmla="*/ 0 w 222"/>
                <a:gd name="T35" fmla="*/ 12 h 138"/>
                <a:gd name="T36" fmla="*/ 10 w 222"/>
                <a:gd name="T37" fmla="*/ 6 h 138"/>
                <a:gd name="T38" fmla="*/ 24 w 222"/>
                <a:gd name="T39" fmla="*/ 4 h 138"/>
                <a:gd name="T40" fmla="*/ 36 w 222"/>
                <a:gd name="T41" fmla="*/ 12 h 138"/>
                <a:gd name="T42" fmla="*/ 44 w 222"/>
                <a:gd name="T43" fmla="*/ 26 h 138"/>
                <a:gd name="T44" fmla="*/ 54 w 222"/>
                <a:gd name="T45" fmla="*/ 28 h 138"/>
                <a:gd name="T46" fmla="*/ 68 w 222"/>
                <a:gd name="T47" fmla="*/ 26 h 138"/>
                <a:gd name="T48" fmla="*/ 68 w 222"/>
                <a:gd name="T49" fmla="*/ 14 h 138"/>
                <a:gd name="T50" fmla="*/ 96 w 222"/>
                <a:gd name="T51" fmla="*/ 0 h 138"/>
                <a:gd name="T52" fmla="*/ 102 w 222"/>
                <a:gd name="T53" fmla="*/ 6 h 138"/>
                <a:gd name="T54" fmla="*/ 116 w 222"/>
                <a:gd name="T55" fmla="*/ 8 h 138"/>
                <a:gd name="T56" fmla="*/ 118 w 222"/>
                <a:gd name="T57" fmla="*/ 12 h 138"/>
                <a:gd name="T58" fmla="*/ 118 w 222"/>
                <a:gd name="T59" fmla="*/ 28 h 138"/>
                <a:gd name="T60" fmla="*/ 144 w 222"/>
                <a:gd name="T61" fmla="*/ 28 h 138"/>
                <a:gd name="T62" fmla="*/ 158 w 222"/>
                <a:gd name="T63" fmla="*/ 54 h 138"/>
                <a:gd name="T64" fmla="*/ 178 w 222"/>
                <a:gd name="T65" fmla="*/ 66 h 138"/>
                <a:gd name="T66" fmla="*/ 200 w 222"/>
                <a:gd name="T67" fmla="*/ 82 h 138"/>
                <a:gd name="T68" fmla="*/ 212 w 222"/>
                <a:gd name="T69" fmla="*/ 84 h 138"/>
                <a:gd name="T70" fmla="*/ 222 w 222"/>
                <a:gd name="T71" fmla="*/ 90 h 138"/>
                <a:gd name="T72" fmla="*/ 222 w 222"/>
                <a:gd name="T73" fmla="*/ 98 h 138"/>
                <a:gd name="T74" fmla="*/ 210 w 222"/>
                <a:gd name="T75" fmla="*/ 98 h 138"/>
                <a:gd name="T76" fmla="*/ 194 w 222"/>
                <a:gd name="T77" fmla="*/ 104 h 138"/>
                <a:gd name="T78" fmla="*/ 182 w 222"/>
                <a:gd name="T79" fmla="*/ 122 h 138"/>
                <a:gd name="T80" fmla="*/ 170 w 222"/>
                <a:gd name="T81" fmla="*/ 126 h 138"/>
                <a:gd name="T82" fmla="*/ 160 w 222"/>
                <a:gd name="T83" fmla="*/ 138 h 138"/>
                <a:gd name="T84" fmla="*/ 150 w 222"/>
                <a:gd name="T85" fmla="*/ 134 h 138"/>
                <a:gd name="T86" fmla="*/ 138 w 222"/>
                <a:gd name="T87" fmla="*/ 134 h 138"/>
                <a:gd name="T88" fmla="*/ 136 w 222"/>
                <a:gd name="T89" fmla="*/ 112 h 138"/>
                <a:gd name="T90" fmla="*/ 126 w 222"/>
                <a:gd name="T91" fmla="*/ 110 h 138"/>
                <a:gd name="T92" fmla="*/ 68 w 222"/>
                <a:gd name="T93" fmla="*/ 84 h 138"/>
                <a:gd name="T94" fmla="*/ 42 w 222"/>
                <a:gd name="T95" fmla="*/ 88 h 138"/>
                <a:gd name="T96" fmla="*/ 20 w 222"/>
                <a:gd name="T97" fmla="*/ 104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2" h="138">
                  <a:moveTo>
                    <a:pt x="20" y="104"/>
                  </a:moveTo>
                  <a:lnTo>
                    <a:pt x="18" y="80"/>
                  </a:lnTo>
                  <a:lnTo>
                    <a:pt x="24" y="72"/>
                  </a:lnTo>
                  <a:lnTo>
                    <a:pt x="12" y="56"/>
                  </a:lnTo>
                  <a:lnTo>
                    <a:pt x="8" y="50"/>
                  </a:lnTo>
                  <a:lnTo>
                    <a:pt x="0" y="52"/>
                  </a:lnTo>
                  <a:lnTo>
                    <a:pt x="0" y="44"/>
                  </a:lnTo>
                  <a:lnTo>
                    <a:pt x="6" y="36"/>
                  </a:lnTo>
                  <a:lnTo>
                    <a:pt x="12" y="40"/>
                  </a:lnTo>
                  <a:lnTo>
                    <a:pt x="28" y="40"/>
                  </a:lnTo>
                  <a:lnTo>
                    <a:pt x="34" y="32"/>
                  </a:lnTo>
                  <a:lnTo>
                    <a:pt x="26" y="24"/>
                  </a:lnTo>
                  <a:lnTo>
                    <a:pt x="20" y="16"/>
                  </a:lnTo>
                  <a:lnTo>
                    <a:pt x="14" y="10"/>
                  </a:lnTo>
                  <a:lnTo>
                    <a:pt x="4" y="14"/>
                  </a:lnTo>
                  <a:lnTo>
                    <a:pt x="2" y="28"/>
                  </a:lnTo>
                  <a:lnTo>
                    <a:pt x="0" y="22"/>
                  </a:lnTo>
                  <a:lnTo>
                    <a:pt x="0" y="12"/>
                  </a:lnTo>
                  <a:lnTo>
                    <a:pt x="10" y="6"/>
                  </a:lnTo>
                  <a:lnTo>
                    <a:pt x="24" y="4"/>
                  </a:lnTo>
                  <a:lnTo>
                    <a:pt x="36" y="12"/>
                  </a:lnTo>
                  <a:lnTo>
                    <a:pt x="44" y="26"/>
                  </a:lnTo>
                  <a:lnTo>
                    <a:pt x="54" y="28"/>
                  </a:lnTo>
                  <a:lnTo>
                    <a:pt x="68" y="26"/>
                  </a:lnTo>
                  <a:lnTo>
                    <a:pt x="68" y="14"/>
                  </a:lnTo>
                  <a:lnTo>
                    <a:pt x="96" y="0"/>
                  </a:lnTo>
                  <a:lnTo>
                    <a:pt x="102" y="6"/>
                  </a:lnTo>
                  <a:lnTo>
                    <a:pt x="116" y="8"/>
                  </a:lnTo>
                  <a:lnTo>
                    <a:pt x="118" y="12"/>
                  </a:lnTo>
                  <a:lnTo>
                    <a:pt x="118" y="28"/>
                  </a:lnTo>
                  <a:lnTo>
                    <a:pt x="144" y="28"/>
                  </a:lnTo>
                  <a:lnTo>
                    <a:pt x="158" y="54"/>
                  </a:lnTo>
                  <a:lnTo>
                    <a:pt x="178" y="66"/>
                  </a:lnTo>
                  <a:lnTo>
                    <a:pt x="200" y="82"/>
                  </a:lnTo>
                  <a:lnTo>
                    <a:pt x="212" y="84"/>
                  </a:lnTo>
                  <a:lnTo>
                    <a:pt x="222" y="90"/>
                  </a:lnTo>
                  <a:lnTo>
                    <a:pt x="222" y="98"/>
                  </a:lnTo>
                  <a:lnTo>
                    <a:pt x="210" y="98"/>
                  </a:lnTo>
                  <a:lnTo>
                    <a:pt x="194" y="104"/>
                  </a:lnTo>
                  <a:lnTo>
                    <a:pt x="182" y="122"/>
                  </a:lnTo>
                  <a:lnTo>
                    <a:pt x="170" y="126"/>
                  </a:lnTo>
                  <a:lnTo>
                    <a:pt x="160" y="138"/>
                  </a:lnTo>
                  <a:lnTo>
                    <a:pt x="150" y="134"/>
                  </a:lnTo>
                  <a:lnTo>
                    <a:pt x="138" y="134"/>
                  </a:lnTo>
                  <a:lnTo>
                    <a:pt x="136" y="112"/>
                  </a:lnTo>
                  <a:lnTo>
                    <a:pt x="126" y="110"/>
                  </a:lnTo>
                  <a:lnTo>
                    <a:pt x="68" y="84"/>
                  </a:lnTo>
                  <a:lnTo>
                    <a:pt x="42" y="88"/>
                  </a:lnTo>
                  <a:lnTo>
                    <a:pt x="20" y="10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06" name="Freeform 98">
              <a:extLst>
                <a:ext uri="{FF2B5EF4-FFF2-40B4-BE49-F238E27FC236}">
                  <a16:creationId xmlns:a16="http://schemas.microsoft.com/office/drawing/2014/main" id="{B0CE2371-3DCE-46B0-997E-EFA828271EFB}"/>
                </a:ext>
              </a:extLst>
            </p:cNvPr>
            <p:cNvSpPr>
              <a:spLocks/>
            </p:cNvSpPr>
            <p:nvPr/>
          </p:nvSpPr>
          <p:spPr bwMode="gray">
            <a:xfrm>
              <a:off x="7586653" y="3552713"/>
              <a:ext cx="194827" cy="126147"/>
            </a:xfrm>
            <a:custGeom>
              <a:avLst/>
              <a:gdLst>
                <a:gd name="T0" fmla="*/ 24 w 118"/>
                <a:gd name="T1" fmla="*/ 14 h 76"/>
                <a:gd name="T2" fmla="*/ 32 w 118"/>
                <a:gd name="T3" fmla="*/ 10 h 76"/>
                <a:gd name="T4" fmla="*/ 36 w 118"/>
                <a:gd name="T5" fmla="*/ 2 h 76"/>
                <a:gd name="T6" fmla="*/ 48 w 118"/>
                <a:gd name="T7" fmla="*/ 0 h 76"/>
                <a:gd name="T8" fmla="*/ 54 w 118"/>
                <a:gd name="T9" fmla="*/ 2 h 76"/>
                <a:gd name="T10" fmla="*/ 52 w 118"/>
                <a:gd name="T11" fmla="*/ 8 h 76"/>
                <a:gd name="T12" fmla="*/ 50 w 118"/>
                <a:gd name="T13" fmla="*/ 14 h 76"/>
                <a:gd name="T14" fmla="*/ 52 w 118"/>
                <a:gd name="T15" fmla="*/ 20 h 76"/>
                <a:gd name="T16" fmla="*/ 54 w 118"/>
                <a:gd name="T17" fmla="*/ 28 h 76"/>
                <a:gd name="T18" fmla="*/ 66 w 118"/>
                <a:gd name="T19" fmla="*/ 28 h 76"/>
                <a:gd name="T20" fmla="*/ 80 w 118"/>
                <a:gd name="T21" fmla="*/ 30 h 76"/>
                <a:gd name="T22" fmla="*/ 100 w 118"/>
                <a:gd name="T23" fmla="*/ 30 h 76"/>
                <a:gd name="T24" fmla="*/ 98 w 118"/>
                <a:gd name="T25" fmla="*/ 36 h 76"/>
                <a:gd name="T26" fmla="*/ 100 w 118"/>
                <a:gd name="T27" fmla="*/ 44 h 76"/>
                <a:gd name="T28" fmla="*/ 106 w 118"/>
                <a:gd name="T29" fmla="*/ 46 h 76"/>
                <a:gd name="T30" fmla="*/ 118 w 118"/>
                <a:gd name="T31" fmla="*/ 44 h 76"/>
                <a:gd name="T32" fmla="*/ 118 w 118"/>
                <a:gd name="T33" fmla="*/ 64 h 76"/>
                <a:gd name="T34" fmla="*/ 90 w 118"/>
                <a:gd name="T35" fmla="*/ 64 h 76"/>
                <a:gd name="T36" fmla="*/ 80 w 118"/>
                <a:gd name="T37" fmla="*/ 70 h 76"/>
                <a:gd name="T38" fmla="*/ 64 w 118"/>
                <a:gd name="T39" fmla="*/ 76 h 76"/>
                <a:gd name="T40" fmla="*/ 64 w 118"/>
                <a:gd name="T41" fmla="*/ 70 h 76"/>
                <a:gd name="T42" fmla="*/ 66 w 118"/>
                <a:gd name="T43" fmla="*/ 62 h 76"/>
                <a:gd name="T44" fmla="*/ 64 w 118"/>
                <a:gd name="T45" fmla="*/ 50 h 76"/>
                <a:gd name="T46" fmla="*/ 56 w 118"/>
                <a:gd name="T47" fmla="*/ 44 h 76"/>
                <a:gd name="T48" fmla="*/ 46 w 118"/>
                <a:gd name="T49" fmla="*/ 60 h 76"/>
                <a:gd name="T50" fmla="*/ 38 w 118"/>
                <a:gd name="T51" fmla="*/ 62 h 76"/>
                <a:gd name="T52" fmla="*/ 18 w 118"/>
                <a:gd name="T53" fmla="*/ 74 h 76"/>
                <a:gd name="T54" fmla="*/ 8 w 118"/>
                <a:gd name="T55" fmla="*/ 70 h 76"/>
                <a:gd name="T56" fmla="*/ 8 w 118"/>
                <a:gd name="T57" fmla="*/ 62 h 76"/>
                <a:gd name="T58" fmla="*/ 16 w 118"/>
                <a:gd name="T59" fmla="*/ 52 h 76"/>
                <a:gd name="T60" fmla="*/ 10 w 118"/>
                <a:gd name="T61" fmla="*/ 50 h 76"/>
                <a:gd name="T62" fmla="*/ 12 w 118"/>
                <a:gd name="T63" fmla="*/ 36 h 76"/>
                <a:gd name="T64" fmla="*/ 0 w 118"/>
                <a:gd name="T65" fmla="*/ 36 h 76"/>
                <a:gd name="T66" fmla="*/ 0 w 118"/>
                <a:gd name="T67" fmla="*/ 26 h 76"/>
                <a:gd name="T68" fmla="*/ 20 w 118"/>
                <a:gd name="T69" fmla="*/ 26 h 76"/>
                <a:gd name="T70" fmla="*/ 18 w 118"/>
                <a:gd name="T71" fmla="*/ 12 h 76"/>
                <a:gd name="T72" fmla="*/ 24 w 118"/>
                <a:gd name="T73" fmla="*/ 1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8" h="76">
                  <a:moveTo>
                    <a:pt x="24" y="14"/>
                  </a:moveTo>
                  <a:lnTo>
                    <a:pt x="32" y="10"/>
                  </a:lnTo>
                  <a:lnTo>
                    <a:pt x="36" y="2"/>
                  </a:lnTo>
                  <a:lnTo>
                    <a:pt x="48" y="0"/>
                  </a:lnTo>
                  <a:lnTo>
                    <a:pt x="54" y="2"/>
                  </a:lnTo>
                  <a:lnTo>
                    <a:pt x="52" y="8"/>
                  </a:lnTo>
                  <a:lnTo>
                    <a:pt x="50" y="14"/>
                  </a:lnTo>
                  <a:lnTo>
                    <a:pt x="52" y="20"/>
                  </a:lnTo>
                  <a:lnTo>
                    <a:pt x="54" y="28"/>
                  </a:lnTo>
                  <a:lnTo>
                    <a:pt x="66" y="28"/>
                  </a:lnTo>
                  <a:lnTo>
                    <a:pt x="80" y="30"/>
                  </a:lnTo>
                  <a:lnTo>
                    <a:pt x="100" y="30"/>
                  </a:lnTo>
                  <a:lnTo>
                    <a:pt x="98" y="36"/>
                  </a:lnTo>
                  <a:lnTo>
                    <a:pt x="100" y="44"/>
                  </a:lnTo>
                  <a:lnTo>
                    <a:pt x="106" y="46"/>
                  </a:lnTo>
                  <a:lnTo>
                    <a:pt x="118" y="44"/>
                  </a:lnTo>
                  <a:lnTo>
                    <a:pt x="118" y="64"/>
                  </a:lnTo>
                  <a:lnTo>
                    <a:pt x="90" y="64"/>
                  </a:lnTo>
                  <a:lnTo>
                    <a:pt x="80" y="70"/>
                  </a:lnTo>
                  <a:lnTo>
                    <a:pt x="64" y="76"/>
                  </a:lnTo>
                  <a:lnTo>
                    <a:pt x="64" y="70"/>
                  </a:lnTo>
                  <a:lnTo>
                    <a:pt x="66" y="62"/>
                  </a:lnTo>
                  <a:lnTo>
                    <a:pt x="64" y="50"/>
                  </a:lnTo>
                  <a:lnTo>
                    <a:pt x="56" y="44"/>
                  </a:lnTo>
                  <a:lnTo>
                    <a:pt x="46" y="60"/>
                  </a:lnTo>
                  <a:lnTo>
                    <a:pt x="38" y="62"/>
                  </a:lnTo>
                  <a:lnTo>
                    <a:pt x="18" y="74"/>
                  </a:lnTo>
                  <a:lnTo>
                    <a:pt x="8" y="70"/>
                  </a:lnTo>
                  <a:lnTo>
                    <a:pt x="8" y="62"/>
                  </a:lnTo>
                  <a:lnTo>
                    <a:pt x="16" y="52"/>
                  </a:lnTo>
                  <a:lnTo>
                    <a:pt x="10" y="50"/>
                  </a:lnTo>
                  <a:lnTo>
                    <a:pt x="12" y="36"/>
                  </a:lnTo>
                  <a:lnTo>
                    <a:pt x="0" y="36"/>
                  </a:lnTo>
                  <a:lnTo>
                    <a:pt x="0" y="26"/>
                  </a:lnTo>
                  <a:lnTo>
                    <a:pt x="20" y="26"/>
                  </a:lnTo>
                  <a:lnTo>
                    <a:pt x="18" y="12"/>
                  </a:lnTo>
                  <a:lnTo>
                    <a:pt x="24" y="1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07" name="Freeform 99">
              <a:extLst>
                <a:ext uri="{FF2B5EF4-FFF2-40B4-BE49-F238E27FC236}">
                  <a16:creationId xmlns:a16="http://schemas.microsoft.com/office/drawing/2014/main" id="{23070099-E881-430F-966D-C4B12F6D03F8}"/>
                </a:ext>
              </a:extLst>
            </p:cNvPr>
            <p:cNvSpPr>
              <a:spLocks/>
            </p:cNvSpPr>
            <p:nvPr/>
          </p:nvSpPr>
          <p:spPr bwMode="gray">
            <a:xfrm>
              <a:off x="7289461" y="3406648"/>
              <a:ext cx="439185" cy="262253"/>
            </a:xfrm>
            <a:custGeom>
              <a:avLst/>
              <a:gdLst>
                <a:gd name="T0" fmla="*/ 0 w 266"/>
                <a:gd name="T1" fmla="*/ 82 h 158"/>
                <a:gd name="T2" fmla="*/ 0 w 266"/>
                <a:gd name="T3" fmla="*/ 8 h 158"/>
                <a:gd name="T4" fmla="*/ 18 w 266"/>
                <a:gd name="T5" fmla="*/ 4 h 158"/>
                <a:gd name="T6" fmla="*/ 46 w 266"/>
                <a:gd name="T7" fmla="*/ 0 h 158"/>
                <a:gd name="T8" fmla="*/ 54 w 266"/>
                <a:gd name="T9" fmla="*/ 6 h 158"/>
                <a:gd name="T10" fmla="*/ 70 w 266"/>
                <a:gd name="T11" fmla="*/ 16 h 158"/>
                <a:gd name="T12" fmla="*/ 80 w 266"/>
                <a:gd name="T13" fmla="*/ 20 h 158"/>
                <a:gd name="T14" fmla="*/ 94 w 266"/>
                <a:gd name="T15" fmla="*/ 38 h 158"/>
                <a:gd name="T16" fmla="*/ 132 w 266"/>
                <a:gd name="T17" fmla="*/ 36 h 158"/>
                <a:gd name="T18" fmla="*/ 140 w 266"/>
                <a:gd name="T19" fmla="*/ 34 h 158"/>
                <a:gd name="T20" fmla="*/ 158 w 266"/>
                <a:gd name="T21" fmla="*/ 52 h 158"/>
                <a:gd name="T22" fmla="*/ 158 w 266"/>
                <a:gd name="T23" fmla="*/ 60 h 158"/>
                <a:gd name="T24" fmla="*/ 168 w 266"/>
                <a:gd name="T25" fmla="*/ 68 h 158"/>
                <a:gd name="T26" fmla="*/ 170 w 266"/>
                <a:gd name="T27" fmla="*/ 84 h 158"/>
                <a:gd name="T28" fmla="*/ 188 w 266"/>
                <a:gd name="T29" fmla="*/ 82 h 158"/>
                <a:gd name="T30" fmla="*/ 192 w 266"/>
                <a:gd name="T31" fmla="*/ 84 h 158"/>
                <a:gd name="T32" fmla="*/ 192 w 266"/>
                <a:gd name="T33" fmla="*/ 94 h 158"/>
                <a:gd name="T34" fmla="*/ 200 w 266"/>
                <a:gd name="T35" fmla="*/ 94 h 158"/>
                <a:gd name="T36" fmla="*/ 202 w 266"/>
                <a:gd name="T37" fmla="*/ 84 h 158"/>
                <a:gd name="T38" fmla="*/ 214 w 266"/>
                <a:gd name="T39" fmla="*/ 74 h 158"/>
                <a:gd name="T40" fmla="*/ 234 w 266"/>
                <a:gd name="T41" fmla="*/ 62 h 158"/>
                <a:gd name="T42" fmla="*/ 230 w 266"/>
                <a:gd name="T43" fmla="*/ 72 h 158"/>
                <a:gd name="T44" fmla="*/ 228 w 266"/>
                <a:gd name="T45" fmla="*/ 76 h 158"/>
                <a:gd name="T46" fmla="*/ 236 w 266"/>
                <a:gd name="T47" fmla="*/ 80 h 158"/>
                <a:gd name="T48" fmla="*/ 248 w 266"/>
                <a:gd name="T49" fmla="*/ 76 h 158"/>
                <a:gd name="T50" fmla="*/ 258 w 266"/>
                <a:gd name="T51" fmla="*/ 82 h 158"/>
                <a:gd name="T52" fmla="*/ 266 w 266"/>
                <a:gd name="T53" fmla="*/ 90 h 158"/>
                <a:gd name="T54" fmla="*/ 258 w 266"/>
                <a:gd name="T55" fmla="*/ 98 h 158"/>
                <a:gd name="T56" fmla="*/ 248 w 266"/>
                <a:gd name="T57" fmla="*/ 102 h 158"/>
                <a:gd name="T58" fmla="*/ 236 w 266"/>
                <a:gd name="T59" fmla="*/ 102 h 158"/>
                <a:gd name="T60" fmla="*/ 232 w 266"/>
                <a:gd name="T61" fmla="*/ 98 h 158"/>
                <a:gd name="T62" fmla="*/ 234 w 266"/>
                <a:gd name="T63" fmla="*/ 90 h 158"/>
                <a:gd name="T64" fmla="*/ 228 w 266"/>
                <a:gd name="T65" fmla="*/ 88 h 158"/>
                <a:gd name="T66" fmla="*/ 216 w 266"/>
                <a:gd name="T67" fmla="*/ 90 h 158"/>
                <a:gd name="T68" fmla="*/ 212 w 266"/>
                <a:gd name="T69" fmla="*/ 98 h 158"/>
                <a:gd name="T70" fmla="*/ 204 w 266"/>
                <a:gd name="T71" fmla="*/ 102 h 158"/>
                <a:gd name="T72" fmla="*/ 198 w 266"/>
                <a:gd name="T73" fmla="*/ 100 h 158"/>
                <a:gd name="T74" fmla="*/ 200 w 266"/>
                <a:gd name="T75" fmla="*/ 114 h 158"/>
                <a:gd name="T76" fmla="*/ 180 w 266"/>
                <a:gd name="T77" fmla="*/ 114 h 158"/>
                <a:gd name="T78" fmla="*/ 180 w 266"/>
                <a:gd name="T79" fmla="*/ 124 h 158"/>
                <a:gd name="T80" fmla="*/ 192 w 266"/>
                <a:gd name="T81" fmla="*/ 124 h 158"/>
                <a:gd name="T82" fmla="*/ 190 w 266"/>
                <a:gd name="T83" fmla="*/ 138 h 158"/>
                <a:gd name="T84" fmla="*/ 196 w 266"/>
                <a:gd name="T85" fmla="*/ 140 h 158"/>
                <a:gd name="T86" fmla="*/ 188 w 266"/>
                <a:gd name="T87" fmla="*/ 150 h 158"/>
                <a:gd name="T88" fmla="*/ 188 w 266"/>
                <a:gd name="T89" fmla="*/ 158 h 158"/>
                <a:gd name="T90" fmla="*/ 168 w 266"/>
                <a:gd name="T91" fmla="*/ 152 h 158"/>
                <a:gd name="T92" fmla="*/ 168 w 266"/>
                <a:gd name="T93" fmla="*/ 144 h 158"/>
                <a:gd name="T94" fmla="*/ 158 w 266"/>
                <a:gd name="T95" fmla="*/ 138 h 158"/>
                <a:gd name="T96" fmla="*/ 146 w 266"/>
                <a:gd name="T97" fmla="*/ 136 h 158"/>
                <a:gd name="T98" fmla="*/ 104 w 266"/>
                <a:gd name="T99" fmla="*/ 108 h 158"/>
                <a:gd name="T100" fmla="*/ 90 w 266"/>
                <a:gd name="T101" fmla="*/ 82 h 158"/>
                <a:gd name="T102" fmla="*/ 64 w 266"/>
                <a:gd name="T103" fmla="*/ 82 h 158"/>
                <a:gd name="T104" fmla="*/ 64 w 266"/>
                <a:gd name="T105" fmla="*/ 66 h 158"/>
                <a:gd name="T106" fmla="*/ 62 w 266"/>
                <a:gd name="T107" fmla="*/ 62 h 158"/>
                <a:gd name="T108" fmla="*/ 48 w 266"/>
                <a:gd name="T109" fmla="*/ 60 h 158"/>
                <a:gd name="T110" fmla="*/ 42 w 266"/>
                <a:gd name="T111" fmla="*/ 54 h 158"/>
                <a:gd name="T112" fmla="*/ 14 w 266"/>
                <a:gd name="T113" fmla="*/ 68 h 158"/>
                <a:gd name="T114" fmla="*/ 14 w 266"/>
                <a:gd name="T115" fmla="*/ 80 h 158"/>
                <a:gd name="T116" fmla="*/ 0 w 266"/>
                <a:gd name="T117" fmla="*/ 8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6" h="158">
                  <a:moveTo>
                    <a:pt x="0" y="82"/>
                  </a:moveTo>
                  <a:lnTo>
                    <a:pt x="0" y="8"/>
                  </a:lnTo>
                  <a:lnTo>
                    <a:pt x="18" y="4"/>
                  </a:lnTo>
                  <a:lnTo>
                    <a:pt x="46" y="0"/>
                  </a:lnTo>
                  <a:lnTo>
                    <a:pt x="54" y="6"/>
                  </a:lnTo>
                  <a:lnTo>
                    <a:pt x="70" y="16"/>
                  </a:lnTo>
                  <a:lnTo>
                    <a:pt x="80" y="20"/>
                  </a:lnTo>
                  <a:lnTo>
                    <a:pt x="94" y="38"/>
                  </a:lnTo>
                  <a:lnTo>
                    <a:pt x="132" y="36"/>
                  </a:lnTo>
                  <a:lnTo>
                    <a:pt x="140" y="34"/>
                  </a:lnTo>
                  <a:lnTo>
                    <a:pt x="158" y="52"/>
                  </a:lnTo>
                  <a:lnTo>
                    <a:pt x="158" y="60"/>
                  </a:lnTo>
                  <a:lnTo>
                    <a:pt x="168" y="68"/>
                  </a:lnTo>
                  <a:lnTo>
                    <a:pt x="170" y="84"/>
                  </a:lnTo>
                  <a:lnTo>
                    <a:pt x="188" y="82"/>
                  </a:lnTo>
                  <a:lnTo>
                    <a:pt x="192" y="84"/>
                  </a:lnTo>
                  <a:lnTo>
                    <a:pt x="192" y="94"/>
                  </a:lnTo>
                  <a:lnTo>
                    <a:pt x="200" y="94"/>
                  </a:lnTo>
                  <a:lnTo>
                    <a:pt x="202" y="84"/>
                  </a:lnTo>
                  <a:lnTo>
                    <a:pt x="214" y="74"/>
                  </a:lnTo>
                  <a:lnTo>
                    <a:pt x="234" y="62"/>
                  </a:lnTo>
                  <a:lnTo>
                    <a:pt x="230" y="72"/>
                  </a:lnTo>
                  <a:lnTo>
                    <a:pt x="228" y="76"/>
                  </a:lnTo>
                  <a:lnTo>
                    <a:pt x="236" y="80"/>
                  </a:lnTo>
                  <a:lnTo>
                    <a:pt x="248" y="76"/>
                  </a:lnTo>
                  <a:lnTo>
                    <a:pt x="258" y="82"/>
                  </a:lnTo>
                  <a:lnTo>
                    <a:pt x="266" y="90"/>
                  </a:lnTo>
                  <a:lnTo>
                    <a:pt x="258" y="98"/>
                  </a:lnTo>
                  <a:lnTo>
                    <a:pt x="248" y="102"/>
                  </a:lnTo>
                  <a:lnTo>
                    <a:pt x="236" y="102"/>
                  </a:lnTo>
                  <a:lnTo>
                    <a:pt x="232" y="98"/>
                  </a:lnTo>
                  <a:lnTo>
                    <a:pt x="234" y="90"/>
                  </a:lnTo>
                  <a:lnTo>
                    <a:pt x="228" y="88"/>
                  </a:lnTo>
                  <a:lnTo>
                    <a:pt x="216" y="90"/>
                  </a:lnTo>
                  <a:lnTo>
                    <a:pt x="212" y="98"/>
                  </a:lnTo>
                  <a:lnTo>
                    <a:pt x="204" y="102"/>
                  </a:lnTo>
                  <a:lnTo>
                    <a:pt x="198" y="100"/>
                  </a:lnTo>
                  <a:lnTo>
                    <a:pt x="200" y="114"/>
                  </a:lnTo>
                  <a:lnTo>
                    <a:pt x="180" y="114"/>
                  </a:lnTo>
                  <a:lnTo>
                    <a:pt x="180" y="124"/>
                  </a:lnTo>
                  <a:lnTo>
                    <a:pt x="192" y="124"/>
                  </a:lnTo>
                  <a:lnTo>
                    <a:pt x="190" y="138"/>
                  </a:lnTo>
                  <a:lnTo>
                    <a:pt x="196" y="140"/>
                  </a:lnTo>
                  <a:lnTo>
                    <a:pt x="188" y="150"/>
                  </a:lnTo>
                  <a:lnTo>
                    <a:pt x="188" y="158"/>
                  </a:lnTo>
                  <a:lnTo>
                    <a:pt x="168" y="152"/>
                  </a:lnTo>
                  <a:lnTo>
                    <a:pt x="168" y="144"/>
                  </a:lnTo>
                  <a:lnTo>
                    <a:pt x="158" y="138"/>
                  </a:lnTo>
                  <a:lnTo>
                    <a:pt x="146" y="136"/>
                  </a:lnTo>
                  <a:lnTo>
                    <a:pt x="104" y="108"/>
                  </a:lnTo>
                  <a:lnTo>
                    <a:pt x="90" y="82"/>
                  </a:lnTo>
                  <a:lnTo>
                    <a:pt x="64" y="82"/>
                  </a:lnTo>
                  <a:lnTo>
                    <a:pt x="64" y="66"/>
                  </a:lnTo>
                  <a:lnTo>
                    <a:pt x="62" y="62"/>
                  </a:lnTo>
                  <a:lnTo>
                    <a:pt x="48" y="60"/>
                  </a:lnTo>
                  <a:lnTo>
                    <a:pt x="42" y="54"/>
                  </a:lnTo>
                  <a:lnTo>
                    <a:pt x="14" y="68"/>
                  </a:lnTo>
                  <a:lnTo>
                    <a:pt x="14" y="80"/>
                  </a:lnTo>
                  <a:lnTo>
                    <a:pt x="0" y="8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08" name="Freeform 100">
              <a:extLst>
                <a:ext uri="{FF2B5EF4-FFF2-40B4-BE49-F238E27FC236}">
                  <a16:creationId xmlns:a16="http://schemas.microsoft.com/office/drawing/2014/main" id="{19387E4A-57F2-44E4-B0E6-6F292F95AEE9}"/>
                </a:ext>
              </a:extLst>
            </p:cNvPr>
            <p:cNvSpPr>
              <a:spLocks/>
            </p:cNvSpPr>
            <p:nvPr/>
          </p:nvSpPr>
          <p:spPr bwMode="gray">
            <a:xfrm>
              <a:off x="7665905" y="3476360"/>
              <a:ext cx="260870" cy="126147"/>
            </a:xfrm>
            <a:custGeom>
              <a:avLst/>
              <a:gdLst>
                <a:gd name="T0" fmla="*/ 6 w 158"/>
                <a:gd name="T1" fmla="*/ 20 h 76"/>
                <a:gd name="T2" fmla="*/ 16 w 158"/>
                <a:gd name="T3" fmla="*/ 8 h 76"/>
                <a:gd name="T4" fmla="*/ 28 w 158"/>
                <a:gd name="T5" fmla="*/ 8 h 76"/>
                <a:gd name="T6" fmla="*/ 32 w 158"/>
                <a:gd name="T7" fmla="*/ 12 h 76"/>
                <a:gd name="T8" fmla="*/ 50 w 158"/>
                <a:gd name="T9" fmla="*/ 10 h 76"/>
                <a:gd name="T10" fmla="*/ 52 w 158"/>
                <a:gd name="T11" fmla="*/ 4 h 76"/>
                <a:gd name="T12" fmla="*/ 60 w 158"/>
                <a:gd name="T13" fmla="*/ 0 h 76"/>
                <a:gd name="T14" fmla="*/ 72 w 158"/>
                <a:gd name="T15" fmla="*/ 2 h 76"/>
                <a:gd name="T16" fmla="*/ 74 w 158"/>
                <a:gd name="T17" fmla="*/ 10 h 76"/>
                <a:gd name="T18" fmla="*/ 134 w 158"/>
                <a:gd name="T19" fmla="*/ 8 h 76"/>
                <a:gd name="T20" fmla="*/ 140 w 158"/>
                <a:gd name="T21" fmla="*/ 14 h 76"/>
                <a:gd name="T22" fmla="*/ 148 w 158"/>
                <a:gd name="T23" fmla="*/ 16 h 76"/>
                <a:gd name="T24" fmla="*/ 158 w 158"/>
                <a:gd name="T25" fmla="*/ 20 h 76"/>
                <a:gd name="T26" fmla="*/ 152 w 158"/>
                <a:gd name="T27" fmla="*/ 24 h 76"/>
                <a:gd name="T28" fmla="*/ 138 w 158"/>
                <a:gd name="T29" fmla="*/ 32 h 76"/>
                <a:gd name="T30" fmla="*/ 126 w 158"/>
                <a:gd name="T31" fmla="*/ 36 h 76"/>
                <a:gd name="T32" fmla="*/ 122 w 158"/>
                <a:gd name="T33" fmla="*/ 44 h 76"/>
                <a:gd name="T34" fmla="*/ 102 w 158"/>
                <a:gd name="T35" fmla="*/ 44 h 76"/>
                <a:gd name="T36" fmla="*/ 98 w 158"/>
                <a:gd name="T37" fmla="*/ 54 h 76"/>
                <a:gd name="T38" fmla="*/ 82 w 158"/>
                <a:gd name="T39" fmla="*/ 58 h 76"/>
                <a:gd name="T40" fmla="*/ 82 w 158"/>
                <a:gd name="T41" fmla="*/ 52 h 76"/>
                <a:gd name="T42" fmla="*/ 68 w 158"/>
                <a:gd name="T43" fmla="*/ 52 h 76"/>
                <a:gd name="T44" fmla="*/ 66 w 158"/>
                <a:gd name="T45" fmla="*/ 58 h 76"/>
                <a:gd name="T46" fmla="*/ 58 w 158"/>
                <a:gd name="T47" fmla="*/ 62 h 76"/>
                <a:gd name="T48" fmla="*/ 54 w 158"/>
                <a:gd name="T49" fmla="*/ 66 h 76"/>
                <a:gd name="T50" fmla="*/ 52 w 158"/>
                <a:gd name="T51" fmla="*/ 76 h 76"/>
                <a:gd name="T52" fmla="*/ 32 w 158"/>
                <a:gd name="T53" fmla="*/ 76 h 76"/>
                <a:gd name="T54" fmla="*/ 18 w 158"/>
                <a:gd name="T55" fmla="*/ 74 h 76"/>
                <a:gd name="T56" fmla="*/ 6 w 158"/>
                <a:gd name="T57" fmla="*/ 74 h 76"/>
                <a:gd name="T58" fmla="*/ 4 w 158"/>
                <a:gd name="T59" fmla="*/ 66 h 76"/>
                <a:gd name="T60" fmla="*/ 2 w 158"/>
                <a:gd name="T61" fmla="*/ 60 h 76"/>
                <a:gd name="T62" fmla="*/ 4 w 158"/>
                <a:gd name="T63" fmla="*/ 56 h 76"/>
                <a:gd name="T64" fmla="*/ 8 w 158"/>
                <a:gd name="T65" fmla="*/ 60 h 76"/>
                <a:gd name="T66" fmla="*/ 20 w 158"/>
                <a:gd name="T67" fmla="*/ 60 h 76"/>
                <a:gd name="T68" fmla="*/ 30 w 158"/>
                <a:gd name="T69" fmla="*/ 56 h 76"/>
                <a:gd name="T70" fmla="*/ 38 w 158"/>
                <a:gd name="T71" fmla="*/ 48 h 76"/>
                <a:gd name="T72" fmla="*/ 30 w 158"/>
                <a:gd name="T73" fmla="*/ 40 h 76"/>
                <a:gd name="T74" fmla="*/ 20 w 158"/>
                <a:gd name="T75" fmla="*/ 34 h 76"/>
                <a:gd name="T76" fmla="*/ 8 w 158"/>
                <a:gd name="T77" fmla="*/ 38 h 76"/>
                <a:gd name="T78" fmla="*/ 0 w 158"/>
                <a:gd name="T79" fmla="*/ 34 h 76"/>
                <a:gd name="T80" fmla="*/ 2 w 158"/>
                <a:gd name="T81" fmla="*/ 30 h 76"/>
                <a:gd name="T82" fmla="*/ 6 w 158"/>
                <a:gd name="T83" fmla="*/ 2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8" h="76">
                  <a:moveTo>
                    <a:pt x="6" y="20"/>
                  </a:moveTo>
                  <a:lnTo>
                    <a:pt x="16" y="8"/>
                  </a:lnTo>
                  <a:lnTo>
                    <a:pt x="28" y="8"/>
                  </a:lnTo>
                  <a:lnTo>
                    <a:pt x="32" y="12"/>
                  </a:lnTo>
                  <a:lnTo>
                    <a:pt x="50" y="10"/>
                  </a:lnTo>
                  <a:lnTo>
                    <a:pt x="52" y="4"/>
                  </a:lnTo>
                  <a:lnTo>
                    <a:pt x="60" y="0"/>
                  </a:lnTo>
                  <a:lnTo>
                    <a:pt x="72" y="2"/>
                  </a:lnTo>
                  <a:lnTo>
                    <a:pt x="74" y="10"/>
                  </a:lnTo>
                  <a:lnTo>
                    <a:pt x="134" y="8"/>
                  </a:lnTo>
                  <a:lnTo>
                    <a:pt x="140" y="14"/>
                  </a:lnTo>
                  <a:lnTo>
                    <a:pt x="148" y="16"/>
                  </a:lnTo>
                  <a:lnTo>
                    <a:pt x="158" y="20"/>
                  </a:lnTo>
                  <a:lnTo>
                    <a:pt x="152" y="24"/>
                  </a:lnTo>
                  <a:lnTo>
                    <a:pt x="138" y="32"/>
                  </a:lnTo>
                  <a:lnTo>
                    <a:pt x="126" y="36"/>
                  </a:lnTo>
                  <a:lnTo>
                    <a:pt x="122" y="44"/>
                  </a:lnTo>
                  <a:lnTo>
                    <a:pt x="102" y="44"/>
                  </a:lnTo>
                  <a:lnTo>
                    <a:pt x="98" y="54"/>
                  </a:lnTo>
                  <a:lnTo>
                    <a:pt x="82" y="58"/>
                  </a:lnTo>
                  <a:lnTo>
                    <a:pt x="82" y="52"/>
                  </a:lnTo>
                  <a:lnTo>
                    <a:pt x="68" y="52"/>
                  </a:lnTo>
                  <a:lnTo>
                    <a:pt x="66" y="58"/>
                  </a:lnTo>
                  <a:lnTo>
                    <a:pt x="58" y="62"/>
                  </a:lnTo>
                  <a:lnTo>
                    <a:pt x="54" y="66"/>
                  </a:lnTo>
                  <a:lnTo>
                    <a:pt x="52" y="76"/>
                  </a:lnTo>
                  <a:lnTo>
                    <a:pt x="32" y="76"/>
                  </a:lnTo>
                  <a:lnTo>
                    <a:pt x="18" y="74"/>
                  </a:lnTo>
                  <a:lnTo>
                    <a:pt x="6" y="74"/>
                  </a:lnTo>
                  <a:lnTo>
                    <a:pt x="4" y="66"/>
                  </a:lnTo>
                  <a:lnTo>
                    <a:pt x="2" y="60"/>
                  </a:lnTo>
                  <a:lnTo>
                    <a:pt x="4" y="56"/>
                  </a:lnTo>
                  <a:lnTo>
                    <a:pt x="8" y="60"/>
                  </a:lnTo>
                  <a:lnTo>
                    <a:pt x="20" y="60"/>
                  </a:lnTo>
                  <a:lnTo>
                    <a:pt x="30" y="56"/>
                  </a:lnTo>
                  <a:lnTo>
                    <a:pt x="38" y="48"/>
                  </a:lnTo>
                  <a:lnTo>
                    <a:pt x="30" y="40"/>
                  </a:lnTo>
                  <a:lnTo>
                    <a:pt x="20" y="34"/>
                  </a:lnTo>
                  <a:lnTo>
                    <a:pt x="8" y="38"/>
                  </a:lnTo>
                  <a:lnTo>
                    <a:pt x="0" y="34"/>
                  </a:lnTo>
                  <a:lnTo>
                    <a:pt x="2" y="30"/>
                  </a:lnTo>
                  <a:lnTo>
                    <a:pt x="6" y="2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09" name="Freeform 101">
              <a:extLst>
                <a:ext uri="{FF2B5EF4-FFF2-40B4-BE49-F238E27FC236}">
                  <a16:creationId xmlns:a16="http://schemas.microsoft.com/office/drawing/2014/main" id="{E3A38454-E615-4FE2-A5D5-5D52119C1854}"/>
                </a:ext>
              </a:extLst>
            </p:cNvPr>
            <p:cNvSpPr>
              <a:spLocks/>
            </p:cNvSpPr>
            <p:nvPr/>
          </p:nvSpPr>
          <p:spPr bwMode="gray">
            <a:xfrm>
              <a:off x="7041800" y="3084641"/>
              <a:ext cx="1056686" cy="478031"/>
            </a:xfrm>
            <a:custGeom>
              <a:avLst/>
              <a:gdLst>
                <a:gd name="T0" fmla="*/ 94 w 640"/>
                <a:gd name="T1" fmla="*/ 260 h 298"/>
                <a:gd name="T2" fmla="*/ 66 w 640"/>
                <a:gd name="T3" fmla="*/ 234 h 298"/>
                <a:gd name="T4" fmla="*/ 64 w 640"/>
                <a:gd name="T5" fmla="*/ 220 h 298"/>
                <a:gd name="T6" fmla="*/ 76 w 640"/>
                <a:gd name="T7" fmla="*/ 210 h 298"/>
                <a:gd name="T8" fmla="*/ 94 w 640"/>
                <a:gd name="T9" fmla="*/ 208 h 298"/>
                <a:gd name="T10" fmla="*/ 108 w 640"/>
                <a:gd name="T11" fmla="*/ 196 h 298"/>
                <a:gd name="T12" fmla="*/ 82 w 640"/>
                <a:gd name="T13" fmla="*/ 176 h 298"/>
                <a:gd name="T14" fmla="*/ 40 w 640"/>
                <a:gd name="T15" fmla="*/ 188 h 298"/>
                <a:gd name="T16" fmla="*/ 24 w 640"/>
                <a:gd name="T17" fmla="*/ 158 h 298"/>
                <a:gd name="T18" fmla="*/ 0 w 640"/>
                <a:gd name="T19" fmla="*/ 140 h 298"/>
                <a:gd name="T20" fmla="*/ 18 w 640"/>
                <a:gd name="T21" fmla="*/ 102 h 298"/>
                <a:gd name="T22" fmla="*/ 34 w 640"/>
                <a:gd name="T23" fmla="*/ 114 h 298"/>
                <a:gd name="T24" fmla="*/ 60 w 640"/>
                <a:gd name="T25" fmla="*/ 84 h 298"/>
                <a:gd name="T26" fmla="*/ 112 w 640"/>
                <a:gd name="T27" fmla="*/ 84 h 298"/>
                <a:gd name="T28" fmla="*/ 150 w 640"/>
                <a:gd name="T29" fmla="*/ 100 h 298"/>
                <a:gd name="T30" fmla="*/ 190 w 640"/>
                <a:gd name="T31" fmla="*/ 90 h 298"/>
                <a:gd name="T32" fmla="*/ 226 w 640"/>
                <a:gd name="T33" fmla="*/ 98 h 298"/>
                <a:gd name="T34" fmla="*/ 228 w 640"/>
                <a:gd name="T35" fmla="*/ 80 h 298"/>
                <a:gd name="T36" fmla="*/ 220 w 640"/>
                <a:gd name="T37" fmla="*/ 68 h 298"/>
                <a:gd name="T38" fmla="*/ 228 w 640"/>
                <a:gd name="T39" fmla="*/ 52 h 298"/>
                <a:gd name="T40" fmla="*/ 236 w 640"/>
                <a:gd name="T41" fmla="*/ 40 h 298"/>
                <a:gd name="T42" fmla="*/ 254 w 640"/>
                <a:gd name="T43" fmla="*/ 28 h 298"/>
                <a:gd name="T44" fmla="*/ 316 w 640"/>
                <a:gd name="T45" fmla="*/ 10 h 298"/>
                <a:gd name="T46" fmla="*/ 364 w 640"/>
                <a:gd name="T47" fmla="*/ 0 h 298"/>
                <a:gd name="T48" fmla="*/ 388 w 640"/>
                <a:gd name="T49" fmla="*/ 16 h 298"/>
                <a:gd name="T50" fmla="*/ 418 w 640"/>
                <a:gd name="T51" fmla="*/ 28 h 298"/>
                <a:gd name="T52" fmla="*/ 456 w 640"/>
                <a:gd name="T53" fmla="*/ 28 h 298"/>
                <a:gd name="T54" fmla="*/ 480 w 640"/>
                <a:gd name="T55" fmla="*/ 32 h 298"/>
                <a:gd name="T56" fmla="*/ 510 w 640"/>
                <a:gd name="T57" fmla="*/ 60 h 298"/>
                <a:gd name="T58" fmla="*/ 528 w 640"/>
                <a:gd name="T59" fmla="*/ 92 h 298"/>
                <a:gd name="T60" fmla="*/ 540 w 640"/>
                <a:gd name="T61" fmla="*/ 84 h 298"/>
                <a:gd name="T62" fmla="*/ 562 w 640"/>
                <a:gd name="T63" fmla="*/ 96 h 298"/>
                <a:gd name="T64" fmla="*/ 590 w 640"/>
                <a:gd name="T65" fmla="*/ 92 h 298"/>
                <a:gd name="T66" fmla="*/ 614 w 640"/>
                <a:gd name="T67" fmla="*/ 116 h 298"/>
                <a:gd name="T68" fmla="*/ 640 w 640"/>
                <a:gd name="T69" fmla="*/ 132 h 298"/>
                <a:gd name="T70" fmla="*/ 626 w 640"/>
                <a:gd name="T71" fmla="*/ 142 h 298"/>
                <a:gd name="T72" fmla="*/ 622 w 640"/>
                <a:gd name="T73" fmla="*/ 170 h 298"/>
                <a:gd name="T74" fmla="*/ 596 w 640"/>
                <a:gd name="T75" fmla="*/ 172 h 298"/>
                <a:gd name="T76" fmla="*/ 570 w 640"/>
                <a:gd name="T77" fmla="*/ 194 h 298"/>
                <a:gd name="T78" fmla="*/ 548 w 640"/>
                <a:gd name="T79" fmla="*/ 208 h 298"/>
                <a:gd name="T80" fmla="*/ 538 w 640"/>
                <a:gd name="T81" fmla="*/ 232 h 298"/>
                <a:gd name="T82" fmla="*/ 536 w 640"/>
                <a:gd name="T83" fmla="*/ 256 h 298"/>
                <a:gd name="T84" fmla="*/ 526 w 640"/>
                <a:gd name="T85" fmla="*/ 262 h 298"/>
                <a:gd name="T86" fmla="*/ 512 w 640"/>
                <a:gd name="T87" fmla="*/ 254 h 298"/>
                <a:gd name="T88" fmla="*/ 450 w 640"/>
                <a:gd name="T89" fmla="*/ 248 h 298"/>
                <a:gd name="T90" fmla="*/ 430 w 640"/>
                <a:gd name="T91" fmla="*/ 250 h 298"/>
                <a:gd name="T92" fmla="*/ 410 w 640"/>
                <a:gd name="T93" fmla="*/ 258 h 298"/>
                <a:gd name="T94" fmla="*/ 394 w 640"/>
                <a:gd name="T95" fmla="*/ 254 h 298"/>
                <a:gd name="T96" fmla="*/ 376 w 640"/>
                <a:gd name="T97" fmla="*/ 270 h 298"/>
                <a:gd name="T98" fmla="*/ 350 w 640"/>
                <a:gd name="T99" fmla="*/ 298 h 298"/>
                <a:gd name="T100" fmla="*/ 342 w 640"/>
                <a:gd name="T101" fmla="*/ 288 h 298"/>
                <a:gd name="T102" fmla="*/ 320 w 640"/>
                <a:gd name="T103" fmla="*/ 288 h 298"/>
                <a:gd name="T104" fmla="*/ 308 w 640"/>
                <a:gd name="T105" fmla="*/ 264 h 298"/>
                <a:gd name="T106" fmla="*/ 290 w 640"/>
                <a:gd name="T107" fmla="*/ 238 h 298"/>
                <a:gd name="T108" fmla="*/ 244 w 640"/>
                <a:gd name="T109" fmla="*/ 242 h 298"/>
                <a:gd name="T110" fmla="*/ 204 w 640"/>
                <a:gd name="T111" fmla="*/ 210 h 298"/>
                <a:gd name="T112" fmla="*/ 168 w 640"/>
                <a:gd name="T113" fmla="*/ 208 h 298"/>
                <a:gd name="T114" fmla="*/ 150 w 640"/>
                <a:gd name="T115" fmla="*/ 286 h 298"/>
                <a:gd name="T116" fmla="*/ 132 w 640"/>
                <a:gd name="T117" fmla="*/ 270 h 298"/>
                <a:gd name="T118" fmla="*/ 114 w 640"/>
                <a:gd name="T119" fmla="*/ 264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40" h="298">
                  <a:moveTo>
                    <a:pt x="108" y="262"/>
                  </a:moveTo>
                  <a:lnTo>
                    <a:pt x="94" y="260"/>
                  </a:lnTo>
                  <a:lnTo>
                    <a:pt x="78" y="248"/>
                  </a:lnTo>
                  <a:lnTo>
                    <a:pt x="66" y="234"/>
                  </a:lnTo>
                  <a:lnTo>
                    <a:pt x="58" y="224"/>
                  </a:lnTo>
                  <a:lnTo>
                    <a:pt x="64" y="220"/>
                  </a:lnTo>
                  <a:lnTo>
                    <a:pt x="78" y="222"/>
                  </a:lnTo>
                  <a:lnTo>
                    <a:pt x="76" y="210"/>
                  </a:lnTo>
                  <a:lnTo>
                    <a:pt x="82" y="206"/>
                  </a:lnTo>
                  <a:lnTo>
                    <a:pt x="94" y="208"/>
                  </a:lnTo>
                  <a:lnTo>
                    <a:pt x="104" y="210"/>
                  </a:lnTo>
                  <a:lnTo>
                    <a:pt x="108" y="196"/>
                  </a:lnTo>
                  <a:lnTo>
                    <a:pt x="100" y="176"/>
                  </a:lnTo>
                  <a:lnTo>
                    <a:pt x="82" y="176"/>
                  </a:lnTo>
                  <a:lnTo>
                    <a:pt x="64" y="178"/>
                  </a:lnTo>
                  <a:lnTo>
                    <a:pt x="40" y="188"/>
                  </a:lnTo>
                  <a:lnTo>
                    <a:pt x="36" y="174"/>
                  </a:lnTo>
                  <a:lnTo>
                    <a:pt x="24" y="158"/>
                  </a:lnTo>
                  <a:lnTo>
                    <a:pt x="10" y="154"/>
                  </a:lnTo>
                  <a:lnTo>
                    <a:pt x="0" y="140"/>
                  </a:lnTo>
                  <a:lnTo>
                    <a:pt x="6" y="116"/>
                  </a:lnTo>
                  <a:lnTo>
                    <a:pt x="18" y="102"/>
                  </a:lnTo>
                  <a:lnTo>
                    <a:pt x="26" y="118"/>
                  </a:lnTo>
                  <a:lnTo>
                    <a:pt x="34" y="114"/>
                  </a:lnTo>
                  <a:lnTo>
                    <a:pt x="36" y="102"/>
                  </a:lnTo>
                  <a:lnTo>
                    <a:pt x="60" y="84"/>
                  </a:lnTo>
                  <a:lnTo>
                    <a:pt x="76" y="78"/>
                  </a:lnTo>
                  <a:lnTo>
                    <a:pt x="112" y="84"/>
                  </a:lnTo>
                  <a:lnTo>
                    <a:pt x="136" y="98"/>
                  </a:lnTo>
                  <a:lnTo>
                    <a:pt x="150" y="100"/>
                  </a:lnTo>
                  <a:lnTo>
                    <a:pt x="172" y="90"/>
                  </a:lnTo>
                  <a:lnTo>
                    <a:pt x="190" y="90"/>
                  </a:lnTo>
                  <a:lnTo>
                    <a:pt x="200" y="100"/>
                  </a:lnTo>
                  <a:lnTo>
                    <a:pt x="226" y="98"/>
                  </a:lnTo>
                  <a:lnTo>
                    <a:pt x="238" y="88"/>
                  </a:lnTo>
                  <a:lnTo>
                    <a:pt x="228" y="80"/>
                  </a:lnTo>
                  <a:lnTo>
                    <a:pt x="214" y="76"/>
                  </a:lnTo>
                  <a:lnTo>
                    <a:pt x="220" y="68"/>
                  </a:lnTo>
                  <a:lnTo>
                    <a:pt x="226" y="62"/>
                  </a:lnTo>
                  <a:lnTo>
                    <a:pt x="228" y="52"/>
                  </a:lnTo>
                  <a:lnTo>
                    <a:pt x="240" y="48"/>
                  </a:lnTo>
                  <a:lnTo>
                    <a:pt x="236" y="40"/>
                  </a:lnTo>
                  <a:lnTo>
                    <a:pt x="232" y="30"/>
                  </a:lnTo>
                  <a:lnTo>
                    <a:pt x="254" y="28"/>
                  </a:lnTo>
                  <a:lnTo>
                    <a:pt x="280" y="20"/>
                  </a:lnTo>
                  <a:lnTo>
                    <a:pt x="316" y="10"/>
                  </a:lnTo>
                  <a:lnTo>
                    <a:pt x="346" y="4"/>
                  </a:lnTo>
                  <a:lnTo>
                    <a:pt x="364" y="0"/>
                  </a:lnTo>
                  <a:lnTo>
                    <a:pt x="384" y="2"/>
                  </a:lnTo>
                  <a:lnTo>
                    <a:pt x="388" y="16"/>
                  </a:lnTo>
                  <a:lnTo>
                    <a:pt x="398" y="22"/>
                  </a:lnTo>
                  <a:lnTo>
                    <a:pt x="418" y="28"/>
                  </a:lnTo>
                  <a:lnTo>
                    <a:pt x="438" y="38"/>
                  </a:lnTo>
                  <a:lnTo>
                    <a:pt x="456" y="28"/>
                  </a:lnTo>
                  <a:lnTo>
                    <a:pt x="478" y="22"/>
                  </a:lnTo>
                  <a:lnTo>
                    <a:pt x="480" y="32"/>
                  </a:lnTo>
                  <a:lnTo>
                    <a:pt x="498" y="44"/>
                  </a:lnTo>
                  <a:lnTo>
                    <a:pt x="510" y="60"/>
                  </a:lnTo>
                  <a:lnTo>
                    <a:pt x="524" y="84"/>
                  </a:lnTo>
                  <a:lnTo>
                    <a:pt x="528" y="92"/>
                  </a:lnTo>
                  <a:lnTo>
                    <a:pt x="536" y="92"/>
                  </a:lnTo>
                  <a:lnTo>
                    <a:pt x="540" y="84"/>
                  </a:lnTo>
                  <a:lnTo>
                    <a:pt x="550" y="90"/>
                  </a:lnTo>
                  <a:lnTo>
                    <a:pt x="562" y="96"/>
                  </a:lnTo>
                  <a:lnTo>
                    <a:pt x="572" y="94"/>
                  </a:lnTo>
                  <a:lnTo>
                    <a:pt x="590" y="92"/>
                  </a:lnTo>
                  <a:lnTo>
                    <a:pt x="600" y="106"/>
                  </a:lnTo>
                  <a:lnTo>
                    <a:pt x="614" y="116"/>
                  </a:lnTo>
                  <a:lnTo>
                    <a:pt x="636" y="118"/>
                  </a:lnTo>
                  <a:lnTo>
                    <a:pt x="640" y="132"/>
                  </a:lnTo>
                  <a:lnTo>
                    <a:pt x="638" y="142"/>
                  </a:lnTo>
                  <a:lnTo>
                    <a:pt x="626" y="142"/>
                  </a:lnTo>
                  <a:lnTo>
                    <a:pt x="622" y="156"/>
                  </a:lnTo>
                  <a:lnTo>
                    <a:pt x="622" y="170"/>
                  </a:lnTo>
                  <a:lnTo>
                    <a:pt x="612" y="172"/>
                  </a:lnTo>
                  <a:lnTo>
                    <a:pt x="596" y="172"/>
                  </a:lnTo>
                  <a:lnTo>
                    <a:pt x="580" y="170"/>
                  </a:lnTo>
                  <a:lnTo>
                    <a:pt x="570" y="194"/>
                  </a:lnTo>
                  <a:lnTo>
                    <a:pt x="566" y="208"/>
                  </a:lnTo>
                  <a:lnTo>
                    <a:pt x="548" y="208"/>
                  </a:lnTo>
                  <a:lnTo>
                    <a:pt x="536" y="214"/>
                  </a:lnTo>
                  <a:lnTo>
                    <a:pt x="538" y="232"/>
                  </a:lnTo>
                  <a:lnTo>
                    <a:pt x="544" y="248"/>
                  </a:lnTo>
                  <a:lnTo>
                    <a:pt x="536" y="256"/>
                  </a:lnTo>
                  <a:lnTo>
                    <a:pt x="536" y="266"/>
                  </a:lnTo>
                  <a:lnTo>
                    <a:pt x="526" y="262"/>
                  </a:lnTo>
                  <a:lnTo>
                    <a:pt x="518" y="260"/>
                  </a:lnTo>
                  <a:lnTo>
                    <a:pt x="512" y="254"/>
                  </a:lnTo>
                  <a:lnTo>
                    <a:pt x="452" y="256"/>
                  </a:lnTo>
                  <a:lnTo>
                    <a:pt x="450" y="248"/>
                  </a:lnTo>
                  <a:lnTo>
                    <a:pt x="438" y="246"/>
                  </a:lnTo>
                  <a:lnTo>
                    <a:pt x="430" y="250"/>
                  </a:lnTo>
                  <a:lnTo>
                    <a:pt x="428" y="256"/>
                  </a:lnTo>
                  <a:lnTo>
                    <a:pt x="410" y="258"/>
                  </a:lnTo>
                  <a:lnTo>
                    <a:pt x="406" y="254"/>
                  </a:lnTo>
                  <a:lnTo>
                    <a:pt x="394" y="254"/>
                  </a:lnTo>
                  <a:lnTo>
                    <a:pt x="384" y="266"/>
                  </a:lnTo>
                  <a:lnTo>
                    <a:pt x="376" y="270"/>
                  </a:lnTo>
                  <a:lnTo>
                    <a:pt x="352" y="288"/>
                  </a:lnTo>
                  <a:lnTo>
                    <a:pt x="350" y="298"/>
                  </a:lnTo>
                  <a:lnTo>
                    <a:pt x="342" y="298"/>
                  </a:lnTo>
                  <a:lnTo>
                    <a:pt x="342" y="288"/>
                  </a:lnTo>
                  <a:lnTo>
                    <a:pt x="338" y="286"/>
                  </a:lnTo>
                  <a:lnTo>
                    <a:pt x="320" y="288"/>
                  </a:lnTo>
                  <a:lnTo>
                    <a:pt x="318" y="272"/>
                  </a:lnTo>
                  <a:lnTo>
                    <a:pt x="308" y="264"/>
                  </a:lnTo>
                  <a:lnTo>
                    <a:pt x="308" y="256"/>
                  </a:lnTo>
                  <a:lnTo>
                    <a:pt x="290" y="238"/>
                  </a:lnTo>
                  <a:lnTo>
                    <a:pt x="282" y="240"/>
                  </a:lnTo>
                  <a:lnTo>
                    <a:pt x="244" y="242"/>
                  </a:lnTo>
                  <a:lnTo>
                    <a:pt x="230" y="224"/>
                  </a:lnTo>
                  <a:lnTo>
                    <a:pt x="204" y="210"/>
                  </a:lnTo>
                  <a:lnTo>
                    <a:pt x="196" y="204"/>
                  </a:lnTo>
                  <a:lnTo>
                    <a:pt x="168" y="208"/>
                  </a:lnTo>
                  <a:lnTo>
                    <a:pt x="150" y="212"/>
                  </a:lnTo>
                  <a:lnTo>
                    <a:pt x="150" y="286"/>
                  </a:lnTo>
                  <a:lnTo>
                    <a:pt x="140" y="284"/>
                  </a:lnTo>
                  <a:lnTo>
                    <a:pt x="132" y="270"/>
                  </a:lnTo>
                  <a:lnTo>
                    <a:pt x="120" y="262"/>
                  </a:lnTo>
                  <a:lnTo>
                    <a:pt x="114" y="264"/>
                  </a:lnTo>
                  <a:lnTo>
                    <a:pt x="108" y="26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10" name="Freeform 102">
              <a:extLst>
                <a:ext uri="{FF2B5EF4-FFF2-40B4-BE49-F238E27FC236}">
                  <a16:creationId xmlns:a16="http://schemas.microsoft.com/office/drawing/2014/main" id="{990B8087-EA27-4506-80D5-B9E62C362DC5}"/>
                </a:ext>
              </a:extLst>
            </p:cNvPr>
            <p:cNvSpPr>
              <a:spLocks/>
            </p:cNvSpPr>
            <p:nvPr/>
          </p:nvSpPr>
          <p:spPr bwMode="gray">
            <a:xfrm>
              <a:off x="6539956" y="2078783"/>
              <a:ext cx="4259765" cy="1477248"/>
            </a:xfrm>
            <a:custGeom>
              <a:avLst/>
              <a:gdLst>
                <a:gd name="T0" fmla="*/ 336 w 2580"/>
                <a:gd name="T1" fmla="*/ 878 h 890"/>
                <a:gd name="T2" fmla="*/ 254 w 2580"/>
                <a:gd name="T3" fmla="*/ 858 h 890"/>
                <a:gd name="T4" fmla="*/ 174 w 2580"/>
                <a:gd name="T5" fmla="*/ 796 h 890"/>
                <a:gd name="T6" fmla="*/ 164 w 2580"/>
                <a:gd name="T7" fmla="*/ 716 h 890"/>
                <a:gd name="T8" fmla="*/ 72 w 2580"/>
                <a:gd name="T9" fmla="*/ 674 h 890"/>
                <a:gd name="T10" fmla="*/ 14 w 2580"/>
                <a:gd name="T11" fmla="*/ 584 h 890"/>
                <a:gd name="T12" fmla="*/ 22 w 2580"/>
                <a:gd name="T13" fmla="*/ 486 h 890"/>
                <a:gd name="T14" fmla="*/ 34 w 2580"/>
                <a:gd name="T15" fmla="*/ 336 h 890"/>
                <a:gd name="T16" fmla="*/ 80 w 2580"/>
                <a:gd name="T17" fmla="*/ 244 h 890"/>
                <a:gd name="T18" fmla="*/ 172 w 2580"/>
                <a:gd name="T19" fmla="*/ 348 h 890"/>
                <a:gd name="T20" fmla="*/ 122 w 2580"/>
                <a:gd name="T21" fmla="*/ 386 h 890"/>
                <a:gd name="T22" fmla="*/ 180 w 2580"/>
                <a:gd name="T23" fmla="*/ 380 h 890"/>
                <a:gd name="T24" fmla="*/ 262 w 2580"/>
                <a:gd name="T25" fmla="*/ 310 h 890"/>
                <a:gd name="T26" fmla="*/ 318 w 2580"/>
                <a:gd name="T27" fmla="*/ 326 h 890"/>
                <a:gd name="T28" fmla="*/ 476 w 2580"/>
                <a:gd name="T29" fmla="*/ 278 h 890"/>
                <a:gd name="T30" fmla="*/ 498 w 2580"/>
                <a:gd name="T31" fmla="*/ 226 h 890"/>
                <a:gd name="T32" fmla="*/ 626 w 2580"/>
                <a:gd name="T33" fmla="*/ 246 h 890"/>
                <a:gd name="T34" fmla="*/ 716 w 2580"/>
                <a:gd name="T35" fmla="*/ 182 h 890"/>
                <a:gd name="T36" fmla="*/ 666 w 2580"/>
                <a:gd name="T37" fmla="*/ 324 h 890"/>
                <a:gd name="T38" fmla="*/ 778 w 2580"/>
                <a:gd name="T39" fmla="*/ 270 h 890"/>
                <a:gd name="T40" fmla="*/ 734 w 2580"/>
                <a:gd name="T41" fmla="*/ 204 h 890"/>
                <a:gd name="T42" fmla="*/ 780 w 2580"/>
                <a:gd name="T43" fmla="*/ 204 h 890"/>
                <a:gd name="T44" fmla="*/ 798 w 2580"/>
                <a:gd name="T45" fmla="*/ 162 h 890"/>
                <a:gd name="T46" fmla="*/ 946 w 2580"/>
                <a:gd name="T47" fmla="*/ 120 h 890"/>
                <a:gd name="T48" fmla="*/ 1230 w 2580"/>
                <a:gd name="T49" fmla="*/ 2 h 890"/>
                <a:gd name="T50" fmla="*/ 1326 w 2580"/>
                <a:gd name="T51" fmla="*/ 102 h 890"/>
                <a:gd name="T52" fmla="*/ 1336 w 2580"/>
                <a:gd name="T53" fmla="*/ 122 h 890"/>
                <a:gd name="T54" fmla="*/ 1564 w 2580"/>
                <a:gd name="T55" fmla="*/ 138 h 890"/>
                <a:gd name="T56" fmla="*/ 1720 w 2580"/>
                <a:gd name="T57" fmla="*/ 190 h 890"/>
                <a:gd name="T58" fmla="*/ 1926 w 2580"/>
                <a:gd name="T59" fmla="*/ 172 h 890"/>
                <a:gd name="T60" fmla="*/ 2108 w 2580"/>
                <a:gd name="T61" fmla="*/ 246 h 890"/>
                <a:gd name="T62" fmla="*/ 2274 w 2580"/>
                <a:gd name="T63" fmla="*/ 272 h 890"/>
                <a:gd name="T64" fmla="*/ 2442 w 2580"/>
                <a:gd name="T65" fmla="*/ 276 h 890"/>
                <a:gd name="T66" fmla="*/ 2568 w 2580"/>
                <a:gd name="T67" fmla="*/ 332 h 890"/>
                <a:gd name="T68" fmla="*/ 2446 w 2580"/>
                <a:gd name="T69" fmla="*/ 360 h 890"/>
                <a:gd name="T70" fmla="*/ 2368 w 2580"/>
                <a:gd name="T71" fmla="*/ 380 h 890"/>
                <a:gd name="T72" fmla="*/ 2306 w 2580"/>
                <a:gd name="T73" fmla="*/ 464 h 890"/>
                <a:gd name="T74" fmla="*/ 2136 w 2580"/>
                <a:gd name="T75" fmla="*/ 534 h 890"/>
                <a:gd name="T76" fmla="*/ 2104 w 2580"/>
                <a:gd name="T77" fmla="*/ 634 h 890"/>
                <a:gd name="T78" fmla="*/ 2034 w 2580"/>
                <a:gd name="T79" fmla="*/ 582 h 890"/>
                <a:gd name="T80" fmla="*/ 2166 w 2580"/>
                <a:gd name="T81" fmla="*/ 430 h 890"/>
                <a:gd name="T82" fmla="*/ 2058 w 2580"/>
                <a:gd name="T83" fmla="*/ 456 h 890"/>
                <a:gd name="T84" fmla="*/ 1966 w 2580"/>
                <a:gd name="T85" fmla="*/ 504 h 890"/>
                <a:gd name="T86" fmla="*/ 1734 w 2580"/>
                <a:gd name="T87" fmla="*/ 620 h 890"/>
                <a:gd name="T88" fmla="*/ 1794 w 2580"/>
                <a:gd name="T89" fmla="*/ 728 h 890"/>
                <a:gd name="T90" fmla="*/ 1660 w 2580"/>
                <a:gd name="T91" fmla="*/ 810 h 890"/>
                <a:gd name="T92" fmla="*/ 1666 w 2580"/>
                <a:gd name="T93" fmla="*/ 764 h 890"/>
                <a:gd name="T94" fmla="*/ 1472 w 2580"/>
                <a:gd name="T95" fmla="*/ 652 h 890"/>
                <a:gd name="T96" fmla="*/ 1418 w 2580"/>
                <a:gd name="T97" fmla="*/ 718 h 890"/>
                <a:gd name="T98" fmla="*/ 1276 w 2580"/>
                <a:gd name="T99" fmla="*/ 718 h 890"/>
                <a:gd name="T100" fmla="*/ 1132 w 2580"/>
                <a:gd name="T101" fmla="*/ 674 h 890"/>
                <a:gd name="T102" fmla="*/ 1024 w 2580"/>
                <a:gd name="T103" fmla="*/ 700 h 890"/>
                <a:gd name="T104" fmla="*/ 894 w 2580"/>
                <a:gd name="T105" fmla="*/ 696 h 890"/>
                <a:gd name="T106" fmla="*/ 760 w 2580"/>
                <a:gd name="T107" fmla="*/ 632 h 890"/>
                <a:gd name="T108" fmla="*/ 536 w 2580"/>
                <a:gd name="T109" fmla="*/ 634 h 890"/>
                <a:gd name="T110" fmla="*/ 530 w 2580"/>
                <a:gd name="T111" fmla="*/ 702 h 890"/>
                <a:gd name="T112" fmla="*/ 340 w 2580"/>
                <a:gd name="T113" fmla="*/ 706 h 890"/>
                <a:gd name="T114" fmla="*/ 344 w 2580"/>
                <a:gd name="T115" fmla="*/ 792 h 890"/>
                <a:gd name="connsiteX0" fmla="*/ 1333 w 10000"/>
                <a:gd name="connsiteY0" fmla="*/ 8899 h 10000"/>
                <a:gd name="connsiteX1" fmla="*/ 1271 w 10000"/>
                <a:gd name="connsiteY1" fmla="*/ 9034 h 10000"/>
                <a:gd name="connsiteX2" fmla="*/ 1233 w 10000"/>
                <a:gd name="connsiteY2" fmla="*/ 9101 h 10000"/>
                <a:gd name="connsiteX3" fmla="*/ 1217 w 10000"/>
                <a:gd name="connsiteY3" fmla="*/ 9191 h 10000"/>
                <a:gd name="connsiteX4" fmla="*/ 1186 w 10000"/>
                <a:gd name="connsiteY4" fmla="*/ 9303 h 10000"/>
                <a:gd name="connsiteX5" fmla="*/ 1217 w 10000"/>
                <a:gd name="connsiteY5" fmla="*/ 9371 h 10000"/>
                <a:gd name="connsiteX6" fmla="*/ 1240 w 10000"/>
                <a:gd name="connsiteY6" fmla="*/ 9483 h 10000"/>
                <a:gd name="connsiteX7" fmla="*/ 1248 w 10000"/>
                <a:gd name="connsiteY7" fmla="*/ 9685 h 10000"/>
                <a:gd name="connsiteX8" fmla="*/ 1302 w 10000"/>
                <a:gd name="connsiteY8" fmla="*/ 9865 h 10000"/>
                <a:gd name="connsiteX9" fmla="*/ 1264 w 10000"/>
                <a:gd name="connsiteY9" fmla="*/ 9978 h 10000"/>
                <a:gd name="connsiteX10" fmla="*/ 1248 w 10000"/>
                <a:gd name="connsiteY10" fmla="*/ 10000 h 10000"/>
                <a:gd name="connsiteX11" fmla="*/ 1186 w 10000"/>
                <a:gd name="connsiteY11" fmla="*/ 9865 h 10000"/>
                <a:gd name="connsiteX12" fmla="*/ 1163 w 10000"/>
                <a:gd name="connsiteY12" fmla="*/ 9843 h 10000"/>
                <a:gd name="connsiteX13" fmla="*/ 1124 w 10000"/>
                <a:gd name="connsiteY13" fmla="*/ 9730 h 10000"/>
                <a:gd name="connsiteX14" fmla="*/ 1085 w 10000"/>
                <a:gd name="connsiteY14" fmla="*/ 9663 h 10000"/>
                <a:gd name="connsiteX15" fmla="*/ 1047 w 10000"/>
                <a:gd name="connsiteY15" fmla="*/ 9685 h 10000"/>
                <a:gd name="connsiteX16" fmla="*/ 1023 w 10000"/>
                <a:gd name="connsiteY16" fmla="*/ 9685 h 10000"/>
                <a:gd name="connsiteX17" fmla="*/ 984 w 10000"/>
                <a:gd name="connsiteY17" fmla="*/ 9640 h 10000"/>
                <a:gd name="connsiteX18" fmla="*/ 930 w 10000"/>
                <a:gd name="connsiteY18" fmla="*/ 9551 h 10000"/>
                <a:gd name="connsiteX19" fmla="*/ 899 w 10000"/>
                <a:gd name="connsiteY19" fmla="*/ 9551 h 10000"/>
                <a:gd name="connsiteX20" fmla="*/ 860 w 10000"/>
                <a:gd name="connsiteY20" fmla="*/ 9573 h 10000"/>
                <a:gd name="connsiteX21" fmla="*/ 814 w 10000"/>
                <a:gd name="connsiteY21" fmla="*/ 9483 h 10000"/>
                <a:gd name="connsiteX22" fmla="*/ 767 w 10000"/>
                <a:gd name="connsiteY22" fmla="*/ 9506 h 10000"/>
                <a:gd name="connsiteX23" fmla="*/ 667 w 10000"/>
                <a:gd name="connsiteY23" fmla="*/ 9303 h 10000"/>
                <a:gd name="connsiteX24" fmla="*/ 612 w 10000"/>
                <a:gd name="connsiteY24" fmla="*/ 9236 h 10000"/>
                <a:gd name="connsiteX25" fmla="*/ 628 w 10000"/>
                <a:gd name="connsiteY25" fmla="*/ 9079 h 10000"/>
                <a:gd name="connsiteX26" fmla="*/ 674 w 10000"/>
                <a:gd name="connsiteY26" fmla="*/ 8944 h 10000"/>
                <a:gd name="connsiteX27" fmla="*/ 667 w 10000"/>
                <a:gd name="connsiteY27" fmla="*/ 8831 h 10000"/>
                <a:gd name="connsiteX28" fmla="*/ 729 w 10000"/>
                <a:gd name="connsiteY28" fmla="*/ 8719 h 10000"/>
                <a:gd name="connsiteX29" fmla="*/ 659 w 10000"/>
                <a:gd name="connsiteY29" fmla="*/ 8697 h 10000"/>
                <a:gd name="connsiteX30" fmla="*/ 667 w 10000"/>
                <a:gd name="connsiteY30" fmla="*/ 8607 h 10000"/>
                <a:gd name="connsiteX31" fmla="*/ 705 w 10000"/>
                <a:gd name="connsiteY31" fmla="*/ 8562 h 10000"/>
                <a:gd name="connsiteX32" fmla="*/ 767 w 10000"/>
                <a:gd name="connsiteY32" fmla="*/ 8517 h 10000"/>
                <a:gd name="connsiteX33" fmla="*/ 775 w 10000"/>
                <a:gd name="connsiteY33" fmla="*/ 8157 h 10000"/>
                <a:gd name="connsiteX34" fmla="*/ 713 w 10000"/>
                <a:gd name="connsiteY34" fmla="*/ 8045 h 10000"/>
                <a:gd name="connsiteX35" fmla="*/ 636 w 10000"/>
                <a:gd name="connsiteY35" fmla="*/ 8045 h 10000"/>
                <a:gd name="connsiteX36" fmla="*/ 628 w 10000"/>
                <a:gd name="connsiteY36" fmla="*/ 7978 h 10000"/>
                <a:gd name="connsiteX37" fmla="*/ 504 w 10000"/>
                <a:gd name="connsiteY37" fmla="*/ 7955 h 10000"/>
                <a:gd name="connsiteX38" fmla="*/ 488 w 10000"/>
                <a:gd name="connsiteY38" fmla="*/ 7798 h 10000"/>
                <a:gd name="connsiteX39" fmla="*/ 419 w 10000"/>
                <a:gd name="connsiteY39" fmla="*/ 7753 h 10000"/>
                <a:gd name="connsiteX40" fmla="*/ 426 w 10000"/>
                <a:gd name="connsiteY40" fmla="*/ 7618 h 10000"/>
                <a:gd name="connsiteX41" fmla="*/ 411 w 10000"/>
                <a:gd name="connsiteY41" fmla="*/ 7506 h 10000"/>
                <a:gd name="connsiteX42" fmla="*/ 318 w 10000"/>
                <a:gd name="connsiteY42" fmla="*/ 7506 h 10000"/>
                <a:gd name="connsiteX43" fmla="*/ 302 w 10000"/>
                <a:gd name="connsiteY43" fmla="*/ 7551 h 10000"/>
                <a:gd name="connsiteX44" fmla="*/ 279 w 10000"/>
                <a:gd name="connsiteY44" fmla="*/ 7573 h 10000"/>
                <a:gd name="connsiteX45" fmla="*/ 248 w 10000"/>
                <a:gd name="connsiteY45" fmla="*/ 7528 h 10000"/>
                <a:gd name="connsiteX46" fmla="*/ 248 w 10000"/>
                <a:gd name="connsiteY46" fmla="*/ 7303 h 10000"/>
                <a:gd name="connsiteX47" fmla="*/ 318 w 10000"/>
                <a:gd name="connsiteY47" fmla="*/ 7303 h 10000"/>
                <a:gd name="connsiteX48" fmla="*/ 326 w 10000"/>
                <a:gd name="connsiteY48" fmla="*/ 7281 h 10000"/>
                <a:gd name="connsiteX49" fmla="*/ 217 w 10000"/>
                <a:gd name="connsiteY49" fmla="*/ 6944 h 10000"/>
                <a:gd name="connsiteX50" fmla="*/ 202 w 10000"/>
                <a:gd name="connsiteY50" fmla="*/ 6697 h 10000"/>
                <a:gd name="connsiteX51" fmla="*/ 124 w 10000"/>
                <a:gd name="connsiteY51" fmla="*/ 6674 h 10000"/>
                <a:gd name="connsiteX52" fmla="*/ 124 w 10000"/>
                <a:gd name="connsiteY52" fmla="*/ 6607 h 10000"/>
                <a:gd name="connsiteX53" fmla="*/ 54 w 10000"/>
                <a:gd name="connsiteY53" fmla="*/ 6562 h 10000"/>
                <a:gd name="connsiteX54" fmla="*/ 39 w 10000"/>
                <a:gd name="connsiteY54" fmla="*/ 6494 h 10000"/>
                <a:gd name="connsiteX55" fmla="*/ 23 w 10000"/>
                <a:gd name="connsiteY55" fmla="*/ 6315 h 10000"/>
                <a:gd name="connsiteX56" fmla="*/ 0 w 10000"/>
                <a:gd name="connsiteY56" fmla="*/ 6180 h 10000"/>
                <a:gd name="connsiteX57" fmla="*/ 8 w 10000"/>
                <a:gd name="connsiteY57" fmla="*/ 6045 h 10000"/>
                <a:gd name="connsiteX58" fmla="*/ 8 w 10000"/>
                <a:gd name="connsiteY58" fmla="*/ 5865 h 10000"/>
                <a:gd name="connsiteX59" fmla="*/ 31 w 10000"/>
                <a:gd name="connsiteY59" fmla="*/ 5730 h 10000"/>
                <a:gd name="connsiteX60" fmla="*/ 101 w 10000"/>
                <a:gd name="connsiteY60" fmla="*/ 5573 h 10000"/>
                <a:gd name="connsiteX61" fmla="*/ 155 w 10000"/>
                <a:gd name="connsiteY61" fmla="*/ 5551 h 10000"/>
                <a:gd name="connsiteX62" fmla="*/ 85 w 10000"/>
                <a:gd name="connsiteY62" fmla="*/ 5461 h 10000"/>
                <a:gd name="connsiteX63" fmla="*/ 47 w 10000"/>
                <a:gd name="connsiteY63" fmla="*/ 5326 h 10000"/>
                <a:gd name="connsiteX64" fmla="*/ 180 w 10000"/>
                <a:gd name="connsiteY64" fmla="*/ 4975 h 10000"/>
                <a:gd name="connsiteX65" fmla="*/ 248 w 10000"/>
                <a:gd name="connsiteY65" fmla="*/ 4764 h 10000"/>
                <a:gd name="connsiteX66" fmla="*/ 155 w 10000"/>
                <a:gd name="connsiteY66" fmla="*/ 4562 h 10000"/>
                <a:gd name="connsiteX67" fmla="*/ 194 w 10000"/>
                <a:gd name="connsiteY67" fmla="*/ 4449 h 10000"/>
                <a:gd name="connsiteX68" fmla="*/ 163 w 10000"/>
                <a:gd name="connsiteY68" fmla="*/ 4292 h 10000"/>
                <a:gd name="connsiteX69" fmla="*/ 124 w 10000"/>
                <a:gd name="connsiteY69" fmla="*/ 4180 h 10000"/>
                <a:gd name="connsiteX70" fmla="*/ 155 w 10000"/>
                <a:gd name="connsiteY70" fmla="*/ 3955 h 10000"/>
                <a:gd name="connsiteX71" fmla="*/ 132 w 10000"/>
                <a:gd name="connsiteY71" fmla="*/ 3775 h 10000"/>
                <a:gd name="connsiteX72" fmla="*/ 93 w 10000"/>
                <a:gd name="connsiteY72" fmla="*/ 3573 h 10000"/>
                <a:gd name="connsiteX73" fmla="*/ 155 w 10000"/>
                <a:gd name="connsiteY73" fmla="*/ 3393 h 10000"/>
                <a:gd name="connsiteX74" fmla="*/ 62 w 10000"/>
                <a:gd name="connsiteY74" fmla="*/ 3236 h 10000"/>
                <a:gd name="connsiteX75" fmla="*/ 78 w 10000"/>
                <a:gd name="connsiteY75" fmla="*/ 2989 h 10000"/>
                <a:gd name="connsiteX76" fmla="*/ 116 w 10000"/>
                <a:gd name="connsiteY76" fmla="*/ 2876 h 10000"/>
                <a:gd name="connsiteX77" fmla="*/ 155 w 10000"/>
                <a:gd name="connsiteY77" fmla="*/ 2854 h 10000"/>
                <a:gd name="connsiteX78" fmla="*/ 155 w 10000"/>
                <a:gd name="connsiteY78" fmla="*/ 2787 h 10000"/>
                <a:gd name="connsiteX79" fmla="*/ 240 w 10000"/>
                <a:gd name="connsiteY79" fmla="*/ 2742 h 10000"/>
                <a:gd name="connsiteX80" fmla="*/ 310 w 10000"/>
                <a:gd name="connsiteY80" fmla="*/ 2742 h 10000"/>
                <a:gd name="connsiteX81" fmla="*/ 333 w 10000"/>
                <a:gd name="connsiteY81" fmla="*/ 2854 h 10000"/>
                <a:gd name="connsiteX82" fmla="*/ 372 w 10000"/>
                <a:gd name="connsiteY82" fmla="*/ 2899 h 10000"/>
                <a:gd name="connsiteX83" fmla="*/ 519 w 10000"/>
                <a:gd name="connsiteY83" fmla="*/ 2921 h 10000"/>
                <a:gd name="connsiteX84" fmla="*/ 628 w 10000"/>
                <a:gd name="connsiteY84" fmla="*/ 3079 h 10000"/>
                <a:gd name="connsiteX85" fmla="*/ 729 w 10000"/>
                <a:gd name="connsiteY85" fmla="*/ 3258 h 10000"/>
                <a:gd name="connsiteX86" fmla="*/ 845 w 10000"/>
                <a:gd name="connsiteY86" fmla="*/ 3438 h 10000"/>
                <a:gd name="connsiteX87" fmla="*/ 853 w 10000"/>
                <a:gd name="connsiteY87" fmla="*/ 3640 h 10000"/>
                <a:gd name="connsiteX88" fmla="*/ 783 w 10000"/>
                <a:gd name="connsiteY88" fmla="*/ 3820 h 10000"/>
                <a:gd name="connsiteX89" fmla="*/ 667 w 10000"/>
                <a:gd name="connsiteY89" fmla="*/ 3910 h 10000"/>
                <a:gd name="connsiteX90" fmla="*/ 566 w 10000"/>
                <a:gd name="connsiteY90" fmla="*/ 3798 h 10000"/>
                <a:gd name="connsiteX91" fmla="*/ 450 w 10000"/>
                <a:gd name="connsiteY91" fmla="*/ 3730 h 10000"/>
                <a:gd name="connsiteX92" fmla="*/ 364 w 10000"/>
                <a:gd name="connsiteY92" fmla="*/ 3640 h 10000"/>
                <a:gd name="connsiteX93" fmla="*/ 295 w 10000"/>
                <a:gd name="connsiteY93" fmla="*/ 3551 h 10000"/>
                <a:gd name="connsiteX94" fmla="*/ 349 w 10000"/>
                <a:gd name="connsiteY94" fmla="*/ 3753 h 10000"/>
                <a:gd name="connsiteX95" fmla="*/ 411 w 10000"/>
                <a:gd name="connsiteY95" fmla="*/ 3843 h 10000"/>
                <a:gd name="connsiteX96" fmla="*/ 442 w 10000"/>
                <a:gd name="connsiteY96" fmla="*/ 3910 h 10000"/>
                <a:gd name="connsiteX97" fmla="*/ 450 w 10000"/>
                <a:gd name="connsiteY97" fmla="*/ 4045 h 10000"/>
                <a:gd name="connsiteX98" fmla="*/ 473 w 10000"/>
                <a:gd name="connsiteY98" fmla="*/ 4337 h 10000"/>
                <a:gd name="connsiteX99" fmla="*/ 512 w 10000"/>
                <a:gd name="connsiteY99" fmla="*/ 4360 h 10000"/>
                <a:gd name="connsiteX100" fmla="*/ 574 w 10000"/>
                <a:gd name="connsiteY100" fmla="*/ 4517 h 10000"/>
                <a:gd name="connsiteX101" fmla="*/ 651 w 10000"/>
                <a:gd name="connsiteY101" fmla="*/ 4517 h 10000"/>
                <a:gd name="connsiteX102" fmla="*/ 659 w 10000"/>
                <a:gd name="connsiteY102" fmla="*/ 4404 h 10000"/>
                <a:gd name="connsiteX103" fmla="*/ 612 w 10000"/>
                <a:gd name="connsiteY103" fmla="*/ 4360 h 10000"/>
                <a:gd name="connsiteX104" fmla="*/ 574 w 10000"/>
                <a:gd name="connsiteY104" fmla="*/ 4225 h 10000"/>
                <a:gd name="connsiteX105" fmla="*/ 605 w 10000"/>
                <a:gd name="connsiteY105" fmla="*/ 4112 h 10000"/>
                <a:gd name="connsiteX106" fmla="*/ 651 w 10000"/>
                <a:gd name="connsiteY106" fmla="*/ 4225 h 10000"/>
                <a:gd name="connsiteX107" fmla="*/ 698 w 10000"/>
                <a:gd name="connsiteY107" fmla="*/ 4270 h 10000"/>
                <a:gd name="connsiteX108" fmla="*/ 798 w 10000"/>
                <a:gd name="connsiteY108" fmla="*/ 4337 h 10000"/>
                <a:gd name="connsiteX109" fmla="*/ 798 w 10000"/>
                <a:gd name="connsiteY109" fmla="*/ 4225 h 10000"/>
                <a:gd name="connsiteX110" fmla="*/ 760 w 10000"/>
                <a:gd name="connsiteY110" fmla="*/ 4090 h 10000"/>
                <a:gd name="connsiteX111" fmla="*/ 806 w 10000"/>
                <a:gd name="connsiteY111" fmla="*/ 3955 h 10000"/>
                <a:gd name="connsiteX112" fmla="*/ 876 w 10000"/>
                <a:gd name="connsiteY112" fmla="*/ 3843 h 10000"/>
                <a:gd name="connsiteX113" fmla="*/ 915 w 10000"/>
                <a:gd name="connsiteY113" fmla="*/ 3753 h 10000"/>
                <a:gd name="connsiteX114" fmla="*/ 1023 w 10000"/>
                <a:gd name="connsiteY114" fmla="*/ 3843 h 10000"/>
                <a:gd name="connsiteX115" fmla="*/ 1047 w 10000"/>
                <a:gd name="connsiteY115" fmla="*/ 3573 h 10000"/>
                <a:gd name="connsiteX116" fmla="*/ 1016 w 10000"/>
                <a:gd name="connsiteY116" fmla="*/ 3483 h 10000"/>
                <a:gd name="connsiteX117" fmla="*/ 1031 w 10000"/>
                <a:gd name="connsiteY117" fmla="*/ 3236 h 10000"/>
                <a:gd name="connsiteX118" fmla="*/ 1000 w 10000"/>
                <a:gd name="connsiteY118" fmla="*/ 3146 h 10000"/>
                <a:gd name="connsiteX119" fmla="*/ 1132 w 10000"/>
                <a:gd name="connsiteY119" fmla="*/ 3124 h 10000"/>
                <a:gd name="connsiteX120" fmla="*/ 1178 w 10000"/>
                <a:gd name="connsiteY120" fmla="*/ 3281 h 10000"/>
                <a:gd name="connsiteX121" fmla="*/ 1178 w 10000"/>
                <a:gd name="connsiteY121" fmla="*/ 3371 h 10000"/>
                <a:gd name="connsiteX122" fmla="*/ 1116 w 10000"/>
                <a:gd name="connsiteY122" fmla="*/ 3371 h 10000"/>
                <a:gd name="connsiteX123" fmla="*/ 1078 w 10000"/>
                <a:gd name="connsiteY123" fmla="*/ 3483 h 10000"/>
                <a:gd name="connsiteX124" fmla="*/ 1140 w 10000"/>
                <a:gd name="connsiteY124" fmla="*/ 3640 h 10000"/>
                <a:gd name="connsiteX125" fmla="*/ 1233 w 10000"/>
                <a:gd name="connsiteY125" fmla="*/ 3663 h 10000"/>
                <a:gd name="connsiteX126" fmla="*/ 1271 w 10000"/>
                <a:gd name="connsiteY126" fmla="*/ 3393 h 10000"/>
                <a:gd name="connsiteX127" fmla="*/ 1496 w 10000"/>
                <a:gd name="connsiteY127" fmla="*/ 3146 h 10000"/>
                <a:gd name="connsiteX128" fmla="*/ 1535 w 10000"/>
                <a:gd name="connsiteY128" fmla="*/ 3169 h 10000"/>
                <a:gd name="connsiteX129" fmla="*/ 1581 w 10000"/>
                <a:gd name="connsiteY129" fmla="*/ 3034 h 10000"/>
                <a:gd name="connsiteX130" fmla="*/ 1628 w 10000"/>
                <a:gd name="connsiteY130" fmla="*/ 2989 h 10000"/>
                <a:gd name="connsiteX131" fmla="*/ 1612 w 10000"/>
                <a:gd name="connsiteY131" fmla="*/ 3191 h 10000"/>
                <a:gd name="connsiteX132" fmla="*/ 1690 w 10000"/>
                <a:gd name="connsiteY132" fmla="*/ 3191 h 10000"/>
                <a:gd name="connsiteX133" fmla="*/ 1705 w 10000"/>
                <a:gd name="connsiteY133" fmla="*/ 3101 h 10000"/>
                <a:gd name="connsiteX134" fmla="*/ 1845 w 10000"/>
                <a:gd name="connsiteY134" fmla="*/ 3124 h 10000"/>
                <a:gd name="connsiteX135" fmla="*/ 1938 w 10000"/>
                <a:gd name="connsiteY135" fmla="*/ 2966 h 10000"/>
                <a:gd name="connsiteX136" fmla="*/ 1953 w 10000"/>
                <a:gd name="connsiteY136" fmla="*/ 3079 h 10000"/>
                <a:gd name="connsiteX137" fmla="*/ 1946 w 10000"/>
                <a:gd name="connsiteY137" fmla="*/ 3169 h 10000"/>
                <a:gd name="connsiteX138" fmla="*/ 1984 w 10000"/>
                <a:gd name="connsiteY138" fmla="*/ 3169 h 10000"/>
                <a:gd name="connsiteX139" fmla="*/ 2000 w 10000"/>
                <a:gd name="connsiteY139" fmla="*/ 3079 h 10000"/>
                <a:gd name="connsiteX140" fmla="*/ 2062 w 10000"/>
                <a:gd name="connsiteY140" fmla="*/ 2966 h 10000"/>
                <a:gd name="connsiteX141" fmla="*/ 2016 w 10000"/>
                <a:gd name="connsiteY141" fmla="*/ 2787 h 10000"/>
                <a:gd name="connsiteX142" fmla="*/ 1930 w 10000"/>
                <a:gd name="connsiteY142" fmla="*/ 2697 h 10000"/>
                <a:gd name="connsiteX143" fmla="*/ 1930 w 10000"/>
                <a:gd name="connsiteY143" fmla="*/ 2539 h 10000"/>
                <a:gd name="connsiteX144" fmla="*/ 1961 w 10000"/>
                <a:gd name="connsiteY144" fmla="*/ 2517 h 10000"/>
                <a:gd name="connsiteX145" fmla="*/ 2039 w 10000"/>
                <a:gd name="connsiteY145" fmla="*/ 2719 h 10000"/>
                <a:gd name="connsiteX146" fmla="*/ 2163 w 10000"/>
                <a:gd name="connsiteY146" fmla="*/ 2742 h 10000"/>
                <a:gd name="connsiteX147" fmla="*/ 2295 w 10000"/>
                <a:gd name="connsiteY147" fmla="*/ 2876 h 10000"/>
                <a:gd name="connsiteX148" fmla="*/ 2403 w 10000"/>
                <a:gd name="connsiteY148" fmla="*/ 3011 h 10000"/>
                <a:gd name="connsiteX149" fmla="*/ 2519 w 10000"/>
                <a:gd name="connsiteY149" fmla="*/ 3191 h 10000"/>
                <a:gd name="connsiteX150" fmla="*/ 2550 w 10000"/>
                <a:gd name="connsiteY150" fmla="*/ 3034 h 10000"/>
                <a:gd name="connsiteX151" fmla="*/ 2496 w 10000"/>
                <a:gd name="connsiteY151" fmla="*/ 2876 h 10000"/>
                <a:gd name="connsiteX152" fmla="*/ 2426 w 10000"/>
                <a:gd name="connsiteY152" fmla="*/ 2764 h 10000"/>
                <a:gd name="connsiteX153" fmla="*/ 2426 w 10000"/>
                <a:gd name="connsiteY153" fmla="*/ 2652 h 10000"/>
                <a:gd name="connsiteX154" fmla="*/ 2457 w 10000"/>
                <a:gd name="connsiteY154" fmla="*/ 2427 h 10000"/>
                <a:gd name="connsiteX155" fmla="*/ 2419 w 10000"/>
                <a:gd name="connsiteY155" fmla="*/ 2360 h 10000"/>
                <a:gd name="connsiteX156" fmla="*/ 2426 w 10000"/>
                <a:gd name="connsiteY156" fmla="*/ 2292 h 10000"/>
                <a:gd name="connsiteX157" fmla="*/ 2519 w 10000"/>
                <a:gd name="connsiteY157" fmla="*/ 2090 h 10000"/>
                <a:gd name="connsiteX158" fmla="*/ 2581 w 10000"/>
                <a:gd name="connsiteY158" fmla="*/ 1730 h 10000"/>
                <a:gd name="connsiteX159" fmla="*/ 2775 w 10000"/>
                <a:gd name="connsiteY159" fmla="*/ 1775 h 10000"/>
                <a:gd name="connsiteX160" fmla="*/ 2791 w 10000"/>
                <a:gd name="connsiteY160" fmla="*/ 1843 h 10000"/>
                <a:gd name="connsiteX161" fmla="*/ 2775 w 10000"/>
                <a:gd name="connsiteY161" fmla="*/ 2045 h 10000"/>
                <a:gd name="connsiteX162" fmla="*/ 2736 w 10000"/>
                <a:gd name="connsiteY162" fmla="*/ 2225 h 10000"/>
                <a:gd name="connsiteX163" fmla="*/ 2775 w 10000"/>
                <a:gd name="connsiteY163" fmla="*/ 2315 h 10000"/>
                <a:gd name="connsiteX164" fmla="*/ 2791 w 10000"/>
                <a:gd name="connsiteY164" fmla="*/ 2517 h 10000"/>
                <a:gd name="connsiteX165" fmla="*/ 2775 w 10000"/>
                <a:gd name="connsiteY165" fmla="*/ 3011 h 10000"/>
                <a:gd name="connsiteX166" fmla="*/ 2837 w 10000"/>
                <a:gd name="connsiteY166" fmla="*/ 3146 h 10000"/>
                <a:gd name="connsiteX167" fmla="*/ 2806 w 10000"/>
                <a:gd name="connsiteY167" fmla="*/ 3348 h 10000"/>
                <a:gd name="connsiteX168" fmla="*/ 2698 w 10000"/>
                <a:gd name="connsiteY168" fmla="*/ 3618 h 10000"/>
                <a:gd name="connsiteX169" fmla="*/ 2643 w 10000"/>
                <a:gd name="connsiteY169" fmla="*/ 3685 h 10000"/>
                <a:gd name="connsiteX170" fmla="*/ 2581 w 10000"/>
                <a:gd name="connsiteY170" fmla="*/ 3640 h 10000"/>
                <a:gd name="connsiteX171" fmla="*/ 2550 w 10000"/>
                <a:gd name="connsiteY171" fmla="*/ 3685 h 10000"/>
                <a:gd name="connsiteX172" fmla="*/ 2597 w 10000"/>
                <a:gd name="connsiteY172" fmla="*/ 3775 h 10000"/>
                <a:gd name="connsiteX173" fmla="*/ 2667 w 10000"/>
                <a:gd name="connsiteY173" fmla="*/ 3820 h 10000"/>
                <a:gd name="connsiteX174" fmla="*/ 2736 w 10000"/>
                <a:gd name="connsiteY174" fmla="*/ 3843 h 10000"/>
                <a:gd name="connsiteX175" fmla="*/ 2814 w 10000"/>
                <a:gd name="connsiteY175" fmla="*/ 3663 h 10000"/>
                <a:gd name="connsiteX176" fmla="*/ 2922 w 10000"/>
                <a:gd name="connsiteY176" fmla="*/ 3348 h 10000"/>
                <a:gd name="connsiteX177" fmla="*/ 2891 w 10000"/>
                <a:gd name="connsiteY177" fmla="*/ 3169 h 10000"/>
                <a:gd name="connsiteX178" fmla="*/ 2930 w 10000"/>
                <a:gd name="connsiteY178" fmla="*/ 2989 h 10000"/>
                <a:gd name="connsiteX179" fmla="*/ 3016 w 10000"/>
                <a:gd name="connsiteY179" fmla="*/ 3034 h 10000"/>
                <a:gd name="connsiteX180" fmla="*/ 3054 w 10000"/>
                <a:gd name="connsiteY180" fmla="*/ 3146 h 10000"/>
                <a:gd name="connsiteX181" fmla="*/ 3070 w 10000"/>
                <a:gd name="connsiteY181" fmla="*/ 3326 h 10000"/>
                <a:gd name="connsiteX182" fmla="*/ 3124 w 10000"/>
                <a:gd name="connsiteY182" fmla="*/ 3191 h 10000"/>
                <a:gd name="connsiteX183" fmla="*/ 3093 w 10000"/>
                <a:gd name="connsiteY183" fmla="*/ 3011 h 10000"/>
                <a:gd name="connsiteX184" fmla="*/ 3016 w 10000"/>
                <a:gd name="connsiteY184" fmla="*/ 2944 h 10000"/>
                <a:gd name="connsiteX185" fmla="*/ 2853 w 10000"/>
                <a:gd name="connsiteY185" fmla="*/ 2921 h 10000"/>
                <a:gd name="connsiteX186" fmla="*/ 2853 w 10000"/>
                <a:gd name="connsiteY186" fmla="*/ 2697 h 10000"/>
                <a:gd name="connsiteX187" fmla="*/ 2884 w 10000"/>
                <a:gd name="connsiteY187" fmla="*/ 2472 h 10000"/>
                <a:gd name="connsiteX188" fmla="*/ 2845 w 10000"/>
                <a:gd name="connsiteY188" fmla="*/ 2292 h 10000"/>
                <a:gd name="connsiteX189" fmla="*/ 2822 w 10000"/>
                <a:gd name="connsiteY189" fmla="*/ 2157 h 10000"/>
                <a:gd name="connsiteX190" fmla="*/ 2868 w 10000"/>
                <a:gd name="connsiteY190" fmla="*/ 2022 h 10000"/>
                <a:gd name="connsiteX191" fmla="*/ 2922 w 10000"/>
                <a:gd name="connsiteY191" fmla="*/ 1955 h 10000"/>
                <a:gd name="connsiteX192" fmla="*/ 2930 w 10000"/>
                <a:gd name="connsiteY192" fmla="*/ 1775 h 10000"/>
                <a:gd name="connsiteX193" fmla="*/ 2961 w 10000"/>
                <a:gd name="connsiteY193" fmla="*/ 1775 h 10000"/>
                <a:gd name="connsiteX194" fmla="*/ 2969 w 10000"/>
                <a:gd name="connsiteY194" fmla="*/ 1978 h 10000"/>
                <a:gd name="connsiteX195" fmla="*/ 2946 w 10000"/>
                <a:gd name="connsiteY195" fmla="*/ 2135 h 10000"/>
                <a:gd name="connsiteX196" fmla="*/ 2961 w 10000"/>
                <a:gd name="connsiteY196" fmla="*/ 2247 h 10000"/>
                <a:gd name="connsiteX197" fmla="*/ 3023 w 10000"/>
                <a:gd name="connsiteY197" fmla="*/ 2292 h 10000"/>
                <a:gd name="connsiteX198" fmla="*/ 3116 w 10000"/>
                <a:gd name="connsiteY198" fmla="*/ 2360 h 10000"/>
                <a:gd name="connsiteX199" fmla="*/ 3163 w 10000"/>
                <a:gd name="connsiteY199" fmla="*/ 2360 h 10000"/>
                <a:gd name="connsiteX200" fmla="*/ 3109 w 10000"/>
                <a:gd name="connsiteY200" fmla="*/ 2247 h 10000"/>
                <a:gd name="connsiteX201" fmla="*/ 3031 w 10000"/>
                <a:gd name="connsiteY201" fmla="*/ 2180 h 10000"/>
                <a:gd name="connsiteX202" fmla="*/ 3000 w 10000"/>
                <a:gd name="connsiteY202" fmla="*/ 2045 h 10000"/>
                <a:gd name="connsiteX203" fmla="*/ 3047 w 10000"/>
                <a:gd name="connsiteY203" fmla="*/ 2000 h 10000"/>
                <a:gd name="connsiteX204" fmla="*/ 3124 w 10000"/>
                <a:gd name="connsiteY204" fmla="*/ 2045 h 10000"/>
                <a:gd name="connsiteX205" fmla="*/ 3070 w 10000"/>
                <a:gd name="connsiteY205" fmla="*/ 1865 h 10000"/>
                <a:gd name="connsiteX206" fmla="*/ 3093 w 10000"/>
                <a:gd name="connsiteY206" fmla="*/ 1820 h 10000"/>
                <a:gd name="connsiteX207" fmla="*/ 3225 w 10000"/>
                <a:gd name="connsiteY207" fmla="*/ 1933 h 10000"/>
                <a:gd name="connsiteX208" fmla="*/ 3302 w 10000"/>
                <a:gd name="connsiteY208" fmla="*/ 2112 h 10000"/>
                <a:gd name="connsiteX209" fmla="*/ 3411 w 10000"/>
                <a:gd name="connsiteY209" fmla="*/ 2112 h 10000"/>
                <a:gd name="connsiteX210" fmla="*/ 3357 w 10000"/>
                <a:gd name="connsiteY210" fmla="*/ 1955 h 10000"/>
                <a:gd name="connsiteX211" fmla="*/ 3287 w 10000"/>
                <a:gd name="connsiteY211" fmla="*/ 1798 h 10000"/>
                <a:gd name="connsiteX212" fmla="*/ 3264 w 10000"/>
                <a:gd name="connsiteY212" fmla="*/ 1551 h 10000"/>
                <a:gd name="connsiteX213" fmla="*/ 3310 w 10000"/>
                <a:gd name="connsiteY213" fmla="*/ 1461 h 10000"/>
                <a:gd name="connsiteX214" fmla="*/ 3488 w 10000"/>
                <a:gd name="connsiteY214" fmla="*/ 1438 h 10000"/>
                <a:gd name="connsiteX215" fmla="*/ 3667 w 10000"/>
                <a:gd name="connsiteY215" fmla="*/ 1348 h 10000"/>
                <a:gd name="connsiteX216" fmla="*/ 3620 w 10000"/>
                <a:gd name="connsiteY216" fmla="*/ 1101 h 10000"/>
                <a:gd name="connsiteX217" fmla="*/ 3767 w 10000"/>
                <a:gd name="connsiteY217" fmla="*/ 899 h 10000"/>
                <a:gd name="connsiteX218" fmla="*/ 4093 w 10000"/>
                <a:gd name="connsiteY218" fmla="*/ 584 h 10000"/>
                <a:gd name="connsiteX219" fmla="*/ 4233 w 10000"/>
                <a:gd name="connsiteY219" fmla="*/ 539 h 10000"/>
                <a:gd name="connsiteX220" fmla="*/ 4364 w 10000"/>
                <a:gd name="connsiteY220" fmla="*/ 584 h 10000"/>
                <a:gd name="connsiteX221" fmla="*/ 4558 w 10000"/>
                <a:gd name="connsiteY221" fmla="*/ 404 h 10000"/>
                <a:gd name="connsiteX222" fmla="*/ 4543 w 10000"/>
                <a:gd name="connsiteY222" fmla="*/ 225 h 10000"/>
                <a:gd name="connsiteX223" fmla="*/ 4636 w 10000"/>
                <a:gd name="connsiteY223" fmla="*/ 0 h 10000"/>
                <a:gd name="connsiteX224" fmla="*/ 4767 w 10000"/>
                <a:gd name="connsiteY224" fmla="*/ 22 h 10000"/>
                <a:gd name="connsiteX225" fmla="*/ 4837 w 10000"/>
                <a:gd name="connsiteY225" fmla="*/ 90 h 10000"/>
                <a:gd name="connsiteX226" fmla="*/ 4752 w 10000"/>
                <a:gd name="connsiteY226" fmla="*/ 225 h 10000"/>
                <a:gd name="connsiteX227" fmla="*/ 4915 w 10000"/>
                <a:gd name="connsiteY227" fmla="*/ 247 h 10000"/>
                <a:gd name="connsiteX228" fmla="*/ 4884 w 10000"/>
                <a:gd name="connsiteY228" fmla="*/ 404 h 10000"/>
                <a:gd name="connsiteX229" fmla="*/ 5178 w 10000"/>
                <a:gd name="connsiteY229" fmla="*/ 382 h 10000"/>
                <a:gd name="connsiteX230" fmla="*/ 5287 w 10000"/>
                <a:gd name="connsiteY230" fmla="*/ 584 h 10000"/>
                <a:gd name="connsiteX231" fmla="*/ 5302 w 10000"/>
                <a:gd name="connsiteY231" fmla="*/ 719 h 10000"/>
                <a:gd name="connsiteX232" fmla="*/ 5271 w 10000"/>
                <a:gd name="connsiteY232" fmla="*/ 944 h 10000"/>
                <a:gd name="connsiteX233" fmla="*/ 5140 w 10000"/>
                <a:gd name="connsiteY233" fmla="*/ 1146 h 10000"/>
                <a:gd name="connsiteX234" fmla="*/ 5000 w 10000"/>
                <a:gd name="connsiteY234" fmla="*/ 1371 h 10000"/>
                <a:gd name="connsiteX235" fmla="*/ 4806 w 10000"/>
                <a:gd name="connsiteY235" fmla="*/ 1685 h 10000"/>
                <a:gd name="connsiteX236" fmla="*/ 4822 w 10000"/>
                <a:gd name="connsiteY236" fmla="*/ 1730 h 10000"/>
                <a:gd name="connsiteX237" fmla="*/ 4907 w 10000"/>
                <a:gd name="connsiteY237" fmla="*/ 1640 h 10000"/>
                <a:gd name="connsiteX238" fmla="*/ 5070 w 10000"/>
                <a:gd name="connsiteY238" fmla="*/ 1506 h 10000"/>
                <a:gd name="connsiteX239" fmla="*/ 5062 w 10000"/>
                <a:gd name="connsiteY239" fmla="*/ 1416 h 10000"/>
                <a:gd name="connsiteX240" fmla="*/ 5101 w 10000"/>
                <a:gd name="connsiteY240" fmla="*/ 1303 h 10000"/>
                <a:gd name="connsiteX241" fmla="*/ 5163 w 10000"/>
                <a:gd name="connsiteY241" fmla="*/ 1258 h 10000"/>
                <a:gd name="connsiteX242" fmla="*/ 5178 w 10000"/>
                <a:gd name="connsiteY242" fmla="*/ 1371 h 10000"/>
                <a:gd name="connsiteX243" fmla="*/ 5225 w 10000"/>
                <a:gd name="connsiteY243" fmla="*/ 1416 h 10000"/>
                <a:gd name="connsiteX244" fmla="*/ 5295 w 10000"/>
                <a:gd name="connsiteY244" fmla="*/ 1551 h 10000"/>
                <a:gd name="connsiteX245" fmla="*/ 5333 w 10000"/>
                <a:gd name="connsiteY245" fmla="*/ 1483 h 10000"/>
                <a:gd name="connsiteX246" fmla="*/ 5620 w 10000"/>
                <a:gd name="connsiteY246" fmla="*/ 1506 h 10000"/>
                <a:gd name="connsiteX247" fmla="*/ 5620 w 10000"/>
                <a:gd name="connsiteY247" fmla="*/ 1618 h 10000"/>
                <a:gd name="connsiteX248" fmla="*/ 5899 w 10000"/>
                <a:gd name="connsiteY248" fmla="*/ 1708 h 10000"/>
                <a:gd name="connsiteX249" fmla="*/ 5930 w 10000"/>
                <a:gd name="connsiteY249" fmla="*/ 1416 h 10000"/>
                <a:gd name="connsiteX250" fmla="*/ 5984 w 10000"/>
                <a:gd name="connsiteY250" fmla="*/ 1438 h 10000"/>
                <a:gd name="connsiteX251" fmla="*/ 6062 w 10000"/>
                <a:gd name="connsiteY251" fmla="*/ 1551 h 10000"/>
                <a:gd name="connsiteX252" fmla="*/ 6186 w 10000"/>
                <a:gd name="connsiteY252" fmla="*/ 1528 h 10000"/>
                <a:gd name="connsiteX253" fmla="*/ 6256 w 10000"/>
                <a:gd name="connsiteY253" fmla="*/ 1753 h 10000"/>
                <a:gd name="connsiteX254" fmla="*/ 6271 w 10000"/>
                <a:gd name="connsiteY254" fmla="*/ 1955 h 10000"/>
                <a:gd name="connsiteX255" fmla="*/ 6225 w 10000"/>
                <a:gd name="connsiteY255" fmla="*/ 2045 h 10000"/>
                <a:gd name="connsiteX256" fmla="*/ 6310 w 10000"/>
                <a:gd name="connsiteY256" fmla="*/ 2337 h 10000"/>
                <a:gd name="connsiteX257" fmla="*/ 6395 w 10000"/>
                <a:gd name="connsiteY257" fmla="*/ 2404 h 10000"/>
                <a:gd name="connsiteX258" fmla="*/ 6473 w 10000"/>
                <a:gd name="connsiteY258" fmla="*/ 2067 h 10000"/>
                <a:gd name="connsiteX259" fmla="*/ 6574 w 10000"/>
                <a:gd name="connsiteY259" fmla="*/ 2225 h 10000"/>
                <a:gd name="connsiteX260" fmla="*/ 6667 w 10000"/>
                <a:gd name="connsiteY260" fmla="*/ 2135 h 10000"/>
                <a:gd name="connsiteX261" fmla="*/ 6767 w 10000"/>
                <a:gd name="connsiteY261" fmla="*/ 2247 h 10000"/>
                <a:gd name="connsiteX262" fmla="*/ 6853 w 10000"/>
                <a:gd name="connsiteY262" fmla="*/ 2157 h 10000"/>
                <a:gd name="connsiteX263" fmla="*/ 6915 w 10000"/>
                <a:gd name="connsiteY263" fmla="*/ 2067 h 10000"/>
                <a:gd name="connsiteX264" fmla="*/ 6907 w 10000"/>
                <a:gd name="connsiteY264" fmla="*/ 1865 h 10000"/>
                <a:gd name="connsiteX265" fmla="*/ 6992 w 10000"/>
                <a:gd name="connsiteY265" fmla="*/ 1775 h 10000"/>
                <a:gd name="connsiteX266" fmla="*/ 7256 w 10000"/>
                <a:gd name="connsiteY266" fmla="*/ 1820 h 10000"/>
                <a:gd name="connsiteX267" fmla="*/ 7302 w 10000"/>
                <a:gd name="connsiteY267" fmla="*/ 1933 h 10000"/>
                <a:gd name="connsiteX268" fmla="*/ 7326 w 10000"/>
                <a:gd name="connsiteY268" fmla="*/ 1978 h 10000"/>
                <a:gd name="connsiteX269" fmla="*/ 7465 w 10000"/>
                <a:gd name="connsiteY269" fmla="*/ 1933 h 10000"/>
                <a:gd name="connsiteX270" fmla="*/ 7527 w 10000"/>
                <a:gd name="connsiteY270" fmla="*/ 2022 h 10000"/>
                <a:gd name="connsiteX271" fmla="*/ 7496 w 10000"/>
                <a:gd name="connsiteY271" fmla="*/ 2135 h 10000"/>
                <a:gd name="connsiteX272" fmla="*/ 7550 w 10000"/>
                <a:gd name="connsiteY272" fmla="*/ 2202 h 10000"/>
                <a:gd name="connsiteX273" fmla="*/ 7667 w 10000"/>
                <a:gd name="connsiteY273" fmla="*/ 2337 h 10000"/>
                <a:gd name="connsiteX274" fmla="*/ 7868 w 10000"/>
                <a:gd name="connsiteY274" fmla="*/ 2360 h 10000"/>
                <a:gd name="connsiteX275" fmla="*/ 8078 w 10000"/>
                <a:gd name="connsiteY275" fmla="*/ 2382 h 10000"/>
                <a:gd name="connsiteX276" fmla="*/ 8163 w 10000"/>
                <a:gd name="connsiteY276" fmla="*/ 2517 h 10000"/>
                <a:gd name="connsiteX277" fmla="*/ 8155 w 10000"/>
                <a:gd name="connsiteY277" fmla="*/ 2674 h 10000"/>
                <a:gd name="connsiteX278" fmla="*/ 8171 w 10000"/>
                <a:gd name="connsiteY278" fmla="*/ 2764 h 10000"/>
                <a:gd name="connsiteX279" fmla="*/ 8240 w 10000"/>
                <a:gd name="connsiteY279" fmla="*/ 2831 h 10000"/>
                <a:gd name="connsiteX280" fmla="*/ 8295 w 10000"/>
                <a:gd name="connsiteY280" fmla="*/ 2764 h 10000"/>
                <a:gd name="connsiteX281" fmla="*/ 8550 w 10000"/>
                <a:gd name="connsiteY281" fmla="*/ 2809 h 10000"/>
                <a:gd name="connsiteX282" fmla="*/ 8581 w 10000"/>
                <a:gd name="connsiteY282" fmla="*/ 2809 h 10000"/>
                <a:gd name="connsiteX283" fmla="*/ 8643 w 10000"/>
                <a:gd name="connsiteY283" fmla="*/ 2719 h 10000"/>
                <a:gd name="connsiteX284" fmla="*/ 8667 w 10000"/>
                <a:gd name="connsiteY284" fmla="*/ 2742 h 10000"/>
                <a:gd name="connsiteX285" fmla="*/ 8667 w 10000"/>
                <a:gd name="connsiteY285" fmla="*/ 2876 h 10000"/>
                <a:gd name="connsiteX286" fmla="*/ 8736 w 10000"/>
                <a:gd name="connsiteY286" fmla="*/ 3034 h 10000"/>
                <a:gd name="connsiteX287" fmla="*/ 8814 w 10000"/>
                <a:gd name="connsiteY287" fmla="*/ 3056 h 10000"/>
                <a:gd name="connsiteX288" fmla="*/ 8837 w 10000"/>
                <a:gd name="connsiteY288" fmla="*/ 2966 h 10000"/>
                <a:gd name="connsiteX289" fmla="*/ 8814 w 10000"/>
                <a:gd name="connsiteY289" fmla="*/ 2831 h 10000"/>
                <a:gd name="connsiteX290" fmla="*/ 8806 w 10000"/>
                <a:gd name="connsiteY290" fmla="*/ 2629 h 10000"/>
                <a:gd name="connsiteX291" fmla="*/ 8853 w 10000"/>
                <a:gd name="connsiteY291" fmla="*/ 2607 h 10000"/>
                <a:gd name="connsiteX292" fmla="*/ 8922 w 10000"/>
                <a:gd name="connsiteY292" fmla="*/ 2697 h 10000"/>
                <a:gd name="connsiteX293" fmla="*/ 9047 w 10000"/>
                <a:gd name="connsiteY293" fmla="*/ 2697 h 10000"/>
                <a:gd name="connsiteX294" fmla="*/ 9194 w 10000"/>
                <a:gd name="connsiteY294" fmla="*/ 2764 h 10000"/>
                <a:gd name="connsiteX295" fmla="*/ 9364 w 10000"/>
                <a:gd name="connsiteY295" fmla="*/ 2944 h 10000"/>
                <a:gd name="connsiteX296" fmla="*/ 9465 w 10000"/>
                <a:gd name="connsiteY296" fmla="*/ 3101 h 10000"/>
                <a:gd name="connsiteX297" fmla="*/ 9643 w 10000"/>
                <a:gd name="connsiteY297" fmla="*/ 3326 h 10000"/>
                <a:gd name="connsiteX298" fmla="*/ 9674 w 10000"/>
                <a:gd name="connsiteY298" fmla="*/ 3461 h 10000"/>
                <a:gd name="connsiteX299" fmla="*/ 9698 w 10000"/>
                <a:gd name="connsiteY299" fmla="*/ 3596 h 10000"/>
                <a:gd name="connsiteX300" fmla="*/ 9736 w 10000"/>
                <a:gd name="connsiteY300" fmla="*/ 3775 h 10000"/>
                <a:gd name="connsiteX301" fmla="*/ 9767 w 10000"/>
                <a:gd name="connsiteY301" fmla="*/ 3730 h 10000"/>
                <a:gd name="connsiteX302" fmla="*/ 9744 w 10000"/>
                <a:gd name="connsiteY302" fmla="*/ 3528 h 10000"/>
                <a:gd name="connsiteX303" fmla="*/ 9806 w 10000"/>
                <a:gd name="connsiteY303" fmla="*/ 3551 h 10000"/>
                <a:gd name="connsiteX304" fmla="*/ 9884 w 10000"/>
                <a:gd name="connsiteY304" fmla="*/ 3596 h 10000"/>
                <a:gd name="connsiteX305" fmla="*/ 9953 w 10000"/>
                <a:gd name="connsiteY305" fmla="*/ 3730 h 10000"/>
                <a:gd name="connsiteX306" fmla="*/ 10000 w 10000"/>
                <a:gd name="connsiteY306" fmla="*/ 3865 h 10000"/>
                <a:gd name="connsiteX307" fmla="*/ 9953 w 10000"/>
                <a:gd name="connsiteY307" fmla="*/ 4000 h 10000"/>
                <a:gd name="connsiteX308" fmla="*/ 9853 w 10000"/>
                <a:gd name="connsiteY308" fmla="*/ 4067 h 10000"/>
                <a:gd name="connsiteX309" fmla="*/ 9837 w 10000"/>
                <a:gd name="connsiteY309" fmla="*/ 4225 h 10000"/>
                <a:gd name="connsiteX310" fmla="*/ 9806 w 10000"/>
                <a:gd name="connsiteY310" fmla="*/ 4427 h 10000"/>
                <a:gd name="connsiteX311" fmla="*/ 9698 w 10000"/>
                <a:gd name="connsiteY311" fmla="*/ 4270 h 10000"/>
                <a:gd name="connsiteX312" fmla="*/ 9636 w 10000"/>
                <a:gd name="connsiteY312" fmla="*/ 4202 h 10000"/>
                <a:gd name="connsiteX313" fmla="*/ 9643 w 10000"/>
                <a:gd name="connsiteY313" fmla="*/ 4022 h 10000"/>
                <a:gd name="connsiteX314" fmla="*/ 9481 w 10000"/>
                <a:gd name="connsiteY314" fmla="*/ 4045 h 10000"/>
                <a:gd name="connsiteX315" fmla="*/ 9457 w 10000"/>
                <a:gd name="connsiteY315" fmla="*/ 3820 h 10000"/>
                <a:gd name="connsiteX316" fmla="*/ 9403 w 10000"/>
                <a:gd name="connsiteY316" fmla="*/ 3843 h 10000"/>
                <a:gd name="connsiteX317" fmla="*/ 9395 w 10000"/>
                <a:gd name="connsiteY317" fmla="*/ 4000 h 10000"/>
                <a:gd name="connsiteX318" fmla="*/ 9419 w 10000"/>
                <a:gd name="connsiteY318" fmla="*/ 4067 h 10000"/>
                <a:gd name="connsiteX319" fmla="*/ 9349 w 10000"/>
                <a:gd name="connsiteY319" fmla="*/ 4247 h 10000"/>
                <a:gd name="connsiteX320" fmla="*/ 9271 w 10000"/>
                <a:gd name="connsiteY320" fmla="*/ 4270 h 10000"/>
                <a:gd name="connsiteX321" fmla="*/ 9217 w 10000"/>
                <a:gd name="connsiteY321" fmla="*/ 4247 h 10000"/>
                <a:gd name="connsiteX322" fmla="*/ 9186 w 10000"/>
                <a:gd name="connsiteY322" fmla="*/ 4180 h 10000"/>
                <a:gd name="connsiteX323" fmla="*/ 9178 w 10000"/>
                <a:gd name="connsiteY323" fmla="*/ 4270 h 10000"/>
                <a:gd name="connsiteX324" fmla="*/ 9233 w 10000"/>
                <a:gd name="connsiteY324" fmla="*/ 4337 h 10000"/>
                <a:gd name="connsiteX325" fmla="*/ 9287 w 10000"/>
                <a:gd name="connsiteY325" fmla="*/ 4427 h 10000"/>
                <a:gd name="connsiteX326" fmla="*/ 9310 w 10000"/>
                <a:gd name="connsiteY326" fmla="*/ 4629 h 10000"/>
                <a:gd name="connsiteX327" fmla="*/ 9357 w 10000"/>
                <a:gd name="connsiteY327" fmla="*/ 4831 h 10000"/>
                <a:gd name="connsiteX328" fmla="*/ 9302 w 10000"/>
                <a:gd name="connsiteY328" fmla="*/ 4921 h 10000"/>
                <a:gd name="connsiteX329" fmla="*/ 9202 w 10000"/>
                <a:gd name="connsiteY329" fmla="*/ 4809 h 10000"/>
                <a:gd name="connsiteX330" fmla="*/ 9155 w 10000"/>
                <a:gd name="connsiteY330" fmla="*/ 4921 h 10000"/>
                <a:gd name="connsiteX331" fmla="*/ 9016 w 10000"/>
                <a:gd name="connsiteY331" fmla="*/ 5101 h 10000"/>
                <a:gd name="connsiteX332" fmla="*/ 8938 w 10000"/>
                <a:gd name="connsiteY332" fmla="*/ 5213 h 10000"/>
                <a:gd name="connsiteX333" fmla="*/ 8783 w 10000"/>
                <a:gd name="connsiteY333" fmla="*/ 5573 h 10000"/>
                <a:gd name="connsiteX334" fmla="*/ 8729 w 10000"/>
                <a:gd name="connsiteY334" fmla="*/ 5438 h 10000"/>
                <a:gd name="connsiteX335" fmla="*/ 8612 w 10000"/>
                <a:gd name="connsiteY335" fmla="*/ 5438 h 10000"/>
                <a:gd name="connsiteX336" fmla="*/ 8550 w 10000"/>
                <a:gd name="connsiteY336" fmla="*/ 5618 h 10000"/>
                <a:gd name="connsiteX337" fmla="*/ 8535 w 10000"/>
                <a:gd name="connsiteY337" fmla="*/ 5438 h 10000"/>
                <a:gd name="connsiteX338" fmla="*/ 8496 w 10000"/>
                <a:gd name="connsiteY338" fmla="*/ 5438 h 10000"/>
                <a:gd name="connsiteX339" fmla="*/ 8481 w 10000"/>
                <a:gd name="connsiteY339" fmla="*/ 5573 h 10000"/>
                <a:gd name="connsiteX340" fmla="*/ 8372 w 10000"/>
                <a:gd name="connsiteY340" fmla="*/ 5573 h 10000"/>
                <a:gd name="connsiteX341" fmla="*/ 8279 w 10000"/>
                <a:gd name="connsiteY341" fmla="*/ 6000 h 10000"/>
                <a:gd name="connsiteX342" fmla="*/ 8279 w 10000"/>
                <a:gd name="connsiteY342" fmla="*/ 6135 h 10000"/>
                <a:gd name="connsiteX343" fmla="*/ 8341 w 10000"/>
                <a:gd name="connsiteY343" fmla="*/ 6135 h 10000"/>
                <a:gd name="connsiteX344" fmla="*/ 8326 w 10000"/>
                <a:gd name="connsiteY344" fmla="*/ 6337 h 10000"/>
                <a:gd name="connsiteX345" fmla="*/ 8349 w 10000"/>
                <a:gd name="connsiteY345" fmla="*/ 6517 h 10000"/>
                <a:gd name="connsiteX346" fmla="*/ 8279 w 10000"/>
                <a:gd name="connsiteY346" fmla="*/ 6584 h 10000"/>
                <a:gd name="connsiteX347" fmla="*/ 8256 w 10000"/>
                <a:gd name="connsiteY347" fmla="*/ 6742 h 10000"/>
                <a:gd name="connsiteX348" fmla="*/ 8279 w 10000"/>
                <a:gd name="connsiteY348" fmla="*/ 6944 h 10000"/>
                <a:gd name="connsiteX349" fmla="*/ 8186 w 10000"/>
                <a:gd name="connsiteY349" fmla="*/ 7034 h 10000"/>
                <a:gd name="connsiteX350" fmla="*/ 8155 w 10000"/>
                <a:gd name="connsiteY350" fmla="*/ 7124 h 10000"/>
                <a:gd name="connsiteX351" fmla="*/ 8155 w 10000"/>
                <a:gd name="connsiteY351" fmla="*/ 7191 h 10000"/>
                <a:gd name="connsiteX352" fmla="*/ 8163 w 10000"/>
                <a:gd name="connsiteY352" fmla="*/ 7236 h 10000"/>
                <a:gd name="connsiteX353" fmla="*/ 8155 w 10000"/>
                <a:gd name="connsiteY353" fmla="*/ 7281 h 10000"/>
                <a:gd name="connsiteX354" fmla="*/ 8062 w 10000"/>
                <a:gd name="connsiteY354" fmla="*/ 7371 h 10000"/>
                <a:gd name="connsiteX355" fmla="*/ 8062 w 10000"/>
                <a:gd name="connsiteY355" fmla="*/ 7528 h 10000"/>
                <a:gd name="connsiteX356" fmla="*/ 7946 w 10000"/>
                <a:gd name="connsiteY356" fmla="*/ 7865 h 10000"/>
                <a:gd name="connsiteX357" fmla="*/ 7930 w 10000"/>
                <a:gd name="connsiteY357" fmla="*/ 7506 h 10000"/>
                <a:gd name="connsiteX358" fmla="*/ 7884 w 10000"/>
                <a:gd name="connsiteY358" fmla="*/ 6944 h 10000"/>
                <a:gd name="connsiteX359" fmla="*/ 7884 w 10000"/>
                <a:gd name="connsiteY359" fmla="*/ 6539 h 10000"/>
                <a:gd name="connsiteX360" fmla="*/ 7930 w 10000"/>
                <a:gd name="connsiteY360" fmla="*/ 6382 h 10000"/>
                <a:gd name="connsiteX361" fmla="*/ 7977 w 10000"/>
                <a:gd name="connsiteY361" fmla="*/ 6135 h 10000"/>
                <a:gd name="connsiteX362" fmla="*/ 8039 w 10000"/>
                <a:gd name="connsiteY362" fmla="*/ 6090 h 10000"/>
                <a:gd name="connsiteX363" fmla="*/ 8202 w 10000"/>
                <a:gd name="connsiteY363" fmla="*/ 5640 h 10000"/>
                <a:gd name="connsiteX364" fmla="*/ 8326 w 10000"/>
                <a:gd name="connsiteY364" fmla="*/ 5393 h 10000"/>
                <a:gd name="connsiteX365" fmla="*/ 8364 w 10000"/>
                <a:gd name="connsiteY365" fmla="*/ 5348 h 10000"/>
                <a:gd name="connsiteX366" fmla="*/ 8426 w 10000"/>
                <a:gd name="connsiteY366" fmla="*/ 4944 h 10000"/>
                <a:gd name="connsiteX367" fmla="*/ 8457 w 10000"/>
                <a:gd name="connsiteY367" fmla="*/ 4899 h 10000"/>
                <a:gd name="connsiteX368" fmla="*/ 8395 w 10000"/>
                <a:gd name="connsiteY368" fmla="*/ 4831 h 10000"/>
                <a:gd name="connsiteX369" fmla="*/ 8372 w 10000"/>
                <a:gd name="connsiteY369" fmla="*/ 4854 h 10000"/>
                <a:gd name="connsiteX370" fmla="*/ 8349 w 10000"/>
                <a:gd name="connsiteY370" fmla="*/ 4921 h 10000"/>
                <a:gd name="connsiteX371" fmla="*/ 8349 w 10000"/>
                <a:gd name="connsiteY371" fmla="*/ 5124 h 10000"/>
                <a:gd name="connsiteX372" fmla="*/ 8295 w 10000"/>
                <a:gd name="connsiteY372" fmla="*/ 5124 h 10000"/>
                <a:gd name="connsiteX373" fmla="*/ 8171 w 10000"/>
                <a:gd name="connsiteY373" fmla="*/ 5348 h 10000"/>
                <a:gd name="connsiteX374" fmla="*/ 8140 w 10000"/>
                <a:gd name="connsiteY374" fmla="*/ 5258 h 10000"/>
                <a:gd name="connsiteX375" fmla="*/ 8171 w 10000"/>
                <a:gd name="connsiteY375" fmla="*/ 5079 h 10000"/>
                <a:gd name="connsiteX376" fmla="*/ 8132 w 10000"/>
                <a:gd name="connsiteY376" fmla="*/ 5124 h 10000"/>
                <a:gd name="connsiteX377" fmla="*/ 7977 w 10000"/>
                <a:gd name="connsiteY377" fmla="*/ 5124 h 10000"/>
                <a:gd name="connsiteX378" fmla="*/ 7829 w 10000"/>
                <a:gd name="connsiteY378" fmla="*/ 5461 h 10000"/>
                <a:gd name="connsiteX379" fmla="*/ 7798 w 10000"/>
                <a:gd name="connsiteY379" fmla="*/ 5640 h 10000"/>
                <a:gd name="connsiteX380" fmla="*/ 7814 w 10000"/>
                <a:gd name="connsiteY380" fmla="*/ 5685 h 10000"/>
                <a:gd name="connsiteX381" fmla="*/ 7853 w 10000"/>
                <a:gd name="connsiteY381" fmla="*/ 5798 h 10000"/>
                <a:gd name="connsiteX382" fmla="*/ 7791 w 10000"/>
                <a:gd name="connsiteY382" fmla="*/ 5798 h 10000"/>
                <a:gd name="connsiteX383" fmla="*/ 7729 w 10000"/>
                <a:gd name="connsiteY383" fmla="*/ 5820 h 10000"/>
                <a:gd name="connsiteX384" fmla="*/ 7612 w 10000"/>
                <a:gd name="connsiteY384" fmla="*/ 5843 h 10000"/>
                <a:gd name="connsiteX385" fmla="*/ 7643 w 10000"/>
                <a:gd name="connsiteY385" fmla="*/ 5753 h 10000"/>
                <a:gd name="connsiteX386" fmla="*/ 7620 w 10000"/>
                <a:gd name="connsiteY386" fmla="*/ 5663 h 10000"/>
                <a:gd name="connsiteX387" fmla="*/ 7535 w 10000"/>
                <a:gd name="connsiteY387" fmla="*/ 5640 h 10000"/>
                <a:gd name="connsiteX388" fmla="*/ 7481 w 10000"/>
                <a:gd name="connsiteY388" fmla="*/ 5663 h 10000"/>
                <a:gd name="connsiteX389" fmla="*/ 7457 w 10000"/>
                <a:gd name="connsiteY389" fmla="*/ 5753 h 10000"/>
                <a:gd name="connsiteX390" fmla="*/ 7341 w 10000"/>
                <a:gd name="connsiteY390" fmla="*/ 5730 h 10000"/>
                <a:gd name="connsiteX391" fmla="*/ 7287 w 10000"/>
                <a:gd name="connsiteY391" fmla="*/ 5753 h 10000"/>
                <a:gd name="connsiteX392" fmla="*/ 7085 w 10000"/>
                <a:gd name="connsiteY392" fmla="*/ 5753 h 10000"/>
                <a:gd name="connsiteX393" fmla="*/ 6636 w 10000"/>
                <a:gd name="connsiteY393" fmla="*/ 6876 h 10000"/>
                <a:gd name="connsiteX394" fmla="*/ 6643 w 10000"/>
                <a:gd name="connsiteY394" fmla="*/ 6989 h 10000"/>
                <a:gd name="connsiteX395" fmla="*/ 6721 w 10000"/>
                <a:gd name="connsiteY395" fmla="*/ 6966 h 10000"/>
                <a:gd name="connsiteX396" fmla="*/ 6729 w 10000"/>
                <a:gd name="connsiteY396" fmla="*/ 7146 h 10000"/>
                <a:gd name="connsiteX397" fmla="*/ 6767 w 10000"/>
                <a:gd name="connsiteY397" fmla="*/ 7011 h 10000"/>
                <a:gd name="connsiteX398" fmla="*/ 6806 w 10000"/>
                <a:gd name="connsiteY398" fmla="*/ 7191 h 10000"/>
                <a:gd name="connsiteX399" fmla="*/ 6860 w 10000"/>
                <a:gd name="connsiteY399" fmla="*/ 7056 h 10000"/>
                <a:gd name="connsiteX400" fmla="*/ 6946 w 10000"/>
                <a:gd name="connsiteY400" fmla="*/ 7101 h 10000"/>
                <a:gd name="connsiteX401" fmla="*/ 7008 w 10000"/>
                <a:gd name="connsiteY401" fmla="*/ 7326 h 10000"/>
                <a:gd name="connsiteX402" fmla="*/ 6992 w 10000"/>
                <a:gd name="connsiteY402" fmla="*/ 7573 h 10000"/>
                <a:gd name="connsiteX403" fmla="*/ 6961 w 10000"/>
                <a:gd name="connsiteY403" fmla="*/ 7820 h 10000"/>
                <a:gd name="connsiteX404" fmla="*/ 6953 w 10000"/>
                <a:gd name="connsiteY404" fmla="*/ 8180 h 10000"/>
                <a:gd name="connsiteX405" fmla="*/ 6930 w 10000"/>
                <a:gd name="connsiteY405" fmla="*/ 8382 h 10000"/>
                <a:gd name="connsiteX406" fmla="*/ 6698 w 10000"/>
                <a:gd name="connsiteY406" fmla="*/ 9213 h 10000"/>
                <a:gd name="connsiteX407" fmla="*/ 6628 w 10000"/>
                <a:gd name="connsiteY407" fmla="*/ 9461 h 10000"/>
                <a:gd name="connsiteX408" fmla="*/ 6574 w 10000"/>
                <a:gd name="connsiteY408" fmla="*/ 9573 h 10000"/>
                <a:gd name="connsiteX409" fmla="*/ 6504 w 10000"/>
                <a:gd name="connsiteY409" fmla="*/ 9663 h 10000"/>
                <a:gd name="connsiteX410" fmla="*/ 6450 w 10000"/>
                <a:gd name="connsiteY410" fmla="*/ 9573 h 10000"/>
                <a:gd name="connsiteX411" fmla="*/ 6380 w 10000"/>
                <a:gd name="connsiteY411" fmla="*/ 9618 h 10000"/>
                <a:gd name="connsiteX412" fmla="*/ 6380 w 10000"/>
                <a:gd name="connsiteY412" fmla="*/ 9213 h 10000"/>
                <a:gd name="connsiteX413" fmla="*/ 6434 w 10000"/>
                <a:gd name="connsiteY413" fmla="*/ 9101 h 10000"/>
                <a:gd name="connsiteX414" fmla="*/ 6457 w 10000"/>
                <a:gd name="connsiteY414" fmla="*/ 9169 h 10000"/>
                <a:gd name="connsiteX415" fmla="*/ 6504 w 10000"/>
                <a:gd name="connsiteY415" fmla="*/ 9146 h 10000"/>
                <a:gd name="connsiteX416" fmla="*/ 6550 w 10000"/>
                <a:gd name="connsiteY416" fmla="*/ 8899 h 10000"/>
                <a:gd name="connsiteX417" fmla="*/ 6574 w 10000"/>
                <a:gd name="connsiteY417" fmla="*/ 8652 h 10000"/>
                <a:gd name="connsiteX418" fmla="*/ 6605 w 10000"/>
                <a:gd name="connsiteY418" fmla="*/ 8607 h 10000"/>
                <a:gd name="connsiteX419" fmla="*/ 6597 w 10000"/>
                <a:gd name="connsiteY419" fmla="*/ 8449 h 10000"/>
                <a:gd name="connsiteX420" fmla="*/ 6535 w 10000"/>
                <a:gd name="connsiteY420" fmla="*/ 8472 h 10000"/>
                <a:gd name="connsiteX421" fmla="*/ 6481 w 10000"/>
                <a:gd name="connsiteY421" fmla="*/ 8494 h 10000"/>
                <a:gd name="connsiteX422" fmla="*/ 6457 w 10000"/>
                <a:gd name="connsiteY422" fmla="*/ 8584 h 10000"/>
                <a:gd name="connsiteX423" fmla="*/ 6372 w 10000"/>
                <a:gd name="connsiteY423" fmla="*/ 8562 h 10000"/>
                <a:gd name="connsiteX424" fmla="*/ 6357 w 10000"/>
                <a:gd name="connsiteY424" fmla="*/ 8337 h 10000"/>
                <a:gd name="connsiteX425" fmla="*/ 6240 w 10000"/>
                <a:gd name="connsiteY425" fmla="*/ 8157 h 10000"/>
                <a:gd name="connsiteX426" fmla="*/ 6178 w 10000"/>
                <a:gd name="connsiteY426" fmla="*/ 8157 h 10000"/>
                <a:gd name="connsiteX427" fmla="*/ 6093 w 10000"/>
                <a:gd name="connsiteY427" fmla="*/ 7573 h 10000"/>
                <a:gd name="connsiteX428" fmla="*/ 6047 w 10000"/>
                <a:gd name="connsiteY428" fmla="*/ 7348 h 10000"/>
                <a:gd name="connsiteX429" fmla="*/ 5930 w 10000"/>
                <a:gd name="connsiteY429" fmla="*/ 7213 h 10000"/>
                <a:gd name="connsiteX430" fmla="*/ 5760 w 10000"/>
                <a:gd name="connsiteY430" fmla="*/ 7258 h 10000"/>
                <a:gd name="connsiteX431" fmla="*/ 5705 w 10000"/>
                <a:gd name="connsiteY431" fmla="*/ 7326 h 10000"/>
                <a:gd name="connsiteX432" fmla="*/ 5698 w 10000"/>
                <a:gd name="connsiteY432" fmla="*/ 7416 h 10000"/>
                <a:gd name="connsiteX433" fmla="*/ 5744 w 10000"/>
                <a:gd name="connsiteY433" fmla="*/ 7438 h 10000"/>
                <a:gd name="connsiteX434" fmla="*/ 5744 w 10000"/>
                <a:gd name="connsiteY434" fmla="*/ 7596 h 10000"/>
                <a:gd name="connsiteX435" fmla="*/ 5705 w 10000"/>
                <a:gd name="connsiteY435" fmla="*/ 7663 h 10000"/>
                <a:gd name="connsiteX436" fmla="*/ 5667 w 10000"/>
                <a:gd name="connsiteY436" fmla="*/ 7865 h 10000"/>
                <a:gd name="connsiteX437" fmla="*/ 5651 w 10000"/>
                <a:gd name="connsiteY437" fmla="*/ 8045 h 10000"/>
                <a:gd name="connsiteX438" fmla="*/ 5605 w 10000"/>
                <a:gd name="connsiteY438" fmla="*/ 8067 h 10000"/>
                <a:gd name="connsiteX439" fmla="*/ 5566 w 10000"/>
                <a:gd name="connsiteY439" fmla="*/ 8180 h 10000"/>
                <a:gd name="connsiteX440" fmla="*/ 5496 w 10000"/>
                <a:gd name="connsiteY440" fmla="*/ 8067 h 10000"/>
                <a:gd name="connsiteX441" fmla="*/ 5403 w 10000"/>
                <a:gd name="connsiteY441" fmla="*/ 8045 h 10000"/>
                <a:gd name="connsiteX442" fmla="*/ 5372 w 10000"/>
                <a:gd name="connsiteY442" fmla="*/ 7978 h 10000"/>
                <a:gd name="connsiteX443" fmla="*/ 5333 w 10000"/>
                <a:gd name="connsiteY443" fmla="*/ 8000 h 10000"/>
                <a:gd name="connsiteX444" fmla="*/ 5264 w 10000"/>
                <a:gd name="connsiteY444" fmla="*/ 8157 h 10000"/>
                <a:gd name="connsiteX445" fmla="*/ 5147 w 10000"/>
                <a:gd name="connsiteY445" fmla="*/ 8225 h 10000"/>
                <a:gd name="connsiteX446" fmla="*/ 5078 w 10000"/>
                <a:gd name="connsiteY446" fmla="*/ 8247 h 10000"/>
                <a:gd name="connsiteX447" fmla="*/ 4992 w 10000"/>
                <a:gd name="connsiteY447" fmla="*/ 8225 h 10000"/>
                <a:gd name="connsiteX448" fmla="*/ 4969 w 10000"/>
                <a:gd name="connsiteY448" fmla="*/ 8157 h 10000"/>
                <a:gd name="connsiteX449" fmla="*/ 4946 w 10000"/>
                <a:gd name="connsiteY449" fmla="*/ 8067 h 10000"/>
                <a:gd name="connsiteX450" fmla="*/ 4907 w 10000"/>
                <a:gd name="connsiteY450" fmla="*/ 8045 h 10000"/>
                <a:gd name="connsiteX451" fmla="*/ 4884 w 10000"/>
                <a:gd name="connsiteY451" fmla="*/ 7978 h 10000"/>
                <a:gd name="connsiteX452" fmla="*/ 4791 w 10000"/>
                <a:gd name="connsiteY452" fmla="*/ 7933 h 10000"/>
                <a:gd name="connsiteX453" fmla="*/ 4736 w 10000"/>
                <a:gd name="connsiteY453" fmla="*/ 8022 h 10000"/>
                <a:gd name="connsiteX454" fmla="*/ 4636 w 10000"/>
                <a:gd name="connsiteY454" fmla="*/ 7978 h 10000"/>
                <a:gd name="connsiteX455" fmla="*/ 4597 w 10000"/>
                <a:gd name="connsiteY455" fmla="*/ 7843 h 10000"/>
                <a:gd name="connsiteX456" fmla="*/ 4589 w 10000"/>
                <a:gd name="connsiteY456" fmla="*/ 7730 h 10000"/>
                <a:gd name="connsiteX457" fmla="*/ 4496 w 10000"/>
                <a:gd name="connsiteY457" fmla="*/ 7640 h 10000"/>
                <a:gd name="connsiteX458" fmla="*/ 4388 w 10000"/>
                <a:gd name="connsiteY458" fmla="*/ 7573 h 10000"/>
                <a:gd name="connsiteX459" fmla="*/ 4318 w 10000"/>
                <a:gd name="connsiteY459" fmla="*/ 7775 h 10000"/>
                <a:gd name="connsiteX460" fmla="*/ 4364 w 10000"/>
                <a:gd name="connsiteY460" fmla="*/ 7933 h 10000"/>
                <a:gd name="connsiteX461" fmla="*/ 4357 w 10000"/>
                <a:gd name="connsiteY461" fmla="*/ 8022 h 10000"/>
                <a:gd name="connsiteX462" fmla="*/ 4310 w 10000"/>
                <a:gd name="connsiteY462" fmla="*/ 8135 h 10000"/>
                <a:gd name="connsiteX463" fmla="*/ 4279 w 10000"/>
                <a:gd name="connsiteY463" fmla="*/ 8067 h 10000"/>
                <a:gd name="connsiteX464" fmla="*/ 4155 w 10000"/>
                <a:gd name="connsiteY464" fmla="*/ 8067 h 10000"/>
                <a:gd name="connsiteX465" fmla="*/ 4116 w 10000"/>
                <a:gd name="connsiteY465" fmla="*/ 7933 h 10000"/>
                <a:gd name="connsiteX466" fmla="*/ 4039 w 10000"/>
                <a:gd name="connsiteY466" fmla="*/ 7888 h 10000"/>
                <a:gd name="connsiteX467" fmla="*/ 3969 w 10000"/>
                <a:gd name="connsiteY467" fmla="*/ 7865 h 10000"/>
                <a:gd name="connsiteX468" fmla="*/ 3837 w 10000"/>
                <a:gd name="connsiteY468" fmla="*/ 8067 h 10000"/>
                <a:gd name="connsiteX469" fmla="*/ 3806 w 10000"/>
                <a:gd name="connsiteY469" fmla="*/ 8157 h 10000"/>
                <a:gd name="connsiteX470" fmla="*/ 3752 w 10000"/>
                <a:gd name="connsiteY470" fmla="*/ 8180 h 10000"/>
                <a:gd name="connsiteX471" fmla="*/ 3721 w 10000"/>
                <a:gd name="connsiteY471" fmla="*/ 8270 h 10000"/>
                <a:gd name="connsiteX472" fmla="*/ 3659 w 10000"/>
                <a:gd name="connsiteY472" fmla="*/ 8270 h 10000"/>
                <a:gd name="connsiteX473" fmla="*/ 3643 w 10000"/>
                <a:gd name="connsiteY473" fmla="*/ 8112 h 10000"/>
                <a:gd name="connsiteX474" fmla="*/ 3558 w 10000"/>
                <a:gd name="connsiteY474" fmla="*/ 8090 h 10000"/>
                <a:gd name="connsiteX475" fmla="*/ 3504 w 10000"/>
                <a:gd name="connsiteY475" fmla="*/ 7978 h 10000"/>
                <a:gd name="connsiteX476" fmla="*/ 3465 w 10000"/>
                <a:gd name="connsiteY476" fmla="*/ 7820 h 10000"/>
                <a:gd name="connsiteX477" fmla="*/ 3357 w 10000"/>
                <a:gd name="connsiteY477" fmla="*/ 7865 h 10000"/>
                <a:gd name="connsiteX478" fmla="*/ 3271 w 10000"/>
                <a:gd name="connsiteY478" fmla="*/ 7730 h 10000"/>
                <a:gd name="connsiteX479" fmla="*/ 3256 w 10000"/>
                <a:gd name="connsiteY479" fmla="*/ 7820 h 10000"/>
                <a:gd name="connsiteX480" fmla="*/ 3225 w 10000"/>
                <a:gd name="connsiteY480" fmla="*/ 7820 h 10000"/>
                <a:gd name="connsiteX481" fmla="*/ 3171 w 10000"/>
                <a:gd name="connsiteY481" fmla="*/ 7551 h 10000"/>
                <a:gd name="connsiteX482" fmla="*/ 3109 w 10000"/>
                <a:gd name="connsiteY482" fmla="*/ 7281 h 10000"/>
                <a:gd name="connsiteX483" fmla="*/ 3039 w 10000"/>
                <a:gd name="connsiteY483" fmla="*/ 7146 h 10000"/>
                <a:gd name="connsiteX484" fmla="*/ 3031 w 10000"/>
                <a:gd name="connsiteY484" fmla="*/ 7034 h 10000"/>
                <a:gd name="connsiteX485" fmla="*/ 2946 w 10000"/>
                <a:gd name="connsiteY485" fmla="*/ 7101 h 10000"/>
                <a:gd name="connsiteX486" fmla="*/ 2876 w 10000"/>
                <a:gd name="connsiteY486" fmla="*/ 7213 h 10000"/>
                <a:gd name="connsiteX487" fmla="*/ 2798 w 10000"/>
                <a:gd name="connsiteY487" fmla="*/ 7101 h 10000"/>
                <a:gd name="connsiteX488" fmla="*/ 2721 w 10000"/>
                <a:gd name="connsiteY488" fmla="*/ 7034 h 10000"/>
                <a:gd name="connsiteX489" fmla="*/ 2682 w 10000"/>
                <a:gd name="connsiteY489" fmla="*/ 6966 h 10000"/>
                <a:gd name="connsiteX490" fmla="*/ 2667 w 10000"/>
                <a:gd name="connsiteY490" fmla="*/ 6809 h 10000"/>
                <a:gd name="connsiteX491" fmla="*/ 2589 w 10000"/>
                <a:gd name="connsiteY491" fmla="*/ 6787 h 10000"/>
                <a:gd name="connsiteX492" fmla="*/ 2504 w 10000"/>
                <a:gd name="connsiteY492" fmla="*/ 6831 h 10000"/>
                <a:gd name="connsiteX493" fmla="*/ 2163 w 10000"/>
                <a:gd name="connsiteY493" fmla="*/ 7101 h 10000"/>
                <a:gd name="connsiteX494" fmla="*/ 2078 w 10000"/>
                <a:gd name="connsiteY494" fmla="*/ 7124 h 10000"/>
                <a:gd name="connsiteX495" fmla="*/ 2093 w 10000"/>
                <a:gd name="connsiteY495" fmla="*/ 7236 h 10000"/>
                <a:gd name="connsiteX496" fmla="*/ 2109 w 10000"/>
                <a:gd name="connsiteY496" fmla="*/ 7326 h 10000"/>
                <a:gd name="connsiteX497" fmla="*/ 2062 w 10000"/>
                <a:gd name="connsiteY497" fmla="*/ 7371 h 10000"/>
                <a:gd name="connsiteX498" fmla="*/ 2054 w 10000"/>
                <a:gd name="connsiteY498" fmla="*/ 7483 h 10000"/>
                <a:gd name="connsiteX499" fmla="*/ 2031 w 10000"/>
                <a:gd name="connsiteY499" fmla="*/ 7551 h 10000"/>
                <a:gd name="connsiteX500" fmla="*/ 2008 w 10000"/>
                <a:gd name="connsiteY500" fmla="*/ 7640 h 10000"/>
                <a:gd name="connsiteX501" fmla="*/ 2062 w 10000"/>
                <a:gd name="connsiteY501" fmla="*/ 7685 h 10000"/>
                <a:gd name="connsiteX502" fmla="*/ 2093 w 10000"/>
                <a:gd name="connsiteY502" fmla="*/ 7775 h 10000"/>
                <a:gd name="connsiteX503" fmla="*/ 2054 w 10000"/>
                <a:gd name="connsiteY503" fmla="*/ 7888 h 10000"/>
                <a:gd name="connsiteX504" fmla="*/ 1953 w 10000"/>
                <a:gd name="connsiteY504" fmla="*/ 7910 h 10000"/>
                <a:gd name="connsiteX505" fmla="*/ 1915 w 10000"/>
                <a:gd name="connsiteY505" fmla="*/ 7798 h 10000"/>
                <a:gd name="connsiteX506" fmla="*/ 1845 w 10000"/>
                <a:gd name="connsiteY506" fmla="*/ 7798 h 10000"/>
                <a:gd name="connsiteX507" fmla="*/ 1760 w 10000"/>
                <a:gd name="connsiteY507" fmla="*/ 7910 h 10000"/>
                <a:gd name="connsiteX508" fmla="*/ 1698 w 10000"/>
                <a:gd name="connsiteY508" fmla="*/ 7888 h 10000"/>
                <a:gd name="connsiteX509" fmla="*/ 1612 w 10000"/>
                <a:gd name="connsiteY509" fmla="*/ 7730 h 10000"/>
                <a:gd name="connsiteX510" fmla="*/ 1473 w 10000"/>
                <a:gd name="connsiteY510" fmla="*/ 7663 h 10000"/>
                <a:gd name="connsiteX511" fmla="*/ 1411 w 10000"/>
                <a:gd name="connsiteY511" fmla="*/ 7730 h 10000"/>
                <a:gd name="connsiteX512" fmla="*/ 1318 w 10000"/>
                <a:gd name="connsiteY512" fmla="*/ 7933 h 10000"/>
                <a:gd name="connsiteX513" fmla="*/ 1310 w 10000"/>
                <a:gd name="connsiteY513" fmla="*/ 8067 h 10000"/>
                <a:gd name="connsiteX514" fmla="*/ 1279 w 10000"/>
                <a:gd name="connsiteY514" fmla="*/ 8112 h 10000"/>
                <a:gd name="connsiteX515" fmla="*/ 1248 w 10000"/>
                <a:gd name="connsiteY515" fmla="*/ 7933 h 10000"/>
                <a:gd name="connsiteX516" fmla="*/ 1202 w 10000"/>
                <a:gd name="connsiteY516" fmla="*/ 8090 h 10000"/>
                <a:gd name="connsiteX517" fmla="*/ 1178 w 10000"/>
                <a:gd name="connsiteY517" fmla="*/ 8360 h 10000"/>
                <a:gd name="connsiteX518" fmla="*/ 1217 w 10000"/>
                <a:gd name="connsiteY518" fmla="*/ 8517 h 10000"/>
                <a:gd name="connsiteX519" fmla="*/ 1271 w 10000"/>
                <a:gd name="connsiteY519" fmla="*/ 8562 h 10000"/>
                <a:gd name="connsiteX520" fmla="*/ 1318 w 10000"/>
                <a:gd name="connsiteY520" fmla="*/ 8742 h 10000"/>
                <a:gd name="connsiteX521" fmla="*/ 1333 w 10000"/>
                <a:gd name="connsiteY521" fmla="*/ 8899 h 10000"/>
                <a:gd name="connsiteX0" fmla="*/ 1333 w 10000"/>
                <a:gd name="connsiteY0" fmla="*/ 8899 h 10000"/>
                <a:gd name="connsiteX1" fmla="*/ 1271 w 10000"/>
                <a:gd name="connsiteY1" fmla="*/ 9034 h 10000"/>
                <a:gd name="connsiteX2" fmla="*/ 1233 w 10000"/>
                <a:gd name="connsiteY2" fmla="*/ 9101 h 10000"/>
                <a:gd name="connsiteX3" fmla="*/ 1217 w 10000"/>
                <a:gd name="connsiteY3" fmla="*/ 9191 h 10000"/>
                <a:gd name="connsiteX4" fmla="*/ 1186 w 10000"/>
                <a:gd name="connsiteY4" fmla="*/ 9303 h 10000"/>
                <a:gd name="connsiteX5" fmla="*/ 1217 w 10000"/>
                <a:gd name="connsiteY5" fmla="*/ 9371 h 10000"/>
                <a:gd name="connsiteX6" fmla="*/ 1240 w 10000"/>
                <a:gd name="connsiteY6" fmla="*/ 9483 h 10000"/>
                <a:gd name="connsiteX7" fmla="*/ 1248 w 10000"/>
                <a:gd name="connsiteY7" fmla="*/ 9685 h 10000"/>
                <a:gd name="connsiteX8" fmla="*/ 1302 w 10000"/>
                <a:gd name="connsiteY8" fmla="*/ 9865 h 10000"/>
                <a:gd name="connsiteX9" fmla="*/ 1264 w 10000"/>
                <a:gd name="connsiteY9" fmla="*/ 9978 h 10000"/>
                <a:gd name="connsiteX10" fmla="*/ 1248 w 10000"/>
                <a:gd name="connsiteY10" fmla="*/ 10000 h 10000"/>
                <a:gd name="connsiteX11" fmla="*/ 1186 w 10000"/>
                <a:gd name="connsiteY11" fmla="*/ 9865 h 10000"/>
                <a:gd name="connsiteX12" fmla="*/ 1163 w 10000"/>
                <a:gd name="connsiteY12" fmla="*/ 9843 h 10000"/>
                <a:gd name="connsiteX13" fmla="*/ 1124 w 10000"/>
                <a:gd name="connsiteY13" fmla="*/ 9730 h 10000"/>
                <a:gd name="connsiteX14" fmla="*/ 1085 w 10000"/>
                <a:gd name="connsiteY14" fmla="*/ 9663 h 10000"/>
                <a:gd name="connsiteX15" fmla="*/ 1047 w 10000"/>
                <a:gd name="connsiteY15" fmla="*/ 9685 h 10000"/>
                <a:gd name="connsiteX16" fmla="*/ 1023 w 10000"/>
                <a:gd name="connsiteY16" fmla="*/ 9685 h 10000"/>
                <a:gd name="connsiteX17" fmla="*/ 984 w 10000"/>
                <a:gd name="connsiteY17" fmla="*/ 9640 h 10000"/>
                <a:gd name="connsiteX18" fmla="*/ 930 w 10000"/>
                <a:gd name="connsiteY18" fmla="*/ 9551 h 10000"/>
                <a:gd name="connsiteX19" fmla="*/ 899 w 10000"/>
                <a:gd name="connsiteY19" fmla="*/ 9551 h 10000"/>
                <a:gd name="connsiteX20" fmla="*/ 860 w 10000"/>
                <a:gd name="connsiteY20" fmla="*/ 9573 h 10000"/>
                <a:gd name="connsiteX21" fmla="*/ 814 w 10000"/>
                <a:gd name="connsiteY21" fmla="*/ 9483 h 10000"/>
                <a:gd name="connsiteX22" fmla="*/ 767 w 10000"/>
                <a:gd name="connsiteY22" fmla="*/ 9506 h 10000"/>
                <a:gd name="connsiteX23" fmla="*/ 667 w 10000"/>
                <a:gd name="connsiteY23" fmla="*/ 9303 h 10000"/>
                <a:gd name="connsiteX24" fmla="*/ 612 w 10000"/>
                <a:gd name="connsiteY24" fmla="*/ 9236 h 10000"/>
                <a:gd name="connsiteX25" fmla="*/ 628 w 10000"/>
                <a:gd name="connsiteY25" fmla="*/ 9079 h 10000"/>
                <a:gd name="connsiteX26" fmla="*/ 674 w 10000"/>
                <a:gd name="connsiteY26" fmla="*/ 8944 h 10000"/>
                <a:gd name="connsiteX27" fmla="*/ 667 w 10000"/>
                <a:gd name="connsiteY27" fmla="*/ 8831 h 10000"/>
                <a:gd name="connsiteX28" fmla="*/ 729 w 10000"/>
                <a:gd name="connsiteY28" fmla="*/ 8719 h 10000"/>
                <a:gd name="connsiteX29" fmla="*/ 659 w 10000"/>
                <a:gd name="connsiteY29" fmla="*/ 8697 h 10000"/>
                <a:gd name="connsiteX30" fmla="*/ 667 w 10000"/>
                <a:gd name="connsiteY30" fmla="*/ 8607 h 10000"/>
                <a:gd name="connsiteX31" fmla="*/ 705 w 10000"/>
                <a:gd name="connsiteY31" fmla="*/ 8562 h 10000"/>
                <a:gd name="connsiteX32" fmla="*/ 767 w 10000"/>
                <a:gd name="connsiteY32" fmla="*/ 8517 h 10000"/>
                <a:gd name="connsiteX33" fmla="*/ 775 w 10000"/>
                <a:gd name="connsiteY33" fmla="*/ 8157 h 10000"/>
                <a:gd name="connsiteX34" fmla="*/ 713 w 10000"/>
                <a:gd name="connsiteY34" fmla="*/ 8045 h 10000"/>
                <a:gd name="connsiteX35" fmla="*/ 636 w 10000"/>
                <a:gd name="connsiteY35" fmla="*/ 8045 h 10000"/>
                <a:gd name="connsiteX36" fmla="*/ 628 w 10000"/>
                <a:gd name="connsiteY36" fmla="*/ 7978 h 10000"/>
                <a:gd name="connsiteX37" fmla="*/ 504 w 10000"/>
                <a:gd name="connsiteY37" fmla="*/ 7955 h 10000"/>
                <a:gd name="connsiteX38" fmla="*/ 488 w 10000"/>
                <a:gd name="connsiteY38" fmla="*/ 7798 h 10000"/>
                <a:gd name="connsiteX39" fmla="*/ 419 w 10000"/>
                <a:gd name="connsiteY39" fmla="*/ 7753 h 10000"/>
                <a:gd name="connsiteX40" fmla="*/ 426 w 10000"/>
                <a:gd name="connsiteY40" fmla="*/ 7618 h 10000"/>
                <a:gd name="connsiteX41" fmla="*/ 411 w 10000"/>
                <a:gd name="connsiteY41" fmla="*/ 7506 h 10000"/>
                <a:gd name="connsiteX42" fmla="*/ 318 w 10000"/>
                <a:gd name="connsiteY42" fmla="*/ 7506 h 10000"/>
                <a:gd name="connsiteX43" fmla="*/ 302 w 10000"/>
                <a:gd name="connsiteY43" fmla="*/ 7551 h 10000"/>
                <a:gd name="connsiteX44" fmla="*/ 279 w 10000"/>
                <a:gd name="connsiteY44" fmla="*/ 7573 h 10000"/>
                <a:gd name="connsiteX45" fmla="*/ 248 w 10000"/>
                <a:gd name="connsiteY45" fmla="*/ 7528 h 10000"/>
                <a:gd name="connsiteX46" fmla="*/ 248 w 10000"/>
                <a:gd name="connsiteY46" fmla="*/ 7303 h 10000"/>
                <a:gd name="connsiteX47" fmla="*/ 318 w 10000"/>
                <a:gd name="connsiteY47" fmla="*/ 7303 h 10000"/>
                <a:gd name="connsiteX48" fmla="*/ 326 w 10000"/>
                <a:gd name="connsiteY48" fmla="*/ 7281 h 10000"/>
                <a:gd name="connsiteX49" fmla="*/ 217 w 10000"/>
                <a:gd name="connsiteY49" fmla="*/ 6944 h 10000"/>
                <a:gd name="connsiteX50" fmla="*/ 202 w 10000"/>
                <a:gd name="connsiteY50" fmla="*/ 6697 h 10000"/>
                <a:gd name="connsiteX51" fmla="*/ 124 w 10000"/>
                <a:gd name="connsiteY51" fmla="*/ 6674 h 10000"/>
                <a:gd name="connsiteX52" fmla="*/ 124 w 10000"/>
                <a:gd name="connsiteY52" fmla="*/ 6607 h 10000"/>
                <a:gd name="connsiteX53" fmla="*/ 54 w 10000"/>
                <a:gd name="connsiteY53" fmla="*/ 6562 h 10000"/>
                <a:gd name="connsiteX54" fmla="*/ 39 w 10000"/>
                <a:gd name="connsiteY54" fmla="*/ 6494 h 10000"/>
                <a:gd name="connsiteX55" fmla="*/ 23 w 10000"/>
                <a:gd name="connsiteY55" fmla="*/ 6315 h 10000"/>
                <a:gd name="connsiteX56" fmla="*/ 0 w 10000"/>
                <a:gd name="connsiteY56" fmla="*/ 6180 h 10000"/>
                <a:gd name="connsiteX57" fmla="*/ 8 w 10000"/>
                <a:gd name="connsiteY57" fmla="*/ 6045 h 10000"/>
                <a:gd name="connsiteX58" fmla="*/ 8 w 10000"/>
                <a:gd name="connsiteY58" fmla="*/ 5865 h 10000"/>
                <a:gd name="connsiteX59" fmla="*/ 31 w 10000"/>
                <a:gd name="connsiteY59" fmla="*/ 5730 h 10000"/>
                <a:gd name="connsiteX60" fmla="*/ 101 w 10000"/>
                <a:gd name="connsiteY60" fmla="*/ 5573 h 10000"/>
                <a:gd name="connsiteX61" fmla="*/ 155 w 10000"/>
                <a:gd name="connsiteY61" fmla="*/ 5551 h 10000"/>
                <a:gd name="connsiteX62" fmla="*/ 85 w 10000"/>
                <a:gd name="connsiteY62" fmla="*/ 5461 h 10000"/>
                <a:gd name="connsiteX63" fmla="*/ 47 w 10000"/>
                <a:gd name="connsiteY63" fmla="*/ 5326 h 10000"/>
                <a:gd name="connsiteX64" fmla="*/ 180 w 10000"/>
                <a:gd name="connsiteY64" fmla="*/ 4975 h 10000"/>
                <a:gd name="connsiteX65" fmla="*/ 248 w 10000"/>
                <a:gd name="connsiteY65" fmla="*/ 4764 h 10000"/>
                <a:gd name="connsiteX66" fmla="*/ 155 w 10000"/>
                <a:gd name="connsiteY66" fmla="*/ 4562 h 10000"/>
                <a:gd name="connsiteX67" fmla="*/ 194 w 10000"/>
                <a:gd name="connsiteY67" fmla="*/ 4449 h 10000"/>
                <a:gd name="connsiteX68" fmla="*/ 290 w 10000"/>
                <a:gd name="connsiteY68" fmla="*/ 4195 h 10000"/>
                <a:gd name="connsiteX69" fmla="*/ 124 w 10000"/>
                <a:gd name="connsiteY69" fmla="*/ 4180 h 10000"/>
                <a:gd name="connsiteX70" fmla="*/ 155 w 10000"/>
                <a:gd name="connsiteY70" fmla="*/ 3955 h 10000"/>
                <a:gd name="connsiteX71" fmla="*/ 132 w 10000"/>
                <a:gd name="connsiteY71" fmla="*/ 3775 h 10000"/>
                <a:gd name="connsiteX72" fmla="*/ 93 w 10000"/>
                <a:gd name="connsiteY72" fmla="*/ 3573 h 10000"/>
                <a:gd name="connsiteX73" fmla="*/ 155 w 10000"/>
                <a:gd name="connsiteY73" fmla="*/ 3393 h 10000"/>
                <a:gd name="connsiteX74" fmla="*/ 62 w 10000"/>
                <a:gd name="connsiteY74" fmla="*/ 3236 h 10000"/>
                <a:gd name="connsiteX75" fmla="*/ 78 w 10000"/>
                <a:gd name="connsiteY75" fmla="*/ 2989 h 10000"/>
                <a:gd name="connsiteX76" fmla="*/ 116 w 10000"/>
                <a:gd name="connsiteY76" fmla="*/ 2876 h 10000"/>
                <a:gd name="connsiteX77" fmla="*/ 155 w 10000"/>
                <a:gd name="connsiteY77" fmla="*/ 2854 h 10000"/>
                <a:gd name="connsiteX78" fmla="*/ 155 w 10000"/>
                <a:gd name="connsiteY78" fmla="*/ 2787 h 10000"/>
                <a:gd name="connsiteX79" fmla="*/ 240 w 10000"/>
                <a:gd name="connsiteY79" fmla="*/ 2742 h 10000"/>
                <a:gd name="connsiteX80" fmla="*/ 310 w 10000"/>
                <a:gd name="connsiteY80" fmla="*/ 2742 h 10000"/>
                <a:gd name="connsiteX81" fmla="*/ 333 w 10000"/>
                <a:gd name="connsiteY81" fmla="*/ 2854 h 10000"/>
                <a:gd name="connsiteX82" fmla="*/ 372 w 10000"/>
                <a:gd name="connsiteY82" fmla="*/ 2899 h 10000"/>
                <a:gd name="connsiteX83" fmla="*/ 519 w 10000"/>
                <a:gd name="connsiteY83" fmla="*/ 2921 h 10000"/>
                <a:gd name="connsiteX84" fmla="*/ 628 w 10000"/>
                <a:gd name="connsiteY84" fmla="*/ 3079 h 10000"/>
                <a:gd name="connsiteX85" fmla="*/ 729 w 10000"/>
                <a:gd name="connsiteY85" fmla="*/ 3258 h 10000"/>
                <a:gd name="connsiteX86" fmla="*/ 845 w 10000"/>
                <a:gd name="connsiteY86" fmla="*/ 3438 h 10000"/>
                <a:gd name="connsiteX87" fmla="*/ 853 w 10000"/>
                <a:gd name="connsiteY87" fmla="*/ 3640 h 10000"/>
                <a:gd name="connsiteX88" fmla="*/ 783 w 10000"/>
                <a:gd name="connsiteY88" fmla="*/ 3820 h 10000"/>
                <a:gd name="connsiteX89" fmla="*/ 667 w 10000"/>
                <a:gd name="connsiteY89" fmla="*/ 3910 h 10000"/>
                <a:gd name="connsiteX90" fmla="*/ 566 w 10000"/>
                <a:gd name="connsiteY90" fmla="*/ 3798 h 10000"/>
                <a:gd name="connsiteX91" fmla="*/ 450 w 10000"/>
                <a:gd name="connsiteY91" fmla="*/ 3730 h 10000"/>
                <a:gd name="connsiteX92" fmla="*/ 364 w 10000"/>
                <a:gd name="connsiteY92" fmla="*/ 3640 h 10000"/>
                <a:gd name="connsiteX93" fmla="*/ 295 w 10000"/>
                <a:gd name="connsiteY93" fmla="*/ 3551 h 10000"/>
                <a:gd name="connsiteX94" fmla="*/ 349 w 10000"/>
                <a:gd name="connsiteY94" fmla="*/ 3753 h 10000"/>
                <a:gd name="connsiteX95" fmla="*/ 411 w 10000"/>
                <a:gd name="connsiteY95" fmla="*/ 3843 h 10000"/>
                <a:gd name="connsiteX96" fmla="*/ 442 w 10000"/>
                <a:gd name="connsiteY96" fmla="*/ 3910 h 10000"/>
                <a:gd name="connsiteX97" fmla="*/ 450 w 10000"/>
                <a:gd name="connsiteY97" fmla="*/ 4045 h 10000"/>
                <a:gd name="connsiteX98" fmla="*/ 473 w 10000"/>
                <a:gd name="connsiteY98" fmla="*/ 4337 h 10000"/>
                <a:gd name="connsiteX99" fmla="*/ 512 w 10000"/>
                <a:gd name="connsiteY99" fmla="*/ 4360 h 10000"/>
                <a:gd name="connsiteX100" fmla="*/ 574 w 10000"/>
                <a:gd name="connsiteY100" fmla="*/ 4517 h 10000"/>
                <a:gd name="connsiteX101" fmla="*/ 651 w 10000"/>
                <a:gd name="connsiteY101" fmla="*/ 4517 h 10000"/>
                <a:gd name="connsiteX102" fmla="*/ 659 w 10000"/>
                <a:gd name="connsiteY102" fmla="*/ 4404 h 10000"/>
                <a:gd name="connsiteX103" fmla="*/ 612 w 10000"/>
                <a:gd name="connsiteY103" fmla="*/ 4360 h 10000"/>
                <a:gd name="connsiteX104" fmla="*/ 574 w 10000"/>
                <a:gd name="connsiteY104" fmla="*/ 4225 h 10000"/>
                <a:gd name="connsiteX105" fmla="*/ 605 w 10000"/>
                <a:gd name="connsiteY105" fmla="*/ 4112 h 10000"/>
                <a:gd name="connsiteX106" fmla="*/ 651 w 10000"/>
                <a:gd name="connsiteY106" fmla="*/ 4225 h 10000"/>
                <a:gd name="connsiteX107" fmla="*/ 698 w 10000"/>
                <a:gd name="connsiteY107" fmla="*/ 4270 h 10000"/>
                <a:gd name="connsiteX108" fmla="*/ 798 w 10000"/>
                <a:gd name="connsiteY108" fmla="*/ 4337 h 10000"/>
                <a:gd name="connsiteX109" fmla="*/ 798 w 10000"/>
                <a:gd name="connsiteY109" fmla="*/ 4225 h 10000"/>
                <a:gd name="connsiteX110" fmla="*/ 760 w 10000"/>
                <a:gd name="connsiteY110" fmla="*/ 4090 h 10000"/>
                <a:gd name="connsiteX111" fmla="*/ 806 w 10000"/>
                <a:gd name="connsiteY111" fmla="*/ 3955 h 10000"/>
                <a:gd name="connsiteX112" fmla="*/ 876 w 10000"/>
                <a:gd name="connsiteY112" fmla="*/ 3843 h 10000"/>
                <a:gd name="connsiteX113" fmla="*/ 915 w 10000"/>
                <a:gd name="connsiteY113" fmla="*/ 3753 h 10000"/>
                <a:gd name="connsiteX114" fmla="*/ 1023 w 10000"/>
                <a:gd name="connsiteY114" fmla="*/ 3843 h 10000"/>
                <a:gd name="connsiteX115" fmla="*/ 1047 w 10000"/>
                <a:gd name="connsiteY115" fmla="*/ 3573 h 10000"/>
                <a:gd name="connsiteX116" fmla="*/ 1016 w 10000"/>
                <a:gd name="connsiteY116" fmla="*/ 3483 h 10000"/>
                <a:gd name="connsiteX117" fmla="*/ 1031 w 10000"/>
                <a:gd name="connsiteY117" fmla="*/ 3236 h 10000"/>
                <a:gd name="connsiteX118" fmla="*/ 1000 w 10000"/>
                <a:gd name="connsiteY118" fmla="*/ 3146 h 10000"/>
                <a:gd name="connsiteX119" fmla="*/ 1132 w 10000"/>
                <a:gd name="connsiteY119" fmla="*/ 3124 h 10000"/>
                <a:gd name="connsiteX120" fmla="*/ 1178 w 10000"/>
                <a:gd name="connsiteY120" fmla="*/ 3281 h 10000"/>
                <a:gd name="connsiteX121" fmla="*/ 1178 w 10000"/>
                <a:gd name="connsiteY121" fmla="*/ 3371 h 10000"/>
                <a:gd name="connsiteX122" fmla="*/ 1116 w 10000"/>
                <a:gd name="connsiteY122" fmla="*/ 3371 h 10000"/>
                <a:gd name="connsiteX123" fmla="*/ 1078 w 10000"/>
                <a:gd name="connsiteY123" fmla="*/ 3483 h 10000"/>
                <a:gd name="connsiteX124" fmla="*/ 1140 w 10000"/>
                <a:gd name="connsiteY124" fmla="*/ 3640 h 10000"/>
                <a:gd name="connsiteX125" fmla="*/ 1233 w 10000"/>
                <a:gd name="connsiteY125" fmla="*/ 3663 h 10000"/>
                <a:gd name="connsiteX126" fmla="*/ 1271 w 10000"/>
                <a:gd name="connsiteY126" fmla="*/ 3393 h 10000"/>
                <a:gd name="connsiteX127" fmla="*/ 1496 w 10000"/>
                <a:gd name="connsiteY127" fmla="*/ 3146 h 10000"/>
                <a:gd name="connsiteX128" fmla="*/ 1535 w 10000"/>
                <a:gd name="connsiteY128" fmla="*/ 3169 h 10000"/>
                <a:gd name="connsiteX129" fmla="*/ 1581 w 10000"/>
                <a:gd name="connsiteY129" fmla="*/ 3034 h 10000"/>
                <a:gd name="connsiteX130" fmla="*/ 1628 w 10000"/>
                <a:gd name="connsiteY130" fmla="*/ 2989 h 10000"/>
                <a:gd name="connsiteX131" fmla="*/ 1612 w 10000"/>
                <a:gd name="connsiteY131" fmla="*/ 3191 h 10000"/>
                <a:gd name="connsiteX132" fmla="*/ 1690 w 10000"/>
                <a:gd name="connsiteY132" fmla="*/ 3191 h 10000"/>
                <a:gd name="connsiteX133" fmla="*/ 1705 w 10000"/>
                <a:gd name="connsiteY133" fmla="*/ 3101 h 10000"/>
                <a:gd name="connsiteX134" fmla="*/ 1845 w 10000"/>
                <a:gd name="connsiteY134" fmla="*/ 3124 h 10000"/>
                <a:gd name="connsiteX135" fmla="*/ 1938 w 10000"/>
                <a:gd name="connsiteY135" fmla="*/ 2966 h 10000"/>
                <a:gd name="connsiteX136" fmla="*/ 1953 w 10000"/>
                <a:gd name="connsiteY136" fmla="*/ 3079 h 10000"/>
                <a:gd name="connsiteX137" fmla="*/ 1946 w 10000"/>
                <a:gd name="connsiteY137" fmla="*/ 3169 h 10000"/>
                <a:gd name="connsiteX138" fmla="*/ 1984 w 10000"/>
                <a:gd name="connsiteY138" fmla="*/ 3169 h 10000"/>
                <a:gd name="connsiteX139" fmla="*/ 2000 w 10000"/>
                <a:gd name="connsiteY139" fmla="*/ 3079 h 10000"/>
                <a:gd name="connsiteX140" fmla="*/ 2062 w 10000"/>
                <a:gd name="connsiteY140" fmla="*/ 2966 h 10000"/>
                <a:gd name="connsiteX141" fmla="*/ 2016 w 10000"/>
                <a:gd name="connsiteY141" fmla="*/ 2787 h 10000"/>
                <a:gd name="connsiteX142" fmla="*/ 1930 w 10000"/>
                <a:gd name="connsiteY142" fmla="*/ 2697 h 10000"/>
                <a:gd name="connsiteX143" fmla="*/ 1930 w 10000"/>
                <a:gd name="connsiteY143" fmla="*/ 2539 h 10000"/>
                <a:gd name="connsiteX144" fmla="*/ 1961 w 10000"/>
                <a:gd name="connsiteY144" fmla="*/ 2517 h 10000"/>
                <a:gd name="connsiteX145" fmla="*/ 2039 w 10000"/>
                <a:gd name="connsiteY145" fmla="*/ 2719 h 10000"/>
                <a:gd name="connsiteX146" fmla="*/ 2163 w 10000"/>
                <a:gd name="connsiteY146" fmla="*/ 2742 h 10000"/>
                <a:gd name="connsiteX147" fmla="*/ 2295 w 10000"/>
                <a:gd name="connsiteY147" fmla="*/ 2876 h 10000"/>
                <a:gd name="connsiteX148" fmla="*/ 2403 w 10000"/>
                <a:gd name="connsiteY148" fmla="*/ 3011 h 10000"/>
                <a:gd name="connsiteX149" fmla="*/ 2519 w 10000"/>
                <a:gd name="connsiteY149" fmla="*/ 3191 h 10000"/>
                <a:gd name="connsiteX150" fmla="*/ 2550 w 10000"/>
                <a:gd name="connsiteY150" fmla="*/ 3034 h 10000"/>
                <a:gd name="connsiteX151" fmla="*/ 2496 w 10000"/>
                <a:gd name="connsiteY151" fmla="*/ 2876 h 10000"/>
                <a:gd name="connsiteX152" fmla="*/ 2426 w 10000"/>
                <a:gd name="connsiteY152" fmla="*/ 2764 h 10000"/>
                <a:gd name="connsiteX153" fmla="*/ 2426 w 10000"/>
                <a:gd name="connsiteY153" fmla="*/ 2652 h 10000"/>
                <a:gd name="connsiteX154" fmla="*/ 2457 w 10000"/>
                <a:gd name="connsiteY154" fmla="*/ 2427 h 10000"/>
                <a:gd name="connsiteX155" fmla="*/ 2419 w 10000"/>
                <a:gd name="connsiteY155" fmla="*/ 2360 h 10000"/>
                <a:gd name="connsiteX156" fmla="*/ 2426 w 10000"/>
                <a:gd name="connsiteY156" fmla="*/ 2292 h 10000"/>
                <a:gd name="connsiteX157" fmla="*/ 2519 w 10000"/>
                <a:gd name="connsiteY157" fmla="*/ 2090 h 10000"/>
                <a:gd name="connsiteX158" fmla="*/ 2581 w 10000"/>
                <a:gd name="connsiteY158" fmla="*/ 1730 h 10000"/>
                <a:gd name="connsiteX159" fmla="*/ 2775 w 10000"/>
                <a:gd name="connsiteY159" fmla="*/ 1775 h 10000"/>
                <a:gd name="connsiteX160" fmla="*/ 2791 w 10000"/>
                <a:gd name="connsiteY160" fmla="*/ 1843 h 10000"/>
                <a:gd name="connsiteX161" fmla="*/ 2775 w 10000"/>
                <a:gd name="connsiteY161" fmla="*/ 2045 h 10000"/>
                <a:gd name="connsiteX162" fmla="*/ 2736 w 10000"/>
                <a:gd name="connsiteY162" fmla="*/ 2225 h 10000"/>
                <a:gd name="connsiteX163" fmla="*/ 2775 w 10000"/>
                <a:gd name="connsiteY163" fmla="*/ 2315 h 10000"/>
                <a:gd name="connsiteX164" fmla="*/ 2791 w 10000"/>
                <a:gd name="connsiteY164" fmla="*/ 2517 h 10000"/>
                <a:gd name="connsiteX165" fmla="*/ 2775 w 10000"/>
                <a:gd name="connsiteY165" fmla="*/ 3011 h 10000"/>
                <a:gd name="connsiteX166" fmla="*/ 2837 w 10000"/>
                <a:gd name="connsiteY166" fmla="*/ 3146 h 10000"/>
                <a:gd name="connsiteX167" fmla="*/ 2806 w 10000"/>
                <a:gd name="connsiteY167" fmla="*/ 3348 h 10000"/>
                <a:gd name="connsiteX168" fmla="*/ 2698 w 10000"/>
                <a:gd name="connsiteY168" fmla="*/ 3618 h 10000"/>
                <a:gd name="connsiteX169" fmla="*/ 2643 w 10000"/>
                <a:gd name="connsiteY169" fmla="*/ 3685 h 10000"/>
                <a:gd name="connsiteX170" fmla="*/ 2581 w 10000"/>
                <a:gd name="connsiteY170" fmla="*/ 3640 h 10000"/>
                <a:gd name="connsiteX171" fmla="*/ 2550 w 10000"/>
                <a:gd name="connsiteY171" fmla="*/ 3685 h 10000"/>
                <a:gd name="connsiteX172" fmla="*/ 2597 w 10000"/>
                <a:gd name="connsiteY172" fmla="*/ 3775 h 10000"/>
                <a:gd name="connsiteX173" fmla="*/ 2667 w 10000"/>
                <a:gd name="connsiteY173" fmla="*/ 3820 h 10000"/>
                <a:gd name="connsiteX174" fmla="*/ 2736 w 10000"/>
                <a:gd name="connsiteY174" fmla="*/ 3843 h 10000"/>
                <a:gd name="connsiteX175" fmla="*/ 2814 w 10000"/>
                <a:gd name="connsiteY175" fmla="*/ 3663 h 10000"/>
                <a:gd name="connsiteX176" fmla="*/ 2922 w 10000"/>
                <a:gd name="connsiteY176" fmla="*/ 3348 h 10000"/>
                <a:gd name="connsiteX177" fmla="*/ 2891 w 10000"/>
                <a:gd name="connsiteY177" fmla="*/ 3169 h 10000"/>
                <a:gd name="connsiteX178" fmla="*/ 2930 w 10000"/>
                <a:gd name="connsiteY178" fmla="*/ 2989 h 10000"/>
                <a:gd name="connsiteX179" fmla="*/ 3016 w 10000"/>
                <a:gd name="connsiteY179" fmla="*/ 3034 h 10000"/>
                <a:gd name="connsiteX180" fmla="*/ 3054 w 10000"/>
                <a:gd name="connsiteY180" fmla="*/ 3146 h 10000"/>
                <a:gd name="connsiteX181" fmla="*/ 3070 w 10000"/>
                <a:gd name="connsiteY181" fmla="*/ 3326 h 10000"/>
                <a:gd name="connsiteX182" fmla="*/ 3124 w 10000"/>
                <a:gd name="connsiteY182" fmla="*/ 3191 h 10000"/>
                <a:gd name="connsiteX183" fmla="*/ 3093 w 10000"/>
                <a:gd name="connsiteY183" fmla="*/ 3011 h 10000"/>
                <a:gd name="connsiteX184" fmla="*/ 3016 w 10000"/>
                <a:gd name="connsiteY184" fmla="*/ 2944 h 10000"/>
                <a:gd name="connsiteX185" fmla="*/ 2853 w 10000"/>
                <a:gd name="connsiteY185" fmla="*/ 2921 h 10000"/>
                <a:gd name="connsiteX186" fmla="*/ 2853 w 10000"/>
                <a:gd name="connsiteY186" fmla="*/ 2697 h 10000"/>
                <a:gd name="connsiteX187" fmla="*/ 2884 w 10000"/>
                <a:gd name="connsiteY187" fmla="*/ 2472 h 10000"/>
                <a:gd name="connsiteX188" fmla="*/ 2845 w 10000"/>
                <a:gd name="connsiteY188" fmla="*/ 2292 h 10000"/>
                <a:gd name="connsiteX189" fmla="*/ 2822 w 10000"/>
                <a:gd name="connsiteY189" fmla="*/ 2157 h 10000"/>
                <a:gd name="connsiteX190" fmla="*/ 2868 w 10000"/>
                <a:gd name="connsiteY190" fmla="*/ 2022 h 10000"/>
                <a:gd name="connsiteX191" fmla="*/ 2922 w 10000"/>
                <a:gd name="connsiteY191" fmla="*/ 1955 h 10000"/>
                <a:gd name="connsiteX192" fmla="*/ 2930 w 10000"/>
                <a:gd name="connsiteY192" fmla="*/ 1775 h 10000"/>
                <a:gd name="connsiteX193" fmla="*/ 2961 w 10000"/>
                <a:gd name="connsiteY193" fmla="*/ 1775 h 10000"/>
                <a:gd name="connsiteX194" fmla="*/ 2969 w 10000"/>
                <a:gd name="connsiteY194" fmla="*/ 1978 h 10000"/>
                <a:gd name="connsiteX195" fmla="*/ 2946 w 10000"/>
                <a:gd name="connsiteY195" fmla="*/ 2135 h 10000"/>
                <a:gd name="connsiteX196" fmla="*/ 2961 w 10000"/>
                <a:gd name="connsiteY196" fmla="*/ 2247 h 10000"/>
                <a:gd name="connsiteX197" fmla="*/ 3023 w 10000"/>
                <a:gd name="connsiteY197" fmla="*/ 2292 h 10000"/>
                <a:gd name="connsiteX198" fmla="*/ 3116 w 10000"/>
                <a:gd name="connsiteY198" fmla="*/ 2360 h 10000"/>
                <a:gd name="connsiteX199" fmla="*/ 3163 w 10000"/>
                <a:gd name="connsiteY199" fmla="*/ 2360 h 10000"/>
                <a:gd name="connsiteX200" fmla="*/ 3109 w 10000"/>
                <a:gd name="connsiteY200" fmla="*/ 2247 h 10000"/>
                <a:gd name="connsiteX201" fmla="*/ 3031 w 10000"/>
                <a:gd name="connsiteY201" fmla="*/ 2180 h 10000"/>
                <a:gd name="connsiteX202" fmla="*/ 3000 w 10000"/>
                <a:gd name="connsiteY202" fmla="*/ 2045 h 10000"/>
                <a:gd name="connsiteX203" fmla="*/ 3047 w 10000"/>
                <a:gd name="connsiteY203" fmla="*/ 2000 h 10000"/>
                <a:gd name="connsiteX204" fmla="*/ 3124 w 10000"/>
                <a:gd name="connsiteY204" fmla="*/ 2045 h 10000"/>
                <a:gd name="connsiteX205" fmla="*/ 3070 w 10000"/>
                <a:gd name="connsiteY205" fmla="*/ 1865 h 10000"/>
                <a:gd name="connsiteX206" fmla="*/ 3093 w 10000"/>
                <a:gd name="connsiteY206" fmla="*/ 1820 h 10000"/>
                <a:gd name="connsiteX207" fmla="*/ 3225 w 10000"/>
                <a:gd name="connsiteY207" fmla="*/ 1933 h 10000"/>
                <a:gd name="connsiteX208" fmla="*/ 3302 w 10000"/>
                <a:gd name="connsiteY208" fmla="*/ 2112 h 10000"/>
                <a:gd name="connsiteX209" fmla="*/ 3411 w 10000"/>
                <a:gd name="connsiteY209" fmla="*/ 2112 h 10000"/>
                <a:gd name="connsiteX210" fmla="*/ 3357 w 10000"/>
                <a:gd name="connsiteY210" fmla="*/ 1955 h 10000"/>
                <a:gd name="connsiteX211" fmla="*/ 3287 w 10000"/>
                <a:gd name="connsiteY211" fmla="*/ 1798 h 10000"/>
                <a:gd name="connsiteX212" fmla="*/ 3264 w 10000"/>
                <a:gd name="connsiteY212" fmla="*/ 1551 h 10000"/>
                <a:gd name="connsiteX213" fmla="*/ 3310 w 10000"/>
                <a:gd name="connsiteY213" fmla="*/ 1461 h 10000"/>
                <a:gd name="connsiteX214" fmla="*/ 3488 w 10000"/>
                <a:gd name="connsiteY214" fmla="*/ 1438 h 10000"/>
                <a:gd name="connsiteX215" fmla="*/ 3667 w 10000"/>
                <a:gd name="connsiteY215" fmla="*/ 1348 h 10000"/>
                <a:gd name="connsiteX216" fmla="*/ 3620 w 10000"/>
                <a:gd name="connsiteY216" fmla="*/ 1101 h 10000"/>
                <a:gd name="connsiteX217" fmla="*/ 3767 w 10000"/>
                <a:gd name="connsiteY217" fmla="*/ 899 h 10000"/>
                <a:gd name="connsiteX218" fmla="*/ 4093 w 10000"/>
                <a:gd name="connsiteY218" fmla="*/ 584 h 10000"/>
                <a:gd name="connsiteX219" fmla="*/ 4233 w 10000"/>
                <a:gd name="connsiteY219" fmla="*/ 539 h 10000"/>
                <a:gd name="connsiteX220" fmla="*/ 4364 w 10000"/>
                <a:gd name="connsiteY220" fmla="*/ 584 h 10000"/>
                <a:gd name="connsiteX221" fmla="*/ 4558 w 10000"/>
                <a:gd name="connsiteY221" fmla="*/ 404 h 10000"/>
                <a:gd name="connsiteX222" fmla="*/ 4543 w 10000"/>
                <a:gd name="connsiteY222" fmla="*/ 225 h 10000"/>
                <a:gd name="connsiteX223" fmla="*/ 4636 w 10000"/>
                <a:gd name="connsiteY223" fmla="*/ 0 h 10000"/>
                <a:gd name="connsiteX224" fmla="*/ 4767 w 10000"/>
                <a:gd name="connsiteY224" fmla="*/ 22 h 10000"/>
                <a:gd name="connsiteX225" fmla="*/ 4837 w 10000"/>
                <a:gd name="connsiteY225" fmla="*/ 90 h 10000"/>
                <a:gd name="connsiteX226" fmla="*/ 4752 w 10000"/>
                <a:gd name="connsiteY226" fmla="*/ 225 h 10000"/>
                <a:gd name="connsiteX227" fmla="*/ 4915 w 10000"/>
                <a:gd name="connsiteY227" fmla="*/ 247 h 10000"/>
                <a:gd name="connsiteX228" fmla="*/ 4884 w 10000"/>
                <a:gd name="connsiteY228" fmla="*/ 404 h 10000"/>
                <a:gd name="connsiteX229" fmla="*/ 5178 w 10000"/>
                <a:gd name="connsiteY229" fmla="*/ 382 h 10000"/>
                <a:gd name="connsiteX230" fmla="*/ 5287 w 10000"/>
                <a:gd name="connsiteY230" fmla="*/ 584 h 10000"/>
                <a:gd name="connsiteX231" fmla="*/ 5302 w 10000"/>
                <a:gd name="connsiteY231" fmla="*/ 719 h 10000"/>
                <a:gd name="connsiteX232" fmla="*/ 5271 w 10000"/>
                <a:gd name="connsiteY232" fmla="*/ 944 h 10000"/>
                <a:gd name="connsiteX233" fmla="*/ 5140 w 10000"/>
                <a:gd name="connsiteY233" fmla="*/ 1146 h 10000"/>
                <a:gd name="connsiteX234" fmla="*/ 5000 w 10000"/>
                <a:gd name="connsiteY234" fmla="*/ 1371 h 10000"/>
                <a:gd name="connsiteX235" fmla="*/ 4806 w 10000"/>
                <a:gd name="connsiteY235" fmla="*/ 1685 h 10000"/>
                <a:gd name="connsiteX236" fmla="*/ 4822 w 10000"/>
                <a:gd name="connsiteY236" fmla="*/ 1730 h 10000"/>
                <a:gd name="connsiteX237" fmla="*/ 4907 w 10000"/>
                <a:gd name="connsiteY237" fmla="*/ 1640 h 10000"/>
                <a:gd name="connsiteX238" fmla="*/ 5070 w 10000"/>
                <a:gd name="connsiteY238" fmla="*/ 1506 h 10000"/>
                <a:gd name="connsiteX239" fmla="*/ 5062 w 10000"/>
                <a:gd name="connsiteY239" fmla="*/ 1416 h 10000"/>
                <a:gd name="connsiteX240" fmla="*/ 5101 w 10000"/>
                <a:gd name="connsiteY240" fmla="*/ 1303 h 10000"/>
                <a:gd name="connsiteX241" fmla="*/ 5163 w 10000"/>
                <a:gd name="connsiteY241" fmla="*/ 1258 h 10000"/>
                <a:gd name="connsiteX242" fmla="*/ 5178 w 10000"/>
                <a:gd name="connsiteY242" fmla="*/ 1371 h 10000"/>
                <a:gd name="connsiteX243" fmla="*/ 5225 w 10000"/>
                <a:gd name="connsiteY243" fmla="*/ 1416 h 10000"/>
                <a:gd name="connsiteX244" fmla="*/ 5295 w 10000"/>
                <a:gd name="connsiteY244" fmla="*/ 1551 h 10000"/>
                <a:gd name="connsiteX245" fmla="*/ 5333 w 10000"/>
                <a:gd name="connsiteY245" fmla="*/ 1483 h 10000"/>
                <a:gd name="connsiteX246" fmla="*/ 5620 w 10000"/>
                <a:gd name="connsiteY246" fmla="*/ 1506 h 10000"/>
                <a:gd name="connsiteX247" fmla="*/ 5620 w 10000"/>
                <a:gd name="connsiteY247" fmla="*/ 1618 h 10000"/>
                <a:gd name="connsiteX248" fmla="*/ 5899 w 10000"/>
                <a:gd name="connsiteY248" fmla="*/ 1708 h 10000"/>
                <a:gd name="connsiteX249" fmla="*/ 5930 w 10000"/>
                <a:gd name="connsiteY249" fmla="*/ 1416 h 10000"/>
                <a:gd name="connsiteX250" fmla="*/ 5984 w 10000"/>
                <a:gd name="connsiteY250" fmla="*/ 1438 h 10000"/>
                <a:gd name="connsiteX251" fmla="*/ 6062 w 10000"/>
                <a:gd name="connsiteY251" fmla="*/ 1551 h 10000"/>
                <a:gd name="connsiteX252" fmla="*/ 6186 w 10000"/>
                <a:gd name="connsiteY252" fmla="*/ 1528 h 10000"/>
                <a:gd name="connsiteX253" fmla="*/ 6256 w 10000"/>
                <a:gd name="connsiteY253" fmla="*/ 1753 h 10000"/>
                <a:gd name="connsiteX254" fmla="*/ 6271 w 10000"/>
                <a:gd name="connsiteY254" fmla="*/ 1955 h 10000"/>
                <a:gd name="connsiteX255" fmla="*/ 6225 w 10000"/>
                <a:gd name="connsiteY255" fmla="*/ 2045 h 10000"/>
                <a:gd name="connsiteX256" fmla="*/ 6310 w 10000"/>
                <a:gd name="connsiteY256" fmla="*/ 2337 h 10000"/>
                <a:gd name="connsiteX257" fmla="*/ 6395 w 10000"/>
                <a:gd name="connsiteY257" fmla="*/ 2404 h 10000"/>
                <a:gd name="connsiteX258" fmla="*/ 6473 w 10000"/>
                <a:gd name="connsiteY258" fmla="*/ 2067 h 10000"/>
                <a:gd name="connsiteX259" fmla="*/ 6574 w 10000"/>
                <a:gd name="connsiteY259" fmla="*/ 2225 h 10000"/>
                <a:gd name="connsiteX260" fmla="*/ 6667 w 10000"/>
                <a:gd name="connsiteY260" fmla="*/ 2135 h 10000"/>
                <a:gd name="connsiteX261" fmla="*/ 6767 w 10000"/>
                <a:gd name="connsiteY261" fmla="*/ 2247 h 10000"/>
                <a:gd name="connsiteX262" fmla="*/ 6853 w 10000"/>
                <a:gd name="connsiteY262" fmla="*/ 2157 h 10000"/>
                <a:gd name="connsiteX263" fmla="*/ 6915 w 10000"/>
                <a:gd name="connsiteY263" fmla="*/ 2067 h 10000"/>
                <a:gd name="connsiteX264" fmla="*/ 6907 w 10000"/>
                <a:gd name="connsiteY264" fmla="*/ 1865 h 10000"/>
                <a:gd name="connsiteX265" fmla="*/ 6992 w 10000"/>
                <a:gd name="connsiteY265" fmla="*/ 1775 h 10000"/>
                <a:gd name="connsiteX266" fmla="*/ 7256 w 10000"/>
                <a:gd name="connsiteY266" fmla="*/ 1820 h 10000"/>
                <a:gd name="connsiteX267" fmla="*/ 7302 w 10000"/>
                <a:gd name="connsiteY267" fmla="*/ 1933 h 10000"/>
                <a:gd name="connsiteX268" fmla="*/ 7326 w 10000"/>
                <a:gd name="connsiteY268" fmla="*/ 1978 h 10000"/>
                <a:gd name="connsiteX269" fmla="*/ 7465 w 10000"/>
                <a:gd name="connsiteY269" fmla="*/ 1933 h 10000"/>
                <a:gd name="connsiteX270" fmla="*/ 7527 w 10000"/>
                <a:gd name="connsiteY270" fmla="*/ 2022 h 10000"/>
                <a:gd name="connsiteX271" fmla="*/ 7496 w 10000"/>
                <a:gd name="connsiteY271" fmla="*/ 2135 h 10000"/>
                <a:gd name="connsiteX272" fmla="*/ 7550 w 10000"/>
                <a:gd name="connsiteY272" fmla="*/ 2202 h 10000"/>
                <a:gd name="connsiteX273" fmla="*/ 7667 w 10000"/>
                <a:gd name="connsiteY273" fmla="*/ 2337 h 10000"/>
                <a:gd name="connsiteX274" fmla="*/ 7868 w 10000"/>
                <a:gd name="connsiteY274" fmla="*/ 2360 h 10000"/>
                <a:gd name="connsiteX275" fmla="*/ 8078 w 10000"/>
                <a:gd name="connsiteY275" fmla="*/ 2382 h 10000"/>
                <a:gd name="connsiteX276" fmla="*/ 8163 w 10000"/>
                <a:gd name="connsiteY276" fmla="*/ 2517 h 10000"/>
                <a:gd name="connsiteX277" fmla="*/ 8155 w 10000"/>
                <a:gd name="connsiteY277" fmla="*/ 2674 h 10000"/>
                <a:gd name="connsiteX278" fmla="*/ 8171 w 10000"/>
                <a:gd name="connsiteY278" fmla="*/ 2764 h 10000"/>
                <a:gd name="connsiteX279" fmla="*/ 8240 w 10000"/>
                <a:gd name="connsiteY279" fmla="*/ 2831 h 10000"/>
                <a:gd name="connsiteX280" fmla="*/ 8295 w 10000"/>
                <a:gd name="connsiteY280" fmla="*/ 2764 h 10000"/>
                <a:gd name="connsiteX281" fmla="*/ 8550 w 10000"/>
                <a:gd name="connsiteY281" fmla="*/ 2809 h 10000"/>
                <a:gd name="connsiteX282" fmla="*/ 8581 w 10000"/>
                <a:gd name="connsiteY282" fmla="*/ 2809 h 10000"/>
                <a:gd name="connsiteX283" fmla="*/ 8643 w 10000"/>
                <a:gd name="connsiteY283" fmla="*/ 2719 h 10000"/>
                <a:gd name="connsiteX284" fmla="*/ 8667 w 10000"/>
                <a:gd name="connsiteY284" fmla="*/ 2742 h 10000"/>
                <a:gd name="connsiteX285" fmla="*/ 8667 w 10000"/>
                <a:gd name="connsiteY285" fmla="*/ 2876 h 10000"/>
                <a:gd name="connsiteX286" fmla="*/ 8736 w 10000"/>
                <a:gd name="connsiteY286" fmla="*/ 3034 h 10000"/>
                <a:gd name="connsiteX287" fmla="*/ 8814 w 10000"/>
                <a:gd name="connsiteY287" fmla="*/ 3056 h 10000"/>
                <a:gd name="connsiteX288" fmla="*/ 8837 w 10000"/>
                <a:gd name="connsiteY288" fmla="*/ 2966 h 10000"/>
                <a:gd name="connsiteX289" fmla="*/ 8814 w 10000"/>
                <a:gd name="connsiteY289" fmla="*/ 2831 h 10000"/>
                <a:gd name="connsiteX290" fmla="*/ 8806 w 10000"/>
                <a:gd name="connsiteY290" fmla="*/ 2629 h 10000"/>
                <a:gd name="connsiteX291" fmla="*/ 8853 w 10000"/>
                <a:gd name="connsiteY291" fmla="*/ 2607 h 10000"/>
                <a:gd name="connsiteX292" fmla="*/ 8922 w 10000"/>
                <a:gd name="connsiteY292" fmla="*/ 2697 h 10000"/>
                <a:gd name="connsiteX293" fmla="*/ 9047 w 10000"/>
                <a:gd name="connsiteY293" fmla="*/ 2697 h 10000"/>
                <a:gd name="connsiteX294" fmla="*/ 9194 w 10000"/>
                <a:gd name="connsiteY294" fmla="*/ 2764 h 10000"/>
                <a:gd name="connsiteX295" fmla="*/ 9364 w 10000"/>
                <a:gd name="connsiteY295" fmla="*/ 2944 h 10000"/>
                <a:gd name="connsiteX296" fmla="*/ 9465 w 10000"/>
                <a:gd name="connsiteY296" fmla="*/ 3101 h 10000"/>
                <a:gd name="connsiteX297" fmla="*/ 9643 w 10000"/>
                <a:gd name="connsiteY297" fmla="*/ 3326 h 10000"/>
                <a:gd name="connsiteX298" fmla="*/ 9674 w 10000"/>
                <a:gd name="connsiteY298" fmla="*/ 3461 h 10000"/>
                <a:gd name="connsiteX299" fmla="*/ 9698 w 10000"/>
                <a:gd name="connsiteY299" fmla="*/ 3596 h 10000"/>
                <a:gd name="connsiteX300" fmla="*/ 9736 w 10000"/>
                <a:gd name="connsiteY300" fmla="*/ 3775 h 10000"/>
                <a:gd name="connsiteX301" fmla="*/ 9767 w 10000"/>
                <a:gd name="connsiteY301" fmla="*/ 3730 h 10000"/>
                <a:gd name="connsiteX302" fmla="*/ 9744 w 10000"/>
                <a:gd name="connsiteY302" fmla="*/ 3528 h 10000"/>
                <a:gd name="connsiteX303" fmla="*/ 9806 w 10000"/>
                <a:gd name="connsiteY303" fmla="*/ 3551 h 10000"/>
                <a:gd name="connsiteX304" fmla="*/ 9884 w 10000"/>
                <a:gd name="connsiteY304" fmla="*/ 3596 h 10000"/>
                <a:gd name="connsiteX305" fmla="*/ 9953 w 10000"/>
                <a:gd name="connsiteY305" fmla="*/ 3730 h 10000"/>
                <a:gd name="connsiteX306" fmla="*/ 10000 w 10000"/>
                <a:gd name="connsiteY306" fmla="*/ 3865 h 10000"/>
                <a:gd name="connsiteX307" fmla="*/ 9953 w 10000"/>
                <a:gd name="connsiteY307" fmla="*/ 4000 h 10000"/>
                <a:gd name="connsiteX308" fmla="*/ 9853 w 10000"/>
                <a:gd name="connsiteY308" fmla="*/ 4067 h 10000"/>
                <a:gd name="connsiteX309" fmla="*/ 9837 w 10000"/>
                <a:gd name="connsiteY309" fmla="*/ 4225 h 10000"/>
                <a:gd name="connsiteX310" fmla="*/ 9806 w 10000"/>
                <a:gd name="connsiteY310" fmla="*/ 4427 h 10000"/>
                <a:gd name="connsiteX311" fmla="*/ 9698 w 10000"/>
                <a:gd name="connsiteY311" fmla="*/ 4270 h 10000"/>
                <a:gd name="connsiteX312" fmla="*/ 9636 w 10000"/>
                <a:gd name="connsiteY312" fmla="*/ 4202 h 10000"/>
                <a:gd name="connsiteX313" fmla="*/ 9643 w 10000"/>
                <a:gd name="connsiteY313" fmla="*/ 4022 h 10000"/>
                <a:gd name="connsiteX314" fmla="*/ 9481 w 10000"/>
                <a:gd name="connsiteY314" fmla="*/ 4045 h 10000"/>
                <a:gd name="connsiteX315" fmla="*/ 9457 w 10000"/>
                <a:gd name="connsiteY315" fmla="*/ 3820 h 10000"/>
                <a:gd name="connsiteX316" fmla="*/ 9403 w 10000"/>
                <a:gd name="connsiteY316" fmla="*/ 3843 h 10000"/>
                <a:gd name="connsiteX317" fmla="*/ 9395 w 10000"/>
                <a:gd name="connsiteY317" fmla="*/ 4000 h 10000"/>
                <a:gd name="connsiteX318" fmla="*/ 9419 w 10000"/>
                <a:gd name="connsiteY318" fmla="*/ 4067 h 10000"/>
                <a:gd name="connsiteX319" fmla="*/ 9349 w 10000"/>
                <a:gd name="connsiteY319" fmla="*/ 4247 h 10000"/>
                <a:gd name="connsiteX320" fmla="*/ 9271 w 10000"/>
                <a:gd name="connsiteY320" fmla="*/ 4270 h 10000"/>
                <a:gd name="connsiteX321" fmla="*/ 9217 w 10000"/>
                <a:gd name="connsiteY321" fmla="*/ 4247 h 10000"/>
                <a:gd name="connsiteX322" fmla="*/ 9186 w 10000"/>
                <a:gd name="connsiteY322" fmla="*/ 4180 h 10000"/>
                <a:gd name="connsiteX323" fmla="*/ 9178 w 10000"/>
                <a:gd name="connsiteY323" fmla="*/ 4270 h 10000"/>
                <a:gd name="connsiteX324" fmla="*/ 9233 w 10000"/>
                <a:gd name="connsiteY324" fmla="*/ 4337 h 10000"/>
                <a:gd name="connsiteX325" fmla="*/ 9287 w 10000"/>
                <a:gd name="connsiteY325" fmla="*/ 4427 h 10000"/>
                <a:gd name="connsiteX326" fmla="*/ 9310 w 10000"/>
                <a:gd name="connsiteY326" fmla="*/ 4629 h 10000"/>
                <a:gd name="connsiteX327" fmla="*/ 9357 w 10000"/>
                <a:gd name="connsiteY327" fmla="*/ 4831 h 10000"/>
                <a:gd name="connsiteX328" fmla="*/ 9302 w 10000"/>
                <a:gd name="connsiteY328" fmla="*/ 4921 h 10000"/>
                <a:gd name="connsiteX329" fmla="*/ 9202 w 10000"/>
                <a:gd name="connsiteY329" fmla="*/ 4809 h 10000"/>
                <a:gd name="connsiteX330" fmla="*/ 9155 w 10000"/>
                <a:gd name="connsiteY330" fmla="*/ 4921 h 10000"/>
                <a:gd name="connsiteX331" fmla="*/ 9016 w 10000"/>
                <a:gd name="connsiteY331" fmla="*/ 5101 h 10000"/>
                <a:gd name="connsiteX332" fmla="*/ 8938 w 10000"/>
                <a:gd name="connsiteY332" fmla="*/ 5213 h 10000"/>
                <a:gd name="connsiteX333" fmla="*/ 8783 w 10000"/>
                <a:gd name="connsiteY333" fmla="*/ 5573 h 10000"/>
                <a:gd name="connsiteX334" fmla="*/ 8729 w 10000"/>
                <a:gd name="connsiteY334" fmla="*/ 5438 h 10000"/>
                <a:gd name="connsiteX335" fmla="*/ 8612 w 10000"/>
                <a:gd name="connsiteY335" fmla="*/ 5438 h 10000"/>
                <a:gd name="connsiteX336" fmla="*/ 8550 w 10000"/>
                <a:gd name="connsiteY336" fmla="*/ 5618 h 10000"/>
                <a:gd name="connsiteX337" fmla="*/ 8535 w 10000"/>
                <a:gd name="connsiteY337" fmla="*/ 5438 h 10000"/>
                <a:gd name="connsiteX338" fmla="*/ 8496 w 10000"/>
                <a:gd name="connsiteY338" fmla="*/ 5438 h 10000"/>
                <a:gd name="connsiteX339" fmla="*/ 8481 w 10000"/>
                <a:gd name="connsiteY339" fmla="*/ 5573 h 10000"/>
                <a:gd name="connsiteX340" fmla="*/ 8372 w 10000"/>
                <a:gd name="connsiteY340" fmla="*/ 5573 h 10000"/>
                <a:gd name="connsiteX341" fmla="*/ 8279 w 10000"/>
                <a:gd name="connsiteY341" fmla="*/ 6000 h 10000"/>
                <a:gd name="connsiteX342" fmla="*/ 8279 w 10000"/>
                <a:gd name="connsiteY342" fmla="*/ 6135 h 10000"/>
                <a:gd name="connsiteX343" fmla="*/ 8341 w 10000"/>
                <a:gd name="connsiteY343" fmla="*/ 6135 h 10000"/>
                <a:gd name="connsiteX344" fmla="*/ 8326 w 10000"/>
                <a:gd name="connsiteY344" fmla="*/ 6337 h 10000"/>
                <a:gd name="connsiteX345" fmla="*/ 8349 w 10000"/>
                <a:gd name="connsiteY345" fmla="*/ 6517 h 10000"/>
                <a:gd name="connsiteX346" fmla="*/ 8279 w 10000"/>
                <a:gd name="connsiteY346" fmla="*/ 6584 h 10000"/>
                <a:gd name="connsiteX347" fmla="*/ 8256 w 10000"/>
                <a:gd name="connsiteY347" fmla="*/ 6742 h 10000"/>
                <a:gd name="connsiteX348" fmla="*/ 8279 w 10000"/>
                <a:gd name="connsiteY348" fmla="*/ 6944 h 10000"/>
                <a:gd name="connsiteX349" fmla="*/ 8186 w 10000"/>
                <a:gd name="connsiteY349" fmla="*/ 7034 h 10000"/>
                <a:gd name="connsiteX350" fmla="*/ 8155 w 10000"/>
                <a:gd name="connsiteY350" fmla="*/ 7124 h 10000"/>
                <a:gd name="connsiteX351" fmla="*/ 8155 w 10000"/>
                <a:gd name="connsiteY351" fmla="*/ 7191 h 10000"/>
                <a:gd name="connsiteX352" fmla="*/ 8163 w 10000"/>
                <a:gd name="connsiteY352" fmla="*/ 7236 h 10000"/>
                <a:gd name="connsiteX353" fmla="*/ 8155 w 10000"/>
                <a:gd name="connsiteY353" fmla="*/ 7281 h 10000"/>
                <a:gd name="connsiteX354" fmla="*/ 8062 w 10000"/>
                <a:gd name="connsiteY354" fmla="*/ 7371 h 10000"/>
                <a:gd name="connsiteX355" fmla="*/ 8062 w 10000"/>
                <a:gd name="connsiteY355" fmla="*/ 7528 h 10000"/>
                <a:gd name="connsiteX356" fmla="*/ 7946 w 10000"/>
                <a:gd name="connsiteY356" fmla="*/ 7865 h 10000"/>
                <a:gd name="connsiteX357" fmla="*/ 7930 w 10000"/>
                <a:gd name="connsiteY357" fmla="*/ 7506 h 10000"/>
                <a:gd name="connsiteX358" fmla="*/ 7884 w 10000"/>
                <a:gd name="connsiteY358" fmla="*/ 6944 h 10000"/>
                <a:gd name="connsiteX359" fmla="*/ 7884 w 10000"/>
                <a:gd name="connsiteY359" fmla="*/ 6539 h 10000"/>
                <a:gd name="connsiteX360" fmla="*/ 7930 w 10000"/>
                <a:gd name="connsiteY360" fmla="*/ 6382 h 10000"/>
                <a:gd name="connsiteX361" fmla="*/ 7977 w 10000"/>
                <a:gd name="connsiteY361" fmla="*/ 6135 h 10000"/>
                <a:gd name="connsiteX362" fmla="*/ 8039 w 10000"/>
                <a:gd name="connsiteY362" fmla="*/ 6090 h 10000"/>
                <a:gd name="connsiteX363" fmla="*/ 8202 w 10000"/>
                <a:gd name="connsiteY363" fmla="*/ 5640 h 10000"/>
                <a:gd name="connsiteX364" fmla="*/ 8326 w 10000"/>
                <a:gd name="connsiteY364" fmla="*/ 5393 h 10000"/>
                <a:gd name="connsiteX365" fmla="*/ 8364 w 10000"/>
                <a:gd name="connsiteY365" fmla="*/ 5348 h 10000"/>
                <a:gd name="connsiteX366" fmla="*/ 8426 w 10000"/>
                <a:gd name="connsiteY366" fmla="*/ 4944 h 10000"/>
                <a:gd name="connsiteX367" fmla="*/ 8457 w 10000"/>
                <a:gd name="connsiteY367" fmla="*/ 4899 h 10000"/>
                <a:gd name="connsiteX368" fmla="*/ 8395 w 10000"/>
                <a:gd name="connsiteY368" fmla="*/ 4831 h 10000"/>
                <a:gd name="connsiteX369" fmla="*/ 8372 w 10000"/>
                <a:gd name="connsiteY369" fmla="*/ 4854 h 10000"/>
                <a:gd name="connsiteX370" fmla="*/ 8349 w 10000"/>
                <a:gd name="connsiteY370" fmla="*/ 4921 h 10000"/>
                <a:gd name="connsiteX371" fmla="*/ 8349 w 10000"/>
                <a:gd name="connsiteY371" fmla="*/ 5124 h 10000"/>
                <a:gd name="connsiteX372" fmla="*/ 8295 w 10000"/>
                <a:gd name="connsiteY372" fmla="*/ 5124 h 10000"/>
                <a:gd name="connsiteX373" fmla="*/ 8171 w 10000"/>
                <a:gd name="connsiteY373" fmla="*/ 5348 h 10000"/>
                <a:gd name="connsiteX374" fmla="*/ 8140 w 10000"/>
                <a:gd name="connsiteY374" fmla="*/ 5258 h 10000"/>
                <a:gd name="connsiteX375" fmla="*/ 8171 w 10000"/>
                <a:gd name="connsiteY375" fmla="*/ 5079 h 10000"/>
                <a:gd name="connsiteX376" fmla="*/ 8132 w 10000"/>
                <a:gd name="connsiteY376" fmla="*/ 5124 h 10000"/>
                <a:gd name="connsiteX377" fmla="*/ 7977 w 10000"/>
                <a:gd name="connsiteY377" fmla="*/ 5124 h 10000"/>
                <a:gd name="connsiteX378" fmla="*/ 7829 w 10000"/>
                <a:gd name="connsiteY378" fmla="*/ 5461 h 10000"/>
                <a:gd name="connsiteX379" fmla="*/ 7798 w 10000"/>
                <a:gd name="connsiteY379" fmla="*/ 5640 h 10000"/>
                <a:gd name="connsiteX380" fmla="*/ 7814 w 10000"/>
                <a:gd name="connsiteY380" fmla="*/ 5685 h 10000"/>
                <a:gd name="connsiteX381" fmla="*/ 7853 w 10000"/>
                <a:gd name="connsiteY381" fmla="*/ 5798 h 10000"/>
                <a:gd name="connsiteX382" fmla="*/ 7791 w 10000"/>
                <a:gd name="connsiteY382" fmla="*/ 5798 h 10000"/>
                <a:gd name="connsiteX383" fmla="*/ 7729 w 10000"/>
                <a:gd name="connsiteY383" fmla="*/ 5820 h 10000"/>
                <a:gd name="connsiteX384" fmla="*/ 7612 w 10000"/>
                <a:gd name="connsiteY384" fmla="*/ 5843 h 10000"/>
                <a:gd name="connsiteX385" fmla="*/ 7643 w 10000"/>
                <a:gd name="connsiteY385" fmla="*/ 5753 h 10000"/>
                <a:gd name="connsiteX386" fmla="*/ 7620 w 10000"/>
                <a:gd name="connsiteY386" fmla="*/ 5663 h 10000"/>
                <a:gd name="connsiteX387" fmla="*/ 7535 w 10000"/>
                <a:gd name="connsiteY387" fmla="*/ 5640 h 10000"/>
                <a:gd name="connsiteX388" fmla="*/ 7481 w 10000"/>
                <a:gd name="connsiteY388" fmla="*/ 5663 h 10000"/>
                <a:gd name="connsiteX389" fmla="*/ 7457 w 10000"/>
                <a:gd name="connsiteY389" fmla="*/ 5753 h 10000"/>
                <a:gd name="connsiteX390" fmla="*/ 7341 w 10000"/>
                <a:gd name="connsiteY390" fmla="*/ 5730 h 10000"/>
                <a:gd name="connsiteX391" fmla="*/ 7287 w 10000"/>
                <a:gd name="connsiteY391" fmla="*/ 5753 h 10000"/>
                <a:gd name="connsiteX392" fmla="*/ 7085 w 10000"/>
                <a:gd name="connsiteY392" fmla="*/ 5753 h 10000"/>
                <a:gd name="connsiteX393" fmla="*/ 6636 w 10000"/>
                <a:gd name="connsiteY393" fmla="*/ 6876 h 10000"/>
                <a:gd name="connsiteX394" fmla="*/ 6643 w 10000"/>
                <a:gd name="connsiteY394" fmla="*/ 6989 h 10000"/>
                <a:gd name="connsiteX395" fmla="*/ 6721 w 10000"/>
                <a:gd name="connsiteY395" fmla="*/ 6966 h 10000"/>
                <a:gd name="connsiteX396" fmla="*/ 6729 w 10000"/>
                <a:gd name="connsiteY396" fmla="*/ 7146 h 10000"/>
                <a:gd name="connsiteX397" fmla="*/ 6767 w 10000"/>
                <a:gd name="connsiteY397" fmla="*/ 7011 h 10000"/>
                <a:gd name="connsiteX398" fmla="*/ 6806 w 10000"/>
                <a:gd name="connsiteY398" fmla="*/ 7191 h 10000"/>
                <a:gd name="connsiteX399" fmla="*/ 6860 w 10000"/>
                <a:gd name="connsiteY399" fmla="*/ 7056 h 10000"/>
                <a:gd name="connsiteX400" fmla="*/ 6946 w 10000"/>
                <a:gd name="connsiteY400" fmla="*/ 7101 h 10000"/>
                <a:gd name="connsiteX401" fmla="*/ 7008 w 10000"/>
                <a:gd name="connsiteY401" fmla="*/ 7326 h 10000"/>
                <a:gd name="connsiteX402" fmla="*/ 6992 w 10000"/>
                <a:gd name="connsiteY402" fmla="*/ 7573 h 10000"/>
                <a:gd name="connsiteX403" fmla="*/ 6961 w 10000"/>
                <a:gd name="connsiteY403" fmla="*/ 7820 h 10000"/>
                <a:gd name="connsiteX404" fmla="*/ 6953 w 10000"/>
                <a:gd name="connsiteY404" fmla="*/ 8180 h 10000"/>
                <a:gd name="connsiteX405" fmla="*/ 6930 w 10000"/>
                <a:gd name="connsiteY405" fmla="*/ 8382 h 10000"/>
                <a:gd name="connsiteX406" fmla="*/ 6698 w 10000"/>
                <a:gd name="connsiteY406" fmla="*/ 9213 h 10000"/>
                <a:gd name="connsiteX407" fmla="*/ 6628 w 10000"/>
                <a:gd name="connsiteY407" fmla="*/ 9461 h 10000"/>
                <a:gd name="connsiteX408" fmla="*/ 6574 w 10000"/>
                <a:gd name="connsiteY408" fmla="*/ 9573 h 10000"/>
                <a:gd name="connsiteX409" fmla="*/ 6504 w 10000"/>
                <a:gd name="connsiteY409" fmla="*/ 9663 h 10000"/>
                <a:gd name="connsiteX410" fmla="*/ 6450 w 10000"/>
                <a:gd name="connsiteY410" fmla="*/ 9573 h 10000"/>
                <a:gd name="connsiteX411" fmla="*/ 6380 w 10000"/>
                <a:gd name="connsiteY411" fmla="*/ 9618 h 10000"/>
                <a:gd name="connsiteX412" fmla="*/ 6380 w 10000"/>
                <a:gd name="connsiteY412" fmla="*/ 9213 h 10000"/>
                <a:gd name="connsiteX413" fmla="*/ 6434 w 10000"/>
                <a:gd name="connsiteY413" fmla="*/ 9101 h 10000"/>
                <a:gd name="connsiteX414" fmla="*/ 6457 w 10000"/>
                <a:gd name="connsiteY414" fmla="*/ 9169 h 10000"/>
                <a:gd name="connsiteX415" fmla="*/ 6504 w 10000"/>
                <a:gd name="connsiteY415" fmla="*/ 9146 h 10000"/>
                <a:gd name="connsiteX416" fmla="*/ 6550 w 10000"/>
                <a:gd name="connsiteY416" fmla="*/ 8899 h 10000"/>
                <a:gd name="connsiteX417" fmla="*/ 6574 w 10000"/>
                <a:gd name="connsiteY417" fmla="*/ 8652 h 10000"/>
                <a:gd name="connsiteX418" fmla="*/ 6605 w 10000"/>
                <a:gd name="connsiteY418" fmla="*/ 8607 h 10000"/>
                <a:gd name="connsiteX419" fmla="*/ 6597 w 10000"/>
                <a:gd name="connsiteY419" fmla="*/ 8449 h 10000"/>
                <a:gd name="connsiteX420" fmla="*/ 6535 w 10000"/>
                <a:gd name="connsiteY420" fmla="*/ 8472 h 10000"/>
                <a:gd name="connsiteX421" fmla="*/ 6481 w 10000"/>
                <a:gd name="connsiteY421" fmla="*/ 8494 h 10000"/>
                <a:gd name="connsiteX422" fmla="*/ 6457 w 10000"/>
                <a:gd name="connsiteY422" fmla="*/ 8584 h 10000"/>
                <a:gd name="connsiteX423" fmla="*/ 6372 w 10000"/>
                <a:gd name="connsiteY423" fmla="*/ 8562 h 10000"/>
                <a:gd name="connsiteX424" fmla="*/ 6357 w 10000"/>
                <a:gd name="connsiteY424" fmla="*/ 8337 h 10000"/>
                <a:gd name="connsiteX425" fmla="*/ 6240 w 10000"/>
                <a:gd name="connsiteY425" fmla="*/ 8157 h 10000"/>
                <a:gd name="connsiteX426" fmla="*/ 6178 w 10000"/>
                <a:gd name="connsiteY426" fmla="*/ 8157 h 10000"/>
                <a:gd name="connsiteX427" fmla="*/ 6093 w 10000"/>
                <a:gd name="connsiteY427" fmla="*/ 7573 h 10000"/>
                <a:gd name="connsiteX428" fmla="*/ 6047 w 10000"/>
                <a:gd name="connsiteY428" fmla="*/ 7348 h 10000"/>
                <a:gd name="connsiteX429" fmla="*/ 5930 w 10000"/>
                <a:gd name="connsiteY429" fmla="*/ 7213 h 10000"/>
                <a:gd name="connsiteX430" fmla="*/ 5760 w 10000"/>
                <a:gd name="connsiteY430" fmla="*/ 7258 h 10000"/>
                <a:gd name="connsiteX431" fmla="*/ 5705 w 10000"/>
                <a:gd name="connsiteY431" fmla="*/ 7326 h 10000"/>
                <a:gd name="connsiteX432" fmla="*/ 5698 w 10000"/>
                <a:gd name="connsiteY432" fmla="*/ 7416 h 10000"/>
                <a:gd name="connsiteX433" fmla="*/ 5744 w 10000"/>
                <a:gd name="connsiteY433" fmla="*/ 7438 h 10000"/>
                <a:gd name="connsiteX434" fmla="*/ 5744 w 10000"/>
                <a:gd name="connsiteY434" fmla="*/ 7596 h 10000"/>
                <a:gd name="connsiteX435" fmla="*/ 5705 w 10000"/>
                <a:gd name="connsiteY435" fmla="*/ 7663 h 10000"/>
                <a:gd name="connsiteX436" fmla="*/ 5667 w 10000"/>
                <a:gd name="connsiteY436" fmla="*/ 7865 h 10000"/>
                <a:gd name="connsiteX437" fmla="*/ 5651 w 10000"/>
                <a:gd name="connsiteY437" fmla="*/ 8045 h 10000"/>
                <a:gd name="connsiteX438" fmla="*/ 5605 w 10000"/>
                <a:gd name="connsiteY438" fmla="*/ 8067 h 10000"/>
                <a:gd name="connsiteX439" fmla="*/ 5566 w 10000"/>
                <a:gd name="connsiteY439" fmla="*/ 8180 h 10000"/>
                <a:gd name="connsiteX440" fmla="*/ 5496 w 10000"/>
                <a:gd name="connsiteY440" fmla="*/ 8067 h 10000"/>
                <a:gd name="connsiteX441" fmla="*/ 5403 w 10000"/>
                <a:gd name="connsiteY441" fmla="*/ 8045 h 10000"/>
                <a:gd name="connsiteX442" fmla="*/ 5372 w 10000"/>
                <a:gd name="connsiteY442" fmla="*/ 7978 h 10000"/>
                <a:gd name="connsiteX443" fmla="*/ 5333 w 10000"/>
                <a:gd name="connsiteY443" fmla="*/ 8000 h 10000"/>
                <a:gd name="connsiteX444" fmla="*/ 5264 w 10000"/>
                <a:gd name="connsiteY444" fmla="*/ 8157 h 10000"/>
                <a:gd name="connsiteX445" fmla="*/ 5147 w 10000"/>
                <a:gd name="connsiteY445" fmla="*/ 8225 h 10000"/>
                <a:gd name="connsiteX446" fmla="*/ 5078 w 10000"/>
                <a:gd name="connsiteY446" fmla="*/ 8247 h 10000"/>
                <a:gd name="connsiteX447" fmla="*/ 4992 w 10000"/>
                <a:gd name="connsiteY447" fmla="*/ 8225 h 10000"/>
                <a:gd name="connsiteX448" fmla="*/ 4969 w 10000"/>
                <a:gd name="connsiteY448" fmla="*/ 8157 h 10000"/>
                <a:gd name="connsiteX449" fmla="*/ 4946 w 10000"/>
                <a:gd name="connsiteY449" fmla="*/ 8067 h 10000"/>
                <a:gd name="connsiteX450" fmla="*/ 4907 w 10000"/>
                <a:gd name="connsiteY450" fmla="*/ 8045 h 10000"/>
                <a:gd name="connsiteX451" fmla="*/ 4884 w 10000"/>
                <a:gd name="connsiteY451" fmla="*/ 7978 h 10000"/>
                <a:gd name="connsiteX452" fmla="*/ 4791 w 10000"/>
                <a:gd name="connsiteY452" fmla="*/ 7933 h 10000"/>
                <a:gd name="connsiteX453" fmla="*/ 4736 w 10000"/>
                <a:gd name="connsiteY453" fmla="*/ 8022 h 10000"/>
                <a:gd name="connsiteX454" fmla="*/ 4636 w 10000"/>
                <a:gd name="connsiteY454" fmla="*/ 7978 h 10000"/>
                <a:gd name="connsiteX455" fmla="*/ 4597 w 10000"/>
                <a:gd name="connsiteY455" fmla="*/ 7843 h 10000"/>
                <a:gd name="connsiteX456" fmla="*/ 4589 w 10000"/>
                <a:gd name="connsiteY456" fmla="*/ 7730 h 10000"/>
                <a:gd name="connsiteX457" fmla="*/ 4496 w 10000"/>
                <a:gd name="connsiteY457" fmla="*/ 7640 h 10000"/>
                <a:gd name="connsiteX458" fmla="*/ 4388 w 10000"/>
                <a:gd name="connsiteY458" fmla="*/ 7573 h 10000"/>
                <a:gd name="connsiteX459" fmla="*/ 4318 w 10000"/>
                <a:gd name="connsiteY459" fmla="*/ 7775 h 10000"/>
                <a:gd name="connsiteX460" fmla="*/ 4364 w 10000"/>
                <a:gd name="connsiteY460" fmla="*/ 7933 h 10000"/>
                <a:gd name="connsiteX461" fmla="*/ 4357 w 10000"/>
                <a:gd name="connsiteY461" fmla="*/ 8022 h 10000"/>
                <a:gd name="connsiteX462" fmla="*/ 4310 w 10000"/>
                <a:gd name="connsiteY462" fmla="*/ 8135 h 10000"/>
                <a:gd name="connsiteX463" fmla="*/ 4279 w 10000"/>
                <a:gd name="connsiteY463" fmla="*/ 8067 h 10000"/>
                <a:gd name="connsiteX464" fmla="*/ 4155 w 10000"/>
                <a:gd name="connsiteY464" fmla="*/ 8067 h 10000"/>
                <a:gd name="connsiteX465" fmla="*/ 4116 w 10000"/>
                <a:gd name="connsiteY465" fmla="*/ 7933 h 10000"/>
                <a:gd name="connsiteX466" fmla="*/ 4039 w 10000"/>
                <a:gd name="connsiteY466" fmla="*/ 7888 h 10000"/>
                <a:gd name="connsiteX467" fmla="*/ 3969 w 10000"/>
                <a:gd name="connsiteY467" fmla="*/ 7865 h 10000"/>
                <a:gd name="connsiteX468" fmla="*/ 3837 w 10000"/>
                <a:gd name="connsiteY468" fmla="*/ 8067 h 10000"/>
                <a:gd name="connsiteX469" fmla="*/ 3806 w 10000"/>
                <a:gd name="connsiteY469" fmla="*/ 8157 h 10000"/>
                <a:gd name="connsiteX470" fmla="*/ 3752 w 10000"/>
                <a:gd name="connsiteY470" fmla="*/ 8180 h 10000"/>
                <a:gd name="connsiteX471" fmla="*/ 3721 w 10000"/>
                <a:gd name="connsiteY471" fmla="*/ 8270 h 10000"/>
                <a:gd name="connsiteX472" fmla="*/ 3659 w 10000"/>
                <a:gd name="connsiteY472" fmla="*/ 8270 h 10000"/>
                <a:gd name="connsiteX473" fmla="*/ 3643 w 10000"/>
                <a:gd name="connsiteY473" fmla="*/ 8112 h 10000"/>
                <a:gd name="connsiteX474" fmla="*/ 3558 w 10000"/>
                <a:gd name="connsiteY474" fmla="*/ 8090 h 10000"/>
                <a:gd name="connsiteX475" fmla="*/ 3504 w 10000"/>
                <a:gd name="connsiteY475" fmla="*/ 7978 h 10000"/>
                <a:gd name="connsiteX476" fmla="*/ 3465 w 10000"/>
                <a:gd name="connsiteY476" fmla="*/ 7820 h 10000"/>
                <a:gd name="connsiteX477" fmla="*/ 3357 w 10000"/>
                <a:gd name="connsiteY477" fmla="*/ 7865 h 10000"/>
                <a:gd name="connsiteX478" fmla="*/ 3271 w 10000"/>
                <a:gd name="connsiteY478" fmla="*/ 7730 h 10000"/>
                <a:gd name="connsiteX479" fmla="*/ 3256 w 10000"/>
                <a:gd name="connsiteY479" fmla="*/ 7820 h 10000"/>
                <a:gd name="connsiteX480" fmla="*/ 3225 w 10000"/>
                <a:gd name="connsiteY480" fmla="*/ 7820 h 10000"/>
                <a:gd name="connsiteX481" fmla="*/ 3171 w 10000"/>
                <a:gd name="connsiteY481" fmla="*/ 7551 h 10000"/>
                <a:gd name="connsiteX482" fmla="*/ 3109 w 10000"/>
                <a:gd name="connsiteY482" fmla="*/ 7281 h 10000"/>
                <a:gd name="connsiteX483" fmla="*/ 3039 w 10000"/>
                <a:gd name="connsiteY483" fmla="*/ 7146 h 10000"/>
                <a:gd name="connsiteX484" fmla="*/ 3031 w 10000"/>
                <a:gd name="connsiteY484" fmla="*/ 7034 h 10000"/>
                <a:gd name="connsiteX485" fmla="*/ 2946 w 10000"/>
                <a:gd name="connsiteY485" fmla="*/ 7101 h 10000"/>
                <a:gd name="connsiteX486" fmla="*/ 2876 w 10000"/>
                <a:gd name="connsiteY486" fmla="*/ 7213 h 10000"/>
                <a:gd name="connsiteX487" fmla="*/ 2798 w 10000"/>
                <a:gd name="connsiteY487" fmla="*/ 7101 h 10000"/>
                <a:gd name="connsiteX488" fmla="*/ 2721 w 10000"/>
                <a:gd name="connsiteY488" fmla="*/ 7034 h 10000"/>
                <a:gd name="connsiteX489" fmla="*/ 2682 w 10000"/>
                <a:gd name="connsiteY489" fmla="*/ 6966 h 10000"/>
                <a:gd name="connsiteX490" fmla="*/ 2667 w 10000"/>
                <a:gd name="connsiteY490" fmla="*/ 6809 h 10000"/>
                <a:gd name="connsiteX491" fmla="*/ 2589 w 10000"/>
                <a:gd name="connsiteY491" fmla="*/ 6787 h 10000"/>
                <a:gd name="connsiteX492" fmla="*/ 2504 w 10000"/>
                <a:gd name="connsiteY492" fmla="*/ 6831 h 10000"/>
                <a:gd name="connsiteX493" fmla="*/ 2163 w 10000"/>
                <a:gd name="connsiteY493" fmla="*/ 7101 h 10000"/>
                <a:gd name="connsiteX494" fmla="*/ 2078 w 10000"/>
                <a:gd name="connsiteY494" fmla="*/ 7124 h 10000"/>
                <a:gd name="connsiteX495" fmla="*/ 2093 w 10000"/>
                <a:gd name="connsiteY495" fmla="*/ 7236 h 10000"/>
                <a:gd name="connsiteX496" fmla="*/ 2109 w 10000"/>
                <a:gd name="connsiteY496" fmla="*/ 7326 h 10000"/>
                <a:gd name="connsiteX497" fmla="*/ 2062 w 10000"/>
                <a:gd name="connsiteY497" fmla="*/ 7371 h 10000"/>
                <a:gd name="connsiteX498" fmla="*/ 2054 w 10000"/>
                <a:gd name="connsiteY498" fmla="*/ 7483 h 10000"/>
                <a:gd name="connsiteX499" fmla="*/ 2031 w 10000"/>
                <a:gd name="connsiteY499" fmla="*/ 7551 h 10000"/>
                <a:gd name="connsiteX500" fmla="*/ 2008 w 10000"/>
                <a:gd name="connsiteY500" fmla="*/ 7640 h 10000"/>
                <a:gd name="connsiteX501" fmla="*/ 2062 w 10000"/>
                <a:gd name="connsiteY501" fmla="*/ 7685 h 10000"/>
                <a:gd name="connsiteX502" fmla="*/ 2093 w 10000"/>
                <a:gd name="connsiteY502" fmla="*/ 7775 h 10000"/>
                <a:gd name="connsiteX503" fmla="*/ 2054 w 10000"/>
                <a:gd name="connsiteY503" fmla="*/ 7888 h 10000"/>
                <a:gd name="connsiteX504" fmla="*/ 1953 w 10000"/>
                <a:gd name="connsiteY504" fmla="*/ 7910 h 10000"/>
                <a:gd name="connsiteX505" fmla="*/ 1915 w 10000"/>
                <a:gd name="connsiteY505" fmla="*/ 7798 h 10000"/>
                <a:gd name="connsiteX506" fmla="*/ 1845 w 10000"/>
                <a:gd name="connsiteY506" fmla="*/ 7798 h 10000"/>
                <a:gd name="connsiteX507" fmla="*/ 1760 w 10000"/>
                <a:gd name="connsiteY507" fmla="*/ 7910 h 10000"/>
                <a:gd name="connsiteX508" fmla="*/ 1698 w 10000"/>
                <a:gd name="connsiteY508" fmla="*/ 7888 h 10000"/>
                <a:gd name="connsiteX509" fmla="*/ 1612 w 10000"/>
                <a:gd name="connsiteY509" fmla="*/ 7730 h 10000"/>
                <a:gd name="connsiteX510" fmla="*/ 1473 w 10000"/>
                <a:gd name="connsiteY510" fmla="*/ 7663 h 10000"/>
                <a:gd name="connsiteX511" fmla="*/ 1411 w 10000"/>
                <a:gd name="connsiteY511" fmla="*/ 7730 h 10000"/>
                <a:gd name="connsiteX512" fmla="*/ 1318 w 10000"/>
                <a:gd name="connsiteY512" fmla="*/ 7933 h 10000"/>
                <a:gd name="connsiteX513" fmla="*/ 1310 w 10000"/>
                <a:gd name="connsiteY513" fmla="*/ 8067 h 10000"/>
                <a:gd name="connsiteX514" fmla="*/ 1279 w 10000"/>
                <a:gd name="connsiteY514" fmla="*/ 8112 h 10000"/>
                <a:gd name="connsiteX515" fmla="*/ 1248 w 10000"/>
                <a:gd name="connsiteY515" fmla="*/ 7933 h 10000"/>
                <a:gd name="connsiteX516" fmla="*/ 1202 w 10000"/>
                <a:gd name="connsiteY516" fmla="*/ 8090 h 10000"/>
                <a:gd name="connsiteX517" fmla="*/ 1178 w 10000"/>
                <a:gd name="connsiteY517" fmla="*/ 8360 h 10000"/>
                <a:gd name="connsiteX518" fmla="*/ 1217 w 10000"/>
                <a:gd name="connsiteY518" fmla="*/ 8517 h 10000"/>
                <a:gd name="connsiteX519" fmla="*/ 1271 w 10000"/>
                <a:gd name="connsiteY519" fmla="*/ 8562 h 10000"/>
                <a:gd name="connsiteX520" fmla="*/ 1318 w 10000"/>
                <a:gd name="connsiteY520" fmla="*/ 8742 h 10000"/>
                <a:gd name="connsiteX521" fmla="*/ 1333 w 10000"/>
                <a:gd name="connsiteY521" fmla="*/ 8899 h 10000"/>
                <a:gd name="connsiteX0" fmla="*/ 1333 w 10000"/>
                <a:gd name="connsiteY0" fmla="*/ 8899 h 10000"/>
                <a:gd name="connsiteX1" fmla="*/ 1271 w 10000"/>
                <a:gd name="connsiteY1" fmla="*/ 9034 h 10000"/>
                <a:gd name="connsiteX2" fmla="*/ 1233 w 10000"/>
                <a:gd name="connsiteY2" fmla="*/ 9101 h 10000"/>
                <a:gd name="connsiteX3" fmla="*/ 1217 w 10000"/>
                <a:gd name="connsiteY3" fmla="*/ 9191 h 10000"/>
                <a:gd name="connsiteX4" fmla="*/ 1186 w 10000"/>
                <a:gd name="connsiteY4" fmla="*/ 9303 h 10000"/>
                <a:gd name="connsiteX5" fmla="*/ 1217 w 10000"/>
                <a:gd name="connsiteY5" fmla="*/ 9371 h 10000"/>
                <a:gd name="connsiteX6" fmla="*/ 1240 w 10000"/>
                <a:gd name="connsiteY6" fmla="*/ 9483 h 10000"/>
                <a:gd name="connsiteX7" fmla="*/ 1248 w 10000"/>
                <a:gd name="connsiteY7" fmla="*/ 9685 h 10000"/>
                <a:gd name="connsiteX8" fmla="*/ 1302 w 10000"/>
                <a:gd name="connsiteY8" fmla="*/ 9865 h 10000"/>
                <a:gd name="connsiteX9" fmla="*/ 1264 w 10000"/>
                <a:gd name="connsiteY9" fmla="*/ 9978 h 10000"/>
                <a:gd name="connsiteX10" fmla="*/ 1248 w 10000"/>
                <a:gd name="connsiteY10" fmla="*/ 10000 h 10000"/>
                <a:gd name="connsiteX11" fmla="*/ 1186 w 10000"/>
                <a:gd name="connsiteY11" fmla="*/ 9865 h 10000"/>
                <a:gd name="connsiteX12" fmla="*/ 1163 w 10000"/>
                <a:gd name="connsiteY12" fmla="*/ 9843 h 10000"/>
                <a:gd name="connsiteX13" fmla="*/ 1124 w 10000"/>
                <a:gd name="connsiteY13" fmla="*/ 9730 h 10000"/>
                <a:gd name="connsiteX14" fmla="*/ 1085 w 10000"/>
                <a:gd name="connsiteY14" fmla="*/ 9663 h 10000"/>
                <a:gd name="connsiteX15" fmla="*/ 1047 w 10000"/>
                <a:gd name="connsiteY15" fmla="*/ 9685 h 10000"/>
                <a:gd name="connsiteX16" fmla="*/ 1023 w 10000"/>
                <a:gd name="connsiteY16" fmla="*/ 9685 h 10000"/>
                <a:gd name="connsiteX17" fmla="*/ 984 w 10000"/>
                <a:gd name="connsiteY17" fmla="*/ 9640 h 10000"/>
                <a:gd name="connsiteX18" fmla="*/ 930 w 10000"/>
                <a:gd name="connsiteY18" fmla="*/ 9551 h 10000"/>
                <a:gd name="connsiteX19" fmla="*/ 899 w 10000"/>
                <a:gd name="connsiteY19" fmla="*/ 9551 h 10000"/>
                <a:gd name="connsiteX20" fmla="*/ 860 w 10000"/>
                <a:gd name="connsiteY20" fmla="*/ 9573 h 10000"/>
                <a:gd name="connsiteX21" fmla="*/ 814 w 10000"/>
                <a:gd name="connsiteY21" fmla="*/ 9483 h 10000"/>
                <a:gd name="connsiteX22" fmla="*/ 767 w 10000"/>
                <a:gd name="connsiteY22" fmla="*/ 9506 h 10000"/>
                <a:gd name="connsiteX23" fmla="*/ 667 w 10000"/>
                <a:gd name="connsiteY23" fmla="*/ 9303 h 10000"/>
                <a:gd name="connsiteX24" fmla="*/ 612 w 10000"/>
                <a:gd name="connsiteY24" fmla="*/ 9236 h 10000"/>
                <a:gd name="connsiteX25" fmla="*/ 628 w 10000"/>
                <a:gd name="connsiteY25" fmla="*/ 9079 h 10000"/>
                <a:gd name="connsiteX26" fmla="*/ 674 w 10000"/>
                <a:gd name="connsiteY26" fmla="*/ 8944 h 10000"/>
                <a:gd name="connsiteX27" fmla="*/ 667 w 10000"/>
                <a:gd name="connsiteY27" fmla="*/ 8831 h 10000"/>
                <a:gd name="connsiteX28" fmla="*/ 729 w 10000"/>
                <a:gd name="connsiteY28" fmla="*/ 8719 h 10000"/>
                <a:gd name="connsiteX29" fmla="*/ 659 w 10000"/>
                <a:gd name="connsiteY29" fmla="*/ 8697 h 10000"/>
                <a:gd name="connsiteX30" fmla="*/ 667 w 10000"/>
                <a:gd name="connsiteY30" fmla="*/ 8607 h 10000"/>
                <a:gd name="connsiteX31" fmla="*/ 705 w 10000"/>
                <a:gd name="connsiteY31" fmla="*/ 8562 h 10000"/>
                <a:gd name="connsiteX32" fmla="*/ 767 w 10000"/>
                <a:gd name="connsiteY32" fmla="*/ 8517 h 10000"/>
                <a:gd name="connsiteX33" fmla="*/ 775 w 10000"/>
                <a:gd name="connsiteY33" fmla="*/ 8157 h 10000"/>
                <a:gd name="connsiteX34" fmla="*/ 713 w 10000"/>
                <a:gd name="connsiteY34" fmla="*/ 8045 h 10000"/>
                <a:gd name="connsiteX35" fmla="*/ 636 w 10000"/>
                <a:gd name="connsiteY35" fmla="*/ 8045 h 10000"/>
                <a:gd name="connsiteX36" fmla="*/ 628 w 10000"/>
                <a:gd name="connsiteY36" fmla="*/ 7978 h 10000"/>
                <a:gd name="connsiteX37" fmla="*/ 504 w 10000"/>
                <a:gd name="connsiteY37" fmla="*/ 7955 h 10000"/>
                <a:gd name="connsiteX38" fmla="*/ 488 w 10000"/>
                <a:gd name="connsiteY38" fmla="*/ 7798 h 10000"/>
                <a:gd name="connsiteX39" fmla="*/ 419 w 10000"/>
                <a:gd name="connsiteY39" fmla="*/ 7753 h 10000"/>
                <a:gd name="connsiteX40" fmla="*/ 426 w 10000"/>
                <a:gd name="connsiteY40" fmla="*/ 7618 h 10000"/>
                <a:gd name="connsiteX41" fmla="*/ 411 w 10000"/>
                <a:gd name="connsiteY41" fmla="*/ 7506 h 10000"/>
                <a:gd name="connsiteX42" fmla="*/ 318 w 10000"/>
                <a:gd name="connsiteY42" fmla="*/ 7506 h 10000"/>
                <a:gd name="connsiteX43" fmla="*/ 302 w 10000"/>
                <a:gd name="connsiteY43" fmla="*/ 7551 h 10000"/>
                <a:gd name="connsiteX44" fmla="*/ 279 w 10000"/>
                <a:gd name="connsiteY44" fmla="*/ 7573 h 10000"/>
                <a:gd name="connsiteX45" fmla="*/ 248 w 10000"/>
                <a:gd name="connsiteY45" fmla="*/ 7528 h 10000"/>
                <a:gd name="connsiteX46" fmla="*/ 248 w 10000"/>
                <a:gd name="connsiteY46" fmla="*/ 7303 h 10000"/>
                <a:gd name="connsiteX47" fmla="*/ 318 w 10000"/>
                <a:gd name="connsiteY47" fmla="*/ 7303 h 10000"/>
                <a:gd name="connsiteX48" fmla="*/ 326 w 10000"/>
                <a:gd name="connsiteY48" fmla="*/ 7281 h 10000"/>
                <a:gd name="connsiteX49" fmla="*/ 217 w 10000"/>
                <a:gd name="connsiteY49" fmla="*/ 6944 h 10000"/>
                <a:gd name="connsiteX50" fmla="*/ 202 w 10000"/>
                <a:gd name="connsiteY50" fmla="*/ 6697 h 10000"/>
                <a:gd name="connsiteX51" fmla="*/ 124 w 10000"/>
                <a:gd name="connsiteY51" fmla="*/ 6674 h 10000"/>
                <a:gd name="connsiteX52" fmla="*/ 124 w 10000"/>
                <a:gd name="connsiteY52" fmla="*/ 6607 h 10000"/>
                <a:gd name="connsiteX53" fmla="*/ 54 w 10000"/>
                <a:gd name="connsiteY53" fmla="*/ 6562 h 10000"/>
                <a:gd name="connsiteX54" fmla="*/ 39 w 10000"/>
                <a:gd name="connsiteY54" fmla="*/ 6494 h 10000"/>
                <a:gd name="connsiteX55" fmla="*/ 23 w 10000"/>
                <a:gd name="connsiteY55" fmla="*/ 6315 h 10000"/>
                <a:gd name="connsiteX56" fmla="*/ 0 w 10000"/>
                <a:gd name="connsiteY56" fmla="*/ 6180 h 10000"/>
                <a:gd name="connsiteX57" fmla="*/ 8 w 10000"/>
                <a:gd name="connsiteY57" fmla="*/ 6045 h 10000"/>
                <a:gd name="connsiteX58" fmla="*/ 8 w 10000"/>
                <a:gd name="connsiteY58" fmla="*/ 5865 h 10000"/>
                <a:gd name="connsiteX59" fmla="*/ 31 w 10000"/>
                <a:gd name="connsiteY59" fmla="*/ 5730 h 10000"/>
                <a:gd name="connsiteX60" fmla="*/ 101 w 10000"/>
                <a:gd name="connsiteY60" fmla="*/ 5573 h 10000"/>
                <a:gd name="connsiteX61" fmla="*/ 155 w 10000"/>
                <a:gd name="connsiteY61" fmla="*/ 5551 h 10000"/>
                <a:gd name="connsiteX62" fmla="*/ 85 w 10000"/>
                <a:gd name="connsiteY62" fmla="*/ 5461 h 10000"/>
                <a:gd name="connsiteX63" fmla="*/ 47 w 10000"/>
                <a:gd name="connsiteY63" fmla="*/ 5326 h 10000"/>
                <a:gd name="connsiteX64" fmla="*/ 180 w 10000"/>
                <a:gd name="connsiteY64" fmla="*/ 4975 h 10000"/>
                <a:gd name="connsiteX65" fmla="*/ 248 w 10000"/>
                <a:gd name="connsiteY65" fmla="*/ 4764 h 10000"/>
                <a:gd name="connsiteX66" fmla="*/ 155 w 10000"/>
                <a:gd name="connsiteY66" fmla="*/ 4562 h 10000"/>
                <a:gd name="connsiteX67" fmla="*/ 194 w 10000"/>
                <a:gd name="connsiteY67" fmla="*/ 4449 h 10000"/>
                <a:gd name="connsiteX68" fmla="*/ 145 w 10000"/>
                <a:gd name="connsiteY68" fmla="*/ 4313 h 10000"/>
                <a:gd name="connsiteX69" fmla="*/ 124 w 10000"/>
                <a:gd name="connsiteY69" fmla="*/ 4180 h 10000"/>
                <a:gd name="connsiteX70" fmla="*/ 155 w 10000"/>
                <a:gd name="connsiteY70" fmla="*/ 3955 h 10000"/>
                <a:gd name="connsiteX71" fmla="*/ 132 w 10000"/>
                <a:gd name="connsiteY71" fmla="*/ 3775 h 10000"/>
                <a:gd name="connsiteX72" fmla="*/ 93 w 10000"/>
                <a:gd name="connsiteY72" fmla="*/ 3573 h 10000"/>
                <a:gd name="connsiteX73" fmla="*/ 155 w 10000"/>
                <a:gd name="connsiteY73" fmla="*/ 3393 h 10000"/>
                <a:gd name="connsiteX74" fmla="*/ 62 w 10000"/>
                <a:gd name="connsiteY74" fmla="*/ 3236 h 10000"/>
                <a:gd name="connsiteX75" fmla="*/ 78 w 10000"/>
                <a:gd name="connsiteY75" fmla="*/ 2989 h 10000"/>
                <a:gd name="connsiteX76" fmla="*/ 116 w 10000"/>
                <a:gd name="connsiteY76" fmla="*/ 2876 h 10000"/>
                <a:gd name="connsiteX77" fmla="*/ 155 w 10000"/>
                <a:gd name="connsiteY77" fmla="*/ 2854 h 10000"/>
                <a:gd name="connsiteX78" fmla="*/ 155 w 10000"/>
                <a:gd name="connsiteY78" fmla="*/ 2787 h 10000"/>
                <a:gd name="connsiteX79" fmla="*/ 240 w 10000"/>
                <a:gd name="connsiteY79" fmla="*/ 2742 h 10000"/>
                <a:gd name="connsiteX80" fmla="*/ 310 w 10000"/>
                <a:gd name="connsiteY80" fmla="*/ 2742 h 10000"/>
                <a:gd name="connsiteX81" fmla="*/ 333 w 10000"/>
                <a:gd name="connsiteY81" fmla="*/ 2854 h 10000"/>
                <a:gd name="connsiteX82" fmla="*/ 372 w 10000"/>
                <a:gd name="connsiteY82" fmla="*/ 2899 h 10000"/>
                <a:gd name="connsiteX83" fmla="*/ 519 w 10000"/>
                <a:gd name="connsiteY83" fmla="*/ 2921 h 10000"/>
                <a:gd name="connsiteX84" fmla="*/ 628 w 10000"/>
                <a:gd name="connsiteY84" fmla="*/ 3079 h 10000"/>
                <a:gd name="connsiteX85" fmla="*/ 729 w 10000"/>
                <a:gd name="connsiteY85" fmla="*/ 3258 h 10000"/>
                <a:gd name="connsiteX86" fmla="*/ 845 w 10000"/>
                <a:gd name="connsiteY86" fmla="*/ 3438 h 10000"/>
                <a:gd name="connsiteX87" fmla="*/ 853 w 10000"/>
                <a:gd name="connsiteY87" fmla="*/ 3640 h 10000"/>
                <a:gd name="connsiteX88" fmla="*/ 783 w 10000"/>
                <a:gd name="connsiteY88" fmla="*/ 3820 h 10000"/>
                <a:gd name="connsiteX89" fmla="*/ 667 w 10000"/>
                <a:gd name="connsiteY89" fmla="*/ 3910 h 10000"/>
                <a:gd name="connsiteX90" fmla="*/ 566 w 10000"/>
                <a:gd name="connsiteY90" fmla="*/ 3798 h 10000"/>
                <a:gd name="connsiteX91" fmla="*/ 450 w 10000"/>
                <a:gd name="connsiteY91" fmla="*/ 3730 h 10000"/>
                <a:gd name="connsiteX92" fmla="*/ 364 w 10000"/>
                <a:gd name="connsiteY92" fmla="*/ 3640 h 10000"/>
                <a:gd name="connsiteX93" fmla="*/ 295 w 10000"/>
                <a:gd name="connsiteY93" fmla="*/ 3551 h 10000"/>
                <a:gd name="connsiteX94" fmla="*/ 349 w 10000"/>
                <a:gd name="connsiteY94" fmla="*/ 3753 h 10000"/>
                <a:gd name="connsiteX95" fmla="*/ 411 w 10000"/>
                <a:gd name="connsiteY95" fmla="*/ 3843 h 10000"/>
                <a:gd name="connsiteX96" fmla="*/ 442 w 10000"/>
                <a:gd name="connsiteY96" fmla="*/ 3910 h 10000"/>
                <a:gd name="connsiteX97" fmla="*/ 450 w 10000"/>
                <a:gd name="connsiteY97" fmla="*/ 4045 h 10000"/>
                <a:gd name="connsiteX98" fmla="*/ 473 w 10000"/>
                <a:gd name="connsiteY98" fmla="*/ 4337 h 10000"/>
                <a:gd name="connsiteX99" fmla="*/ 512 w 10000"/>
                <a:gd name="connsiteY99" fmla="*/ 4360 h 10000"/>
                <a:gd name="connsiteX100" fmla="*/ 574 w 10000"/>
                <a:gd name="connsiteY100" fmla="*/ 4517 h 10000"/>
                <a:gd name="connsiteX101" fmla="*/ 651 w 10000"/>
                <a:gd name="connsiteY101" fmla="*/ 4517 h 10000"/>
                <a:gd name="connsiteX102" fmla="*/ 659 w 10000"/>
                <a:gd name="connsiteY102" fmla="*/ 4404 h 10000"/>
                <a:gd name="connsiteX103" fmla="*/ 612 w 10000"/>
                <a:gd name="connsiteY103" fmla="*/ 4360 h 10000"/>
                <a:gd name="connsiteX104" fmla="*/ 574 w 10000"/>
                <a:gd name="connsiteY104" fmla="*/ 4225 h 10000"/>
                <a:gd name="connsiteX105" fmla="*/ 605 w 10000"/>
                <a:gd name="connsiteY105" fmla="*/ 4112 h 10000"/>
                <a:gd name="connsiteX106" fmla="*/ 651 w 10000"/>
                <a:gd name="connsiteY106" fmla="*/ 4225 h 10000"/>
                <a:gd name="connsiteX107" fmla="*/ 698 w 10000"/>
                <a:gd name="connsiteY107" fmla="*/ 4270 h 10000"/>
                <a:gd name="connsiteX108" fmla="*/ 798 w 10000"/>
                <a:gd name="connsiteY108" fmla="*/ 4337 h 10000"/>
                <a:gd name="connsiteX109" fmla="*/ 798 w 10000"/>
                <a:gd name="connsiteY109" fmla="*/ 4225 h 10000"/>
                <a:gd name="connsiteX110" fmla="*/ 760 w 10000"/>
                <a:gd name="connsiteY110" fmla="*/ 4090 h 10000"/>
                <a:gd name="connsiteX111" fmla="*/ 806 w 10000"/>
                <a:gd name="connsiteY111" fmla="*/ 3955 h 10000"/>
                <a:gd name="connsiteX112" fmla="*/ 876 w 10000"/>
                <a:gd name="connsiteY112" fmla="*/ 3843 h 10000"/>
                <a:gd name="connsiteX113" fmla="*/ 915 w 10000"/>
                <a:gd name="connsiteY113" fmla="*/ 3753 h 10000"/>
                <a:gd name="connsiteX114" fmla="*/ 1023 w 10000"/>
                <a:gd name="connsiteY114" fmla="*/ 3843 h 10000"/>
                <a:gd name="connsiteX115" fmla="*/ 1047 w 10000"/>
                <a:gd name="connsiteY115" fmla="*/ 3573 h 10000"/>
                <a:gd name="connsiteX116" fmla="*/ 1016 w 10000"/>
                <a:gd name="connsiteY116" fmla="*/ 3483 h 10000"/>
                <a:gd name="connsiteX117" fmla="*/ 1031 w 10000"/>
                <a:gd name="connsiteY117" fmla="*/ 3236 h 10000"/>
                <a:gd name="connsiteX118" fmla="*/ 1000 w 10000"/>
                <a:gd name="connsiteY118" fmla="*/ 3146 h 10000"/>
                <a:gd name="connsiteX119" fmla="*/ 1132 w 10000"/>
                <a:gd name="connsiteY119" fmla="*/ 3124 h 10000"/>
                <a:gd name="connsiteX120" fmla="*/ 1178 w 10000"/>
                <a:gd name="connsiteY120" fmla="*/ 3281 h 10000"/>
                <a:gd name="connsiteX121" fmla="*/ 1178 w 10000"/>
                <a:gd name="connsiteY121" fmla="*/ 3371 h 10000"/>
                <a:gd name="connsiteX122" fmla="*/ 1116 w 10000"/>
                <a:gd name="connsiteY122" fmla="*/ 3371 h 10000"/>
                <a:gd name="connsiteX123" fmla="*/ 1078 w 10000"/>
                <a:gd name="connsiteY123" fmla="*/ 3483 h 10000"/>
                <a:gd name="connsiteX124" fmla="*/ 1140 w 10000"/>
                <a:gd name="connsiteY124" fmla="*/ 3640 h 10000"/>
                <a:gd name="connsiteX125" fmla="*/ 1233 w 10000"/>
                <a:gd name="connsiteY125" fmla="*/ 3663 h 10000"/>
                <a:gd name="connsiteX126" fmla="*/ 1271 w 10000"/>
                <a:gd name="connsiteY126" fmla="*/ 3393 h 10000"/>
                <a:gd name="connsiteX127" fmla="*/ 1496 w 10000"/>
                <a:gd name="connsiteY127" fmla="*/ 3146 h 10000"/>
                <a:gd name="connsiteX128" fmla="*/ 1535 w 10000"/>
                <a:gd name="connsiteY128" fmla="*/ 3169 h 10000"/>
                <a:gd name="connsiteX129" fmla="*/ 1581 w 10000"/>
                <a:gd name="connsiteY129" fmla="*/ 3034 h 10000"/>
                <a:gd name="connsiteX130" fmla="*/ 1628 w 10000"/>
                <a:gd name="connsiteY130" fmla="*/ 2989 h 10000"/>
                <a:gd name="connsiteX131" fmla="*/ 1612 w 10000"/>
                <a:gd name="connsiteY131" fmla="*/ 3191 h 10000"/>
                <a:gd name="connsiteX132" fmla="*/ 1690 w 10000"/>
                <a:gd name="connsiteY132" fmla="*/ 3191 h 10000"/>
                <a:gd name="connsiteX133" fmla="*/ 1705 w 10000"/>
                <a:gd name="connsiteY133" fmla="*/ 3101 h 10000"/>
                <a:gd name="connsiteX134" fmla="*/ 1845 w 10000"/>
                <a:gd name="connsiteY134" fmla="*/ 3124 h 10000"/>
                <a:gd name="connsiteX135" fmla="*/ 1938 w 10000"/>
                <a:gd name="connsiteY135" fmla="*/ 2966 h 10000"/>
                <a:gd name="connsiteX136" fmla="*/ 1953 w 10000"/>
                <a:gd name="connsiteY136" fmla="*/ 3079 h 10000"/>
                <a:gd name="connsiteX137" fmla="*/ 1946 w 10000"/>
                <a:gd name="connsiteY137" fmla="*/ 3169 h 10000"/>
                <a:gd name="connsiteX138" fmla="*/ 1984 w 10000"/>
                <a:gd name="connsiteY138" fmla="*/ 3169 h 10000"/>
                <a:gd name="connsiteX139" fmla="*/ 2000 w 10000"/>
                <a:gd name="connsiteY139" fmla="*/ 3079 h 10000"/>
                <a:gd name="connsiteX140" fmla="*/ 2062 w 10000"/>
                <a:gd name="connsiteY140" fmla="*/ 2966 h 10000"/>
                <a:gd name="connsiteX141" fmla="*/ 2016 w 10000"/>
                <a:gd name="connsiteY141" fmla="*/ 2787 h 10000"/>
                <a:gd name="connsiteX142" fmla="*/ 1930 w 10000"/>
                <a:gd name="connsiteY142" fmla="*/ 2697 h 10000"/>
                <a:gd name="connsiteX143" fmla="*/ 1930 w 10000"/>
                <a:gd name="connsiteY143" fmla="*/ 2539 h 10000"/>
                <a:gd name="connsiteX144" fmla="*/ 1961 w 10000"/>
                <a:gd name="connsiteY144" fmla="*/ 2517 h 10000"/>
                <a:gd name="connsiteX145" fmla="*/ 2039 w 10000"/>
                <a:gd name="connsiteY145" fmla="*/ 2719 h 10000"/>
                <a:gd name="connsiteX146" fmla="*/ 2163 w 10000"/>
                <a:gd name="connsiteY146" fmla="*/ 2742 h 10000"/>
                <a:gd name="connsiteX147" fmla="*/ 2295 w 10000"/>
                <a:gd name="connsiteY147" fmla="*/ 2876 h 10000"/>
                <a:gd name="connsiteX148" fmla="*/ 2403 w 10000"/>
                <a:gd name="connsiteY148" fmla="*/ 3011 h 10000"/>
                <a:gd name="connsiteX149" fmla="*/ 2519 w 10000"/>
                <a:gd name="connsiteY149" fmla="*/ 3191 h 10000"/>
                <a:gd name="connsiteX150" fmla="*/ 2550 w 10000"/>
                <a:gd name="connsiteY150" fmla="*/ 3034 h 10000"/>
                <a:gd name="connsiteX151" fmla="*/ 2496 w 10000"/>
                <a:gd name="connsiteY151" fmla="*/ 2876 h 10000"/>
                <a:gd name="connsiteX152" fmla="*/ 2426 w 10000"/>
                <a:gd name="connsiteY152" fmla="*/ 2764 h 10000"/>
                <a:gd name="connsiteX153" fmla="*/ 2426 w 10000"/>
                <a:gd name="connsiteY153" fmla="*/ 2652 h 10000"/>
                <a:gd name="connsiteX154" fmla="*/ 2457 w 10000"/>
                <a:gd name="connsiteY154" fmla="*/ 2427 h 10000"/>
                <a:gd name="connsiteX155" fmla="*/ 2419 w 10000"/>
                <a:gd name="connsiteY155" fmla="*/ 2360 h 10000"/>
                <a:gd name="connsiteX156" fmla="*/ 2426 w 10000"/>
                <a:gd name="connsiteY156" fmla="*/ 2292 h 10000"/>
                <a:gd name="connsiteX157" fmla="*/ 2519 w 10000"/>
                <a:gd name="connsiteY157" fmla="*/ 2090 h 10000"/>
                <a:gd name="connsiteX158" fmla="*/ 2581 w 10000"/>
                <a:gd name="connsiteY158" fmla="*/ 1730 h 10000"/>
                <a:gd name="connsiteX159" fmla="*/ 2775 w 10000"/>
                <a:gd name="connsiteY159" fmla="*/ 1775 h 10000"/>
                <a:gd name="connsiteX160" fmla="*/ 2791 w 10000"/>
                <a:gd name="connsiteY160" fmla="*/ 1843 h 10000"/>
                <a:gd name="connsiteX161" fmla="*/ 2775 w 10000"/>
                <a:gd name="connsiteY161" fmla="*/ 2045 h 10000"/>
                <a:gd name="connsiteX162" fmla="*/ 2736 w 10000"/>
                <a:gd name="connsiteY162" fmla="*/ 2225 h 10000"/>
                <a:gd name="connsiteX163" fmla="*/ 2775 w 10000"/>
                <a:gd name="connsiteY163" fmla="*/ 2315 h 10000"/>
                <a:gd name="connsiteX164" fmla="*/ 2791 w 10000"/>
                <a:gd name="connsiteY164" fmla="*/ 2517 h 10000"/>
                <a:gd name="connsiteX165" fmla="*/ 2775 w 10000"/>
                <a:gd name="connsiteY165" fmla="*/ 3011 h 10000"/>
                <a:gd name="connsiteX166" fmla="*/ 2837 w 10000"/>
                <a:gd name="connsiteY166" fmla="*/ 3146 h 10000"/>
                <a:gd name="connsiteX167" fmla="*/ 2806 w 10000"/>
                <a:gd name="connsiteY167" fmla="*/ 3348 h 10000"/>
                <a:gd name="connsiteX168" fmla="*/ 2698 w 10000"/>
                <a:gd name="connsiteY168" fmla="*/ 3618 h 10000"/>
                <a:gd name="connsiteX169" fmla="*/ 2643 w 10000"/>
                <a:gd name="connsiteY169" fmla="*/ 3685 h 10000"/>
                <a:gd name="connsiteX170" fmla="*/ 2581 w 10000"/>
                <a:gd name="connsiteY170" fmla="*/ 3640 h 10000"/>
                <a:gd name="connsiteX171" fmla="*/ 2550 w 10000"/>
                <a:gd name="connsiteY171" fmla="*/ 3685 h 10000"/>
                <a:gd name="connsiteX172" fmla="*/ 2597 w 10000"/>
                <a:gd name="connsiteY172" fmla="*/ 3775 h 10000"/>
                <a:gd name="connsiteX173" fmla="*/ 2667 w 10000"/>
                <a:gd name="connsiteY173" fmla="*/ 3820 h 10000"/>
                <a:gd name="connsiteX174" fmla="*/ 2736 w 10000"/>
                <a:gd name="connsiteY174" fmla="*/ 3843 h 10000"/>
                <a:gd name="connsiteX175" fmla="*/ 2814 w 10000"/>
                <a:gd name="connsiteY175" fmla="*/ 3663 h 10000"/>
                <a:gd name="connsiteX176" fmla="*/ 2922 w 10000"/>
                <a:gd name="connsiteY176" fmla="*/ 3348 h 10000"/>
                <a:gd name="connsiteX177" fmla="*/ 2891 w 10000"/>
                <a:gd name="connsiteY177" fmla="*/ 3169 h 10000"/>
                <a:gd name="connsiteX178" fmla="*/ 2930 w 10000"/>
                <a:gd name="connsiteY178" fmla="*/ 2989 h 10000"/>
                <a:gd name="connsiteX179" fmla="*/ 3016 w 10000"/>
                <a:gd name="connsiteY179" fmla="*/ 3034 h 10000"/>
                <a:gd name="connsiteX180" fmla="*/ 3054 w 10000"/>
                <a:gd name="connsiteY180" fmla="*/ 3146 h 10000"/>
                <a:gd name="connsiteX181" fmla="*/ 3070 w 10000"/>
                <a:gd name="connsiteY181" fmla="*/ 3326 h 10000"/>
                <a:gd name="connsiteX182" fmla="*/ 3124 w 10000"/>
                <a:gd name="connsiteY182" fmla="*/ 3191 h 10000"/>
                <a:gd name="connsiteX183" fmla="*/ 3093 w 10000"/>
                <a:gd name="connsiteY183" fmla="*/ 3011 h 10000"/>
                <a:gd name="connsiteX184" fmla="*/ 3016 w 10000"/>
                <a:gd name="connsiteY184" fmla="*/ 2944 h 10000"/>
                <a:gd name="connsiteX185" fmla="*/ 2853 w 10000"/>
                <a:gd name="connsiteY185" fmla="*/ 2921 h 10000"/>
                <a:gd name="connsiteX186" fmla="*/ 2853 w 10000"/>
                <a:gd name="connsiteY186" fmla="*/ 2697 h 10000"/>
                <a:gd name="connsiteX187" fmla="*/ 2884 w 10000"/>
                <a:gd name="connsiteY187" fmla="*/ 2472 h 10000"/>
                <a:gd name="connsiteX188" fmla="*/ 2845 w 10000"/>
                <a:gd name="connsiteY188" fmla="*/ 2292 h 10000"/>
                <a:gd name="connsiteX189" fmla="*/ 2822 w 10000"/>
                <a:gd name="connsiteY189" fmla="*/ 2157 h 10000"/>
                <a:gd name="connsiteX190" fmla="*/ 2868 w 10000"/>
                <a:gd name="connsiteY190" fmla="*/ 2022 h 10000"/>
                <a:gd name="connsiteX191" fmla="*/ 2922 w 10000"/>
                <a:gd name="connsiteY191" fmla="*/ 1955 h 10000"/>
                <a:gd name="connsiteX192" fmla="*/ 2930 w 10000"/>
                <a:gd name="connsiteY192" fmla="*/ 1775 h 10000"/>
                <a:gd name="connsiteX193" fmla="*/ 2961 w 10000"/>
                <a:gd name="connsiteY193" fmla="*/ 1775 h 10000"/>
                <a:gd name="connsiteX194" fmla="*/ 2969 w 10000"/>
                <a:gd name="connsiteY194" fmla="*/ 1978 h 10000"/>
                <a:gd name="connsiteX195" fmla="*/ 2946 w 10000"/>
                <a:gd name="connsiteY195" fmla="*/ 2135 h 10000"/>
                <a:gd name="connsiteX196" fmla="*/ 2961 w 10000"/>
                <a:gd name="connsiteY196" fmla="*/ 2247 h 10000"/>
                <a:gd name="connsiteX197" fmla="*/ 3023 w 10000"/>
                <a:gd name="connsiteY197" fmla="*/ 2292 h 10000"/>
                <a:gd name="connsiteX198" fmla="*/ 3116 w 10000"/>
                <a:gd name="connsiteY198" fmla="*/ 2360 h 10000"/>
                <a:gd name="connsiteX199" fmla="*/ 3163 w 10000"/>
                <a:gd name="connsiteY199" fmla="*/ 2360 h 10000"/>
                <a:gd name="connsiteX200" fmla="*/ 3109 w 10000"/>
                <a:gd name="connsiteY200" fmla="*/ 2247 h 10000"/>
                <a:gd name="connsiteX201" fmla="*/ 3031 w 10000"/>
                <a:gd name="connsiteY201" fmla="*/ 2180 h 10000"/>
                <a:gd name="connsiteX202" fmla="*/ 3000 w 10000"/>
                <a:gd name="connsiteY202" fmla="*/ 2045 h 10000"/>
                <a:gd name="connsiteX203" fmla="*/ 3047 w 10000"/>
                <a:gd name="connsiteY203" fmla="*/ 2000 h 10000"/>
                <a:gd name="connsiteX204" fmla="*/ 3124 w 10000"/>
                <a:gd name="connsiteY204" fmla="*/ 2045 h 10000"/>
                <a:gd name="connsiteX205" fmla="*/ 3070 w 10000"/>
                <a:gd name="connsiteY205" fmla="*/ 1865 h 10000"/>
                <a:gd name="connsiteX206" fmla="*/ 3093 w 10000"/>
                <a:gd name="connsiteY206" fmla="*/ 1820 h 10000"/>
                <a:gd name="connsiteX207" fmla="*/ 3225 w 10000"/>
                <a:gd name="connsiteY207" fmla="*/ 1933 h 10000"/>
                <a:gd name="connsiteX208" fmla="*/ 3302 w 10000"/>
                <a:gd name="connsiteY208" fmla="*/ 2112 h 10000"/>
                <a:gd name="connsiteX209" fmla="*/ 3411 w 10000"/>
                <a:gd name="connsiteY209" fmla="*/ 2112 h 10000"/>
                <a:gd name="connsiteX210" fmla="*/ 3357 w 10000"/>
                <a:gd name="connsiteY210" fmla="*/ 1955 h 10000"/>
                <a:gd name="connsiteX211" fmla="*/ 3287 w 10000"/>
                <a:gd name="connsiteY211" fmla="*/ 1798 h 10000"/>
                <a:gd name="connsiteX212" fmla="*/ 3264 w 10000"/>
                <a:gd name="connsiteY212" fmla="*/ 1551 h 10000"/>
                <a:gd name="connsiteX213" fmla="*/ 3310 w 10000"/>
                <a:gd name="connsiteY213" fmla="*/ 1461 h 10000"/>
                <a:gd name="connsiteX214" fmla="*/ 3488 w 10000"/>
                <a:gd name="connsiteY214" fmla="*/ 1438 h 10000"/>
                <a:gd name="connsiteX215" fmla="*/ 3667 w 10000"/>
                <a:gd name="connsiteY215" fmla="*/ 1348 h 10000"/>
                <a:gd name="connsiteX216" fmla="*/ 3620 w 10000"/>
                <a:gd name="connsiteY216" fmla="*/ 1101 h 10000"/>
                <a:gd name="connsiteX217" fmla="*/ 3767 w 10000"/>
                <a:gd name="connsiteY217" fmla="*/ 899 h 10000"/>
                <a:gd name="connsiteX218" fmla="*/ 4093 w 10000"/>
                <a:gd name="connsiteY218" fmla="*/ 584 h 10000"/>
                <a:gd name="connsiteX219" fmla="*/ 4233 w 10000"/>
                <a:gd name="connsiteY219" fmla="*/ 539 h 10000"/>
                <a:gd name="connsiteX220" fmla="*/ 4364 w 10000"/>
                <a:gd name="connsiteY220" fmla="*/ 584 h 10000"/>
                <a:gd name="connsiteX221" fmla="*/ 4558 w 10000"/>
                <a:gd name="connsiteY221" fmla="*/ 404 h 10000"/>
                <a:gd name="connsiteX222" fmla="*/ 4543 w 10000"/>
                <a:gd name="connsiteY222" fmla="*/ 225 h 10000"/>
                <a:gd name="connsiteX223" fmla="*/ 4636 w 10000"/>
                <a:gd name="connsiteY223" fmla="*/ 0 h 10000"/>
                <a:gd name="connsiteX224" fmla="*/ 4767 w 10000"/>
                <a:gd name="connsiteY224" fmla="*/ 22 h 10000"/>
                <a:gd name="connsiteX225" fmla="*/ 4837 w 10000"/>
                <a:gd name="connsiteY225" fmla="*/ 90 h 10000"/>
                <a:gd name="connsiteX226" fmla="*/ 4752 w 10000"/>
                <a:gd name="connsiteY226" fmla="*/ 225 h 10000"/>
                <a:gd name="connsiteX227" fmla="*/ 4915 w 10000"/>
                <a:gd name="connsiteY227" fmla="*/ 247 h 10000"/>
                <a:gd name="connsiteX228" fmla="*/ 4884 w 10000"/>
                <a:gd name="connsiteY228" fmla="*/ 404 h 10000"/>
                <a:gd name="connsiteX229" fmla="*/ 5178 w 10000"/>
                <a:gd name="connsiteY229" fmla="*/ 382 h 10000"/>
                <a:gd name="connsiteX230" fmla="*/ 5287 w 10000"/>
                <a:gd name="connsiteY230" fmla="*/ 584 h 10000"/>
                <a:gd name="connsiteX231" fmla="*/ 5302 w 10000"/>
                <a:gd name="connsiteY231" fmla="*/ 719 h 10000"/>
                <a:gd name="connsiteX232" fmla="*/ 5271 w 10000"/>
                <a:gd name="connsiteY232" fmla="*/ 944 h 10000"/>
                <a:gd name="connsiteX233" fmla="*/ 5140 w 10000"/>
                <a:gd name="connsiteY233" fmla="*/ 1146 h 10000"/>
                <a:gd name="connsiteX234" fmla="*/ 5000 w 10000"/>
                <a:gd name="connsiteY234" fmla="*/ 1371 h 10000"/>
                <a:gd name="connsiteX235" fmla="*/ 4806 w 10000"/>
                <a:gd name="connsiteY235" fmla="*/ 1685 h 10000"/>
                <a:gd name="connsiteX236" fmla="*/ 4822 w 10000"/>
                <a:gd name="connsiteY236" fmla="*/ 1730 h 10000"/>
                <a:gd name="connsiteX237" fmla="*/ 4907 w 10000"/>
                <a:gd name="connsiteY237" fmla="*/ 1640 h 10000"/>
                <a:gd name="connsiteX238" fmla="*/ 5070 w 10000"/>
                <a:gd name="connsiteY238" fmla="*/ 1506 h 10000"/>
                <a:gd name="connsiteX239" fmla="*/ 5062 w 10000"/>
                <a:gd name="connsiteY239" fmla="*/ 1416 h 10000"/>
                <a:gd name="connsiteX240" fmla="*/ 5101 w 10000"/>
                <a:gd name="connsiteY240" fmla="*/ 1303 h 10000"/>
                <a:gd name="connsiteX241" fmla="*/ 5163 w 10000"/>
                <a:gd name="connsiteY241" fmla="*/ 1258 h 10000"/>
                <a:gd name="connsiteX242" fmla="*/ 5178 w 10000"/>
                <a:gd name="connsiteY242" fmla="*/ 1371 h 10000"/>
                <a:gd name="connsiteX243" fmla="*/ 5225 w 10000"/>
                <a:gd name="connsiteY243" fmla="*/ 1416 h 10000"/>
                <a:gd name="connsiteX244" fmla="*/ 5295 w 10000"/>
                <a:gd name="connsiteY244" fmla="*/ 1551 h 10000"/>
                <a:gd name="connsiteX245" fmla="*/ 5333 w 10000"/>
                <a:gd name="connsiteY245" fmla="*/ 1483 h 10000"/>
                <a:gd name="connsiteX246" fmla="*/ 5620 w 10000"/>
                <a:gd name="connsiteY246" fmla="*/ 1506 h 10000"/>
                <a:gd name="connsiteX247" fmla="*/ 5620 w 10000"/>
                <a:gd name="connsiteY247" fmla="*/ 1618 h 10000"/>
                <a:gd name="connsiteX248" fmla="*/ 5899 w 10000"/>
                <a:gd name="connsiteY248" fmla="*/ 1708 h 10000"/>
                <a:gd name="connsiteX249" fmla="*/ 5930 w 10000"/>
                <a:gd name="connsiteY249" fmla="*/ 1416 h 10000"/>
                <a:gd name="connsiteX250" fmla="*/ 5984 w 10000"/>
                <a:gd name="connsiteY250" fmla="*/ 1438 h 10000"/>
                <a:gd name="connsiteX251" fmla="*/ 6062 w 10000"/>
                <a:gd name="connsiteY251" fmla="*/ 1551 h 10000"/>
                <a:gd name="connsiteX252" fmla="*/ 6186 w 10000"/>
                <a:gd name="connsiteY252" fmla="*/ 1528 h 10000"/>
                <a:gd name="connsiteX253" fmla="*/ 6256 w 10000"/>
                <a:gd name="connsiteY253" fmla="*/ 1753 h 10000"/>
                <a:gd name="connsiteX254" fmla="*/ 6271 w 10000"/>
                <a:gd name="connsiteY254" fmla="*/ 1955 h 10000"/>
                <a:gd name="connsiteX255" fmla="*/ 6225 w 10000"/>
                <a:gd name="connsiteY255" fmla="*/ 2045 h 10000"/>
                <a:gd name="connsiteX256" fmla="*/ 6310 w 10000"/>
                <a:gd name="connsiteY256" fmla="*/ 2337 h 10000"/>
                <a:gd name="connsiteX257" fmla="*/ 6395 w 10000"/>
                <a:gd name="connsiteY257" fmla="*/ 2404 h 10000"/>
                <a:gd name="connsiteX258" fmla="*/ 6473 w 10000"/>
                <a:gd name="connsiteY258" fmla="*/ 2067 h 10000"/>
                <a:gd name="connsiteX259" fmla="*/ 6574 w 10000"/>
                <a:gd name="connsiteY259" fmla="*/ 2225 h 10000"/>
                <a:gd name="connsiteX260" fmla="*/ 6667 w 10000"/>
                <a:gd name="connsiteY260" fmla="*/ 2135 h 10000"/>
                <a:gd name="connsiteX261" fmla="*/ 6767 w 10000"/>
                <a:gd name="connsiteY261" fmla="*/ 2247 h 10000"/>
                <a:gd name="connsiteX262" fmla="*/ 6853 w 10000"/>
                <a:gd name="connsiteY262" fmla="*/ 2157 h 10000"/>
                <a:gd name="connsiteX263" fmla="*/ 6915 w 10000"/>
                <a:gd name="connsiteY263" fmla="*/ 2067 h 10000"/>
                <a:gd name="connsiteX264" fmla="*/ 6907 w 10000"/>
                <a:gd name="connsiteY264" fmla="*/ 1865 h 10000"/>
                <a:gd name="connsiteX265" fmla="*/ 6992 w 10000"/>
                <a:gd name="connsiteY265" fmla="*/ 1775 h 10000"/>
                <a:gd name="connsiteX266" fmla="*/ 7256 w 10000"/>
                <a:gd name="connsiteY266" fmla="*/ 1820 h 10000"/>
                <a:gd name="connsiteX267" fmla="*/ 7302 w 10000"/>
                <a:gd name="connsiteY267" fmla="*/ 1933 h 10000"/>
                <a:gd name="connsiteX268" fmla="*/ 7326 w 10000"/>
                <a:gd name="connsiteY268" fmla="*/ 1978 h 10000"/>
                <a:gd name="connsiteX269" fmla="*/ 7465 w 10000"/>
                <a:gd name="connsiteY269" fmla="*/ 1933 h 10000"/>
                <a:gd name="connsiteX270" fmla="*/ 7527 w 10000"/>
                <a:gd name="connsiteY270" fmla="*/ 2022 h 10000"/>
                <a:gd name="connsiteX271" fmla="*/ 7496 w 10000"/>
                <a:gd name="connsiteY271" fmla="*/ 2135 h 10000"/>
                <a:gd name="connsiteX272" fmla="*/ 7550 w 10000"/>
                <a:gd name="connsiteY272" fmla="*/ 2202 h 10000"/>
                <a:gd name="connsiteX273" fmla="*/ 7667 w 10000"/>
                <a:gd name="connsiteY273" fmla="*/ 2337 h 10000"/>
                <a:gd name="connsiteX274" fmla="*/ 7868 w 10000"/>
                <a:gd name="connsiteY274" fmla="*/ 2360 h 10000"/>
                <a:gd name="connsiteX275" fmla="*/ 8078 w 10000"/>
                <a:gd name="connsiteY275" fmla="*/ 2382 h 10000"/>
                <a:gd name="connsiteX276" fmla="*/ 8163 w 10000"/>
                <a:gd name="connsiteY276" fmla="*/ 2517 h 10000"/>
                <a:gd name="connsiteX277" fmla="*/ 8155 w 10000"/>
                <a:gd name="connsiteY277" fmla="*/ 2674 h 10000"/>
                <a:gd name="connsiteX278" fmla="*/ 8171 w 10000"/>
                <a:gd name="connsiteY278" fmla="*/ 2764 h 10000"/>
                <a:gd name="connsiteX279" fmla="*/ 8240 w 10000"/>
                <a:gd name="connsiteY279" fmla="*/ 2831 h 10000"/>
                <a:gd name="connsiteX280" fmla="*/ 8295 w 10000"/>
                <a:gd name="connsiteY280" fmla="*/ 2764 h 10000"/>
                <a:gd name="connsiteX281" fmla="*/ 8550 w 10000"/>
                <a:gd name="connsiteY281" fmla="*/ 2809 h 10000"/>
                <a:gd name="connsiteX282" fmla="*/ 8581 w 10000"/>
                <a:gd name="connsiteY282" fmla="*/ 2809 h 10000"/>
                <a:gd name="connsiteX283" fmla="*/ 8643 w 10000"/>
                <a:gd name="connsiteY283" fmla="*/ 2719 h 10000"/>
                <a:gd name="connsiteX284" fmla="*/ 8667 w 10000"/>
                <a:gd name="connsiteY284" fmla="*/ 2742 h 10000"/>
                <a:gd name="connsiteX285" fmla="*/ 8667 w 10000"/>
                <a:gd name="connsiteY285" fmla="*/ 2876 h 10000"/>
                <a:gd name="connsiteX286" fmla="*/ 8736 w 10000"/>
                <a:gd name="connsiteY286" fmla="*/ 3034 h 10000"/>
                <a:gd name="connsiteX287" fmla="*/ 8814 w 10000"/>
                <a:gd name="connsiteY287" fmla="*/ 3056 h 10000"/>
                <a:gd name="connsiteX288" fmla="*/ 8837 w 10000"/>
                <a:gd name="connsiteY288" fmla="*/ 2966 h 10000"/>
                <a:gd name="connsiteX289" fmla="*/ 8814 w 10000"/>
                <a:gd name="connsiteY289" fmla="*/ 2831 h 10000"/>
                <a:gd name="connsiteX290" fmla="*/ 8806 w 10000"/>
                <a:gd name="connsiteY290" fmla="*/ 2629 h 10000"/>
                <a:gd name="connsiteX291" fmla="*/ 8853 w 10000"/>
                <a:gd name="connsiteY291" fmla="*/ 2607 h 10000"/>
                <a:gd name="connsiteX292" fmla="*/ 8922 w 10000"/>
                <a:gd name="connsiteY292" fmla="*/ 2697 h 10000"/>
                <a:gd name="connsiteX293" fmla="*/ 9047 w 10000"/>
                <a:gd name="connsiteY293" fmla="*/ 2697 h 10000"/>
                <a:gd name="connsiteX294" fmla="*/ 9194 w 10000"/>
                <a:gd name="connsiteY294" fmla="*/ 2764 h 10000"/>
                <a:gd name="connsiteX295" fmla="*/ 9364 w 10000"/>
                <a:gd name="connsiteY295" fmla="*/ 2944 h 10000"/>
                <a:gd name="connsiteX296" fmla="*/ 9465 w 10000"/>
                <a:gd name="connsiteY296" fmla="*/ 3101 h 10000"/>
                <a:gd name="connsiteX297" fmla="*/ 9643 w 10000"/>
                <a:gd name="connsiteY297" fmla="*/ 3326 h 10000"/>
                <a:gd name="connsiteX298" fmla="*/ 9674 w 10000"/>
                <a:gd name="connsiteY298" fmla="*/ 3461 h 10000"/>
                <a:gd name="connsiteX299" fmla="*/ 9698 w 10000"/>
                <a:gd name="connsiteY299" fmla="*/ 3596 h 10000"/>
                <a:gd name="connsiteX300" fmla="*/ 9736 w 10000"/>
                <a:gd name="connsiteY300" fmla="*/ 3775 h 10000"/>
                <a:gd name="connsiteX301" fmla="*/ 9767 w 10000"/>
                <a:gd name="connsiteY301" fmla="*/ 3730 h 10000"/>
                <a:gd name="connsiteX302" fmla="*/ 9744 w 10000"/>
                <a:gd name="connsiteY302" fmla="*/ 3528 h 10000"/>
                <a:gd name="connsiteX303" fmla="*/ 9806 w 10000"/>
                <a:gd name="connsiteY303" fmla="*/ 3551 h 10000"/>
                <a:gd name="connsiteX304" fmla="*/ 9884 w 10000"/>
                <a:gd name="connsiteY304" fmla="*/ 3596 h 10000"/>
                <a:gd name="connsiteX305" fmla="*/ 9953 w 10000"/>
                <a:gd name="connsiteY305" fmla="*/ 3730 h 10000"/>
                <a:gd name="connsiteX306" fmla="*/ 10000 w 10000"/>
                <a:gd name="connsiteY306" fmla="*/ 3865 h 10000"/>
                <a:gd name="connsiteX307" fmla="*/ 9953 w 10000"/>
                <a:gd name="connsiteY307" fmla="*/ 4000 h 10000"/>
                <a:gd name="connsiteX308" fmla="*/ 9853 w 10000"/>
                <a:gd name="connsiteY308" fmla="*/ 4067 h 10000"/>
                <a:gd name="connsiteX309" fmla="*/ 9837 w 10000"/>
                <a:gd name="connsiteY309" fmla="*/ 4225 h 10000"/>
                <a:gd name="connsiteX310" fmla="*/ 9806 w 10000"/>
                <a:gd name="connsiteY310" fmla="*/ 4427 h 10000"/>
                <a:gd name="connsiteX311" fmla="*/ 9698 w 10000"/>
                <a:gd name="connsiteY311" fmla="*/ 4270 h 10000"/>
                <a:gd name="connsiteX312" fmla="*/ 9636 w 10000"/>
                <a:gd name="connsiteY312" fmla="*/ 4202 h 10000"/>
                <a:gd name="connsiteX313" fmla="*/ 9643 w 10000"/>
                <a:gd name="connsiteY313" fmla="*/ 4022 h 10000"/>
                <a:gd name="connsiteX314" fmla="*/ 9481 w 10000"/>
                <a:gd name="connsiteY314" fmla="*/ 4045 h 10000"/>
                <a:gd name="connsiteX315" fmla="*/ 9457 w 10000"/>
                <a:gd name="connsiteY315" fmla="*/ 3820 h 10000"/>
                <a:gd name="connsiteX316" fmla="*/ 9403 w 10000"/>
                <a:gd name="connsiteY316" fmla="*/ 3843 h 10000"/>
                <a:gd name="connsiteX317" fmla="*/ 9395 w 10000"/>
                <a:gd name="connsiteY317" fmla="*/ 4000 h 10000"/>
                <a:gd name="connsiteX318" fmla="*/ 9419 w 10000"/>
                <a:gd name="connsiteY318" fmla="*/ 4067 h 10000"/>
                <a:gd name="connsiteX319" fmla="*/ 9349 w 10000"/>
                <a:gd name="connsiteY319" fmla="*/ 4247 h 10000"/>
                <a:gd name="connsiteX320" fmla="*/ 9271 w 10000"/>
                <a:gd name="connsiteY320" fmla="*/ 4270 h 10000"/>
                <a:gd name="connsiteX321" fmla="*/ 9217 w 10000"/>
                <a:gd name="connsiteY321" fmla="*/ 4247 h 10000"/>
                <a:gd name="connsiteX322" fmla="*/ 9186 w 10000"/>
                <a:gd name="connsiteY322" fmla="*/ 4180 h 10000"/>
                <a:gd name="connsiteX323" fmla="*/ 9178 w 10000"/>
                <a:gd name="connsiteY323" fmla="*/ 4270 h 10000"/>
                <a:gd name="connsiteX324" fmla="*/ 9233 w 10000"/>
                <a:gd name="connsiteY324" fmla="*/ 4337 h 10000"/>
                <a:gd name="connsiteX325" fmla="*/ 9287 w 10000"/>
                <a:gd name="connsiteY325" fmla="*/ 4427 h 10000"/>
                <a:gd name="connsiteX326" fmla="*/ 9310 w 10000"/>
                <a:gd name="connsiteY326" fmla="*/ 4629 h 10000"/>
                <a:gd name="connsiteX327" fmla="*/ 9357 w 10000"/>
                <a:gd name="connsiteY327" fmla="*/ 4831 h 10000"/>
                <a:gd name="connsiteX328" fmla="*/ 9302 w 10000"/>
                <a:gd name="connsiteY328" fmla="*/ 4921 h 10000"/>
                <a:gd name="connsiteX329" fmla="*/ 9202 w 10000"/>
                <a:gd name="connsiteY329" fmla="*/ 4809 h 10000"/>
                <a:gd name="connsiteX330" fmla="*/ 9155 w 10000"/>
                <a:gd name="connsiteY330" fmla="*/ 4921 h 10000"/>
                <a:gd name="connsiteX331" fmla="*/ 9016 w 10000"/>
                <a:gd name="connsiteY331" fmla="*/ 5101 h 10000"/>
                <a:gd name="connsiteX332" fmla="*/ 8938 w 10000"/>
                <a:gd name="connsiteY332" fmla="*/ 5213 h 10000"/>
                <a:gd name="connsiteX333" fmla="*/ 8783 w 10000"/>
                <a:gd name="connsiteY333" fmla="*/ 5573 h 10000"/>
                <a:gd name="connsiteX334" fmla="*/ 8729 w 10000"/>
                <a:gd name="connsiteY334" fmla="*/ 5438 h 10000"/>
                <a:gd name="connsiteX335" fmla="*/ 8612 w 10000"/>
                <a:gd name="connsiteY335" fmla="*/ 5438 h 10000"/>
                <a:gd name="connsiteX336" fmla="*/ 8550 w 10000"/>
                <a:gd name="connsiteY336" fmla="*/ 5618 h 10000"/>
                <a:gd name="connsiteX337" fmla="*/ 8535 w 10000"/>
                <a:gd name="connsiteY337" fmla="*/ 5438 h 10000"/>
                <a:gd name="connsiteX338" fmla="*/ 8496 w 10000"/>
                <a:gd name="connsiteY338" fmla="*/ 5438 h 10000"/>
                <a:gd name="connsiteX339" fmla="*/ 8481 w 10000"/>
                <a:gd name="connsiteY339" fmla="*/ 5573 h 10000"/>
                <a:gd name="connsiteX340" fmla="*/ 8372 w 10000"/>
                <a:gd name="connsiteY340" fmla="*/ 5573 h 10000"/>
                <a:gd name="connsiteX341" fmla="*/ 8279 w 10000"/>
                <a:gd name="connsiteY341" fmla="*/ 6000 h 10000"/>
                <a:gd name="connsiteX342" fmla="*/ 8279 w 10000"/>
                <a:gd name="connsiteY342" fmla="*/ 6135 h 10000"/>
                <a:gd name="connsiteX343" fmla="*/ 8341 w 10000"/>
                <a:gd name="connsiteY343" fmla="*/ 6135 h 10000"/>
                <a:gd name="connsiteX344" fmla="*/ 8326 w 10000"/>
                <a:gd name="connsiteY344" fmla="*/ 6337 h 10000"/>
                <a:gd name="connsiteX345" fmla="*/ 8349 w 10000"/>
                <a:gd name="connsiteY345" fmla="*/ 6517 h 10000"/>
                <a:gd name="connsiteX346" fmla="*/ 8279 w 10000"/>
                <a:gd name="connsiteY346" fmla="*/ 6584 h 10000"/>
                <a:gd name="connsiteX347" fmla="*/ 8256 w 10000"/>
                <a:gd name="connsiteY347" fmla="*/ 6742 h 10000"/>
                <a:gd name="connsiteX348" fmla="*/ 8279 w 10000"/>
                <a:gd name="connsiteY348" fmla="*/ 6944 h 10000"/>
                <a:gd name="connsiteX349" fmla="*/ 8186 w 10000"/>
                <a:gd name="connsiteY349" fmla="*/ 7034 h 10000"/>
                <a:gd name="connsiteX350" fmla="*/ 8155 w 10000"/>
                <a:gd name="connsiteY350" fmla="*/ 7124 h 10000"/>
                <a:gd name="connsiteX351" fmla="*/ 8155 w 10000"/>
                <a:gd name="connsiteY351" fmla="*/ 7191 h 10000"/>
                <a:gd name="connsiteX352" fmla="*/ 8163 w 10000"/>
                <a:gd name="connsiteY352" fmla="*/ 7236 h 10000"/>
                <a:gd name="connsiteX353" fmla="*/ 8155 w 10000"/>
                <a:gd name="connsiteY353" fmla="*/ 7281 h 10000"/>
                <a:gd name="connsiteX354" fmla="*/ 8062 w 10000"/>
                <a:gd name="connsiteY354" fmla="*/ 7371 h 10000"/>
                <a:gd name="connsiteX355" fmla="*/ 8062 w 10000"/>
                <a:gd name="connsiteY355" fmla="*/ 7528 h 10000"/>
                <a:gd name="connsiteX356" fmla="*/ 7946 w 10000"/>
                <a:gd name="connsiteY356" fmla="*/ 7865 h 10000"/>
                <a:gd name="connsiteX357" fmla="*/ 7930 w 10000"/>
                <a:gd name="connsiteY357" fmla="*/ 7506 h 10000"/>
                <a:gd name="connsiteX358" fmla="*/ 7884 w 10000"/>
                <a:gd name="connsiteY358" fmla="*/ 6944 h 10000"/>
                <a:gd name="connsiteX359" fmla="*/ 7884 w 10000"/>
                <a:gd name="connsiteY359" fmla="*/ 6539 h 10000"/>
                <a:gd name="connsiteX360" fmla="*/ 7930 w 10000"/>
                <a:gd name="connsiteY360" fmla="*/ 6382 h 10000"/>
                <a:gd name="connsiteX361" fmla="*/ 7977 w 10000"/>
                <a:gd name="connsiteY361" fmla="*/ 6135 h 10000"/>
                <a:gd name="connsiteX362" fmla="*/ 8039 w 10000"/>
                <a:gd name="connsiteY362" fmla="*/ 6090 h 10000"/>
                <a:gd name="connsiteX363" fmla="*/ 8202 w 10000"/>
                <a:gd name="connsiteY363" fmla="*/ 5640 h 10000"/>
                <a:gd name="connsiteX364" fmla="*/ 8326 w 10000"/>
                <a:gd name="connsiteY364" fmla="*/ 5393 h 10000"/>
                <a:gd name="connsiteX365" fmla="*/ 8364 w 10000"/>
                <a:gd name="connsiteY365" fmla="*/ 5348 h 10000"/>
                <a:gd name="connsiteX366" fmla="*/ 8426 w 10000"/>
                <a:gd name="connsiteY366" fmla="*/ 4944 h 10000"/>
                <a:gd name="connsiteX367" fmla="*/ 8457 w 10000"/>
                <a:gd name="connsiteY367" fmla="*/ 4899 h 10000"/>
                <a:gd name="connsiteX368" fmla="*/ 8395 w 10000"/>
                <a:gd name="connsiteY368" fmla="*/ 4831 h 10000"/>
                <a:gd name="connsiteX369" fmla="*/ 8372 w 10000"/>
                <a:gd name="connsiteY369" fmla="*/ 4854 h 10000"/>
                <a:gd name="connsiteX370" fmla="*/ 8349 w 10000"/>
                <a:gd name="connsiteY370" fmla="*/ 4921 h 10000"/>
                <a:gd name="connsiteX371" fmla="*/ 8349 w 10000"/>
                <a:gd name="connsiteY371" fmla="*/ 5124 h 10000"/>
                <a:gd name="connsiteX372" fmla="*/ 8295 w 10000"/>
                <a:gd name="connsiteY372" fmla="*/ 5124 h 10000"/>
                <a:gd name="connsiteX373" fmla="*/ 8171 w 10000"/>
                <a:gd name="connsiteY373" fmla="*/ 5348 h 10000"/>
                <a:gd name="connsiteX374" fmla="*/ 8140 w 10000"/>
                <a:gd name="connsiteY374" fmla="*/ 5258 h 10000"/>
                <a:gd name="connsiteX375" fmla="*/ 8171 w 10000"/>
                <a:gd name="connsiteY375" fmla="*/ 5079 h 10000"/>
                <a:gd name="connsiteX376" fmla="*/ 8132 w 10000"/>
                <a:gd name="connsiteY376" fmla="*/ 5124 h 10000"/>
                <a:gd name="connsiteX377" fmla="*/ 7977 w 10000"/>
                <a:gd name="connsiteY377" fmla="*/ 5124 h 10000"/>
                <a:gd name="connsiteX378" fmla="*/ 7829 w 10000"/>
                <a:gd name="connsiteY378" fmla="*/ 5461 h 10000"/>
                <a:gd name="connsiteX379" fmla="*/ 7798 w 10000"/>
                <a:gd name="connsiteY379" fmla="*/ 5640 h 10000"/>
                <a:gd name="connsiteX380" fmla="*/ 7814 w 10000"/>
                <a:gd name="connsiteY380" fmla="*/ 5685 h 10000"/>
                <a:gd name="connsiteX381" fmla="*/ 7853 w 10000"/>
                <a:gd name="connsiteY381" fmla="*/ 5798 h 10000"/>
                <a:gd name="connsiteX382" fmla="*/ 7791 w 10000"/>
                <a:gd name="connsiteY382" fmla="*/ 5798 h 10000"/>
                <a:gd name="connsiteX383" fmla="*/ 7729 w 10000"/>
                <a:gd name="connsiteY383" fmla="*/ 5820 h 10000"/>
                <a:gd name="connsiteX384" fmla="*/ 7612 w 10000"/>
                <a:gd name="connsiteY384" fmla="*/ 5843 h 10000"/>
                <a:gd name="connsiteX385" fmla="*/ 7643 w 10000"/>
                <a:gd name="connsiteY385" fmla="*/ 5753 h 10000"/>
                <a:gd name="connsiteX386" fmla="*/ 7620 w 10000"/>
                <a:gd name="connsiteY386" fmla="*/ 5663 h 10000"/>
                <a:gd name="connsiteX387" fmla="*/ 7535 w 10000"/>
                <a:gd name="connsiteY387" fmla="*/ 5640 h 10000"/>
                <a:gd name="connsiteX388" fmla="*/ 7481 w 10000"/>
                <a:gd name="connsiteY388" fmla="*/ 5663 h 10000"/>
                <a:gd name="connsiteX389" fmla="*/ 7457 w 10000"/>
                <a:gd name="connsiteY389" fmla="*/ 5753 h 10000"/>
                <a:gd name="connsiteX390" fmla="*/ 7341 w 10000"/>
                <a:gd name="connsiteY390" fmla="*/ 5730 h 10000"/>
                <a:gd name="connsiteX391" fmla="*/ 7287 w 10000"/>
                <a:gd name="connsiteY391" fmla="*/ 5753 h 10000"/>
                <a:gd name="connsiteX392" fmla="*/ 7085 w 10000"/>
                <a:gd name="connsiteY392" fmla="*/ 5753 h 10000"/>
                <a:gd name="connsiteX393" fmla="*/ 6636 w 10000"/>
                <a:gd name="connsiteY393" fmla="*/ 6876 h 10000"/>
                <a:gd name="connsiteX394" fmla="*/ 6643 w 10000"/>
                <a:gd name="connsiteY394" fmla="*/ 6989 h 10000"/>
                <a:gd name="connsiteX395" fmla="*/ 6721 w 10000"/>
                <a:gd name="connsiteY395" fmla="*/ 6966 h 10000"/>
                <a:gd name="connsiteX396" fmla="*/ 6729 w 10000"/>
                <a:gd name="connsiteY396" fmla="*/ 7146 h 10000"/>
                <a:gd name="connsiteX397" fmla="*/ 6767 w 10000"/>
                <a:gd name="connsiteY397" fmla="*/ 7011 h 10000"/>
                <a:gd name="connsiteX398" fmla="*/ 6806 w 10000"/>
                <a:gd name="connsiteY398" fmla="*/ 7191 h 10000"/>
                <a:gd name="connsiteX399" fmla="*/ 6860 w 10000"/>
                <a:gd name="connsiteY399" fmla="*/ 7056 h 10000"/>
                <a:gd name="connsiteX400" fmla="*/ 6946 w 10000"/>
                <a:gd name="connsiteY400" fmla="*/ 7101 h 10000"/>
                <a:gd name="connsiteX401" fmla="*/ 7008 w 10000"/>
                <a:gd name="connsiteY401" fmla="*/ 7326 h 10000"/>
                <a:gd name="connsiteX402" fmla="*/ 6992 w 10000"/>
                <a:gd name="connsiteY402" fmla="*/ 7573 h 10000"/>
                <a:gd name="connsiteX403" fmla="*/ 6961 w 10000"/>
                <a:gd name="connsiteY403" fmla="*/ 7820 h 10000"/>
                <a:gd name="connsiteX404" fmla="*/ 6953 w 10000"/>
                <a:gd name="connsiteY404" fmla="*/ 8180 h 10000"/>
                <a:gd name="connsiteX405" fmla="*/ 6930 w 10000"/>
                <a:gd name="connsiteY405" fmla="*/ 8382 h 10000"/>
                <a:gd name="connsiteX406" fmla="*/ 6698 w 10000"/>
                <a:gd name="connsiteY406" fmla="*/ 9213 h 10000"/>
                <a:gd name="connsiteX407" fmla="*/ 6628 w 10000"/>
                <a:gd name="connsiteY407" fmla="*/ 9461 h 10000"/>
                <a:gd name="connsiteX408" fmla="*/ 6574 w 10000"/>
                <a:gd name="connsiteY408" fmla="*/ 9573 h 10000"/>
                <a:gd name="connsiteX409" fmla="*/ 6504 w 10000"/>
                <a:gd name="connsiteY409" fmla="*/ 9663 h 10000"/>
                <a:gd name="connsiteX410" fmla="*/ 6450 w 10000"/>
                <a:gd name="connsiteY410" fmla="*/ 9573 h 10000"/>
                <a:gd name="connsiteX411" fmla="*/ 6380 w 10000"/>
                <a:gd name="connsiteY411" fmla="*/ 9618 h 10000"/>
                <a:gd name="connsiteX412" fmla="*/ 6380 w 10000"/>
                <a:gd name="connsiteY412" fmla="*/ 9213 h 10000"/>
                <a:gd name="connsiteX413" fmla="*/ 6434 w 10000"/>
                <a:gd name="connsiteY413" fmla="*/ 9101 h 10000"/>
                <a:gd name="connsiteX414" fmla="*/ 6457 w 10000"/>
                <a:gd name="connsiteY414" fmla="*/ 9169 h 10000"/>
                <a:gd name="connsiteX415" fmla="*/ 6504 w 10000"/>
                <a:gd name="connsiteY415" fmla="*/ 9146 h 10000"/>
                <a:gd name="connsiteX416" fmla="*/ 6550 w 10000"/>
                <a:gd name="connsiteY416" fmla="*/ 8899 h 10000"/>
                <a:gd name="connsiteX417" fmla="*/ 6574 w 10000"/>
                <a:gd name="connsiteY417" fmla="*/ 8652 h 10000"/>
                <a:gd name="connsiteX418" fmla="*/ 6605 w 10000"/>
                <a:gd name="connsiteY418" fmla="*/ 8607 h 10000"/>
                <a:gd name="connsiteX419" fmla="*/ 6597 w 10000"/>
                <a:gd name="connsiteY419" fmla="*/ 8449 h 10000"/>
                <a:gd name="connsiteX420" fmla="*/ 6535 w 10000"/>
                <a:gd name="connsiteY420" fmla="*/ 8472 h 10000"/>
                <a:gd name="connsiteX421" fmla="*/ 6481 w 10000"/>
                <a:gd name="connsiteY421" fmla="*/ 8494 h 10000"/>
                <a:gd name="connsiteX422" fmla="*/ 6457 w 10000"/>
                <a:gd name="connsiteY422" fmla="*/ 8584 h 10000"/>
                <a:gd name="connsiteX423" fmla="*/ 6372 w 10000"/>
                <a:gd name="connsiteY423" fmla="*/ 8562 h 10000"/>
                <a:gd name="connsiteX424" fmla="*/ 6357 w 10000"/>
                <a:gd name="connsiteY424" fmla="*/ 8337 h 10000"/>
                <a:gd name="connsiteX425" fmla="*/ 6240 w 10000"/>
                <a:gd name="connsiteY425" fmla="*/ 8157 h 10000"/>
                <a:gd name="connsiteX426" fmla="*/ 6178 w 10000"/>
                <a:gd name="connsiteY426" fmla="*/ 8157 h 10000"/>
                <a:gd name="connsiteX427" fmla="*/ 6093 w 10000"/>
                <a:gd name="connsiteY427" fmla="*/ 7573 h 10000"/>
                <a:gd name="connsiteX428" fmla="*/ 6047 w 10000"/>
                <a:gd name="connsiteY428" fmla="*/ 7348 h 10000"/>
                <a:gd name="connsiteX429" fmla="*/ 5930 w 10000"/>
                <a:gd name="connsiteY429" fmla="*/ 7213 h 10000"/>
                <a:gd name="connsiteX430" fmla="*/ 5760 w 10000"/>
                <a:gd name="connsiteY430" fmla="*/ 7258 h 10000"/>
                <a:gd name="connsiteX431" fmla="*/ 5705 w 10000"/>
                <a:gd name="connsiteY431" fmla="*/ 7326 h 10000"/>
                <a:gd name="connsiteX432" fmla="*/ 5698 w 10000"/>
                <a:gd name="connsiteY432" fmla="*/ 7416 h 10000"/>
                <a:gd name="connsiteX433" fmla="*/ 5744 w 10000"/>
                <a:gd name="connsiteY433" fmla="*/ 7438 h 10000"/>
                <a:gd name="connsiteX434" fmla="*/ 5744 w 10000"/>
                <a:gd name="connsiteY434" fmla="*/ 7596 h 10000"/>
                <a:gd name="connsiteX435" fmla="*/ 5705 w 10000"/>
                <a:gd name="connsiteY435" fmla="*/ 7663 h 10000"/>
                <a:gd name="connsiteX436" fmla="*/ 5667 w 10000"/>
                <a:gd name="connsiteY436" fmla="*/ 7865 h 10000"/>
                <a:gd name="connsiteX437" fmla="*/ 5651 w 10000"/>
                <a:gd name="connsiteY437" fmla="*/ 8045 h 10000"/>
                <a:gd name="connsiteX438" fmla="*/ 5605 w 10000"/>
                <a:gd name="connsiteY438" fmla="*/ 8067 h 10000"/>
                <a:gd name="connsiteX439" fmla="*/ 5566 w 10000"/>
                <a:gd name="connsiteY439" fmla="*/ 8180 h 10000"/>
                <a:gd name="connsiteX440" fmla="*/ 5496 w 10000"/>
                <a:gd name="connsiteY440" fmla="*/ 8067 h 10000"/>
                <a:gd name="connsiteX441" fmla="*/ 5403 w 10000"/>
                <a:gd name="connsiteY441" fmla="*/ 8045 h 10000"/>
                <a:gd name="connsiteX442" fmla="*/ 5372 w 10000"/>
                <a:gd name="connsiteY442" fmla="*/ 7978 h 10000"/>
                <a:gd name="connsiteX443" fmla="*/ 5333 w 10000"/>
                <a:gd name="connsiteY443" fmla="*/ 8000 h 10000"/>
                <a:gd name="connsiteX444" fmla="*/ 5264 w 10000"/>
                <a:gd name="connsiteY444" fmla="*/ 8157 h 10000"/>
                <a:gd name="connsiteX445" fmla="*/ 5147 w 10000"/>
                <a:gd name="connsiteY445" fmla="*/ 8225 h 10000"/>
                <a:gd name="connsiteX446" fmla="*/ 5078 w 10000"/>
                <a:gd name="connsiteY446" fmla="*/ 8247 h 10000"/>
                <a:gd name="connsiteX447" fmla="*/ 4992 w 10000"/>
                <a:gd name="connsiteY447" fmla="*/ 8225 h 10000"/>
                <a:gd name="connsiteX448" fmla="*/ 4969 w 10000"/>
                <a:gd name="connsiteY448" fmla="*/ 8157 h 10000"/>
                <a:gd name="connsiteX449" fmla="*/ 4946 w 10000"/>
                <a:gd name="connsiteY449" fmla="*/ 8067 h 10000"/>
                <a:gd name="connsiteX450" fmla="*/ 4907 w 10000"/>
                <a:gd name="connsiteY450" fmla="*/ 8045 h 10000"/>
                <a:gd name="connsiteX451" fmla="*/ 4884 w 10000"/>
                <a:gd name="connsiteY451" fmla="*/ 7978 h 10000"/>
                <a:gd name="connsiteX452" fmla="*/ 4791 w 10000"/>
                <a:gd name="connsiteY452" fmla="*/ 7933 h 10000"/>
                <a:gd name="connsiteX453" fmla="*/ 4736 w 10000"/>
                <a:gd name="connsiteY453" fmla="*/ 8022 h 10000"/>
                <a:gd name="connsiteX454" fmla="*/ 4636 w 10000"/>
                <a:gd name="connsiteY454" fmla="*/ 7978 h 10000"/>
                <a:gd name="connsiteX455" fmla="*/ 4597 w 10000"/>
                <a:gd name="connsiteY455" fmla="*/ 7843 h 10000"/>
                <a:gd name="connsiteX456" fmla="*/ 4589 w 10000"/>
                <a:gd name="connsiteY456" fmla="*/ 7730 h 10000"/>
                <a:gd name="connsiteX457" fmla="*/ 4496 w 10000"/>
                <a:gd name="connsiteY457" fmla="*/ 7640 h 10000"/>
                <a:gd name="connsiteX458" fmla="*/ 4388 w 10000"/>
                <a:gd name="connsiteY458" fmla="*/ 7573 h 10000"/>
                <a:gd name="connsiteX459" fmla="*/ 4318 w 10000"/>
                <a:gd name="connsiteY459" fmla="*/ 7775 h 10000"/>
                <a:gd name="connsiteX460" fmla="*/ 4364 w 10000"/>
                <a:gd name="connsiteY460" fmla="*/ 7933 h 10000"/>
                <a:gd name="connsiteX461" fmla="*/ 4357 w 10000"/>
                <a:gd name="connsiteY461" fmla="*/ 8022 h 10000"/>
                <a:gd name="connsiteX462" fmla="*/ 4310 w 10000"/>
                <a:gd name="connsiteY462" fmla="*/ 8135 h 10000"/>
                <a:gd name="connsiteX463" fmla="*/ 4279 w 10000"/>
                <a:gd name="connsiteY463" fmla="*/ 8067 h 10000"/>
                <a:gd name="connsiteX464" fmla="*/ 4155 w 10000"/>
                <a:gd name="connsiteY464" fmla="*/ 8067 h 10000"/>
                <a:gd name="connsiteX465" fmla="*/ 4116 w 10000"/>
                <a:gd name="connsiteY465" fmla="*/ 7933 h 10000"/>
                <a:gd name="connsiteX466" fmla="*/ 4039 w 10000"/>
                <a:gd name="connsiteY466" fmla="*/ 7888 h 10000"/>
                <a:gd name="connsiteX467" fmla="*/ 3969 w 10000"/>
                <a:gd name="connsiteY467" fmla="*/ 7865 h 10000"/>
                <a:gd name="connsiteX468" fmla="*/ 3837 w 10000"/>
                <a:gd name="connsiteY468" fmla="*/ 8067 h 10000"/>
                <a:gd name="connsiteX469" fmla="*/ 3806 w 10000"/>
                <a:gd name="connsiteY469" fmla="*/ 8157 h 10000"/>
                <a:gd name="connsiteX470" fmla="*/ 3752 w 10000"/>
                <a:gd name="connsiteY470" fmla="*/ 8180 h 10000"/>
                <a:gd name="connsiteX471" fmla="*/ 3721 w 10000"/>
                <a:gd name="connsiteY471" fmla="*/ 8270 h 10000"/>
                <a:gd name="connsiteX472" fmla="*/ 3659 w 10000"/>
                <a:gd name="connsiteY472" fmla="*/ 8270 h 10000"/>
                <a:gd name="connsiteX473" fmla="*/ 3643 w 10000"/>
                <a:gd name="connsiteY473" fmla="*/ 8112 h 10000"/>
                <a:gd name="connsiteX474" fmla="*/ 3558 w 10000"/>
                <a:gd name="connsiteY474" fmla="*/ 8090 h 10000"/>
                <a:gd name="connsiteX475" fmla="*/ 3504 w 10000"/>
                <a:gd name="connsiteY475" fmla="*/ 7978 h 10000"/>
                <a:gd name="connsiteX476" fmla="*/ 3465 w 10000"/>
                <a:gd name="connsiteY476" fmla="*/ 7820 h 10000"/>
                <a:gd name="connsiteX477" fmla="*/ 3357 w 10000"/>
                <a:gd name="connsiteY477" fmla="*/ 7865 h 10000"/>
                <a:gd name="connsiteX478" fmla="*/ 3271 w 10000"/>
                <a:gd name="connsiteY478" fmla="*/ 7730 h 10000"/>
                <a:gd name="connsiteX479" fmla="*/ 3256 w 10000"/>
                <a:gd name="connsiteY479" fmla="*/ 7820 h 10000"/>
                <a:gd name="connsiteX480" fmla="*/ 3225 w 10000"/>
                <a:gd name="connsiteY480" fmla="*/ 7820 h 10000"/>
                <a:gd name="connsiteX481" fmla="*/ 3171 w 10000"/>
                <a:gd name="connsiteY481" fmla="*/ 7551 h 10000"/>
                <a:gd name="connsiteX482" fmla="*/ 3109 w 10000"/>
                <a:gd name="connsiteY482" fmla="*/ 7281 h 10000"/>
                <a:gd name="connsiteX483" fmla="*/ 3039 w 10000"/>
                <a:gd name="connsiteY483" fmla="*/ 7146 h 10000"/>
                <a:gd name="connsiteX484" fmla="*/ 3031 w 10000"/>
                <a:gd name="connsiteY484" fmla="*/ 7034 h 10000"/>
                <a:gd name="connsiteX485" fmla="*/ 2946 w 10000"/>
                <a:gd name="connsiteY485" fmla="*/ 7101 h 10000"/>
                <a:gd name="connsiteX486" fmla="*/ 2876 w 10000"/>
                <a:gd name="connsiteY486" fmla="*/ 7213 h 10000"/>
                <a:gd name="connsiteX487" fmla="*/ 2798 w 10000"/>
                <a:gd name="connsiteY487" fmla="*/ 7101 h 10000"/>
                <a:gd name="connsiteX488" fmla="*/ 2721 w 10000"/>
                <a:gd name="connsiteY488" fmla="*/ 7034 h 10000"/>
                <a:gd name="connsiteX489" fmla="*/ 2682 w 10000"/>
                <a:gd name="connsiteY489" fmla="*/ 6966 h 10000"/>
                <a:gd name="connsiteX490" fmla="*/ 2667 w 10000"/>
                <a:gd name="connsiteY490" fmla="*/ 6809 h 10000"/>
                <a:gd name="connsiteX491" fmla="*/ 2589 w 10000"/>
                <a:gd name="connsiteY491" fmla="*/ 6787 h 10000"/>
                <a:gd name="connsiteX492" fmla="*/ 2504 w 10000"/>
                <a:gd name="connsiteY492" fmla="*/ 6831 h 10000"/>
                <a:gd name="connsiteX493" fmla="*/ 2163 w 10000"/>
                <a:gd name="connsiteY493" fmla="*/ 7101 h 10000"/>
                <a:gd name="connsiteX494" fmla="*/ 2078 w 10000"/>
                <a:gd name="connsiteY494" fmla="*/ 7124 h 10000"/>
                <a:gd name="connsiteX495" fmla="*/ 2093 w 10000"/>
                <a:gd name="connsiteY495" fmla="*/ 7236 h 10000"/>
                <a:gd name="connsiteX496" fmla="*/ 2109 w 10000"/>
                <a:gd name="connsiteY496" fmla="*/ 7326 h 10000"/>
                <a:gd name="connsiteX497" fmla="*/ 2062 w 10000"/>
                <a:gd name="connsiteY497" fmla="*/ 7371 h 10000"/>
                <a:gd name="connsiteX498" fmla="*/ 2054 w 10000"/>
                <a:gd name="connsiteY498" fmla="*/ 7483 h 10000"/>
                <a:gd name="connsiteX499" fmla="*/ 2031 w 10000"/>
                <a:gd name="connsiteY499" fmla="*/ 7551 h 10000"/>
                <a:gd name="connsiteX500" fmla="*/ 2008 w 10000"/>
                <a:gd name="connsiteY500" fmla="*/ 7640 h 10000"/>
                <a:gd name="connsiteX501" fmla="*/ 2062 w 10000"/>
                <a:gd name="connsiteY501" fmla="*/ 7685 h 10000"/>
                <a:gd name="connsiteX502" fmla="*/ 2093 w 10000"/>
                <a:gd name="connsiteY502" fmla="*/ 7775 h 10000"/>
                <a:gd name="connsiteX503" fmla="*/ 2054 w 10000"/>
                <a:gd name="connsiteY503" fmla="*/ 7888 h 10000"/>
                <a:gd name="connsiteX504" fmla="*/ 1953 w 10000"/>
                <a:gd name="connsiteY504" fmla="*/ 7910 h 10000"/>
                <a:gd name="connsiteX505" fmla="*/ 1915 w 10000"/>
                <a:gd name="connsiteY505" fmla="*/ 7798 h 10000"/>
                <a:gd name="connsiteX506" fmla="*/ 1845 w 10000"/>
                <a:gd name="connsiteY506" fmla="*/ 7798 h 10000"/>
                <a:gd name="connsiteX507" fmla="*/ 1760 w 10000"/>
                <a:gd name="connsiteY507" fmla="*/ 7910 h 10000"/>
                <a:gd name="connsiteX508" fmla="*/ 1698 w 10000"/>
                <a:gd name="connsiteY508" fmla="*/ 7888 h 10000"/>
                <a:gd name="connsiteX509" fmla="*/ 1612 w 10000"/>
                <a:gd name="connsiteY509" fmla="*/ 7730 h 10000"/>
                <a:gd name="connsiteX510" fmla="*/ 1473 w 10000"/>
                <a:gd name="connsiteY510" fmla="*/ 7663 h 10000"/>
                <a:gd name="connsiteX511" fmla="*/ 1411 w 10000"/>
                <a:gd name="connsiteY511" fmla="*/ 7730 h 10000"/>
                <a:gd name="connsiteX512" fmla="*/ 1318 w 10000"/>
                <a:gd name="connsiteY512" fmla="*/ 7933 h 10000"/>
                <a:gd name="connsiteX513" fmla="*/ 1310 w 10000"/>
                <a:gd name="connsiteY513" fmla="*/ 8067 h 10000"/>
                <a:gd name="connsiteX514" fmla="*/ 1279 w 10000"/>
                <a:gd name="connsiteY514" fmla="*/ 8112 h 10000"/>
                <a:gd name="connsiteX515" fmla="*/ 1248 w 10000"/>
                <a:gd name="connsiteY515" fmla="*/ 7933 h 10000"/>
                <a:gd name="connsiteX516" fmla="*/ 1202 w 10000"/>
                <a:gd name="connsiteY516" fmla="*/ 8090 h 10000"/>
                <a:gd name="connsiteX517" fmla="*/ 1178 w 10000"/>
                <a:gd name="connsiteY517" fmla="*/ 8360 h 10000"/>
                <a:gd name="connsiteX518" fmla="*/ 1217 w 10000"/>
                <a:gd name="connsiteY518" fmla="*/ 8517 h 10000"/>
                <a:gd name="connsiteX519" fmla="*/ 1271 w 10000"/>
                <a:gd name="connsiteY519" fmla="*/ 8562 h 10000"/>
                <a:gd name="connsiteX520" fmla="*/ 1318 w 10000"/>
                <a:gd name="connsiteY520" fmla="*/ 8742 h 10000"/>
                <a:gd name="connsiteX521" fmla="*/ 1333 w 10000"/>
                <a:gd name="connsiteY521" fmla="*/ 889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Lst>
              <a:rect l="l" t="t" r="r" b="b"/>
              <a:pathLst>
                <a:path w="10000" h="10000">
                  <a:moveTo>
                    <a:pt x="1333" y="8899"/>
                  </a:moveTo>
                  <a:cubicBezTo>
                    <a:pt x="1312" y="8944"/>
                    <a:pt x="1292" y="8989"/>
                    <a:pt x="1271" y="9034"/>
                  </a:cubicBezTo>
                  <a:cubicBezTo>
                    <a:pt x="1258" y="9056"/>
                    <a:pt x="1246" y="9079"/>
                    <a:pt x="1233" y="9101"/>
                  </a:cubicBezTo>
                  <a:cubicBezTo>
                    <a:pt x="1228" y="9131"/>
                    <a:pt x="1222" y="9161"/>
                    <a:pt x="1217" y="9191"/>
                  </a:cubicBezTo>
                  <a:cubicBezTo>
                    <a:pt x="1207" y="9228"/>
                    <a:pt x="1196" y="9266"/>
                    <a:pt x="1186" y="9303"/>
                  </a:cubicBezTo>
                  <a:cubicBezTo>
                    <a:pt x="1196" y="9326"/>
                    <a:pt x="1207" y="9348"/>
                    <a:pt x="1217" y="9371"/>
                  </a:cubicBezTo>
                  <a:cubicBezTo>
                    <a:pt x="1225" y="9408"/>
                    <a:pt x="1232" y="9446"/>
                    <a:pt x="1240" y="9483"/>
                  </a:cubicBezTo>
                  <a:cubicBezTo>
                    <a:pt x="1243" y="9550"/>
                    <a:pt x="1245" y="9618"/>
                    <a:pt x="1248" y="9685"/>
                  </a:cubicBezTo>
                  <a:lnTo>
                    <a:pt x="1302" y="9865"/>
                  </a:lnTo>
                  <a:cubicBezTo>
                    <a:pt x="1289" y="9903"/>
                    <a:pt x="1277" y="9940"/>
                    <a:pt x="1264" y="9978"/>
                  </a:cubicBezTo>
                  <a:cubicBezTo>
                    <a:pt x="1259" y="9985"/>
                    <a:pt x="1253" y="9993"/>
                    <a:pt x="1248" y="10000"/>
                  </a:cubicBezTo>
                  <a:cubicBezTo>
                    <a:pt x="1227" y="9955"/>
                    <a:pt x="1207" y="9910"/>
                    <a:pt x="1186" y="9865"/>
                  </a:cubicBezTo>
                  <a:cubicBezTo>
                    <a:pt x="1178" y="9858"/>
                    <a:pt x="1171" y="9850"/>
                    <a:pt x="1163" y="9843"/>
                  </a:cubicBezTo>
                  <a:cubicBezTo>
                    <a:pt x="1150" y="9805"/>
                    <a:pt x="1137" y="9768"/>
                    <a:pt x="1124" y="9730"/>
                  </a:cubicBezTo>
                  <a:cubicBezTo>
                    <a:pt x="1111" y="9708"/>
                    <a:pt x="1098" y="9685"/>
                    <a:pt x="1085" y="9663"/>
                  </a:cubicBezTo>
                  <a:cubicBezTo>
                    <a:pt x="1072" y="9670"/>
                    <a:pt x="1060" y="9678"/>
                    <a:pt x="1047" y="9685"/>
                  </a:cubicBezTo>
                  <a:lnTo>
                    <a:pt x="1023" y="9685"/>
                  </a:lnTo>
                  <a:lnTo>
                    <a:pt x="984" y="9640"/>
                  </a:lnTo>
                  <a:cubicBezTo>
                    <a:pt x="966" y="9610"/>
                    <a:pt x="948" y="9581"/>
                    <a:pt x="930" y="9551"/>
                  </a:cubicBezTo>
                  <a:lnTo>
                    <a:pt x="899" y="9551"/>
                  </a:lnTo>
                  <a:cubicBezTo>
                    <a:pt x="886" y="9558"/>
                    <a:pt x="873" y="9566"/>
                    <a:pt x="860" y="9573"/>
                  </a:cubicBezTo>
                  <a:cubicBezTo>
                    <a:pt x="845" y="9543"/>
                    <a:pt x="829" y="9513"/>
                    <a:pt x="814" y="9483"/>
                  </a:cubicBezTo>
                  <a:cubicBezTo>
                    <a:pt x="798" y="9491"/>
                    <a:pt x="783" y="9498"/>
                    <a:pt x="767" y="9506"/>
                  </a:cubicBezTo>
                  <a:cubicBezTo>
                    <a:pt x="734" y="9438"/>
                    <a:pt x="700" y="9371"/>
                    <a:pt x="667" y="9303"/>
                  </a:cubicBezTo>
                  <a:lnTo>
                    <a:pt x="612" y="9236"/>
                  </a:lnTo>
                  <a:cubicBezTo>
                    <a:pt x="617" y="9184"/>
                    <a:pt x="623" y="9131"/>
                    <a:pt x="628" y="9079"/>
                  </a:cubicBezTo>
                  <a:cubicBezTo>
                    <a:pt x="643" y="9034"/>
                    <a:pt x="659" y="8989"/>
                    <a:pt x="674" y="8944"/>
                  </a:cubicBezTo>
                  <a:cubicBezTo>
                    <a:pt x="672" y="8906"/>
                    <a:pt x="669" y="8869"/>
                    <a:pt x="667" y="8831"/>
                  </a:cubicBezTo>
                  <a:cubicBezTo>
                    <a:pt x="688" y="8794"/>
                    <a:pt x="708" y="8756"/>
                    <a:pt x="729" y="8719"/>
                  </a:cubicBezTo>
                  <a:lnTo>
                    <a:pt x="659" y="8697"/>
                  </a:lnTo>
                  <a:cubicBezTo>
                    <a:pt x="662" y="8667"/>
                    <a:pt x="664" y="8637"/>
                    <a:pt x="667" y="8607"/>
                  </a:cubicBezTo>
                  <a:cubicBezTo>
                    <a:pt x="680" y="8592"/>
                    <a:pt x="692" y="8577"/>
                    <a:pt x="705" y="8562"/>
                  </a:cubicBezTo>
                  <a:cubicBezTo>
                    <a:pt x="726" y="8547"/>
                    <a:pt x="746" y="8532"/>
                    <a:pt x="767" y="8517"/>
                  </a:cubicBezTo>
                  <a:cubicBezTo>
                    <a:pt x="770" y="8397"/>
                    <a:pt x="772" y="8277"/>
                    <a:pt x="775" y="8157"/>
                  </a:cubicBezTo>
                  <a:cubicBezTo>
                    <a:pt x="754" y="8120"/>
                    <a:pt x="734" y="8082"/>
                    <a:pt x="713" y="8045"/>
                  </a:cubicBezTo>
                  <a:lnTo>
                    <a:pt x="636" y="8045"/>
                  </a:lnTo>
                  <a:cubicBezTo>
                    <a:pt x="633" y="8023"/>
                    <a:pt x="631" y="8000"/>
                    <a:pt x="628" y="7978"/>
                  </a:cubicBezTo>
                  <a:lnTo>
                    <a:pt x="504" y="7955"/>
                  </a:lnTo>
                  <a:cubicBezTo>
                    <a:pt x="499" y="7903"/>
                    <a:pt x="493" y="7850"/>
                    <a:pt x="488" y="7798"/>
                  </a:cubicBezTo>
                  <a:lnTo>
                    <a:pt x="419" y="7753"/>
                  </a:lnTo>
                  <a:cubicBezTo>
                    <a:pt x="421" y="7708"/>
                    <a:pt x="424" y="7663"/>
                    <a:pt x="426" y="7618"/>
                  </a:cubicBezTo>
                  <a:cubicBezTo>
                    <a:pt x="421" y="7581"/>
                    <a:pt x="416" y="7543"/>
                    <a:pt x="411" y="7506"/>
                  </a:cubicBezTo>
                  <a:lnTo>
                    <a:pt x="318" y="7506"/>
                  </a:lnTo>
                  <a:cubicBezTo>
                    <a:pt x="313" y="7521"/>
                    <a:pt x="307" y="7536"/>
                    <a:pt x="302" y="7551"/>
                  </a:cubicBezTo>
                  <a:cubicBezTo>
                    <a:pt x="294" y="7558"/>
                    <a:pt x="287" y="7566"/>
                    <a:pt x="279" y="7573"/>
                  </a:cubicBezTo>
                  <a:cubicBezTo>
                    <a:pt x="269" y="7558"/>
                    <a:pt x="258" y="7543"/>
                    <a:pt x="248" y="7528"/>
                  </a:cubicBezTo>
                  <a:lnTo>
                    <a:pt x="248" y="7303"/>
                  </a:lnTo>
                  <a:lnTo>
                    <a:pt x="318" y="7303"/>
                  </a:lnTo>
                  <a:cubicBezTo>
                    <a:pt x="321" y="7296"/>
                    <a:pt x="323" y="7288"/>
                    <a:pt x="326" y="7281"/>
                  </a:cubicBezTo>
                  <a:cubicBezTo>
                    <a:pt x="290" y="7169"/>
                    <a:pt x="253" y="7056"/>
                    <a:pt x="217" y="6944"/>
                  </a:cubicBezTo>
                  <a:cubicBezTo>
                    <a:pt x="212" y="6862"/>
                    <a:pt x="207" y="6779"/>
                    <a:pt x="202" y="6697"/>
                  </a:cubicBezTo>
                  <a:cubicBezTo>
                    <a:pt x="176" y="6689"/>
                    <a:pt x="150" y="6682"/>
                    <a:pt x="124" y="6674"/>
                  </a:cubicBezTo>
                  <a:lnTo>
                    <a:pt x="124" y="6607"/>
                  </a:lnTo>
                  <a:lnTo>
                    <a:pt x="54" y="6562"/>
                  </a:lnTo>
                  <a:cubicBezTo>
                    <a:pt x="49" y="6539"/>
                    <a:pt x="44" y="6517"/>
                    <a:pt x="39" y="6494"/>
                  </a:cubicBezTo>
                  <a:cubicBezTo>
                    <a:pt x="34" y="6434"/>
                    <a:pt x="28" y="6375"/>
                    <a:pt x="23" y="6315"/>
                  </a:cubicBezTo>
                  <a:cubicBezTo>
                    <a:pt x="15" y="6270"/>
                    <a:pt x="8" y="6225"/>
                    <a:pt x="0" y="6180"/>
                  </a:cubicBezTo>
                  <a:cubicBezTo>
                    <a:pt x="3" y="6135"/>
                    <a:pt x="5" y="6090"/>
                    <a:pt x="8" y="6045"/>
                  </a:cubicBezTo>
                  <a:lnTo>
                    <a:pt x="8" y="5865"/>
                  </a:lnTo>
                  <a:cubicBezTo>
                    <a:pt x="16" y="5820"/>
                    <a:pt x="23" y="5775"/>
                    <a:pt x="31" y="5730"/>
                  </a:cubicBezTo>
                  <a:cubicBezTo>
                    <a:pt x="54" y="5678"/>
                    <a:pt x="78" y="5625"/>
                    <a:pt x="101" y="5573"/>
                  </a:cubicBezTo>
                  <a:cubicBezTo>
                    <a:pt x="119" y="5566"/>
                    <a:pt x="137" y="5558"/>
                    <a:pt x="155" y="5551"/>
                  </a:cubicBezTo>
                  <a:cubicBezTo>
                    <a:pt x="132" y="5521"/>
                    <a:pt x="108" y="5491"/>
                    <a:pt x="85" y="5461"/>
                  </a:cubicBezTo>
                  <a:cubicBezTo>
                    <a:pt x="72" y="5416"/>
                    <a:pt x="60" y="5371"/>
                    <a:pt x="47" y="5326"/>
                  </a:cubicBezTo>
                  <a:cubicBezTo>
                    <a:pt x="91" y="5209"/>
                    <a:pt x="136" y="5092"/>
                    <a:pt x="180" y="4975"/>
                  </a:cubicBezTo>
                  <a:cubicBezTo>
                    <a:pt x="203" y="4905"/>
                    <a:pt x="225" y="4834"/>
                    <a:pt x="248" y="4764"/>
                  </a:cubicBezTo>
                  <a:cubicBezTo>
                    <a:pt x="217" y="4697"/>
                    <a:pt x="186" y="4629"/>
                    <a:pt x="155" y="4562"/>
                  </a:cubicBezTo>
                  <a:cubicBezTo>
                    <a:pt x="168" y="4524"/>
                    <a:pt x="181" y="4487"/>
                    <a:pt x="194" y="4449"/>
                  </a:cubicBezTo>
                  <a:cubicBezTo>
                    <a:pt x="184" y="4397"/>
                    <a:pt x="155" y="4365"/>
                    <a:pt x="145" y="4313"/>
                  </a:cubicBezTo>
                  <a:cubicBezTo>
                    <a:pt x="132" y="4276"/>
                    <a:pt x="137" y="4217"/>
                    <a:pt x="124" y="4180"/>
                  </a:cubicBezTo>
                  <a:cubicBezTo>
                    <a:pt x="134" y="4105"/>
                    <a:pt x="145" y="4030"/>
                    <a:pt x="155" y="3955"/>
                  </a:cubicBezTo>
                  <a:cubicBezTo>
                    <a:pt x="147" y="3895"/>
                    <a:pt x="140" y="3835"/>
                    <a:pt x="132" y="3775"/>
                  </a:cubicBezTo>
                  <a:cubicBezTo>
                    <a:pt x="119" y="3708"/>
                    <a:pt x="106" y="3640"/>
                    <a:pt x="93" y="3573"/>
                  </a:cubicBezTo>
                  <a:cubicBezTo>
                    <a:pt x="114" y="3513"/>
                    <a:pt x="134" y="3453"/>
                    <a:pt x="155" y="3393"/>
                  </a:cubicBezTo>
                  <a:cubicBezTo>
                    <a:pt x="124" y="3341"/>
                    <a:pt x="93" y="3288"/>
                    <a:pt x="62" y="3236"/>
                  </a:cubicBezTo>
                  <a:cubicBezTo>
                    <a:pt x="67" y="3154"/>
                    <a:pt x="73" y="3071"/>
                    <a:pt x="78" y="2989"/>
                  </a:cubicBezTo>
                  <a:cubicBezTo>
                    <a:pt x="91" y="2951"/>
                    <a:pt x="103" y="2914"/>
                    <a:pt x="116" y="2876"/>
                  </a:cubicBezTo>
                  <a:cubicBezTo>
                    <a:pt x="129" y="2869"/>
                    <a:pt x="142" y="2861"/>
                    <a:pt x="155" y="2854"/>
                  </a:cubicBezTo>
                  <a:lnTo>
                    <a:pt x="155" y="2787"/>
                  </a:lnTo>
                  <a:lnTo>
                    <a:pt x="240" y="2742"/>
                  </a:lnTo>
                  <a:lnTo>
                    <a:pt x="310" y="2742"/>
                  </a:lnTo>
                  <a:cubicBezTo>
                    <a:pt x="318" y="2779"/>
                    <a:pt x="325" y="2817"/>
                    <a:pt x="333" y="2854"/>
                  </a:cubicBezTo>
                  <a:lnTo>
                    <a:pt x="372" y="2899"/>
                  </a:lnTo>
                  <a:lnTo>
                    <a:pt x="519" y="2921"/>
                  </a:lnTo>
                  <a:cubicBezTo>
                    <a:pt x="555" y="2974"/>
                    <a:pt x="592" y="3026"/>
                    <a:pt x="628" y="3079"/>
                  </a:cubicBezTo>
                  <a:lnTo>
                    <a:pt x="729" y="3258"/>
                  </a:lnTo>
                  <a:cubicBezTo>
                    <a:pt x="768" y="3318"/>
                    <a:pt x="806" y="3378"/>
                    <a:pt x="845" y="3438"/>
                  </a:cubicBezTo>
                  <a:cubicBezTo>
                    <a:pt x="848" y="3505"/>
                    <a:pt x="850" y="3573"/>
                    <a:pt x="853" y="3640"/>
                  </a:cubicBezTo>
                  <a:cubicBezTo>
                    <a:pt x="830" y="3700"/>
                    <a:pt x="806" y="3760"/>
                    <a:pt x="783" y="3820"/>
                  </a:cubicBezTo>
                  <a:lnTo>
                    <a:pt x="667" y="3910"/>
                  </a:lnTo>
                  <a:cubicBezTo>
                    <a:pt x="633" y="3873"/>
                    <a:pt x="600" y="3835"/>
                    <a:pt x="566" y="3798"/>
                  </a:cubicBezTo>
                  <a:lnTo>
                    <a:pt x="450" y="3730"/>
                  </a:lnTo>
                  <a:cubicBezTo>
                    <a:pt x="421" y="3700"/>
                    <a:pt x="393" y="3670"/>
                    <a:pt x="364" y="3640"/>
                  </a:cubicBezTo>
                  <a:cubicBezTo>
                    <a:pt x="341" y="3610"/>
                    <a:pt x="318" y="3581"/>
                    <a:pt x="295" y="3551"/>
                  </a:cubicBezTo>
                  <a:cubicBezTo>
                    <a:pt x="313" y="3618"/>
                    <a:pt x="331" y="3686"/>
                    <a:pt x="349" y="3753"/>
                  </a:cubicBezTo>
                  <a:cubicBezTo>
                    <a:pt x="370" y="3783"/>
                    <a:pt x="390" y="3813"/>
                    <a:pt x="411" y="3843"/>
                  </a:cubicBezTo>
                  <a:cubicBezTo>
                    <a:pt x="421" y="3865"/>
                    <a:pt x="432" y="3888"/>
                    <a:pt x="442" y="3910"/>
                  </a:cubicBezTo>
                  <a:cubicBezTo>
                    <a:pt x="445" y="3955"/>
                    <a:pt x="447" y="4000"/>
                    <a:pt x="450" y="4045"/>
                  </a:cubicBezTo>
                  <a:cubicBezTo>
                    <a:pt x="458" y="4142"/>
                    <a:pt x="465" y="4240"/>
                    <a:pt x="473" y="4337"/>
                  </a:cubicBezTo>
                  <a:cubicBezTo>
                    <a:pt x="486" y="4345"/>
                    <a:pt x="499" y="4352"/>
                    <a:pt x="512" y="4360"/>
                  </a:cubicBezTo>
                  <a:cubicBezTo>
                    <a:pt x="533" y="4412"/>
                    <a:pt x="553" y="4465"/>
                    <a:pt x="574" y="4517"/>
                  </a:cubicBezTo>
                  <a:lnTo>
                    <a:pt x="651" y="4517"/>
                  </a:lnTo>
                  <a:cubicBezTo>
                    <a:pt x="654" y="4479"/>
                    <a:pt x="656" y="4442"/>
                    <a:pt x="659" y="4404"/>
                  </a:cubicBezTo>
                  <a:lnTo>
                    <a:pt x="612" y="4360"/>
                  </a:lnTo>
                  <a:cubicBezTo>
                    <a:pt x="599" y="4315"/>
                    <a:pt x="587" y="4270"/>
                    <a:pt x="574" y="4225"/>
                  </a:cubicBezTo>
                  <a:cubicBezTo>
                    <a:pt x="584" y="4187"/>
                    <a:pt x="595" y="4150"/>
                    <a:pt x="605" y="4112"/>
                  </a:cubicBezTo>
                  <a:cubicBezTo>
                    <a:pt x="620" y="4150"/>
                    <a:pt x="636" y="4187"/>
                    <a:pt x="651" y="4225"/>
                  </a:cubicBezTo>
                  <a:cubicBezTo>
                    <a:pt x="667" y="4240"/>
                    <a:pt x="682" y="4255"/>
                    <a:pt x="698" y="4270"/>
                  </a:cubicBezTo>
                  <a:lnTo>
                    <a:pt x="798" y="4337"/>
                  </a:lnTo>
                  <a:lnTo>
                    <a:pt x="798" y="4225"/>
                  </a:lnTo>
                  <a:cubicBezTo>
                    <a:pt x="785" y="4180"/>
                    <a:pt x="773" y="4135"/>
                    <a:pt x="760" y="4090"/>
                  </a:cubicBezTo>
                  <a:cubicBezTo>
                    <a:pt x="775" y="4045"/>
                    <a:pt x="791" y="4000"/>
                    <a:pt x="806" y="3955"/>
                  </a:cubicBezTo>
                  <a:lnTo>
                    <a:pt x="876" y="3843"/>
                  </a:lnTo>
                  <a:lnTo>
                    <a:pt x="915" y="3753"/>
                  </a:lnTo>
                  <a:lnTo>
                    <a:pt x="1023" y="3843"/>
                  </a:lnTo>
                  <a:lnTo>
                    <a:pt x="1047" y="3573"/>
                  </a:lnTo>
                  <a:cubicBezTo>
                    <a:pt x="1037" y="3543"/>
                    <a:pt x="1026" y="3513"/>
                    <a:pt x="1016" y="3483"/>
                  </a:cubicBezTo>
                  <a:cubicBezTo>
                    <a:pt x="1021" y="3401"/>
                    <a:pt x="1026" y="3318"/>
                    <a:pt x="1031" y="3236"/>
                  </a:cubicBezTo>
                  <a:cubicBezTo>
                    <a:pt x="1021" y="3206"/>
                    <a:pt x="1010" y="3176"/>
                    <a:pt x="1000" y="3146"/>
                  </a:cubicBezTo>
                  <a:lnTo>
                    <a:pt x="1132" y="3124"/>
                  </a:lnTo>
                  <a:cubicBezTo>
                    <a:pt x="1147" y="3176"/>
                    <a:pt x="1163" y="3229"/>
                    <a:pt x="1178" y="3281"/>
                  </a:cubicBezTo>
                  <a:lnTo>
                    <a:pt x="1178" y="3371"/>
                  </a:lnTo>
                  <a:lnTo>
                    <a:pt x="1116" y="3371"/>
                  </a:lnTo>
                  <a:cubicBezTo>
                    <a:pt x="1103" y="3408"/>
                    <a:pt x="1091" y="3446"/>
                    <a:pt x="1078" y="3483"/>
                  </a:cubicBezTo>
                  <a:cubicBezTo>
                    <a:pt x="1099" y="3535"/>
                    <a:pt x="1119" y="3588"/>
                    <a:pt x="1140" y="3640"/>
                  </a:cubicBezTo>
                  <a:cubicBezTo>
                    <a:pt x="1171" y="3648"/>
                    <a:pt x="1202" y="3655"/>
                    <a:pt x="1233" y="3663"/>
                  </a:cubicBezTo>
                  <a:cubicBezTo>
                    <a:pt x="1246" y="3573"/>
                    <a:pt x="1258" y="3483"/>
                    <a:pt x="1271" y="3393"/>
                  </a:cubicBezTo>
                  <a:lnTo>
                    <a:pt x="1496" y="3146"/>
                  </a:lnTo>
                  <a:cubicBezTo>
                    <a:pt x="1509" y="3154"/>
                    <a:pt x="1522" y="3161"/>
                    <a:pt x="1535" y="3169"/>
                  </a:cubicBezTo>
                  <a:cubicBezTo>
                    <a:pt x="1550" y="3124"/>
                    <a:pt x="1566" y="3079"/>
                    <a:pt x="1581" y="3034"/>
                  </a:cubicBezTo>
                  <a:cubicBezTo>
                    <a:pt x="1597" y="3019"/>
                    <a:pt x="1612" y="3004"/>
                    <a:pt x="1628" y="2989"/>
                  </a:cubicBezTo>
                  <a:cubicBezTo>
                    <a:pt x="1623" y="3056"/>
                    <a:pt x="1617" y="3124"/>
                    <a:pt x="1612" y="3191"/>
                  </a:cubicBezTo>
                  <a:lnTo>
                    <a:pt x="1690" y="3191"/>
                  </a:lnTo>
                  <a:lnTo>
                    <a:pt x="1705" y="3101"/>
                  </a:lnTo>
                  <a:lnTo>
                    <a:pt x="1845" y="3124"/>
                  </a:lnTo>
                  <a:cubicBezTo>
                    <a:pt x="1876" y="3071"/>
                    <a:pt x="1907" y="3019"/>
                    <a:pt x="1938" y="2966"/>
                  </a:cubicBezTo>
                  <a:cubicBezTo>
                    <a:pt x="1943" y="3004"/>
                    <a:pt x="1948" y="3041"/>
                    <a:pt x="1953" y="3079"/>
                  </a:cubicBezTo>
                  <a:cubicBezTo>
                    <a:pt x="1951" y="3109"/>
                    <a:pt x="1948" y="3139"/>
                    <a:pt x="1946" y="3169"/>
                  </a:cubicBezTo>
                  <a:lnTo>
                    <a:pt x="1984" y="3169"/>
                  </a:lnTo>
                  <a:cubicBezTo>
                    <a:pt x="1989" y="3139"/>
                    <a:pt x="1995" y="3109"/>
                    <a:pt x="2000" y="3079"/>
                  </a:cubicBezTo>
                  <a:cubicBezTo>
                    <a:pt x="2021" y="3041"/>
                    <a:pt x="2041" y="3004"/>
                    <a:pt x="2062" y="2966"/>
                  </a:cubicBezTo>
                  <a:cubicBezTo>
                    <a:pt x="2047" y="2906"/>
                    <a:pt x="2031" y="2847"/>
                    <a:pt x="2016" y="2787"/>
                  </a:cubicBezTo>
                  <a:cubicBezTo>
                    <a:pt x="1987" y="2757"/>
                    <a:pt x="1959" y="2727"/>
                    <a:pt x="1930" y="2697"/>
                  </a:cubicBezTo>
                  <a:lnTo>
                    <a:pt x="1930" y="2539"/>
                  </a:lnTo>
                  <a:lnTo>
                    <a:pt x="1961" y="2517"/>
                  </a:lnTo>
                  <a:cubicBezTo>
                    <a:pt x="1987" y="2584"/>
                    <a:pt x="2013" y="2652"/>
                    <a:pt x="2039" y="2719"/>
                  </a:cubicBezTo>
                  <a:lnTo>
                    <a:pt x="2163" y="2742"/>
                  </a:lnTo>
                  <a:lnTo>
                    <a:pt x="2295" y="2876"/>
                  </a:lnTo>
                  <a:lnTo>
                    <a:pt x="2403" y="3011"/>
                  </a:lnTo>
                  <a:cubicBezTo>
                    <a:pt x="2442" y="3071"/>
                    <a:pt x="2480" y="3131"/>
                    <a:pt x="2519" y="3191"/>
                  </a:cubicBezTo>
                  <a:cubicBezTo>
                    <a:pt x="2529" y="3139"/>
                    <a:pt x="2540" y="3086"/>
                    <a:pt x="2550" y="3034"/>
                  </a:cubicBezTo>
                  <a:cubicBezTo>
                    <a:pt x="2532" y="2981"/>
                    <a:pt x="2514" y="2929"/>
                    <a:pt x="2496" y="2876"/>
                  </a:cubicBezTo>
                  <a:lnTo>
                    <a:pt x="2426" y="2764"/>
                  </a:lnTo>
                  <a:lnTo>
                    <a:pt x="2426" y="2652"/>
                  </a:lnTo>
                  <a:cubicBezTo>
                    <a:pt x="2436" y="2577"/>
                    <a:pt x="2447" y="2502"/>
                    <a:pt x="2457" y="2427"/>
                  </a:cubicBezTo>
                  <a:cubicBezTo>
                    <a:pt x="2444" y="2405"/>
                    <a:pt x="2432" y="2382"/>
                    <a:pt x="2419" y="2360"/>
                  </a:cubicBezTo>
                  <a:cubicBezTo>
                    <a:pt x="2421" y="2337"/>
                    <a:pt x="2424" y="2315"/>
                    <a:pt x="2426" y="2292"/>
                  </a:cubicBezTo>
                  <a:cubicBezTo>
                    <a:pt x="2457" y="2225"/>
                    <a:pt x="2488" y="2157"/>
                    <a:pt x="2519" y="2090"/>
                  </a:cubicBezTo>
                  <a:cubicBezTo>
                    <a:pt x="2540" y="1970"/>
                    <a:pt x="2560" y="1850"/>
                    <a:pt x="2581" y="1730"/>
                  </a:cubicBezTo>
                  <a:lnTo>
                    <a:pt x="2775" y="1775"/>
                  </a:lnTo>
                  <a:cubicBezTo>
                    <a:pt x="2780" y="1798"/>
                    <a:pt x="2786" y="1820"/>
                    <a:pt x="2791" y="1843"/>
                  </a:cubicBezTo>
                  <a:cubicBezTo>
                    <a:pt x="2786" y="1910"/>
                    <a:pt x="2780" y="1978"/>
                    <a:pt x="2775" y="2045"/>
                  </a:cubicBezTo>
                  <a:lnTo>
                    <a:pt x="2736" y="2225"/>
                  </a:lnTo>
                  <a:lnTo>
                    <a:pt x="2775" y="2315"/>
                  </a:lnTo>
                  <a:cubicBezTo>
                    <a:pt x="2780" y="2382"/>
                    <a:pt x="2786" y="2450"/>
                    <a:pt x="2791" y="2517"/>
                  </a:cubicBezTo>
                  <a:cubicBezTo>
                    <a:pt x="2786" y="2682"/>
                    <a:pt x="2780" y="2846"/>
                    <a:pt x="2775" y="3011"/>
                  </a:cubicBezTo>
                  <a:cubicBezTo>
                    <a:pt x="2796" y="3056"/>
                    <a:pt x="2816" y="3101"/>
                    <a:pt x="2837" y="3146"/>
                  </a:cubicBezTo>
                  <a:cubicBezTo>
                    <a:pt x="2827" y="3213"/>
                    <a:pt x="2816" y="3281"/>
                    <a:pt x="2806" y="3348"/>
                  </a:cubicBezTo>
                  <a:lnTo>
                    <a:pt x="2698" y="3618"/>
                  </a:lnTo>
                  <a:lnTo>
                    <a:pt x="2643" y="3685"/>
                  </a:lnTo>
                  <a:cubicBezTo>
                    <a:pt x="2622" y="3670"/>
                    <a:pt x="2602" y="3655"/>
                    <a:pt x="2581" y="3640"/>
                  </a:cubicBezTo>
                  <a:cubicBezTo>
                    <a:pt x="2571" y="3655"/>
                    <a:pt x="2560" y="3670"/>
                    <a:pt x="2550" y="3685"/>
                  </a:cubicBezTo>
                  <a:cubicBezTo>
                    <a:pt x="2566" y="3715"/>
                    <a:pt x="2581" y="3745"/>
                    <a:pt x="2597" y="3775"/>
                  </a:cubicBezTo>
                  <a:lnTo>
                    <a:pt x="2667" y="3820"/>
                  </a:lnTo>
                  <a:cubicBezTo>
                    <a:pt x="2690" y="3828"/>
                    <a:pt x="2713" y="3835"/>
                    <a:pt x="2736" y="3843"/>
                  </a:cubicBezTo>
                  <a:lnTo>
                    <a:pt x="2814" y="3663"/>
                  </a:lnTo>
                  <a:lnTo>
                    <a:pt x="2922" y="3348"/>
                  </a:lnTo>
                  <a:cubicBezTo>
                    <a:pt x="2912" y="3288"/>
                    <a:pt x="2901" y="3229"/>
                    <a:pt x="2891" y="3169"/>
                  </a:cubicBezTo>
                  <a:lnTo>
                    <a:pt x="2930" y="2989"/>
                  </a:lnTo>
                  <a:lnTo>
                    <a:pt x="3016" y="3034"/>
                  </a:lnTo>
                  <a:cubicBezTo>
                    <a:pt x="3029" y="3071"/>
                    <a:pt x="3041" y="3109"/>
                    <a:pt x="3054" y="3146"/>
                  </a:cubicBezTo>
                  <a:cubicBezTo>
                    <a:pt x="3059" y="3206"/>
                    <a:pt x="3065" y="3266"/>
                    <a:pt x="3070" y="3326"/>
                  </a:cubicBezTo>
                  <a:lnTo>
                    <a:pt x="3124" y="3191"/>
                  </a:lnTo>
                  <a:cubicBezTo>
                    <a:pt x="3114" y="3131"/>
                    <a:pt x="3103" y="3071"/>
                    <a:pt x="3093" y="3011"/>
                  </a:cubicBezTo>
                  <a:cubicBezTo>
                    <a:pt x="3067" y="2989"/>
                    <a:pt x="3042" y="2966"/>
                    <a:pt x="3016" y="2944"/>
                  </a:cubicBezTo>
                  <a:lnTo>
                    <a:pt x="2853" y="2921"/>
                  </a:lnTo>
                  <a:lnTo>
                    <a:pt x="2853" y="2697"/>
                  </a:lnTo>
                  <a:cubicBezTo>
                    <a:pt x="2863" y="2622"/>
                    <a:pt x="2874" y="2547"/>
                    <a:pt x="2884" y="2472"/>
                  </a:cubicBezTo>
                  <a:lnTo>
                    <a:pt x="2845" y="2292"/>
                  </a:lnTo>
                  <a:cubicBezTo>
                    <a:pt x="2837" y="2247"/>
                    <a:pt x="2830" y="2202"/>
                    <a:pt x="2822" y="2157"/>
                  </a:cubicBezTo>
                  <a:cubicBezTo>
                    <a:pt x="2837" y="2112"/>
                    <a:pt x="2853" y="2067"/>
                    <a:pt x="2868" y="2022"/>
                  </a:cubicBezTo>
                  <a:cubicBezTo>
                    <a:pt x="2886" y="2000"/>
                    <a:pt x="2904" y="1977"/>
                    <a:pt x="2922" y="1955"/>
                  </a:cubicBezTo>
                  <a:cubicBezTo>
                    <a:pt x="2925" y="1895"/>
                    <a:pt x="2927" y="1835"/>
                    <a:pt x="2930" y="1775"/>
                  </a:cubicBezTo>
                  <a:lnTo>
                    <a:pt x="2961" y="1775"/>
                  </a:lnTo>
                  <a:cubicBezTo>
                    <a:pt x="2964" y="1843"/>
                    <a:pt x="2966" y="1910"/>
                    <a:pt x="2969" y="1978"/>
                  </a:cubicBezTo>
                  <a:cubicBezTo>
                    <a:pt x="2961" y="2030"/>
                    <a:pt x="2954" y="2083"/>
                    <a:pt x="2946" y="2135"/>
                  </a:cubicBezTo>
                  <a:cubicBezTo>
                    <a:pt x="2951" y="2172"/>
                    <a:pt x="2956" y="2210"/>
                    <a:pt x="2961" y="2247"/>
                  </a:cubicBezTo>
                  <a:cubicBezTo>
                    <a:pt x="2982" y="2262"/>
                    <a:pt x="3002" y="2277"/>
                    <a:pt x="3023" y="2292"/>
                  </a:cubicBezTo>
                  <a:cubicBezTo>
                    <a:pt x="3054" y="2315"/>
                    <a:pt x="3085" y="2337"/>
                    <a:pt x="3116" y="2360"/>
                  </a:cubicBezTo>
                  <a:lnTo>
                    <a:pt x="3163" y="2360"/>
                  </a:lnTo>
                  <a:cubicBezTo>
                    <a:pt x="3145" y="2322"/>
                    <a:pt x="3127" y="2285"/>
                    <a:pt x="3109" y="2247"/>
                  </a:cubicBezTo>
                  <a:cubicBezTo>
                    <a:pt x="3083" y="2225"/>
                    <a:pt x="3057" y="2202"/>
                    <a:pt x="3031" y="2180"/>
                  </a:cubicBezTo>
                  <a:cubicBezTo>
                    <a:pt x="3021" y="2135"/>
                    <a:pt x="3010" y="2090"/>
                    <a:pt x="3000" y="2045"/>
                  </a:cubicBezTo>
                  <a:cubicBezTo>
                    <a:pt x="3016" y="2030"/>
                    <a:pt x="3031" y="2015"/>
                    <a:pt x="3047" y="2000"/>
                  </a:cubicBezTo>
                  <a:lnTo>
                    <a:pt x="3124" y="2045"/>
                  </a:lnTo>
                  <a:lnTo>
                    <a:pt x="3070" y="1865"/>
                  </a:lnTo>
                  <a:cubicBezTo>
                    <a:pt x="3078" y="1850"/>
                    <a:pt x="3085" y="1835"/>
                    <a:pt x="3093" y="1820"/>
                  </a:cubicBezTo>
                  <a:lnTo>
                    <a:pt x="3225" y="1933"/>
                  </a:lnTo>
                  <a:cubicBezTo>
                    <a:pt x="3251" y="1993"/>
                    <a:pt x="3276" y="2052"/>
                    <a:pt x="3302" y="2112"/>
                  </a:cubicBezTo>
                  <a:lnTo>
                    <a:pt x="3411" y="2112"/>
                  </a:lnTo>
                  <a:cubicBezTo>
                    <a:pt x="3393" y="2060"/>
                    <a:pt x="3375" y="2007"/>
                    <a:pt x="3357" y="1955"/>
                  </a:cubicBezTo>
                  <a:cubicBezTo>
                    <a:pt x="3334" y="1903"/>
                    <a:pt x="3310" y="1850"/>
                    <a:pt x="3287" y="1798"/>
                  </a:cubicBezTo>
                  <a:cubicBezTo>
                    <a:pt x="3279" y="1716"/>
                    <a:pt x="3272" y="1633"/>
                    <a:pt x="3264" y="1551"/>
                  </a:cubicBezTo>
                  <a:cubicBezTo>
                    <a:pt x="3279" y="1521"/>
                    <a:pt x="3295" y="1491"/>
                    <a:pt x="3310" y="1461"/>
                  </a:cubicBezTo>
                  <a:lnTo>
                    <a:pt x="3488" y="1438"/>
                  </a:lnTo>
                  <a:lnTo>
                    <a:pt x="3667" y="1348"/>
                  </a:lnTo>
                  <a:cubicBezTo>
                    <a:pt x="3651" y="1266"/>
                    <a:pt x="3636" y="1183"/>
                    <a:pt x="3620" y="1101"/>
                  </a:cubicBezTo>
                  <a:lnTo>
                    <a:pt x="3767" y="899"/>
                  </a:lnTo>
                  <a:lnTo>
                    <a:pt x="4093" y="584"/>
                  </a:lnTo>
                  <a:lnTo>
                    <a:pt x="4233" y="539"/>
                  </a:lnTo>
                  <a:lnTo>
                    <a:pt x="4364" y="584"/>
                  </a:lnTo>
                  <a:lnTo>
                    <a:pt x="4558" y="404"/>
                  </a:lnTo>
                  <a:cubicBezTo>
                    <a:pt x="4553" y="344"/>
                    <a:pt x="4548" y="285"/>
                    <a:pt x="4543" y="225"/>
                  </a:cubicBezTo>
                  <a:lnTo>
                    <a:pt x="4636" y="0"/>
                  </a:lnTo>
                  <a:lnTo>
                    <a:pt x="4767" y="22"/>
                  </a:lnTo>
                  <a:cubicBezTo>
                    <a:pt x="4790" y="45"/>
                    <a:pt x="4814" y="67"/>
                    <a:pt x="4837" y="90"/>
                  </a:cubicBezTo>
                  <a:cubicBezTo>
                    <a:pt x="4809" y="135"/>
                    <a:pt x="4780" y="180"/>
                    <a:pt x="4752" y="225"/>
                  </a:cubicBezTo>
                  <a:lnTo>
                    <a:pt x="4915" y="247"/>
                  </a:lnTo>
                  <a:cubicBezTo>
                    <a:pt x="4905" y="299"/>
                    <a:pt x="4894" y="352"/>
                    <a:pt x="4884" y="404"/>
                  </a:cubicBezTo>
                  <a:lnTo>
                    <a:pt x="5178" y="382"/>
                  </a:lnTo>
                  <a:lnTo>
                    <a:pt x="5287" y="584"/>
                  </a:lnTo>
                  <a:lnTo>
                    <a:pt x="5302" y="719"/>
                  </a:lnTo>
                  <a:cubicBezTo>
                    <a:pt x="5292" y="794"/>
                    <a:pt x="5281" y="869"/>
                    <a:pt x="5271" y="944"/>
                  </a:cubicBezTo>
                  <a:cubicBezTo>
                    <a:pt x="5227" y="1011"/>
                    <a:pt x="5184" y="1079"/>
                    <a:pt x="5140" y="1146"/>
                  </a:cubicBezTo>
                  <a:cubicBezTo>
                    <a:pt x="5093" y="1221"/>
                    <a:pt x="5047" y="1296"/>
                    <a:pt x="5000" y="1371"/>
                  </a:cubicBezTo>
                  <a:lnTo>
                    <a:pt x="4806" y="1685"/>
                  </a:lnTo>
                  <a:cubicBezTo>
                    <a:pt x="4811" y="1700"/>
                    <a:pt x="4817" y="1715"/>
                    <a:pt x="4822" y="1730"/>
                  </a:cubicBezTo>
                  <a:cubicBezTo>
                    <a:pt x="4850" y="1700"/>
                    <a:pt x="4879" y="1670"/>
                    <a:pt x="4907" y="1640"/>
                  </a:cubicBezTo>
                  <a:cubicBezTo>
                    <a:pt x="4961" y="1595"/>
                    <a:pt x="5016" y="1551"/>
                    <a:pt x="5070" y="1506"/>
                  </a:cubicBezTo>
                  <a:cubicBezTo>
                    <a:pt x="5067" y="1476"/>
                    <a:pt x="5065" y="1446"/>
                    <a:pt x="5062" y="1416"/>
                  </a:cubicBezTo>
                  <a:cubicBezTo>
                    <a:pt x="5075" y="1378"/>
                    <a:pt x="5088" y="1341"/>
                    <a:pt x="5101" y="1303"/>
                  </a:cubicBezTo>
                  <a:cubicBezTo>
                    <a:pt x="5122" y="1288"/>
                    <a:pt x="5142" y="1273"/>
                    <a:pt x="5163" y="1258"/>
                  </a:cubicBezTo>
                  <a:cubicBezTo>
                    <a:pt x="5168" y="1296"/>
                    <a:pt x="5173" y="1333"/>
                    <a:pt x="5178" y="1371"/>
                  </a:cubicBezTo>
                  <a:cubicBezTo>
                    <a:pt x="5194" y="1386"/>
                    <a:pt x="5209" y="1401"/>
                    <a:pt x="5225" y="1416"/>
                  </a:cubicBezTo>
                  <a:cubicBezTo>
                    <a:pt x="5248" y="1461"/>
                    <a:pt x="5272" y="1506"/>
                    <a:pt x="5295" y="1551"/>
                  </a:cubicBezTo>
                  <a:cubicBezTo>
                    <a:pt x="5308" y="1528"/>
                    <a:pt x="5320" y="1506"/>
                    <a:pt x="5333" y="1483"/>
                  </a:cubicBezTo>
                  <a:lnTo>
                    <a:pt x="5620" y="1506"/>
                  </a:lnTo>
                  <a:lnTo>
                    <a:pt x="5620" y="1618"/>
                  </a:lnTo>
                  <a:lnTo>
                    <a:pt x="5899" y="1708"/>
                  </a:lnTo>
                  <a:cubicBezTo>
                    <a:pt x="5909" y="1611"/>
                    <a:pt x="5920" y="1513"/>
                    <a:pt x="5930" y="1416"/>
                  </a:cubicBezTo>
                  <a:cubicBezTo>
                    <a:pt x="5948" y="1423"/>
                    <a:pt x="5966" y="1431"/>
                    <a:pt x="5984" y="1438"/>
                  </a:cubicBezTo>
                  <a:cubicBezTo>
                    <a:pt x="6010" y="1476"/>
                    <a:pt x="6036" y="1513"/>
                    <a:pt x="6062" y="1551"/>
                  </a:cubicBezTo>
                  <a:lnTo>
                    <a:pt x="6186" y="1528"/>
                  </a:lnTo>
                  <a:cubicBezTo>
                    <a:pt x="6209" y="1603"/>
                    <a:pt x="6233" y="1678"/>
                    <a:pt x="6256" y="1753"/>
                  </a:cubicBezTo>
                  <a:cubicBezTo>
                    <a:pt x="6261" y="1820"/>
                    <a:pt x="6266" y="1888"/>
                    <a:pt x="6271" y="1955"/>
                  </a:cubicBezTo>
                  <a:cubicBezTo>
                    <a:pt x="6256" y="1985"/>
                    <a:pt x="6240" y="2015"/>
                    <a:pt x="6225" y="2045"/>
                  </a:cubicBezTo>
                  <a:cubicBezTo>
                    <a:pt x="6253" y="2142"/>
                    <a:pt x="6282" y="2240"/>
                    <a:pt x="6310" y="2337"/>
                  </a:cubicBezTo>
                  <a:lnTo>
                    <a:pt x="6395" y="2404"/>
                  </a:lnTo>
                  <a:cubicBezTo>
                    <a:pt x="6421" y="2292"/>
                    <a:pt x="6447" y="2179"/>
                    <a:pt x="6473" y="2067"/>
                  </a:cubicBezTo>
                  <a:lnTo>
                    <a:pt x="6574" y="2225"/>
                  </a:lnTo>
                  <a:lnTo>
                    <a:pt x="6667" y="2135"/>
                  </a:lnTo>
                  <a:lnTo>
                    <a:pt x="6767" y="2247"/>
                  </a:lnTo>
                  <a:cubicBezTo>
                    <a:pt x="6796" y="2217"/>
                    <a:pt x="6824" y="2187"/>
                    <a:pt x="6853" y="2157"/>
                  </a:cubicBezTo>
                  <a:cubicBezTo>
                    <a:pt x="6874" y="2127"/>
                    <a:pt x="6894" y="2097"/>
                    <a:pt x="6915" y="2067"/>
                  </a:cubicBezTo>
                  <a:cubicBezTo>
                    <a:pt x="6912" y="2000"/>
                    <a:pt x="6910" y="1932"/>
                    <a:pt x="6907" y="1865"/>
                  </a:cubicBezTo>
                  <a:cubicBezTo>
                    <a:pt x="6935" y="1835"/>
                    <a:pt x="6964" y="1805"/>
                    <a:pt x="6992" y="1775"/>
                  </a:cubicBezTo>
                  <a:lnTo>
                    <a:pt x="7256" y="1820"/>
                  </a:lnTo>
                  <a:cubicBezTo>
                    <a:pt x="7271" y="1858"/>
                    <a:pt x="7287" y="1895"/>
                    <a:pt x="7302" y="1933"/>
                  </a:cubicBezTo>
                  <a:lnTo>
                    <a:pt x="7326" y="1978"/>
                  </a:lnTo>
                  <a:lnTo>
                    <a:pt x="7465" y="1933"/>
                  </a:lnTo>
                  <a:lnTo>
                    <a:pt x="7527" y="2022"/>
                  </a:lnTo>
                  <a:cubicBezTo>
                    <a:pt x="7517" y="2060"/>
                    <a:pt x="7506" y="2097"/>
                    <a:pt x="7496" y="2135"/>
                  </a:cubicBezTo>
                  <a:cubicBezTo>
                    <a:pt x="7514" y="2157"/>
                    <a:pt x="7532" y="2180"/>
                    <a:pt x="7550" y="2202"/>
                  </a:cubicBezTo>
                  <a:lnTo>
                    <a:pt x="7667" y="2337"/>
                  </a:lnTo>
                  <a:lnTo>
                    <a:pt x="7868" y="2360"/>
                  </a:lnTo>
                  <a:lnTo>
                    <a:pt x="8078" y="2382"/>
                  </a:lnTo>
                  <a:cubicBezTo>
                    <a:pt x="8106" y="2427"/>
                    <a:pt x="8135" y="2472"/>
                    <a:pt x="8163" y="2517"/>
                  </a:cubicBezTo>
                  <a:cubicBezTo>
                    <a:pt x="8160" y="2569"/>
                    <a:pt x="8158" y="2622"/>
                    <a:pt x="8155" y="2674"/>
                  </a:cubicBezTo>
                  <a:cubicBezTo>
                    <a:pt x="8160" y="2704"/>
                    <a:pt x="8166" y="2734"/>
                    <a:pt x="8171" y="2764"/>
                  </a:cubicBezTo>
                  <a:cubicBezTo>
                    <a:pt x="8194" y="2786"/>
                    <a:pt x="8217" y="2809"/>
                    <a:pt x="8240" y="2831"/>
                  </a:cubicBezTo>
                  <a:lnTo>
                    <a:pt x="8295" y="2764"/>
                  </a:lnTo>
                  <a:lnTo>
                    <a:pt x="8550" y="2809"/>
                  </a:lnTo>
                  <a:lnTo>
                    <a:pt x="8581" y="2809"/>
                  </a:lnTo>
                  <a:cubicBezTo>
                    <a:pt x="8602" y="2779"/>
                    <a:pt x="8622" y="2749"/>
                    <a:pt x="8643" y="2719"/>
                  </a:cubicBezTo>
                  <a:cubicBezTo>
                    <a:pt x="8651" y="2727"/>
                    <a:pt x="8659" y="2734"/>
                    <a:pt x="8667" y="2742"/>
                  </a:cubicBezTo>
                  <a:lnTo>
                    <a:pt x="8667" y="2876"/>
                  </a:lnTo>
                  <a:cubicBezTo>
                    <a:pt x="8690" y="2929"/>
                    <a:pt x="8713" y="2981"/>
                    <a:pt x="8736" y="3034"/>
                  </a:cubicBezTo>
                  <a:cubicBezTo>
                    <a:pt x="8762" y="3041"/>
                    <a:pt x="8788" y="3049"/>
                    <a:pt x="8814" y="3056"/>
                  </a:cubicBezTo>
                  <a:cubicBezTo>
                    <a:pt x="8822" y="3026"/>
                    <a:pt x="8829" y="2996"/>
                    <a:pt x="8837" y="2966"/>
                  </a:cubicBezTo>
                  <a:cubicBezTo>
                    <a:pt x="8829" y="2921"/>
                    <a:pt x="8822" y="2876"/>
                    <a:pt x="8814" y="2831"/>
                  </a:cubicBezTo>
                  <a:cubicBezTo>
                    <a:pt x="8811" y="2764"/>
                    <a:pt x="8809" y="2696"/>
                    <a:pt x="8806" y="2629"/>
                  </a:cubicBezTo>
                  <a:cubicBezTo>
                    <a:pt x="8822" y="2622"/>
                    <a:pt x="8837" y="2614"/>
                    <a:pt x="8853" y="2607"/>
                  </a:cubicBezTo>
                  <a:lnTo>
                    <a:pt x="8922" y="2697"/>
                  </a:lnTo>
                  <a:lnTo>
                    <a:pt x="9047" y="2697"/>
                  </a:lnTo>
                  <a:lnTo>
                    <a:pt x="9194" y="2764"/>
                  </a:lnTo>
                  <a:lnTo>
                    <a:pt x="9364" y="2944"/>
                  </a:lnTo>
                  <a:cubicBezTo>
                    <a:pt x="9398" y="2996"/>
                    <a:pt x="9431" y="3049"/>
                    <a:pt x="9465" y="3101"/>
                  </a:cubicBezTo>
                  <a:lnTo>
                    <a:pt x="9643" y="3326"/>
                  </a:lnTo>
                  <a:cubicBezTo>
                    <a:pt x="9653" y="3371"/>
                    <a:pt x="9664" y="3416"/>
                    <a:pt x="9674" y="3461"/>
                  </a:cubicBezTo>
                  <a:lnTo>
                    <a:pt x="9698" y="3596"/>
                  </a:lnTo>
                  <a:cubicBezTo>
                    <a:pt x="9711" y="3656"/>
                    <a:pt x="9723" y="3715"/>
                    <a:pt x="9736" y="3775"/>
                  </a:cubicBezTo>
                  <a:cubicBezTo>
                    <a:pt x="9746" y="3760"/>
                    <a:pt x="9757" y="3745"/>
                    <a:pt x="9767" y="3730"/>
                  </a:cubicBezTo>
                  <a:cubicBezTo>
                    <a:pt x="9759" y="3663"/>
                    <a:pt x="9752" y="3595"/>
                    <a:pt x="9744" y="3528"/>
                  </a:cubicBezTo>
                  <a:lnTo>
                    <a:pt x="9806" y="3551"/>
                  </a:lnTo>
                  <a:lnTo>
                    <a:pt x="9884" y="3596"/>
                  </a:lnTo>
                  <a:cubicBezTo>
                    <a:pt x="9907" y="3641"/>
                    <a:pt x="9930" y="3685"/>
                    <a:pt x="9953" y="3730"/>
                  </a:cubicBezTo>
                  <a:cubicBezTo>
                    <a:pt x="9969" y="3775"/>
                    <a:pt x="9984" y="3820"/>
                    <a:pt x="10000" y="3865"/>
                  </a:cubicBezTo>
                  <a:cubicBezTo>
                    <a:pt x="9984" y="3910"/>
                    <a:pt x="9969" y="3955"/>
                    <a:pt x="9953" y="4000"/>
                  </a:cubicBezTo>
                  <a:lnTo>
                    <a:pt x="9853" y="4067"/>
                  </a:lnTo>
                  <a:cubicBezTo>
                    <a:pt x="9848" y="4120"/>
                    <a:pt x="9842" y="4172"/>
                    <a:pt x="9837" y="4225"/>
                  </a:cubicBezTo>
                  <a:cubicBezTo>
                    <a:pt x="9827" y="4292"/>
                    <a:pt x="9816" y="4360"/>
                    <a:pt x="9806" y="4427"/>
                  </a:cubicBezTo>
                  <a:lnTo>
                    <a:pt x="9698" y="4270"/>
                  </a:lnTo>
                  <a:lnTo>
                    <a:pt x="9636" y="4202"/>
                  </a:lnTo>
                  <a:cubicBezTo>
                    <a:pt x="9638" y="4142"/>
                    <a:pt x="9641" y="4082"/>
                    <a:pt x="9643" y="4022"/>
                  </a:cubicBezTo>
                  <a:lnTo>
                    <a:pt x="9481" y="4045"/>
                  </a:lnTo>
                  <a:lnTo>
                    <a:pt x="9457" y="3820"/>
                  </a:lnTo>
                  <a:cubicBezTo>
                    <a:pt x="9439" y="3828"/>
                    <a:pt x="9421" y="3835"/>
                    <a:pt x="9403" y="3843"/>
                  </a:cubicBezTo>
                  <a:cubicBezTo>
                    <a:pt x="9400" y="3895"/>
                    <a:pt x="9398" y="3948"/>
                    <a:pt x="9395" y="4000"/>
                  </a:cubicBezTo>
                  <a:cubicBezTo>
                    <a:pt x="9403" y="4022"/>
                    <a:pt x="9411" y="4045"/>
                    <a:pt x="9419" y="4067"/>
                  </a:cubicBezTo>
                  <a:cubicBezTo>
                    <a:pt x="9396" y="4127"/>
                    <a:pt x="9372" y="4187"/>
                    <a:pt x="9349" y="4247"/>
                  </a:cubicBezTo>
                  <a:cubicBezTo>
                    <a:pt x="9323" y="4255"/>
                    <a:pt x="9297" y="4262"/>
                    <a:pt x="9271" y="4270"/>
                  </a:cubicBezTo>
                  <a:cubicBezTo>
                    <a:pt x="9253" y="4262"/>
                    <a:pt x="9235" y="4255"/>
                    <a:pt x="9217" y="4247"/>
                  </a:cubicBezTo>
                  <a:cubicBezTo>
                    <a:pt x="9207" y="4225"/>
                    <a:pt x="9196" y="4202"/>
                    <a:pt x="9186" y="4180"/>
                  </a:cubicBezTo>
                  <a:cubicBezTo>
                    <a:pt x="9183" y="4210"/>
                    <a:pt x="9181" y="4240"/>
                    <a:pt x="9178" y="4270"/>
                  </a:cubicBezTo>
                  <a:lnTo>
                    <a:pt x="9233" y="4337"/>
                  </a:lnTo>
                  <a:lnTo>
                    <a:pt x="9287" y="4427"/>
                  </a:lnTo>
                  <a:cubicBezTo>
                    <a:pt x="9295" y="4494"/>
                    <a:pt x="9302" y="4562"/>
                    <a:pt x="9310" y="4629"/>
                  </a:cubicBezTo>
                  <a:cubicBezTo>
                    <a:pt x="9326" y="4696"/>
                    <a:pt x="9341" y="4764"/>
                    <a:pt x="9357" y="4831"/>
                  </a:cubicBezTo>
                  <a:cubicBezTo>
                    <a:pt x="9339" y="4861"/>
                    <a:pt x="9320" y="4891"/>
                    <a:pt x="9302" y="4921"/>
                  </a:cubicBezTo>
                  <a:lnTo>
                    <a:pt x="9202" y="4809"/>
                  </a:lnTo>
                  <a:cubicBezTo>
                    <a:pt x="9186" y="4846"/>
                    <a:pt x="9171" y="4884"/>
                    <a:pt x="9155" y="4921"/>
                  </a:cubicBezTo>
                  <a:lnTo>
                    <a:pt x="9016" y="5101"/>
                  </a:lnTo>
                  <a:cubicBezTo>
                    <a:pt x="8990" y="5138"/>
                    <a:pt x="8964" y="5176"/>
                    <a:pt x="8938" y="5213"/>
                  </a:cubicBezTo>
                  <a:cubicBezTo>
                    <a:pt x="8886" y="5333"/>
                    <a:pt x="8835" y="5453"/>
                    <a:pt x="8783" y="5573"/>
                  </a:cubicBezTo>
                  <a:lnTo>
                    <a:pt x="8729" y="5438"/>
                  </a:lnTo>
                  <a:lnTo>
                    <a:pt x="8612" y="5438"/>
                  </a:lnTo>
                  <a:cubicBezTo>
                    <a:pt x="8591" y="5498"/>
                    <a:pt x="8571" y="5558"/>
                    <a:pt x="8550" y="5618"/>
                  </a:cubicBezTo>
                  <a:lnTo>
                    <a:pt x="8535" y="5438"/>
                  </a:lnTo>
                  <a:lnTo>
                    <a:pt x="8496" y="5438"/>
                  </a:lnTo>
                  <a:lnTo>
                    <a:pt x="8481" y="5573"/>
                  </a:lnTo>
                  <a:lnTo>
                    <a:pt x="8372" y="5573"/>
                  </a:lnTo>
                  <a:cubicBezTo>
                    <a:pt x="8341" y="5715"/>
                    <a:pt x="8310" y="5858"/>
                    <a:pt x="8279" y="6000"/>
                  </a:cubicBezTo>
                  <a:lnTo>
                    <a:pt x="8279" y="6135"/>
                  </a:lnTo>
                  <a:lnTo>
                    <a:pt x="8341" y="6135"/>
                  </a:lnTo>
                  <a:cubicBezTo>
                    <a:pt x="8336" y="6202"/>
                    <a:pt x="8331" y="6270"/>
                    <a:pt x="8326" y="6337"/>
                  </a:cubicBezTo>
                  <a:cubicBezTo>
                    <a:pt x="8334" y="6397"/>
                    <a:pt x="8341" y="6457"/>
                    <a:pt x="8349" y="6517"/>
                  </a:cubicBezTo>
                  <a:lnTo>
                    <a:pt x="8279" y="6584"/>
                  </a:lnTo>
                  <a:cubicBezTo>
                    <a:pt x="8271" y="6637"/>
                    <a:pt x="8264" y="6689"/>
                    <a:pt x="8256" y="6742"/>
                  </a:cubicBezTo>
                  <a:cubicBezTo>
                    <a:pt x="8264" y="6809"/>
                    <a:pt x="8271" y="6877"/>
                    <a:pt x="8279" y="6944"/>
                  </a:cubicBezTo>
                  <a:lnTo>
                    <a:pt x="8186" y="7034"/>
                  </a:lnTo>
                  <a:cubicBezTo>
                    <a:pt x="8176" y="7064"/>
                    <a:pt x="8165" y="7094"/>
                    <a:pt x="8155" y="7124"/>
                  </a:cubicBezTo>
                  <a:lnTo>
                    <a:pt x="8155" y="7191"/>
                  </a:lnTo>
                  <a:cubicBezTo>
                    <a:pt x="8158" y="7206"/>
                    <a:pt x="8160" y="7221"/>
                    <a:pt x="8163" y="7236"/>
                  </a:cubicBezTo>
                  <a:cubicBezTo>
                    <a:pt x="8160" y="7251"/>
                    <a:pt x="8158" y="7266"/>
                    <a:pt x="8155" y="7281"/>
                  </a:cubicBezTo>
                  <a:lnTo>
                    <a:pt x="8062" y="7371"/>
                  </a:lnTo>
                  <a:lnTo>
                    <a:pt x="8062" y="7528"/>
                  </a:lnTo>
                  <a:cubicBezTo>
                    <a:pt x="8023" y="7640"/>
                    <a:pt x="7985" y="7753"/>
                    <a:pt x="7946" y="7865"/>
                  </a:cubicBezTo>
                  <a:cubicBezTo>
                    <a:pt x="7941" y="7745"/>
                    <a:pt x="7935" y="7626"/>
                    <a:pt x="7930" y="7506"/>
                  </a:cubicBezTo>
                  <a:cubicBezTo>
                    <a:pt x="7915" y="7319"/>
                    <a:pt x="7899" y="7131"/>
                    <a:pt x="7884" y="6944"/>
                  </a:cubicBezTo>
                  <a:lnTo>
                    <a:pt x="7884" y="6539"/>
                  </a:lnTo>
                  <a:cubicBezTo>
                    <a:pt x="7899" y="6487"/>
                    <a:pt x="7915" y="6434"/>
                    <a:pt x="7930" y="6382"/>
                  </a:cubicBezTo>
                  <a:cubicBezTo>
                    <a:pt x="7946" y="6300"/>
                    <a:pt x="7961" y="6217"/>
                    <a:pt x="7977" y="6135"/>
                  </a:cubicBezTo>
                  <a:cubicBezTo>
                    <a:pt x="7998" y="6120"/>
                    <a:pt x="8018" y="6105"/>
                    <a:pt x="8039" y="6090"/>
                  </a:cubicBezTo>
                  <a:cubicBezTo>
                    <a:pt x="8093" y="5940"/>
                    <a:pt x="8148" y="5790"/>
                    <a:pt x="8202" y="5640"/>
                  </a:cubicBezTo>
                  <a:lnTo>
                    <a:pt x="8326" y="5393"/>
                  </a:lnTo>
                  <a:cubicBezTo>
                    <a:pt x="8339" y="5378"/>
                    <a:pt x="8351" y="5363"/>
                    <a:pt x="8364" y="5348"/>
                  </a:cubicBezTo>
                  <a:cubicBezTo>
                    <a:pt x="8385" y="5213"/>
                    <a:pt x="8405" y="5079"/>
                    <a:pt x="8426" y="4944"/>
                  </a:cubicBezTo>
                  <a:cubicBezTo>
                    <a:pt x="8436" y="4929"/>
                    <a:pt x="8447" y="4914"/>
                    <a:pt x="8457" y="4899"/>
                  </a:cubicBezTo>
                  <a:lnTo>
                    <a:pt x="8395" y="4831"/>
                  </a:lnTo>
                  <a:lnTo>
                    <a:pt x="8372" y="4854"/>
                  </a:lnTo>
                  <a:cubicBezTo>
                    <a:pt x="8364" y="4876"/>
                    <a:pt x="8357" y="4899"/>
                    <a:pt x="8349" y="4921"/>
                  </a:cubicBezTo>
                  <a:lnTo>
                    <a:pt x="8349" y="5124"/>
                  </a:lnTo>
                  <a:lnTo>
                    <a:pt x="8295" y="5124"/>
                  </a:lnTo>
                  <a:cubicBezTo>
                    <a:pt x="8254" y="5199"/>
                    <a:pt x="8212" y="5273"/>
                    <a:pt x="8171" y="5348"/>
                  </a:cubicBezTo>
                  <a:cubicBezTo>
                    <a:pt x="8161" y="5318"/>
                    <a:pt x="8150" y="5288"/>
                    <a:pt x="8140" y="5258"/>
                  </a:cubicBezTo>
                  <a:cubicBezTo>
                    <a:pt x="8150" y="5198"/>
                    <a:pt x="8161" y="5139"/>
                    <a:pt x="8171" y="5079"/>
                  </a:cubicBezTo>
                  <a:lnTo>
                    <a:pt x="8132" y="5124"/>
                  </a:lnTo>
                  <a:lnTo>
                    <a:pt x="7977" y="5124"/>
                  </a:lnTo>
                  <a:lnTo>
                    <a:pt x="7829" y="5461"/>
                  </a:lnTo>
                  <a:cubicBezTo>
                    <a:pt x="7819" y="5521"/>
                    <a:pt x="7808" y="5580"/>
                    <a:pt x="7798" y="5640"/>
                  </a:cubicBezTo>
                  <a:cubicBezTo>
                    <a:pt x="7803" y="5655"/>
                    <a:pt x="7809" y="5670"/>
                    <a:pt x="7814" y="5685"/>
                  </a:cubicBezTo>
                  <a:cubicBezTo>
                    <a:pt x="7827" y="5723"/>
                    <a:pt x="7840" y="5760"/>
                    <a:pt x="7853" y="5798"/>
                  </a:cubicBezTo>
                  <a:lnTo>
                    <a:pt x="7791" y="5798"/>
                  </a:lnTo>
                  <a:cubicBezTo>
                    <a:pt x="7770" y="5805"/>
                    <a:pt x="7750" y="5813"/>
                    <a:pt x="7729" y="5820"/>
                  </a:cubicBezTo>
                  <a:lnTo>
                    <a:pt x="7612" y="5843"/>
                  </a:lnTo>
                  <a:cubicBezTo>
                    <a:pt x="7622" y="5813"/>
                    <a:pt x="7633" y="5783"/>
                    <a:pt x="7643" y="5753"/>
                  </a:cubicBezTo>
                  <a:cubicBezTo>
                    <a:pt x="7635" y="5723"/>
                    <a:pt x="7628" y="5693"/>
                    <a:pt x="7620" y="5663"/>
                  </a:cubicBezTo>
                  <a:cubicBezTo>
                    <a:pt x="7592" y="5655"/>
                    <a:pt x="7563" y="5648"/>
                    <a:pt x="7535" y="5640"/>
                  </a:cubicBezTo>
                  <a:cubicBezTo>
                    <a:pt x="7517" y="5648"/>
                    <a:pt x="7499" y="5655"/>
                    <a:pt x="7481" y="5663"/>
                  </a:cubicBezTo>
                  <a:lnTo>
                    <a:pt x="7457" y="5753"/>
                  </a:lnTo>
                  <a:lnTo>
                    <a:pt x="7341" y="5730"/>
                  </a:lnTo>
                  <a:cubicBezTo>
                    <a:pt x="7323" y="5738"/>
                    <a:pt x="7305" y="5745"/>
                    <a:pt x="7287" y="5753"/>
                  </a:cubicBezTo>
                  <a:lnTo>
                    <a:pt x="7085" y="5753"/>
                  </a:lnTo>
                  <a:lnTo>
                    <a:pt x="6636" y="6876"/>
                  </a:lnTo>
                  <a:cubicBezTo>
                    <a:pt x="6638" y="6914"/>
                    <a:pt x="6641" y="6951"/>
                    <a:pt x="6643" y="6989"/>
                  </a:cubicBezTo>
                  <a:cubicBezTo>
                    <a:pt x="6669" y="6981"/>
                    <a:pt x="6695" y="6974"/>
                    <a:pt x="6721" y="6966"/>
                  </a:cubicBezTo>
                  <a:cubicBezTo>
                    <a:pt x="6724" y="7026"/>
                    <a:pt x="6726" y="7086"/>
                    <a:pt x="6729" y="7146"/>
                  </a:cubicBezTo>
                  <a:cubicBezTo>
                    <a:pt x="6742" y="7101"/>
                    <a:pt x="6754" y="7056"/>
                    <a:pt x="6767" y="7011"/>
                  </a:cubicBezTo>
                  <a:lnTo>
                    <a:pt x="6806" y="7191"/>
                  </a:lnTo>
                  <a:lnTo>
                    <a:pt x="6860" y="7056"/>
                  </a:lnTo>
                  <a:lnTo>
                    <a:pt x="6946" y="7101"/>
                  </a:lnTo>
                  <a:cubicBezTo>
                    <a:pt x="6967" y="7176"/>
                    <a:pt x="6987" y="7251"/>
                    <a:pt x="7008" y="7326"/>
                  </a:cubicBezTo>
                  <a:cubicBezTo>
                    <a:pt x="7003" y="7408"/>
                    <a:pt x="6997" y="7491"/>
                    <a:pt x="6992" y="7573"/>
                  </a:cubicBezTo>
                  <a:cubicBezTo>
                    <a:pt x="6982" y="7655"/>
                    <a:pt x="6971" y="7738"/>
                    <a:pt x="6961" y="7820"/>
                  </a:cubicBezTo>
                  <a:cubicBezTo>
                    <a:pt x="6958" y="7940"/>
                    <a:pt x="6956" y="8060"/>
                    <a:pt x="6953" y="8180"/>
                  </a:cubicBezTo>
                  <a:cubicBezTo>
                    <a:pt x="6945" y="8247"/>
                    <a:pt x="6938" y="8315"/>
                    <a:pt x="6930" y="8382"/>
                  </a:cubicBezTo>
                  <a:cubicBezTo>
                    <a:pt x="6853" y="8659"/>
                    <a:pt x="6775" y="8936"/>
                    <a:pt x="6698" y="9213"/>
                  </a:cubicBezTo>
                  <a:cubicBezTo>
                    <a:pt x="6675" y="9296"/>
                    <a:pt x="6651" y="9378"/>
                    <a:pt x="6628" y="9461"/>
                  </a:cubicBezTo>
                  <a:cubicBezTo>
                    <a:pt x="6610" y="9498"/>
                    <a:pt x="6592" y="9536"/>
                    <a:pt x="6574" y="9573"/>
                  </a:cubicBezTo>
                  <a:cubicBezTo>
                    <a:pt x="6551" y="9603"/>
                    <a:pt x="6527" y="9633"/>
                    <a:pt x="6504" y="9663"/>
                  </a:cubicBezTo>
                  <a:lnTo>
                    <a:pt x="6450" y="9573"/>
                  </a:lnTo>
                  <a:lnTo>
                    <a:pt x="6380" y="9618"/>
                  </a:lnTo>
                  <a:lnTo>
                    <a:pt x="6380" y="9213"/>
                  </a:lnTo>
                  <a:cubicBezTo>
                    <a:pt x="6398" y="9176"/>
                    <a:pt x="6416" y="9138"/>
                    <a:pt x="6434" y="9101"/>
                  </a:cubicBezTo>
                  <a:cubicBezTo>
                    <a:pt x="6442" y="9124"/>
                    <a:pt x="6449" y="9146"/>
                    <a:pt x="6457" y="9169"/>
                  </a:cubicBezTo>
                  <a:cubicBezTo>
                    <a:pt x="6473" y="9161"/>
                    <a:pt x="6488" y="9154"/>
                    <a:pt x="6504" y="9146"/>
                  </a:cubicBezTo>
                  <a:cubicBezTo>
                    <a:pt x="6519" y="9064"/>
                    <a:pt x="6535" y="8981"/>
                    <a:pt x="6550" y="8899"/>
                  </a:cubicBezTo>
                  <a:cubicBezTo>
                    <a:pt x="6558" y="8817"/>
                    <a:pt x="6566" y="8734"/>
                    <a:pt x="6574" y="8652"/>
                  </a:cubicBezTo>
                  <a:cubicBezTo>
                    <a:pt x="6584" y="8637"/>
                    <a:pt x="6595" y="8622"/>
                    <a:pt x="6605" y="8607"/>
                  </a:cubicBezTo>
                  <a:cubicBezTo>
                    <a:pt x="6602" y="8554"/>
                    <a:pt x="6600" y="8502"/>
                    <a:pt x="6597" y="8449"/>
                  </a:cubicBezTo>
                  <a:lnTo>
                    <a:pt x="6535" y="8472"/>
                  </a:lnTo>
                  <a:cubicBezTo>
                    <a:pt x="6517" y="8479"/>
                    <a:pt x="6499" y="8487"/>
                    <a:pt x="6481" y="8494"/>
                  </a:cubicBezTo>
                  <a:lnTo>
                    <a:pt x="6457" y="8584"/>
                  </a:lnTo>
                  <a:lnTo>
                    <a:pt x="6372" y="8562"/>
                  </a:lnTo>
                  <a:lnTo>
                    <a:pt x="6357" y="8337"/>
                  </a:lnTo>
                  <a:lnTo>
                    <a:pt x="6240" y="8157"/>
                  </a:lnTo>
                  <a:lnTo>
                    <a:pt x="6178" y="8157"/>
                  </a:lnTo>
                  <a:cubicBezTo>
                    <a:pt x="6150" y="7962"/>
                    <a:pt x="6121" y="7768"/>
                    <a:pt x="6093" y="7573"/>
                  </a:cubicBezTo>
                  <a:cubicBezTo>
                    <a:pt x="6078" y="7498"/>
                    <a:pt x="6062" y="7423"/>
                    <a:pt x="6047" y="7348"/>
                  </a:cubicBezTo>
                  <a:lnTo>
                    <a:pt x="5930" y="7213"/>
                  </a:lnTo>
                  <a:lnTo>
                    <a:pt x="5760" y="7258"/>
                  </a:lnTo>
                  <a:cubicBezTo>
                    <a:pt x="5742" y="7281"/>
                    <a:pt x="5723" y="7303"/>
                    <a:pt x="5705" y="7326"/>
                  </a:cubicBezTo>
                  <a:cubicBezTo>
                    <a:pt x="5703" y="7356"/>
                    <a:pt x="5700" y="7386"/>
                    <a:pt x="5698" y="7416"/>
                  </a:cubicBezTo>
                  <a:cubicBezTo>
                    <a:pt x="5713" y="7423"/>
                    <a:pt x="5729" y="7431"/>
                    <a:pt x="5744" y="7438"/>
                  </a:cubicBezTo>
                  <a:lnTo>
                    <a:pt x="5744" y="7596"/>
                  </a:lnTo>
                  <a:cubicBezTo>
                    <a:pt x="5731" y="7618"/>
                    <a:pt x="5718" y="7641"/>
                    <a:pt x="5705" y="7663"/>
                  </a:cubicBezTo>
                  <a:cubicBezTo>
                    <a:pt x="5692" y="7730"/>
                    <a:pt x="5680" y="7798"/>
                    <a:pt x="5667" y="7865"/>
                  </a:cubicBezTo>
                  <a:cubicBezTo>
                    <a:pt x="5662" y="7925"/>
                    <a:pt x="5656" y="7985"/>
                    <a:pt x="5651" y="8045"/>
                  </a:cubicBezTo>
                  <a:cubicBezTo>
                    <a:pt x="5636" y="8052"/>
                    <a:pt x="5620" y="8060"/>
                    <a:pt x="5605" y="8067"/>
                  </a:cubicBezTo>
                  <a:cubicBezTo>
                    <a:pt x="5592" y="8105"/>
                    <a:pt x="5579" y="8142"/>
                    <a:pt x="5566" y="8180"/>
                  </a:cubicBezTo>
                  <a:cubicBezTo>
                    <a:pt x="5543" y="8142"/>
                    <a:pt x="5519" y="8105"/>
                    <a:pt x="5496" y="8067"/>
                  </a:cubicBezTo>
                  <a:cubicBezTo>
                    <a:pt x="5465" y="8060"/>
                    <a:pt x="5434" y="8052"/>
                    <a:pt x="5403" y="8045"/>
                  </a:cubicBezTo>
                  <a:cubicBezTo>
                    <a:pt x="5393" y="8023"/>
                    <a:pt x="5382" y="8000"/>
                    <a:pt x="5372" y="7978"/>
                  </a:cubicBezTo>
                  <a:cubicBezTo>
                    <a:pt x="5359" y="7985"/>
                    <a:pt x="5346" y="7993"/>
                    <a:pt x="5333" y="8000"/>
                  </a:cubicBezTo>
                  <a:cubicBezTo>
                    <a:pt x="5310" y="8052"/>
                    <a:pt x="5287" y="8105"/>
                    <a:pt x="5264" y="8157"/>
                  </a:cubicBezTo>
                  <a:lnTo>
                    <a:pt x="5147" y="8225"/>
                  </a:lnTo>
                  <a:cubicBezTo>
                    <a:pt x="5124" y="8232"/>
                    <a:pt x="5101" y="8240"/>
                    <a:pt x="5078" y="8247"/>
                  </a:cubicBezTo>
                  <a:cubicBezTo>
                    <a:pt x="5049" y="8240"/>
                    <a:pt x="5021" y="8232"/>
                    <a:pt x="4992" y="8225"/>
                  </a:cubicBezTo>
                  <a:cubicBezTo>
                    <a:pt x="4984" y="8202"/>
                    <a:pt x="4977" y="8180"/>
                    <a:pt x="4969" y="8157"/>
                  </a:cubicBezTo>
                  <a:cubicBezTo>
                    <a:pt x="4961" y="8127"/>
                    <a:pt x="4954" y="8097"/>
                    <a:pt x="4946" y="8067"/>
                  </a:cubicBezTo>
                  <a:cubicBezTo>
                    <a:pt x="4933" y="8060"/>
                    <a:pt x="4920" y="8052"/>
                    <a:pt x="4907" y="8045"/>
                  </a:cubicBezTo>
                  <a:cubicBezTo>
                    <a:pt x="4899" y="8023"/>
                    <a:pt x="4892" y="8000"/>
                    <a:pt x="4884" y="7978"/>
                  </a:cubicBezTo>
                  <a:lnTo>
                    <a:pt x="4791" y="7933"/>
                  </a:lnTo>
                  <a:cubicBezTo>
                    <a:pt x="4773" y="7963"/>
                    <a:pt x="4754" y="7992"/>
                    <a:pt x="4736" y="8022"/>
                  </a:cubicBezTo>
                  <a:cubicBezTo>
                    <a:pt x="4703" y="8007"/>
                    <a:pt x="4669" y="7993"/>
                    <a:pt x="4636" y="7978"/>
                  </a:cubicBezTo>
                  <a:lnTo>
                    <a:pt x="4597" y="7843"/>
                  </a:lnTo>
                  <a:cubicBezTo>
                    <a:pt x="4594" y="7805"/>
                    <a:pt x="4592" y="7768"/>
                    <a:pt x="4589" y="7730"/>
                  </a:cubicBezTo>
                  <a:lnTo>
                    <a:pt x="4496" y="7640"/>
                  </a:lnTo>
                  <a:lnTo>
                    <a:pt x="4388" y="7573"/>
                  </a:lnTo>
                  <a:cubicBezTo>
                    <a:pt x="4365" y="7640"/>
                    <a:pt x="4341" y="7708"/>
                    <a:pt x="4318" y="7775"/>
                  </a:cubicBezTo>
                  <a:cubicBezTo>
                    <a:pt x="4333" y="7828"/>
                    <a:pt x="4349" y="7880"/>
                    <a:pt x="4364" y="7933"/>
                  </a:cubicBezTo>
                  <a:cubicBezTo>
                    <a:pt x="4362" y="7963"/>
                    <a:pt x="4359" y="7992"/>
                    <a:pt x="4357" y="8022"/>
                  </a:cubicBezTo>
                  <a:cubicBezTo>
                    <a:pt x="4341" y="8060"/>
                    <a:pt x="4326" y="8097"/>
                    <a:pt x="4310" y="8135"/>
                  </a:cubicBezTo>
                  <a:cubicBezTo>
                    <a:pt x="4300" y="8112"/>
                    <a:pt x="4289" y="8090"/>
                    <a:pt x="4279" y="8067"/>
                  </a:cubicBezTo>
                  <a:lnTo>
                    <a:pt x="4155" y="8067"/>
                  </a:lnTo>
                  <a:cubicBezTo>
                    <a:pt x="4142" y="8022"/>
                    <a:pt x="4129" y="7978"/>
                    <a:pt x="4116" y="7933"/>
                  </a:cubicBezTo>
                  <a:lnTo>
                    <a:pt x="4039" y="7888"/>
                  </a:lnTo>
                  <a:cubicBezTo>
                    <a:pt x="4016" y="7880"/>
                    <a:pt x="3992" y="7873"/>
                    <a:pt x="3969" y="7865"/>
                  </a:cubicBezTo>
                  <a:lnTo>
                    <a:pt x="3837" y="8067"/>
                  </a:lnTo>
                  <a:cubicBezTo>
                    <a:pt x="3827" y="8097"/>
                    <a:pt x="3816" y="8127"/>
                    <a:pt x="3806" y="8157"/>
                  </a:cubicBezTo>
                  <a:cubicBezTo>
                    <a:pt x="3788" y="8165"/>
                    <a:pt x="3770" y="8172"/>
                    <a:pt x="3752" y="8180"/>
                  </a:cubicBezTo>
                  <a:cubicBezTo>
                    <a:pt x="3742" y="8210"/>
                    <a:pt x="3731" y="8240"/>
                    <a:pt x="3721" y="8270"/>
                  </a:cubicBezTo>
                  <a:lnTo>
                    <a:pt x="3659" y="8270"/>
                  </a:lnTo>
                  <a:cubicBezTo>
                    <a:pt x="3654" y="8217"/>
                    <a:pt x="3648" y="8165"/>
                    <a:pt x="3643" y="8112"/>
                  </a:cubicBezTo>
                  <a:lnTo>
                    <a:pt x="3558" y="8090"/>
                  </a:lnTo>
                  <a:cubicBezTo>
                    <a:pt x="3540" y="8053"/>
                    <a:pt x="3522" y="8015"/>
                    <a:pt x="3504" y="7978"/>
                  </a:cubicBezTo>
                  <a:cubicBezTo>
                    <a:pt x="3491" y="7925"/>
                    <a:pt x="3478" y="7873"/>
                    <a:pt x="3465" y="7820"/>
                  </a:cubicBezTo>
                  <a:lnTo>
                    <a:pt x="3357" y="7865"/>
                  </a:lnTo>
                  <a:cubicBezTo>
                    <a:pt x="3328" y="7820"/>
                    <a:pt x="3300" y="7775"/>
                    <a:pt x="3271" y="7730"/>
                  </a:cubicBezTo>
                  <a:lnTo>
                    <a:pt x="3256" y="7820"/>
                  </a:lnTo>
                  <a:lnTo>
                    <a:pt x="3225" y="7820"/>
                  </a:lnTo>
                  <a:cubicBezTo>
                    <a:pt x="3207" y="7730"/>
                    <a:pt x="3189" y="7641"/>
                    <a:pt x="3171" y="7551"/>
                  </a:cubicBezTo>
                  <a:cubicBezTo>
                    <a:pt x="3150" y="7461"/>
                    <a:pt x="3130" y="7371"/>
                    <a:pt x="3109" y="7281"/>
                  </a:cubicBezTo>
                  <a:cubicBezTo>
                    <a:pt x="3086" y="7236"/>
                    <a:pt x="3062" y="7191"/>
                    <a:pt x="3039" y="7146"/>
                  </a:cubicBezTo>
                  <a:cubicBezTo>
                    <a:pt x="3036" y="7109"/>
                    <a:pt x="3034" y="7071"/>
                    <a:pt x="3031" y="7034"/>
                  </a:cubicBezTo>
                  <a:lnTo>
                    <a:pt x="2946" y="7101"/>
                  </a:lnTo>
                  <a:lnTo>
                    <a:pt x="2876" y="7213"/>
                  </a:lnTo>
                  <a:cubicBezTo>
                    <a:pt x="2850" y="7176"/>
                    <a:pt x="2824" y="7138"/>
                    <a:pt x="2798" y="7101"/>
                  </a:cubicBezTo>
                  <a:cubicBezTo>
                    <a:pt x="2772" y="7079"/>
                    <a:pt x="2747" y="7056"/>
                    <a:pt x="2721" y="7034"/>
                  </a:cubicBezTo>
                  <a:cubicBezTo>
                    <a:pt x="2708" y="7011"/>
                    <a:pt x="2695" y="6989"/>
                    <a:pt x="2682" y="6966"/>
                  </a:cubicBezTo>
                  <a:cubicBezTo>
                    <a:pt x="2677" y="6914"/>
                    <a:pt x="2672" y="6861"/>
                    <a:pt x="2667" y="6809"/>
                  </a:cubicBezTo>
                  <a:cubicBezTo>
                    <a:pt x="2641" y="6802"/>
                    <a:pt x="2615" y="6794"/>
                    <a:pt x="2589" y="6787"/>
                  </a:cubicBezTo>
                  <a:cubicBezTo>
                    <a:pt x="2561" y="6802"/>
                    <a:pt x="2532" y="6816"/>
                    <a:pt x="2504" y="6831"/>
                  </a:cubicBezTo>
                  <a:lnTo>
                    <a:pt x="2163" y="7101"/>
                  </a:lnTo>
                  <a:cubicBezTo>
                    <a:pt x="2135" y="7109"/>
                    <a:pt x="2106" y="7116"/>
                    <a:pt x="2078" y="7124"/>
                  </a:cubicBezTo>
                  <a:cubicBezTo>
                    <a:pt x="2083" y="7161"/>
                    <a:pt x="2088" y="7199"/>
                    <a:pt x="2093" y="7236"/>
                  </a:cubicBezTo>
                  <a:cubicBezTo>
                    <a:pt x="2098" y="7266"/>
                    <a:pt x="2104" y="7296"/>
                    <a:pt x="2109" y="7326"/>
                  </a:cubicBezTo>
                  <a:cubicBezTo>
                    <a:pt x="2093" y="7341"/>
                    <a:pt x="2078" y="7356"/>
                    <a:pt x="2062" y="7371"/>
                  </a:cubicBezTo>
                  <a:cubicBezTo>
                    <a:pt x="2059" y="7408"/>
                    <a:pt x="2057" y="7446"/>
                    <a:pt x="2054" y="7483"/>
                  </a:cubicBezTo>
                  <a:cubicBezTo>
                    <a:pt x="2046" y="7506"/>
                    <a:pt x="2039" y="7528"/>
                    <a:pt x="2031" y="7551"/>
                  </a:cubicBezTo>
                  <a:cubicBezTo>
                    <a:pt x="2023" y="7581"/>
                    <a:pt x="2016" y="7610"/>
                    <a:pt x="2008" y="7640"/>
                  </a:cubicBezTo>
                  <a:lnTo>
                    <a:pt x="2062" y="7685"/>
                  </a:lnTo>
                  <a:cubicBezTo>
                    <a:pt x="2072" y="7715"/>
                    <a:pt x="2083" y="7745"/>
                    <a:pt x="2093" y="7775"/>
                  </a:cubicBezTo>
                  <a:cubicBezTo>
                    <a:pt x="2080" y="7813"/>
                    <a:pt x="2067" y="7850"/>
                    <a:pt x="2054" y="7888"/>
                  </a:cubicBezTo>
                  <a:cubicBezTo>
                    <a:pt x="2020" y="7895"/>
                    <a:pt x="1987" y="7903"/>
                    <a:pt x="1953" y="7910"/>
                  </a:cubicBezTo>
                  <a:cubicBezTo>
                    <a:pt x="1940" y="7873"/>
                    <a:pt x="1928" y="7835"/>
                    <a:pt x="1915" y="7798"/>
                  </a:cubicBezTo>
                  <a:lnTo>
                    <a:pt x="1845" y="7798"/>
                  </a:lnTo>
                  <a:lnTo>
                    <a:pt x="1760" y="7910"/>
                  </a:lnTo>
                  <a:cubicBezTo>
                    <a:pt x="1739" y="7903"/>
                    <a:pt x="1719" y="7895"/>
                    <a:pt x="1698" y="7888"/>
                  </a:cubicBezTo>
                  <a:lnTo>
                    <a:pt x="1612" y="7730"/>
                  </a:lnTo>
                  <a:lnTo>
                    <a:pt x="1473" y="7663"/>
                  </a:lnTo>
                  <a:cubicBezTo>
                    <a:pt x="1452" y="7685"/>
                    <a:pt x="1432" y="7708"/>
                    <a:pt x="1411" y="7730"/>
                  </a:cubicBezTo>
                  <a:cubicBezTo>
                    <a:pt x="1380" y="7798"/>
                    <a:pt x="1349" y="7865"/>
                    <a:pt x="1318" y="7933"/>
                  </a:cubicBezTo>
                  <a:cubicBezTo>
                    <a:pt x="1315" y="7978"/>
                    <a:pt x="1313" y="8022"/>
                    <a:pt x="1310" y="8067"/>
                  </a:cubicBezTo>
                  <a:cubicBezTo>
                    <a:pt x="1300" y="8082"/>
                    <a:pt x="1289" y="8097"/>
                    <a:pt x="1279" y="8112"/>
                  </a:cubicBezTo>
                  <a:cubicBezTo>
                    <a:pt x="1269" y="8052"/>
                    <a:pt x="1258" y="7993"/>
                    <a:pt x="1248" y="7933"/>
                  </a:cubicBezTo>
                  <a:cubicBezTo>
                    <a:pt x="1233" y="7985"/>
                    <a:pt x="1217" y="8038"/>
                    <a:pt x="1202" y="8090"/>
                  </a:cubicBezTo>
                  <a:lnTo>
                    <a:pt x="1178" y="8360"/>
                  </a:lnTo>
                  <a:cubicBezTo>
                    <a:pt x="1191" y="8412"/>
                    <a:pt x="1204" y="8465"/>
                    <a:pt x="1217" y="8517"/>
                  </a:cubicBezTo>
                  <a:lnTo>
                    <a:pt x="1271" y="8562"/>
                  </a:lnTo>
                  <a:cubicBezTo>
                    <a:pt x="1287" y="8622"/>
                    <a:pt x="1302" y="8682"/>
                    <a:pt x="1318" y="8742"/>
                  </a:cubicBezTo>
                  <a:cubicBezTo>
                    <a:pt x="1323" y="8794"/>
                    <a:pt x="1328" y="8847"/>
                    <a:pt x="1333" y="8899"/>
                  </a:cubicBez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11" name="Freeform 103">
              <a:extLst>
                <a:ext uri="{FF2B5EF4-FFF2-40B4-BE49-F238E27FC236}">
                  <a16:creationId xmlns:a16="http://schemas.microsoft.com/office/drawing/2014/main" id="{56B07742-81E1-492E-B0C0-93ACA30A1F5D}"/>
                </a:ext>
              </a:extLst>
            </p:cNvPr>
            <p:cNvSpPr>
              <a:spLocks/>
            </p:cNvSpPr>
            <p:nvPr/>
          </p:nvSpPr>
          <p:spPr bwMode="gray">
            <a:xfrm>
              <a:off x="7170583" y="2102023"/>
              <a:ext cx="455696" cy="325326"/>
            </a:xfrm>
            <a:custGeom>
              <a:avLst/>
              <a:gdLst>
                <a:gd name="T0" fmla="*/ 88 w 276"/>
                <a:gd name="T1" fmla="*/ 196 h 196"/>
                <a:gd name="T2" fmla="*/ 36 w 276"/>
                <a:gd name="T3" fmla="*/ 194 h 196"/>
                <a:gd name="T4" fmla="*/ 36 w 276"/>
                <a:gd name="T5" fmla="*/ 182 h 196"/>
                <a:gd name="T6" fmla="*/ 30 w 276"/>
                <a:gd name="T7" fmla="*/ 176 h 196"/>
                <a:gd name="T8" fmla="*/ 20 w 276"/>
                <a:gd name="T9" fmla="*/ 182 h 196"/>
                <a:gd name="T10" fmla="*/ 10 w 276"/>
                <a:gd name="T11" fmla="*/ 176 h 196"/>
                <a:gd name="T12" fmla="*/ 0 w 276"/>
                <a:gd name="T13" fmla="*/ 166 h 196"/>
                <a:gd name="T14" fmla="*/ 0 w 276"/>
                <a:gd name="T15" fmla="*/ 154 h 196"/>
                <a:gd name="T16" fmla="*/ 12 w 276"/>
                <a:gd name="T17" fmla="*/ 150 h 196"/>
                <a:gd name="T18" fmla="*/ 20 w 276"/>
                <a:gd name="T19" fmla="*/ 142 h 196"/>
                <a:gd name="T20" fmla="*/ 20 w 276"/>
                <a:gd name="T21" fmla="*/ 132 h 196"/>
                <a:gd name="T22" fmla="*/ 34 w 276"/>
                <a:gd name="T23" fmla="*/ 118 h 196"/>
                <a:gd name="T24" fmla="*/ 44 w 276"/>
                <a:gd name="T25" fmla="*/ 116 h 196"/>
                <a:gd name="T26" fmla="*/ 48 w 276"/>
                <a:gd name="T27" fmla="*/ 108 h 196"/>
                <a:gd name="T28" fmla="*/ 38 w 276"/>
                <a:gd name="T29" fmla="*/ 106 h 196"/>
                <a:gd name="T30" fmla="*/ 64 w 276"/>
                <a:gd name="T31" fmla="*/ 84 h 196"/>
                <a:gd name="T32" fmla="*/ 76 w 276"/>
                <a:gd name="T33" fmla="*/ 66 h 196"/>
                <a:gd name="T34" fmla="*/ 110 w 276"/>
                <a:gd name="T35" fmla="*/ 40 h 196"/>
                <a:gd name="T36" fmla="*/ 132 w 276"/>
                <a:gd name="T37" fmla="*/ 36 h 196"/>
                <a:gd name="T38" fmla="*/ 140 w 276"/>
                <a:gd name="T39" fmla="*/ 28 h 196"/>
                <a:gd name="T40" fmla="*/ 176 w 276"/>
                <a:gd name="T41" fmla="*/ 24 h 196"/>
                <a:gd name="T42" fmla="*/ 210 w 276"/>
                <a:gd name="T43" fmla="*/ 20 h 196"/>
                <a:gd name="T44" fmla="*/ 230 w 276"/>
                <a:gd name="T45" fmla="*/ 8 h 196"/>
                <a:gd name="T46" fmla="*/ 250 w 276"/>
                <a:gd name="T47" fmla="*/ 0 h 196"/>
                <a:gd name="T48" fmla="*/ 266 w 276"/>
                <a:gd name="T49" fmla="*/ 0 h 196"/>
                <a:gd name="T50" fmla="*/ 276 w 276"/>
                <a:gd name="T51" fmla="*/ 6 h 196"/>
                <a:gd name="T52" fmla="*/ 272 w 276"/>
                <a:gd name="T53" fmla="*/ 18 h 196"/>
                <a:gd name="T54" fmla="*/ 254 w 276"/>
                <a:gd name="T55" fmla="*/ 30 h 196"/>
                <a:gd name="T56" fmla="*/ 222 w 276"/>
                <a:gd name="T57" fmla="*/ 40 h 196"/>
                <a:gd name="T58" fmla="*/ 166 w 276"/>
                <a:gd name="T59" fmla="*/ 50 h 196"/>
                <a:gd name="T60" fmla="*/ 136 w 276"/>
                <a:gd name="T61" fmla="*/ 74 h 196"/>
                <a:gd name="T62" fmla="*/ 122 w 276"/>
                <a:gd name="T63" fmla="*/ 80 h 196"/>
                <a:gd name="T64" fmla="*/ 110 w 276"/>
                <a:gd name="T65" fmla="*/ 82 h 196"/>
                <a:gd name="T66" fmla="*/ 110 w 276"/>
                <a:gd name="T67" fmla="*/ 94 h 196"/>
                <a:gd name="T68" fmla="*/ 96 w 276"/>
                <a:gd name="T69" fmla="*/ 102 h 196"/>
                <a:gd name="T70" fmla="*/ 86 w 276"/>
                <a:gd name="T71" fmla="*/ 116 h 196"/>
                <a:gd name="T72" fmla="*/ 64 w 276"/>
                <a:gd name="T73" fmla="*/ 140 h 196"/>
                <a:gd name="T74" fmla="*/ 62 w 276"/>
                <a:gd name="T75" fmla="*/ 166 h 196"/>
                <a:gd name="T76" fmla="*/ 72 w 276"/>
                <a:gd name="T77" fmla="*/ 174 h 196"/>
                <a:gd name="T78" fmla="*/ 74 w 276"/>
                <a:gd name="T79" fmla="*/ 184 h 196"/>
                <a:gd name="T80" fmla="*/ 88 w 276"/>
                <a:gd name="T81" fmla="*/ 19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76" h="196">
                  <a:moveTo>
                    <a:pt x="88" y="196"/>
                  </a:moveTo>
                  <a:lnTo>
                    <a:pt x="36" y="194"/>
                  </a:lnTo>
                  <a:lnTo>
                    <a:pt x="36" y="182"/>
                  </a:lnTo>
                  <a:lnTo>
                    <a:pt x="30" y="176"/>
                  </a:lnTo>
                  <a:lnTo>
                    <a:pt x="20" y="182"/>
                  </a:lnTo>
                  <a:lnTo>
                    <a:pt x="10" y="176"/>
                  </a:lnTo>
                  <a:lnTo>
                    <a:pt x="0" y="166"/>
                  </a:lnTo>
                  <a:lnTo>
                    <a:pt x="0" y="154"/>
                  </a:lnTo>
                  <a:lnTo>
                    <a:pt x="12" y="150"/>
                  </a:lnTo>
                  <a:lnTo>
                    <a:pt x="20" y="142"/>
                  </a:lnTo>
                  <a:lnTo>
                    <a:pt x="20" y="132"/>
                  </a:lnTo>
                  <a:lnTo>
                    <a:pt x="34" y="118"/>
                  </a:lnTo>
                  <a:lnTo>
                    <a:pt x="44" y="116"/>
                  </a:lnTo>
                  <a:lnTo>
                    <a:pt x="48" y="108"/>
                  </a:lnTo>
                  <a:lnTo>
                    <a:pt x="38" y="106"/>
                  </a:lnTo>
                  <a:lnTo>
                    <a:pt x="64" y="84"/>
                  </a:lnTo>
                  <a:lnTo>
                    <a:pt x="76" y="66"/>
                  </a:lnTo>
                  <a:lnTo>
                    <a:pt x="110" y="40"/>
                  </a:lnTo>
                  <a:lnTo>
                    <a:pt x="132" y="36"/>
                  </a:lnTo>
                  <a:lnTo>
                    <a:pt x="140" y="28"/>
                  </a:lnTo>
                  <a:lnTo>
                    <a:pt x="176" y="24"/>
                  </a:lnTo>
                  <a:lnTo>
                    <a:pt x="210" y="20"/>
                  </a:lnTo>
                  <a:lnTo>
                    <a:pt x="230" y="8"/>
                  </a:lnTo>
                  <a:lnTo>
                    <a:pt x="250" y="0"/>
                  </a:lnTo>
                  <a:lnTo>
                    <a:pt x="266" y="0"/>
                  </a:lnTo>
                  <a:lnTo>
                    <a:pt x="276" y="6"/>
                  </a:lnTo>
                  <a:lnTo>
                    <a:pt x="272" y="18"/>
                  </a:lnTo>
                  <a:lnTo>
                    <a:pt x="254" y="30"/>
                  </a:lnTo>
                  <a:lnTo>
                    <a:pt x="222" y="40"/>
                  </a:lnTo>
                  <a:lnTo>
                    <a:pt x="166" y="50"/>
                  </a:lnTo>
                  <a:lnTo>
                    <a:pt x="136" y="74"/>
                  </a:lnTo>
                  <a:lnTo>
                    <a:pt x="122" y="80"/>
                  </a:lnTo>
                  <a:lnTo>
                    <a:pt x="110" y="82"/>
                  </a:lnTo>
                  <a:lnTo>
                    <a:pt x="110" y="94"/>
                  </a:lnTo>
                  <a:lnTo>
                    <a:pt x="96" y="102"/>
                  </a:lnTo>
                  <a:lnTo>
                    <a:pt x="86" y="116"/>
                  </a:lnTo>
                  <a:lnTo>
                    <a:pt x="64" y="140"/>
                  </a:lnTo>
                  <a:lnTo>
                    <a:pt x="62" y="166"/>
                  </a:lnTo>
                  <a:lnTo>
                    <a:pt x="72" y="174"/>
                  </a:lnTo>
                  <a:lnTo>
                    <a:pt x="74" y="184"/>
                  </a:lnTo>
                  <a:lnTo>
                    <a:pt x="88" y="19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12" name="Freeform 104">
              <a:extLst>
                <a:ext uri="{FF2B5EF4-FFF2-40B4-BE49-F238E27FC236}">
                  <a16:creationId xmlns:a16="http://schemas.microsoft.com/office/drawing/2014/main" id="{BE8346B6-8C6B-490F-9AD9-0986487C0075}"/>
                </a:ext>
              </a:extLst>
            </p:cNvPr>
            <p:cNvSpPr>
              <a:spLocks/>
            </p:cNvSpPr>
            <p:nvPr/>
          </p:nvSpPr>
          <p:spPr bwMode="gray">
            <a:xfrm>
              <a:off x="8422095" y="1965917"/>
              <a:ext cx="158503" cy="86311"/>
            </a:xfrm>
            <a:custGeom>
              <a:avLst/>
              <a:gdLst>
                <a:gd name="T0" fmla="*/ 0 w 96"/>
                <a:gd name="T1" fmla="*/ 48 h 52"/>
                <a:gd name="T2" fmla="*/ 16 w 96"/>
                <a:gd name="T3" fmla="*/ 30 h 52"/>
                <a:gd name="T4" fmla="*/ 28 w 96"/>
                <a:gd name="T5" fmla="*/ 14 h 52"/>
                <a:gd name="T6" fmla="*/ 40 w 96"/>
                <a:gd name="T7" fmla="*/ 2 h 52"/>
                <a:gd name="T8" fmla="*/ 58 w 96"/>
                <a:gd name="T9" fmla="*/ 0 h 52"/>
                <a:gd name="T10" fmla="*/ 54 w 96"/>
                <a:gd name="T11" fmla="*/ 14 h 52"/>
                <a:gd name="T12" fmla="*/ 70 w 96"/>
                <a:gd name="T13" fmla="*/ 6 h 52"/>
                <a:gd name="T14" fmla="*/ 82 w 96"/>
                <a:gd name="T15" fmla="*/ 16 h 52"/>
                <a:gd name="T16" fmla="*/ 96 w 96"/>
                <a:gd name="T17" fmla="*/ 22 h 52"/>
                <a:gd name="T18" fmla="*/ 94 w 96"/>
                <a:gd name="T19" fmla="*/ 32 h 52"/>
                <a:gd name="T20" fmla="*/ 86 w 96"/>
                <a:gd name="T21" fmla="*/ 40 h 52"/>
                <a:gd name="T22" fmla="*/ 58 w 96"/>
                <a:gd name="T23" fmla="*/ 40 h 52"/>
                <a:gd name="T24" fmla="*/ 26 w 96"/>
                <a:gd name="T25" fmla="*/ 42 h 52"/>
                <a:gd name="T26" fmla="*/ 20 w 96"/>
                <a:gd name="T27" fmla="*/ 48 h 52"/>
                <a:gd name="T28" fmla="*/ 8 w 96"/>
                <a:gd name="T29" fmla="*/ 52 h 52"/>
                <a:gd name="T30" fmla="*/ 0 w 96"/>
                <a:gd name="T31" fmla="*/ 4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6" h="52">
                  <a:moveTo>
                    <a:pt x="0" y="48"/>
                  </a:moveTo>
                  <a:lnTo>
                    <a:pt x="16" y="30"/>
                  </a:lnTo>
                  <a:lnTo>
                    <a:pt x="28" y="14"/>
                  </a:lnTo>
                  <a:lnTo>
                    <a:pt x="40" y="2"/>
                  </a:lnTo>
                  <a:lnTo>
                    <a:pt x="58" y="0"/>
                  </a:lnTo>
                  <a:lnTo>
                    <a:pt x="54" y="14"/>
                  </a:lnTo>
                  <a:lnTo>
                    <a:pt x="70" y="6"/>
                  </a:lnTo>
                  <a:lnTo>
                    <a:pt x="82" y="16"/>
                  </a:lnTo>
                  <a:lnTo>
                    <a:pt x="96" y="22"/>
                  </a:lnTo>
                  <a:lnTo>
                    <a:pt x="94" y="32"/>
                  </a:lnTo>
                  <a:lnTo>
                    <a:pt x="86" y="40"/>
                  </a:lnTo>
                  <a:lnTo>
                    <a:pt x="58" y="40"/>
                  </a:lnTo>
                  <a:lnTo>
                    <a:pt x="26" y="42"/>
                  </a:lnTo>
                  <a:lnTo>
                    <a:pt x="20" y="48"/>
                  </a:lnTo>
                  <a:lnTo>
                    <a:pt x="8" y="52"/>
                  </a:lnTo>
                  <a:lnTo>
                    <a:pt x="0" y="4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13" name="Freeform 105">
              <a:extLst>
                <a:ext uri="{FF2B5EF4-FFF2-40B4-BE49-F238E27FC236}">
                  <a16:creationId xmlns:a16="http://schemas.microsoft.com/office/drawing/2014/main" id="{A2223B9B-50CE-44A8-8AFC-780400CFBBF8}"/>
                </a:ext>
              </a:extLst>
            </p:cNvPr>
            <p:cNvSpPr>
              <a:spLocks/>
            </p:cNvSpPr>
            <p:nvPr/>
          </p:nvSpPr>
          <p:spPr bwMode="gray">
            <a:xfrm>
              <a:off x="8276801" y="1919441"/>
              <a:ext cx="158503" cy="76353"/>
            </a:xfrm>
            <a:custGeom>
              <a:avLst/>
              <a:gdLst>
                <a:gd name="T0" fmla="*/ 0 w 96"/>
                <a:gd name="T1" fmla="*/ 22 h 46"/>
                <a:gd name="T2" fmla="*/ 16 w 96"/>
                <a:gd name="T3" fmla="*/ 6 h 46"/>
                <a:gd name="T4" fmla="*/ 46 w 96"/>
                <a:gd name="T5" fmla="*/ 0 h 46"/>
                <a:gd name="T6" fmla="*/ 64 w 96"/>
                <a:gd name="T7" fmla="*/ 2 h 46"/>
                <a:gd name="T8" fmla="*/ 64 w 96"/>
                <a:gd name="T9" fmla="*/ 10 h 46"/>
                <a:gd name="T10" fmla="*/ 76 w 96"/>
                <a:gd name="T11" fmla="*/ 8 h 46"/>
                <a:gd name="T12" fmla="*/ 88 w 96"/>
                <a:gd name="T13" fmla="*/ 6 h 46"/>
                <a:gd name="T14" fmla="*/ 96 w 96"/>
                <a:gd name="T15" fmla="*/ 14 h 46"/>
                <a:gd name="T16" fmla="*/ 96 w 96"/>
                <a:gd name="T17" fmla="*/ 26 h 46"/>
                <a:gd name="T18" fmla="*/ 84 w 96"/>
                <a:gd name="T19" fmla="*/ 36 h 46"/>
                <a:gd name="T20" fmla="*/ 92 w 96"/>
                <a:gd name="T21" fmla="*/ 46 h 46"/>
                <a:gd name="T22" fmla="*/ 54 w 96"/>
                <a:gd name="T23" fmla="*/ 46 h 46"/>
                <a:gd name="T24" fmla="*/ 40 w 96"/>
                <a:gd name="T25" fmla="*/ 40 h 46"/>
                <a:gd name="T26" fmla="*/ 16 w 96"/>
                <a:gd name="T27" fmla="*/ 40 h 46"/>
                <a:gd name="T28" fmla="*/ 8 w 96"/>
                <a:gd name="T29" fmla="*/ 28 h 46"/>
                <a:gd name="T30" fmla="*/ 0 w 96"/>
                <a:gd name="T31" fmla="*/ 2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6" h="46">
                  <a:moveTo>
                    <a:pt x="0" y="22"/>
                  </a:moveTo>
                  <a:lnTo>
                    <a:pt x="16" y="6"/>
                  </a:lnTo>
                  <a:lnTo>
                    <a:pt x="46" y="0"/>
                  </a:lnTo>
                  <a:lnTo>
                    <a:pt x="64" y="2"/>
                  </a:lnTo>
                  <a:lnTo>
                    <a:pt x="64" y="10"/>
                  </a:lnTo>
                  <a:lnTo>
                    <a:pt x="76" y="8"/>
                  </a:lnTo>
                  <a:lnTo>
                    <a:pt x="88" y="6"/>
                  </a:lnTo>
                  <a:lnTo>
                    <a:pt x="96" y="14"/>
                  </a:lnTo>
                  <a:lnTo>
                    <a:pt x="96" y="26"/>
                  </a:lnTo>
                  <a:lnTo>
                    <a:pt x="84" y="36"/>
                  </a:lnTo>
                  <a:lnTo>
                    <a:pt x="92" y="46"/>
                  </a:lnTo>
                  <a:lnTo>
                    <a:pt x="54" y="46"/>
                  </a:lnTo>
                  <a:lnTo>
                    <a:pt x="40" y="40"/>
                  </a:lnTo>
                  <a:lnTo>
                    <a:pt x="16" y="40"/>
                  </a:lnTo>
                  <a:lnTo>
                    <a:pt x="8" y="28"/>
                  </a:lnTo>
                  <a:lnTo>
                    <a:pt x="0" y="2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14" name="Freeform 106">
              <a:extLst>
                <a:ext uri="{FF2B5EF4-FFF2-40B4-BE49-F238E27FC236}">
                  <a16:creationId xmlns:a16="http://schemas.microsoft.com/office/drawing/2014/main" id="{C153172E-FE3C-4EB4-A4E7-F698D581BCCA}"/>
                </a:ext>
              </a:extLst>
            </p:cNvPr>
            <p:cNvSpPr>
              <a:spLocks/>
            </p:cNvSpPr>
            <p:nvPr/>
          </p:nvSpPr>
          <p:spPr bwMode="gray">
            <a:xfrm>
              <a:off x="8237174" y="1849728"/>
              <a:ext cx="138690" cy="73033"/>
            </a:xfrm>
            <a:custGeom>
              <a:avLst/>
              <a:gdLst>
                <a:gd name="T0" fmla="*/ 0 w 84"/>
                <a:gd name="T1" fmla="*/ 34 h 44"/>
                <a:gd name="T2" fmla="*/ 22 w 84"/>
                <a:gd name="T3" fmla="*/ 44 h 44"/>
                <a:gd name="T4" fmla="*/ 36 w 84"/>
                <a:gd name="T5" fmla="*/ 42 h 44"/>
                <a:gd name="T6" fmla="*/ 56 w 84"/>
                <a:gd name="T7" fmla="*/ 38 h 44"/>
                <a:gd name="T8" fmla="*/ 74 w 84"/>
                <a:gd name="T9" fmla="*/ 36 h 44"/>
                <a:gd name="T10" fmla="*/ 76 w 84"/>
                <a:gd name="T11" fmla="*/ 28 h 44"/>
                <a:gd name="T12" fmla="*/ 84 w 84"/>
                <a:gd name="T13" fmla="*/ 22 h 44"/>
                <a:gd name="T14" fmla="*/ 72 w 84"/>
                <a:gd name="T15" fmla="*/ 14 h 44"/>
                <a:gd name="T16" fmla="*/ 60 w 84"/>
                <a:gd name="T17" fmla="*/ 2 h 44"/>
                <a:gd name="T18" fmla="*/ 44 w 84"/>
                <a:gd name="T19" fmla="*/ 0 h 44"/>
                <a:gd name="T20" fmla="*/ 40 w 84"/>
                <a:gd name="T21" fmla="*/ 10 h 44"/>
                <a:gd name="T22" fmla="*/ 16 w 84"/>
                <a:gd name="T23" fmla="*/ 12 h 44"/>
                <a:gd name="T24" fmla="*/ 12 w 84"/>
                <a:gd name="T25" fmla="*/ 18 h 44"/>
                <a:gd name="T26" fmla="*/ 10 w 84"/>
                <a:gd name="T27" fmla="*/ 28 h 44"/>
                <a:gd name="T28" fmla="*/ 0 w 84"/>
                <a:gd name="T29" fmla="*/ 3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 h="44">
                  <a:moveTo>
                    <a:pt x="0" y="34"/>
                  </a:moveTo>
                  <a:lnTo>
                    <a:pt x="22" y="44"/>
                  </a:lnTo>
                  <a:lnTo>
                    <a:pt x="36" y="42"/>
                  </a:lnTo>
                  <a:lnTo>
                    <a:pt x="56" y="38"/>
                  </a:lnTo>
                  <a:lnTo>
                    <a:pt x="74" y="36"/>
                  </a:lnTo>
                  <a:lnTo>
                    <a:pt x="76" y="28"/>
                  </a:lnTo>
                  <a:lnTo>
                    <a:pt x="84" y="22"/>
                  </a:lnTo>
                  <a:lnTo>
                    <a:pt x="72" y="14"/>
                  </a:lnTo>
                  <a:lnTo>
                    <a:pt x="60" y="2"/>
                  </a:lnTo>
                  <a:lnTo>
                    <a:pt x="44" y="0"/>
                  </a:lnTo>
                  <a:lnTo>
                    <a:pt x="40" y="10"/>
                  </a:lnTo>
                  <a:lnTo>
                    <a:pt x="16" y="12"/>
                  </a:lnTo>
                  <a:lnTo>
                    <a:pt x="12" y="18"/>
                  </a:lnTo>
                  <a:lnTo>
                    <a:pt x="10" y="28"/>
                  </a:lnTo>
                  <a:lnTo>
                    <a:pt x="0" y="3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15" name="Freeform 107">
              <a:extLst>
                <a:ext uri="{FF2B5EF4-FFF2-40B4-BE49-F238E27FC236}">
                  <a16:creationId xmlns:a16="http://schemas.microsoft.com/office/drawing/2014/main" id="{0FFEF5BE-C749-48E1-AD69-E6622BD89A7E}"/>
                </a:ext>
              </a:extLst>
            </p:cNvPr>
            <p:cNvSpPr>
              <a:spLocks/>
            </p:cNvSpPr>
            <p:nvPr/>
          </p:nvSpPr>
          <p:spPr bwMode="gray">
            <a:xfrm>
              <a:off x="9412738" y="2151817"/>
              <a:ext cx="211337" cy="73033"/>
            </a:xfrm>
            <a:custGeom>
              <a:avLst/>
              <a:gdLst>
                <a:gd name="T0" fmla="*/ 38 w 128"/>
                <a:gd name="T1" fmla="*/ 42 h 44"/>
                <a:gd name="T2" fmla="*/ 26 w 128"/>
                <a:gd name="T3" fmla="*/ 44 h 44"/>
                <a:gd name="T4" fmla="*/ 2 w 128"/>
                <a:gd name="T5" fmla="*/ 32 h 44"/>
                <a:gd name="T6" fmla="*/ 0 w 128"/>
                <a:gd name="T7" fmla="*/ 20 h 44"/>
                <a:gd name="T8" fmla="*/ 6 w 128"/>
                <a:gd name="T9" fmla="*/ 6 h 44"/>
                <a:gd name="T10" fmla="*/ 18 w 128"/>
                <a:gd name="T11" fmla="*/ 0 h 44"/>
                <a:gd name="T12" fmla="*/ 30 w 128"/>
                <a:gd name="T13" fmla="*/ 0 h 44"/>
                <a:gd name="T14" fmla="*/ 46 w 128"/>
                <a:gd name="T15" fmla="*/ 8 h 44"/>
                <a:gd name="T16" fmla="*/ 58 w 128"/>
                <a:gd name="T17" fmla="*/ 16 h 44"/>
                <a:gd name="T18" fmla="*/ 64 w 128"/>
                <a:gd name="T19" fmla="*/ 4 h 44"/>
                <a:gd name="T20" fmla="*/ 76 w 128"/>
                <a:gd name="T21" fmla="*/ 4 h 44"/>
                <a:gd name="T22" fmla="*/ 86 w 128"/>
                <a:gd name="T23" fmla="*/ 10 h 44"/>
                <a:gd name="T24" fmla="*/ 100 w 128"/>
                <a:gd name="T25" fmla="*/ 8 h 44"/>
                <a:gd name="T26" fmla="*/ 120 w 128"/>
                <a:gd name="T27" fmla="*/ 14 h 44"/>
                <a:gd name="T28" fmla="*/ 128 w 128"/>
                <a:gd name="T29" fmla="*/ 20 h 44"/>
                <a:gd name="T30" fmla="*/ 120 w 128"/>
                <a:gd name="T31" fmla="*/ 32 h 44"/>
                <a:gd name="T32" fmla="*/ 104 w 128"/>
                <a:gd name="T33" fmla="*/ 36 h 44"/>
                <a:gd name="T34" fmla="*/ 92 w 128"/>
                <a:gd name="T35" fmla="*/ 32 h 44"/>
                <a:gd name="T36" fmla="*/ 86 w 128"/>
                <a:gd name="T37" fmla="*/ 24 h 44"/>
                <a:gd name="T38" fmla="*/ 90 w 128"/>
                <a:gd name="T39" fmla="*/ 14 h 44"/>
                <a:gd name="T40" fmla="*/ 78 w 128"/>
                <a:gd name="T41" fmla="*/ 16 h 44"/>
                <a:gd name="T42" fmla="*/ 80 w 128"/>
                <a:gd name="T43" fmla="*/ 24 h 44"/>
                <a:gd name="T44" fmla="*/ 84 w 128"/>
                <a:gd name="T45" fmla="*/ 30 h 44"/>
                <a:gd name="T46" fmla="*/ 88 w 128"/>
                <a:gd name="T47" fmla="*/ 38 h 44"/>
                <a:gd name="T48" fmla="*/ 78 w 128"/>
                <a:gd name="T49" fmla="*/ 38 h 44"/>
                <a:gd name="T50" fmla="*/ 62 w 128"/>
                <a:gd name="T51" fmla="*/ 36 h 44"/>
                <a:gd name="T52" fmla="*/ 48 w 128"/>
                <a:gd name="T53" fmla="*/ 36 h 44"/>
                <a:gd name="T54" fmla="*/ 38 w 128"/>
                <a:gd name="T55" fmla="*/ 34 h 44"/>
                <a:gd name="T56" fmla="*/ 38 w 128"/>
                <a:gd name="T57" fmla="*/ 4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8" h="44">
                  <a:moveTo>
                    <a:pt x="38" y="42"/>
                  </a:moveTo>
                  <a:lnTo>
                    <a:pt x="26" y="44"/>
                  </a:lnTo>
                  <a:lnTo>
                    <a:pt x="2" y="32"/>
                  </a:lnTo>
                  <a:lnTo>
                    <a:pt x="0" y="20"/>
                  </a:lnTo>
                  <a:lnTo>
                    <a:pt x="6" y="6"/>
                  </a:lnTo>
                  <a:lnTo>
                    <a:pt x="18" y="0"/>
                  </a:lnTo>
                  <a:lnTo>
                    <a:pt x="30" y="0"/>
                  </a:lnTo>
                  <a:lnTo>
                    <a:pt x="46" y="8"/>
                  </a:lnTo>
                  <a:lnTo>
                    <a:pt x="58" y="16"/>
                  </a:lnTo>
                  <a:lnTo>
                    <a:pt x="64" y="4"/>
                  </a:lnTo>
                  <a:lnTo>
                    <a:pt x="76" y="4"/>
                  </a:lnTo>
                  <a:lnTo>
                    <a:pt x="86" y="10"/>
                  </a:lnTo>
                  <a:lnTo>
                    <a:pt x="100" y="8"/>
                  </a:lnTo>
                  <a:lnTo>
                    <a:pt x="120" y="14"/>
                  </a:lnTo>
                  <a:lnTo>
                    <a:pt x="128" y="20"/>
                  </a:lnTo>
                  <a:lnTo>
                    <a:pt x="120" y="32"/>
                  </a:lnTo>
                  <a:lnTo>
                    <a:pt x="104" y="36"/>
                  </a:lnTo>
                  <a:lnTo>
                    <a:pt x="92" y="32"/>
                  </a:lnTo>
                  <a:lnTo>
                    <a:pt x="86" y="24"/>
                  </a:lnTo>
                  <a:lnTo>
                    <a:pt x="90" y="14"/>
                  </a:lnTo>
                  <a:lnTo>
                    <a:pt x="78" y="16"/>
                  </a:lnTo>
                  <a:lnTo>
                    <a:pt x="80" y="24"/>
                  </a:lnTo>
                  <a:lnTo>
                    <a:pt x="84" y="30"/>
                  </a:lnTo>
                  <a:lnTo>
                    <a:pt x="88" y="38"/>
                  </a:lnTo>
                  <a:lnTo>
                    <a:pt x="78" y="38"/>
                  </a:lnTo>
                  <a:lnTo>
                    <a:pt x="62" y="36"/>
                  </a:lnTo>
                  <a:lnTo>
                    <a:pt x="48" y="36"/>
                  </a:lnTo>
                  <a:lnTo>
                    <a:pt x="38" y="34"/>
                  </a:lnTo>
                  <a:lnTo>
                    <a:pt x="38" y="4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16" name="Freeform 108">
              <a:extLst>
                <a:ext uri="{FF2B5EF4-FFF2-40B4-BE49-F238E27FC236}">
                  <a16:creationId xmlns:a16="http://schemas.microsoft.com/office/drawing/2014/main" id="{1C210222-5811-4AE1-A280-98B50AE7D8F0}"/>
                </a:ext>
              </a:extLst>
            </p:cNvPr>
            <p:cNvSpPr>
              <a:spLocks/>
            </p:cNvSpPr>
            <p:nvPr/>
          </p:nvSpPr>
          <p:spPr bwMode="gray">
            <a:xfrm>
              <a:off x="9650492" y="2185015"/>
              <a:ext cx="122179" cy="39836"/>
            </a:xfrm>
            <a:custGeom>
              <a:avLst/>
              <a:gdLst>
                <a:gd name="T0" fmla="*/ 6 w 74"/>
                <a:gd name="T1" fmla="*/ 0 h 24"/>
                <a:gd name="T2" fmla="*/ 16 w 74"/>
                <a:gd name="T3" fmla="*/ 4 h 24"/>
                <a:gd name="T4" fmla="*/ 36 w 74"/>
                <a:gd name="T5" fmla="*/ 4 h 24"/>
                <a:gd name="T6" fmla="*/ 50 w 74"/>
                <a:gd name="T7" fmla="*/ 8 h 24"/>
                <a:gd name="T8" fmla="*/ 68 w 74"/>
                <a:gd name="T9" fmla="*/ 10 h 24"/>
                <a:gd name="T10" fmla="*/ 74 w 74"/>
                <a:gd name="T11" fmla="*/ 14 h 24"/>
                <a:gd name="T12" fmla="*/ 60 w 74"/>
                <a:gd name="T13" fmla="*/ 20 h 24"/>
                <a:gd name="T14" fmla="*/ 48 w 74"/>
                <a:gd name="T15" fmla="*/ 24 h 24"/>
                <a:gd name="T16" fmla="*/ 36 w 74"/>
                <a:gd name="T17" fmla="*/ 24 h 24"/>
                <a:gd name="T18" fmla="*/ 20 w 74"/>
                <a:gd name="T19" fmla="*/ 20 h 24"/>
                <a:gd name="T20" fmla="*/ 4 w 74"/>
                <a:gd name="T21" fmla="*/ 16 h 24"/>
                <a:gd name="T22" fmla="*/ 0 w 74"/>
                <a:gd name="T23" fmla="*/ 8 h 24"/>
                <a:gd name="T24" fmla="*/ 6 w 74"/>
                <a:gd name="T2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4" h="24">
                  <a:moveTo>
                    <a:pt x="6" y="0"/>
                  </a:moveTo>
                  <a:lnTo>
                    <a:pt x="16" y="4"/>
                  </a:lnTo>
                  <a:lnTo>
                    <a:pt x="36" y="4"/>
                  </a:lnTo>
                  <a:lnTo>
                    <a:pt x="50" y="8"/>
                  </a:lnTo>
                  <a:lnTo>
                    <a:pt x="68" y="10"/>
                  </a:lnTo>
                  <a:lnTo>
                    <a:pt x="74" y="14"/>
                  </a:lnTo>
                  <a:lnTo>
                    <a:pt x="60" y="20"/>
                  </a:lnTo>
                  <a:lnTo>
                    <a:pt x="48" y="24"/>
                  </a:lnTo>
                  <a:lnTo>
                    <a:pt x="36" y="24"/>
                  </a:lnTo>
                  <a:lnTo>
                    <a:pt x="20" y="20"/>
                  </a:lnTo>
                  <a:lnTo>
                    <a:pt x="4" y="16"/>
                  </a:lnTo>
                  <a:lnTo>
                    <a:pt x="0" y="8"/>
                  </a:lnTo>
                  <a:lnTo>
                    <a:pt x="6"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17" name="Freeform 109">
              <a:extLst>
                <a:ext uri="{FF2B5EF4-FFF2-40B4-BE49-F238E27FC236}">
                  <a16:creationId xmlns:a16="http://schemas.microsoft.com/office/drawing/2014/main" id="{4E0D1C02-7CEF-453D-9452-07F889A05D9D}"/>
                </a:ext>
              </a:extLst>
            </p:cNvPr>
            <p:cNvSpPr>
              <a:spLocks/>
            </p:cNvSpPr>
            <p:nvPr/>
          </p:nvSpPr>
          <p:spPr bwMode="gray">
            <a:xfrm>
              <a:off x="10502446" y="2377554"/>
              <a:ext cx="95762" cy="39836"/>
            </a:xfrm>
            <a:custGeom>
              <a:avLst/>
              <a:gdLst>
                <a:gd name="T0" fmla="*/ 0 w 58"/>
                <a:gd name="T1" fmla="*/ 16 h 24"/>
                <a:gd name="T2" fmla="*/ 2 w 58"/>
                <a:gd name="T3" fmla="*/ 24 h 24"/>
                <a:gd name="T4" fmla="*/ 10 w 58"/>
                <a:gd name="T5" fmla="*/ 24 h 24"/>
                <a:gd name="T6" fmla="*/ 24 w 58"/>
                <a:gd name="T7" fmla="*/ 24 h 24"/>
                <a:gd name="T8" fmla="*/ 46 w 58"/>
                <a:gd name="T9" fmla="*/ 20 h 24"/>
                <a:gd name="T10" fmla="*/ 58 w 58"/>
                <a:gd name="T11" fmla="*/ 18 h 24"/>
                <a:gd name="T12" fmla="*/ 58 w 58"/>
                <a:gd name="T13" fmla="*/ 8 h 24"/>
                <a:gd name="T14" fmla="*/ 48 w 58"/>
                <a:gd name="T15" fmla="*/ 4 h 24"/>
                <a:gd name="T16" fmla="*/ 36 w 58"/>
                <a:gd name="T17" fmla="*/ 0 h 24"/>
                <a:gd name="T18" fmla="*/ 22 w 58"/>
                <a:gd name="T19" fmla="*/ 2 h 24"/>
                <a:gd name="T20" fmla="*/ 14 w 58"/>
                <a:gd name="T21" fmla="*/ 8 h 24"/>
                <a:gd name="T22" fmla="*/ 0 w 58"/>
                <a:gd name="T23"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8" h="24">
                  <a:moveTo>
                    <a:pt x="0" y="16"/>
                  </a:moveTo>
                  <a:lnTo>
                    <a:pt x="2" y="24"/>
                  </a:lnTo>
                  <a:lnTo>
                    <a:pt x="10" y="24"/>
                  </a:lnTo>
                  <a:lnTo>
                    <a:pt x="24" y="24"/>
                  </a:lnTo>
                  <a:lnTo>
                    <a:pt x="46" y="20"/>
                  </a:lnTo>
                  <a:lnTo>
                    <a:pt x="58" y="18"/>
                  </a:lnTo>
                  <a:lnTo>
                    <a:pt x="58" y="8"/>
                  </a:lnTo>
                  <a:lnTo>
                    <a:pt x="48" y="4"/>
                  </a:lnTo>
                  <a:lnTo>
                    <a:pt x="36" y="0"/>
                  </a:lnTo>
                  <a:lnTo>
                    <a:pt x="22" y="2"/>
                  </a:lnTo>
                  <a:lnTo>
                    <a:pt x="14" y="8"/>
                  </a:lnTo>
                  <a:lnTo>
                    <a:pt x="0" y="1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18" name="Freeform 110">
              <a:extLst>
                <a:ext uri="{FF2B5EF4-FFF2-40B4-BE49-F238E27FC236}">
                  <a16:creationId xmlns:a16="http://schemas.microsoft.com/office/drawing/2014/main" id="{DD57D767-EC9F-4BB8-80B7-E61EE01ACF74}"/>
                </a:ext>
              </a:extLst>
            </p:cNvPr>
            <p:cNvSpPr>
              <a:spLocks/>
            </p:cNvSpPr>
            <p:nvPr/>
          </p:nvSpPr>
          <p:spPr bwMode="gray">
            <a:xfrm>
              <a:off x="9534917" y="3101239"/>
              <a:ext cx="69344" cy="288810"/>
            </a:xfrm>
            <a:custGeom>
              <a:avLst/>
              <a:gdLst>
                <a:gd name="T0" fmla="*/ 0 w 42"/>
                <a:gd name="T1" fmla="*/ 166 h 174"/>
                <a:gd name="T2" fmla="*/ 6 w 42"/>
                <a:gd name="T3" fmla="*/ 174 h 174"/>
                <a:gd name="T4" fmla="*/ 10 w 42"/>
                <a:gd name="T5" fmla="*/ 160 h 174"/>
                <a:gd name="T6" fmla="*/ 18 w 42"/>
                <a:gd name="T7" fmla="*/ 162 h 174"/>
                <a:gd name="T8" fmla="*/ 24 w 42"/>
                <a:gd name="T9" fmla="*/ 170 h 174"/>
                <a:gd name="T10" fmla="*/ 26 w 42"/>
                <a:gd name="T11" fmla="*/ 162 h 174"/>
                <a:gd name="T12" fmla="*/ 22 w 42"/>
                <a:gd name="T13" fmla="*/ 154 h 174"/>
                <a:gd name="T14" fmla="*/ 14 w 42"/>
                <a:gd name="T15" fmla="*/ 144 h 174"/>
                <a:gd name="T16" fmla="*/ 10 w 42"/>
                <a:gd name="T17" fmla="*/ 134 h 174"/>
                <a:gd name="T18" fmla="*/ 14 w 42"/>
                <a:gd name="T19" fmla="*/ 126 h 174"/>
                <a:gd name="T20" fmla="*/ 18 w 42"/>
                <a:gd name="T21" fmla="*/ 114 h 174"/>
                <a:gd name="T22" fmla="*/ 22 w 42"/>
                <a:gd name="T23" fmla="*/ 108 h 174"/>
                <a:gd name="T24" fmla="*/ 30 w 42"/>
                <a:gd name="T25" fmla="*/ 106 h 174"/>
                <a:gd name="T26" fmla="*/ 42 w 42"/>
                <a:gd name="T27" fmla="*/ 116 h 174"/>
                <a:gd name="T28" fmla="*/ 42 w 42"/>
                <a:gd name="T29" fmla="*/ 104 h 174"/>
                <a:gd name="T30" fmla="*/ 32 w 42"/>
                <a:gd name="T31" fmla="*/ 88 h 174"/>
                <a:gd name="T32" fmla="*/ 28 w 42"/>
                <a:gd name="T33" fmla="*/ 62 h 174"/>
                <a:gd name="T34" fmla="*/ 24 w 42"/>
                <a:gd name="T35" fmla="*/ 42 h 174"/>
                <a:gd name="T36" fmla="*/ 22 w 42"/>
                <a:gd name="T37" fmla="*/ 26 h 174"/>
                <a:gd name="T38" fmla="*/ 20 w 42"/>
                <a:gd name="T39" fmla="*/ 12 h 174"/>
                <a:gd name="T40" fmla="*/ 16 w 42"/>
                <a:gd name="T41" fmla="*/ 0 h 174"/>
                <a:gd name="T42" fmla="*/ 12 w 42"/>
                <a:gd name="T43" fmla="*/ 6 h 174"/>
                <a:gd name="T44" fmla="*/ 12 w 42"/>
                <a:gd name="T45" fmla="*/ 16 h 174"/>
                <a:gd name="T46" fmla="*/ 2 w 42"/>
                <a:gd name="T47" fmla="*/ 20 h 174"/>
                <a:gd name="T48" fmla="*/ 2 w 42"/>
                <a:gd name="T49" fmla="*/ 36 h 174"/>
                <a:gd name="T50" fmla="*/ 2 w 42"/>
                <a:gd name="T51" fmla="*/ 50 h 174"/>
                <a:gd name="T52" fmla="*/ 2 w 42"/>
                <a:gd name="T53" fmla="*/ 62 h 174"/>
                <a:gd name="T54" fmla="*/ 8 w 42"/>
                <a:gd name="T55" fmla="*/ 70 h 174"/>
                <a:gd name="T56" fmla="*/ 6 w 42"/>
                <a:gd name="T57" fmla="*/ 82 h 174"/>
                <a:gd name="T58" fmla="*/ 6 w 42"/>
                <a:gd name="T59" fmla="*/ 102 h 174"/>
                <a:gd name="T60" fmla="*/ 6 w 42"/>
                <a:gd name="T61" fmla="*/ 126 h 174"/>
                <a:gd name="T62" fmla="*/ 6 w 42"/>
                <a:gd name="T63" fmla="*/ 146 h 174"/>
                <a:gd name="T64" fmla="*/ 6 w 42"/>
                <a:gd name="T65" fmla="*/ 158 h 174"/>
                <a:gd name="T66" fmla="*/ 0 w 42"/>
                <a:gd name="T67" fmla="*/ 16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2" h="174">
                  <a:moveTo>
                    <a:pt x="0" y="166"/>
                  </a:moveTo>
                  <a:lnTo>
                    <a:pt x="6" y="174"/>
                  </a:lnTo>
                  <a:lnTo>
                    <a:pt x="10" y="160"/>
                  </a:lnTo>
                  <a:lnTo>
                    <a:pt x="18" y="162"/>
                  </a:lnTo>
                  <a:lnTo>
                    <a:pt x="24" y="170"/>
                  </a:lnTo>
                  <a:lnTo>
                    <a:pt x="26" y="162"/>
                  </a:lnTo>
                  <a:lnTo>
                    <a:pt x="22" y="154"/>
                  </a:lnTo>
                  <a:lnTo>
                    <a:pt x="14" y="144"/>
                  </a:lnTo>
                  <a:lnTo>
                    <a:pt x="10" y="134"/>
                  </a:lnTo>
                  <a:lnTo>
                    <a:pt x="14" y="126"/>
                  </a:lnTo>
                  <a:lnTo>
                    <a:pt x="18" y="114"/>
                  </a:lnTo>
                  <a:lnTo>
                    <a:pt x="22" y="108"/>
                  </a:lnTo>
                  <a:lnTo>
                    <a:pt x="30" y="106"/>
                  </a:lnTo>
                  <a:lnTo>
                    <a:pt x="42" y="116"/>
                  </a:lnTo>
                  <a:lnTo>
                    <a:pt x="42" y="104"/>
                  </a:lnTo>
                  <a:lnTo>
                    <a:pt x="32" y="88"/>
                  </a:lnTo>
                  <a:lnTo>
                    <a:pt x="28" y="62"/>
                  </a:lnTo>
                  <a:lnTo>
                    <a:pt x="24" y="42"/>
                  </a:lnTo>
                  <a:lnTo>
                    <a:pt x="22" y="26"/>
                  </a:lnTo>
                  <a:lnTo>
                    <a:pt x="20" y="12"/>
                  </a:lnTo>
                  <a:lnTo>
                    <a:pt x="16" y="0"/>
                  </a:lnTo>
                  <a:lnTo>
                    <a:pt x="12" y="6"/>
                  </a:lnTo>
                  <a:lnTo>
                    <a:pt x="12" y="16"/>
                  </a:lnTo>
                  <a:lnTo>
                    <a:pt x="2" y="20"/>
                  </a:lnTo>
                  <a:lnTo>
                    <a:pt x="2" y="36"/>
                  </a:lnTo>
                  <a:lnTo>
                    <a:pt x="2" y="50"/>
                  </a:lnTo>
                  <a:lnTo>
                    <a:pt x="2" y="62"/>
                  </a:lnTo>
                  <a:lnTo>
                    <a:pt x="8" y="70"/>
                  </a:lnTo>
                  <a:lnTo>
                    <a:pt x="6" y="82"/>
                  </a:lnTo>
                  <a:lnTo>
                    <a:pt x="6" y="102"/>
                  </a:lnTo>
                  <a:lnTo>
                    <a:pt x="6" y="126"/>
                  </a:lnTo>
                  <a:lnTo>
                    <a:pt x="6" y="146"/>
                  </a:lnTo>
                  <a:lnTo>
                    <a:pt x="6" y="158"/>
                  </a:lnTo>
                  <a:lnTo>
                    <a:pt x="0" y="16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19" name="Freeform 111">
              <a:extLst>
                <a:ext uri="{FF2B5EF4-FFF2-40B4-BE49-F238E27FC236}">
                  <a16:creationId xmlns:a16="http://schemas.microsoft.com/office/drawing/2014/main" id="{3245B4F7-0224-4E0F-B2BE-BC1E0F756A1C}"/>
                </a:ext>
              </a:extLst>
            </p:cNvPr>
            <p:cNvSpPr>
              <a:spLocks/>
            </p:cNvSpPr>
            <p:nvPr/>
          </p:nvSpPr>
          <p:spPr bwMode="gray">
            <a:xfrm>
              <a:off x="6992268" y="3585910"/>
              <a:ext cx="39626" cy="33197"/>
            </a:xfrm>
            <a:custGeom>
              <a:avLst/>
              <a:gdLst>
                <a:gd name="T0" fmla="*/ 22 w 24"/>
                <a:gd name="T1" fmla="*/ 20 h 20"/>
                <a:gd name="T2" fmla="*/ 14 w 24"/>
                <a:gd name="T3" fmla="*/ 16 h 20"/>
                <a:gd name="T4" fmla="*/ 8 w 24"/>
                <a:gd name="T5" fmla="*/ 12 h 20"/>
                <a:gd name="T6" fmla="*/ 0 w 24"/>
                <a:gd name="T7" fmla="*/ 4 h 20"/>
                <a:gd name="T8" fmla="*/ 2 w 24"/>
                <a:gd name="T9" fmla="*/ 0 h 20"/>
                <a:gd name="T10" fmla="*/ 10 w 24"/>
                <a:gd name="T11" fmla="*/ 0 h 20"/>
                <a:gd name="T12" fmla="*/ 16 w 24"/>
                <a:gd name="T13" fmla="*/ 4 h 20"/>
                <a:gd name="T14" fmla="*/ 22 w 24"/>
                <a:gd name="T15" fmla="*/ 6 h 20"/>
                <a:gd name="T16" fmla="*/ 24 w 24"/>
                <a:gd name="T17" fmla="*/ 14 h 20"/>
                <a:gd name="T18" fmla="*/ 22 w 24"/>
                <a:gd name="T19"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0">
                  <a:moveTo>
                    <a:pt x="22" y="20"/>
                  </a:moveTo>
                  <a:lnTo>
                    <a:pt x="14" y="16"/>
                  </a:lnTo>
                  <a:lnTo>
                    <a:pt x="8" y="12"/>
                  </a:lnTo>
                  <a:lnTo>
                    <a:pt x="0" y="4"/>
                  </a:lnTo>
                  <a:lnTo>
                    <a:pt x="2" y="0"/>
                  </a:lnTo>
                  <a:lnTo>
                    <a:pt x="10" y="0"/>
                  </a:lnTo>
                  <a:lnTo>
                    <a:pt x="16" y="4"/>
                  </a:lnTo>
                  <a:lnTo>
                    <a:pt x="22" y="6"/>
                  </a:lnTo>
                  <a:lnTo>
                    <a:pt x="24" y="14"/>
                  </a:lnTo>
                  <a:lnTo>
                    <a:pt x="22" y="2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20" name="Freeform 112">
              <a:extLst>
                <a:ext uri="{FF2B5EF4-FFF2-40B4-BE49-F238E27FC236}">
                  <a16:creationId xmlns:a16="http://schemas.microsoft.com/office/drawing/2014/main" id="{12099CD8-BF4C-46FA-BAC3-A3018363E4E4}"/>
                </a:ext>
              </a:extLst>
            </p:cNvPr>
            <p:cNvSpPr>
              <a:spLocks/>
            </p:cNvSpPr>
            <p:nvPr/>
          </p:nvSpPr>
          <p:spPr bwMode="gray">
            <a:xfrm>
              <a:off x="6671960" y="3718695"/>
              <a:ext cx="49532" cy="26557"/>
            </a:xfrm>
            <a:custGeom>
              <a:avLst/>
              <a:gdLst>
                <a:gd name="T0" fmla="*/ 8 w 30"/>
                <a:gd name="T1" fmla="*/ 6 h 16"/>
                <a:gd name="T2" fmla="*/ 16 w 30"/>
                <a:gd name="T3" fmla="*/ 4 h 16"/>
                <a:gd name="T4" fmla="*/ 24 w 30"/>
                <a:gd name="T5" fmla="*/ 4 h 16"/>
                <a:gd name="T6" fmla="*/ 30 w 30"/>
                <a:gd name="T7" fmla="*/ 0 h 16"/>
                <a:gd name="T8" fmla="*/ 22 w 30"/>
                <a:gd name="T9" fmla="*/ 8 h 16"/>
                <a:gd name="T10" fmla="*/ 18 w 30"/>
                <a:gd name="T11" fmla="*/ 12 h 16"/>
                <a:gd name="T12" fmla="*/ 12 w 30"/>
                <a:gd name="T13" fmla="*/ 16 h 16"/>
                <a:gd name="T14" fmla="*/ 4 w 30"/>
                <a:gd name="T15" fmla="*/ 16 h 16"/>
                <a:gd name="T16" fmla="*/ 0 w 30"/>
                <a:gd name="T17" fmla="*/ 12 h 16"/>
                <a:gd name="T18" fmla="*/ 0 w 30"/>
                <a:gd name="T19" fmla="*/ 6 h 16"/>
                <a:gd name="T20" fmla="*/ 8 w 30"/>
                <a:gd name="T21" fmla="*/ 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16">
                  <a:moveTo>
                    <a:pt x="8" y="6"/>
                  </a:moveTo>
                  <a:lnTo>
                    <a:pt x="16" y="4"/>
                  </a:lnTo>
                  <a:lnTo>
                    <a:pt x="24" y="4"/>
                  </a:lnTo>
                  <a:lnTo>
                    <a:pt x="30" y="0"/>
                  </a:lnTo>
                  <a:lnTo>
                    <a:pt x="22" y="8"/>
                  </a:lnTo>
                  <a:lnTo>
                    <a:pt x="18" y="12"/>
                  </a:lnTo>
                  <a:lnTo>
                    <a:pt x="12" y="16"/>
                  </a:lnTo>
                  <a:lnTo>
                    <a:pt x="4" y="16"/>
                  </a:lnTo>
                  <a:lnTo>
                    <a:pt x="0" y="12"/>
                  </a:lnTo>
                  <a:lnTo>
                    <a:pt x="0" y="6"/>
                  </a:lnTo>
                  <a:lnTo>
                    <a:pt x="8" y="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21" name="Freeform 113">
              <a:extLst>
                <a:ext uri="{FF2B5EF4-FFF2-40B4-BE49-F238E27FC236}">
                  <a16:creationId xmlns:a16="http://schemas.microsoft.com/office/drawing/2014/main" id="{A9F2D23A-6D80-479B-91F2-3B3B792C2D48}"/>
                </a:ext>
              </a:extLst>
            </p:cNvPr>
            <p:cNvSpPr>
              <a:spLocks/>
            </p:cNvSpPr>
            <p:nvPr/>
          </p:nvSpPr>
          <p:spPr bwMode="gray">
            <a:xfrm>
              <a:off x="6510154" y="3516196"/>
              <a:ext cx="482113" cy="185901"/>
            </a:xfrm>
            <a:custGeom>
              <a:avLst/>
              <a:gdLst>
                <a:gd name="T0" fmla="*/ 0 w 292"/>
                <a:gd name="T1" fmla="*/ 46 h 112"/>
                <a:gd name="T2" fmla="*/ 6 w 292"/>
                <a:gd name="T3" fmla="*/ 34 h 112"/>
                <a:gd name="T4" fmla="*/ 26 w 292"/>
                <a:gd name="T5" fmla="*/ 34 h 112"/>
                <a:gd name="T6" fmla="*/ 46 w 292"/>
                <a:gd name="T7" fmla="*/ 34 h 112"/>
                <a:gd name="T8" fmla="*/ 52 w 292"/>
                <a:gd name="T9" fmla="*/ 26 h 112"/>
                <a:gd name="T10" fmla="*/ 52 w 292"/>
                <a:gd name="T11" fmla="*/ 22 h 112"/>
                <a:gd name="T12" fmla="*/ 46 w 292"/>
                <a:gd name="T13" fmla="*/ 16 h 112"/>
                <a:gd name="T14" fmla="*/ 82 w 292"/>
                <a:gd name="T15" fmla="*/ 18 h 112"/>
                <a:gd name="T16" fmla="*/ 110 w 292"/>
                <a:gd name="T17" fmla="*/ 0 h 112"/>
                <a:gd name="T18" fmla="*/ 146 w 292"/>
                <a:gd name="T19" fmla="*/ 12 h 112"/>
                <a:gd name="T20" fmla="*/ 160 w 292"/>
                <a:gd name="T21" fmla="*/ 16 h 112"/>
                <a:gd name="T22" fmla="*/ 182 w 292"/>
                <a:gd name="T23" fmla="*/ 22 h 112"/>
                <a:gd name="T24" fmla="*/ 218 w 292"/>
                <a:gd name="T25" fmla="*/ 22 h 112"/>
                <a:gd name="T26" fmla="*/ 242 w 292"/>
                <a:gd name="T27" fmla="*/ 10 h 112"/>
                <a:gd name="T28" fmla="*/ 252 w 292"/>
                <a:gd name="T29" fmla="*/ 14 h 112"/>
                <a:gd name="T30" fmla="*/ 262 w 292"/>
                <a:gd name="T31" fmla="*/ 10 h 112"/>
                <a:gd name="T32" fmla="*/ 274 w 292"/>
                <a:gd name="T33" fmla="*/ 20 h 112"/>
                <a:gd name="T34" fmla="*/ 274 w 292"/>
                <a:gd name="T35" fmla="*/ 42 h 112"/>
                <a:gd name="T36" fmla="*/ 292 w 292"/>
                <a:gd name="T37" fmla="*/ 46 h 112"/>
                <a:gd name="T38" fmla="*/ 282 w 292"/>
                <a:gd name="T39" fmla="*/ 52 h 112"/>
                <a:gd name="T40" fmla="*/ 286 w 292"/>
                <a:gd name="T41" fmla="*/ 68 h 112"/>
                <a:gd name="T42" fmla="*/ 292 w 292"/>
                <a:gd name="T43" fmla="*/ 88 h 112"/>
                <a:gd name="T44" fmla="*/ 282 w 292"/>
                <a:gd name="T45" fmla="*/ 90 h 112"/>
                <a:gd name="T46" fmla="*/ 252 w 292"/>
                <a:gd name="T47" fmla="*/ 92 h 112"/>
                <a:gd name="T48" fmla="*/ 214 w 292"/>
                <a:gd name="T49" fmla="*/ 100 h 112"/>
                <a:gd name="T50" fmla="*/ 190 w 292"/>
                <a:gd name="T51" fmla="*/ 96 h 112"/>
                <a:gd name="T52" fmla="*/ 182 w 292"/>
                <a:gd name="T53" fmla="*/ 100 h 112"/>
                <a:gd name="T54" fmla="*/ 164 w 292"/>
                <a:gd name="T55" fmla="*/ 96 h 112"/>
                <a:gd name="T56" fmla="*/ 154 w 292"/>
                <a:gd name="T57" fmla="*/ 112 h 112"/>
                <a:gd name="T58" fmla="*/ 156 w 292"/>
                <a:gd name="T59" fmla="*/ 96 h 112"/>
                <a:gd name="T60" fmla="*/ 146 w 292"/>
                <a:gd name="T61" fmla="*/ 100 h 112"/>
                <a:gd name="T62" fmla="*/ 128 w 292"/>
                <a:gd name="T63" fmla="*/ 100 h 112"/>
                <a:gd name="T64" fmla="*/ 110 w 292"/>
                <a:gd name="T65" fmla="*/ 110 h 112"/>
                <a:gd name="T66" fmla="*/ 92 w 292"/>
                <a:gd name="T67" fmla="*/ 104 h 112"/>
                <a:gd name="T68" fmla="*/ 72 w 292"/>
                <a:gd name="T69" fmla="*/ 96 h 112"/>
                <a:gd name="T70" fmla="*/ 68 w 292"/>
                <a:gd name="T71" fmla="*/ 104 h 112"/>
                <a:gd name="T72" fmla="*/ 50 w 292"/>
                <a:gd name="T73" fmla="*/ 108 h 112"/>
                <a:gd name="T74" fmla="*/ 34 w 292"/>
                <a:gd name="T75" fmla="*/ 96 h 112"/>
                <a:gd name="T76" fmla="*/ 16 w 292"/>
                <a:gd name="T77" fmla="*/ 84 h 112"/>
                <a:gd name="T78" fmla="*/ 6 w 292"/>
                <a:gd name="T79" fmla="*/ 74 h 112"/>
                <a:gd name="T80" fmla="*/ 14 w 292"/>
                <a:gd name="T81" fmla="*/ 62 h 112"/>
                <a:gd name="T82" fmla="*/ 10 w 292"/>
                <a:gd name="T83" fmla="*/ 4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92" h="112">
                  <a:moveTo>
                    <a:pt x="10" y="48"/>
                  </a:moveTo>
                  <a:lnTo>
                    <a:pt x="0" y="46"/>
                  </a:lnTo>
                  <a:lnTo>
                    <a:pt x="0" y="42"/>
                  </a:lnTo>
                  <a:lnTo>
                    <a:pt x="6" y="34"/>
                  </a:lnTo>
                  <a:lnTo>
                    <a:pt x="12" y="32"/>
                  </a:lnTo>
                  <a:lnTo>
                    <a:pt x="26" y="34"/>
                  </a:lnTo>
                  <a:lnTo>
                    <a:pt x="38" y="34"/>
                  </a:lnTo>
                  <a:lnTo>
                    <a:pt x="46" y="34"/>
                  </a:lnTo>
                  <a:lnTo>
                    <a:pt x="46" y="28"/>
                  </a:lnTo>
                  <a:lnTo>
                    <a:pt x="52" y="26"/>
                  </a:lnTo>
                  <a:lnTo>
                    <a:pt x="58" y="26"/>
                  </a:lnTo>
                  <a:lnTo>
                    <a:pt x="52" y="22"/>
                  </a:lnTo>
                  <a:lnTo>
                    <a:pt x="46" y="22"/>
                  </a:lnTo>
                  <a:lnTo>
                    <a:pt x="46" y="16"/>
                  </a:lnTo>
                  <a:lnTo>
                    <a:pt x="68" y="18"/>
                  </a:lnTo>
                  <a:lnTo>
                    <a:pt x="82" y="18"/>
                  </a:lnTo>
                  <a:lnTo>
                    <a:pt x="90" y="10"/>
                  </a:lnTo>
                  <a:lnTo>
                    <a:pt x="110" y="0"/>
                  </a:lnTo>
                  <a:lnTo>
                    <a:pt x="140" y="0"/>
                  </a:lnTo>
                  <a:lnTo>
                    <a:pt x="146" y="12"/>
                  </a:lnTo>
                  <a:lnTo>
                    <a:pt x="154" y="10"/>
                  </a:lnTo>
                  <a:lnTo>
                    <a:pt x="160" y="16"/>
                  </a:lnTo>
                  <a:lnTo>
                    <a:pt x="168" y="18"/>
                  </a:lnTo>
                  <a:lnTo>
                    <a:pt x="182" y="22"/>
                  </a:lnTo>
                  <a:lnTo>
                    <a:pt x="200" y="22"/>
                  </a:lnTo>
                  <a:lnTo>
                    <a:pt x="218" y="22"/>
                  </a:lnTo>
                  <a:lnTo>
                    <a:pt x="234" y="18"/>
                  </a:lnTo>
                  <a:lnTo>
                    <a:pt x="242" y="10"/>
                  </a:lnTo>
                  <a:lnTo>
                    <a:pt x="248" y="12"/>
                  </a:lnTo>
                  <a:lnTo>
                    <a:pt x="252" y="14"/>
                  </a:lnTo>
                  <a:lnTo>
                    <a:pt x="254" y="8"/>
                  </a:lnTo>
                  <a:lnTo>
                    <a:pt x="262" y="10"/>
                  </a:lnTo>
                  <a:lnTo>
                    <a:pt x="268" y="16"/>
                  </a:lnTo>
                  <a:lnTo>
                    <a:pt x="274" y="20"/>
                  </a:lnTo>
                  <a:lnTo>
                    <a:pt x="274" y="30"/>
                  </a:lnTo>
                  <a:lnTo>
                    <a:pt x="274" y="42"/>
                  </a:lnTo>
                  <a:lnTo>
                    <a:pt x="286" y="42"/>
                  </a:lnTo>
                  <a:lnTo>
                    <a:pt x="292" y="46"/>
                  </a:lnTo>
                  <a:lnTo>
                    <a:pt x="284" y="48"/>
                  </a:lnTo>
                  <a:lnTo>
                    <a:pt x="282" y="52"/>
                  </a:lnTo>
                  <a:lnTo>
                    <a:pt x="284" y="60"/>
                  </a:lnTo>
                  <a:lnTo>
                    <a:pt x="286" y="68"/>
                  </a:lnTo>
                  <a:lnTo>
                    <a:pt x="288" y="78"/>
                  </a:lnTo>
                  <a:lnTo>
                    <a:pt x="292" y="88"/>
                  </a:lnTo>
                  <a:lnTo>
                    <a:pt x="290" y="92"/>
                  </a:lnTo>
                  <a:lnTo>
                    <a:pt x="282" y="90"/>
                  </a:lnTo>
                  <a:lnTo>
                    <a:pt x="262" y="86"/>
                  </a:lnTo>
                  <a:lnTo>
                    <a:pt x="252" y="92"/>
                  </a:lnTo>
                  <a:lnTo>
                    <a:pt x="226" y="92"/>
                  </a:lnTo>
                  <a:lnTo>
                    <a:pt x="214" y="100"/>
                  </a:lnTo>
                  <a:lnTo>
                    <a:pt x="196" y="102"/>
                  </a:lnTo>
                  <a:lnTo>
                    <a:pt x="190" y="96"/>
                  </a:lnTo>
                  <a:lnTo>
                    <a:pt x="184" y="96"/>
                  </a:lnTo>
                  <a:lnTo>
                    <a:pt x="182" y="100"/>
                  </a:lnTo>
                  <a:lnTo>
                    <a:pt x="170" y="100"/>
                  </a:lnTo>
                  <a:lnTo>
                    <a:pt x="164" y="96"/>
                  </a:lnTo>
                  <a:lnTo>
                    <a:pt x="162" y="104"/>
                  </a:lnTo>
                  <a:lnTo>
                    <a:pt x="154" y="112"/>
                  </a:lnTo>
                  <a:lnTo>
                    <a:pt x="152" y="104"/>
                  </a:lnTo>
                  <a:lnTo>
                    <a:pt x="156" y="96"/>
                  </a:lnTo>
                  <a:lnTo>
                    <a:pt x="150" y="96"/>
                  </a:lnTo>
                  <a:lnTo>
                    <a:pt x="146" y="100"/>
                  </a:lnTo>
                  <a:lnTo>
                    <a:pt x="132" y="98"/>
                  </a:lnTo>
                  <a:lnTo>
                    <a:pt x="128" y="100"/>
                  </a:lnTo>
                  <a:lnTo>
                    <a:pt x="120" y="108"/>
                  </a:lnTo>
                  <a:lnTo>
                    <a:pt x="110" y="110"/>
                  </a:lnTo>
                  <a:lnTo>
                    <a:pt x="100" y="110"/>
                  </a:lnTo>
                  <a:lnTo>
                    <a:pt x="92" y="104"/>
                  </a:lnTo>
                  <a:lnTo>
                    <a:pt x="80" y="100"/>
                  </a:lnTo>
                  <a:lnTo>
                    <a:pt x="72" y="96"/>
                  </a:lnTo>
                  <a:lnTo>
                    <a:pt x="66" y="98"/>
                  </a:lnTo>
                  <a:lnTo>
                    <a:pt x="68" y="104"/>
                  </a:lnTo>
                  <a:lnTo>
                    <a:pt x="66" y="108"/>
                  </a:lnTo>
                  <a:lnTo>
                    <a:pt x="50" y="108"/>
                  </a:lnTo>
                  <a:lnTo>
                    <a:pt x="40" y="100"/>
                  </a:lnTo>
                  <a:lnTo>
                    <a:pt x="34" y="96"/>
                  </a:lnTo>
                  <a:lnTo>
                    <a:pt x="20" y="92"/>
                  </a:lnTo>
                  <a:lnTo>
                    <a:pt x="16" y="84"/>
                  </a:lnTo>
                  <a:lnTo>
                    <a:pt x="16" y="78"/>
                  </a:lnTo>
                  <a:lnTo>
                    <a:pt x="6" y="74"/>
                  </a:lnTo>
                  <a:lnTo>
                    <a:pt x="10" y="68"/>
                  </a:lnTo>
                  <a:lnTo>
                    <a:pt x="14" y="62"/>
                  </a:lnTo>
                  <a:lnTo>
                    <a:pt x="12" y="54"/>
                  </a:lnTo>
                  <a:lnTo>
                    <a:pt x="10" y="4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22" name="Freeform 114">
              <a:extLst>
                <a:ext uri="{FF2B5EF4-FFF2-40B4-BE49-F238E27FC236}">
                  <a16:creationId xmlns:a16="http://schemas.microsoft.com/office/drawing/2014/main" id="{4B0DDF4E-75B0-45CA-BF6A-15A5BCBFBD7E}"/>
                </a:ext>
              </a:extLst>
            </p:cNvPr>
            <p:cNvSpPr>
              <a:spLocks/>
            </p:cNvSpPr>
            <p:nvPr/>
          </p:nvSpPr>
          <p:spPr bwMode="gray">
            <a:xfrm>
              <a:off x="6738003" y="3745253"/>
              <a:ext cx="46230" cy="46475"/>
            </a:xfrm>
            <a:custGeom>
              <a:avLst/>
              <a:gdLst>
                <a:gd name="T0" fmla="*/ 16 w 28"/>
                <a:gd name="T1" fmla="*/ 2 h 28"/>
                <a:gd name="T2" fmla="*/ 24 w 28"/>
                <a:gd name="T3" fmla="*/ 0 h 28"/>
                <a:gd name="T4" fmla="*/ 28 w 28"/>
                <a:gd name="T5" fmla="*/ 4 h 28"/>
                <a:gd name="T6" fmla="*/ 24 w 28"/>
                <a:gd name="T7" fmla="*/ 10 h 28"/>
                <a:gd name="T8" fmla="*/ 18 w 28"/>
                <a:gd name="T9" fmla="*/ 14 h 28"/>
                <a:gd name="T10" fmla="*/ 16 w 28"/>
                <a:gd name="T11" fmla="*/ 20 h 28"/>
                <a:gd name="T12" fmla="*/ 10 w 28"/>
                <a:gd name="T13" fmla="*/ 24 h 28"/>
                <a:gd name="T14" fmla="*/ 6 w 28"/>
                <a:gd name="T15" fmla="*/ 28 h 28"/>
                <a:gd name="T16" fmla="*/ 0 w 28"/>
                <a:gd name="T17" fmla="*/ 26 h 28"/>
                <a:gd name="T18" fmla="*/ 6 w 28"/>
                <a:gd name="T19" fmla="*/ 18 h 28"/>
                <a:gd name="T20" fmla="*/ 12 w 28"/>
                <a:gd name="T21" fmla="*/ 8 h 28"/>
                <a:gd name="T22" fmla="*/ 16 w 28"/>
                <a:gd name="T23"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28">
                  <a:moveTo>
                    <a:pt x="16" y="2"/>
                  </a:moveTo>
                  <a:lnTo>
                    <a:pt x="24" y="0"/>
                  </a:lnTo>
                  <a:lnTo>
                    <a:pt x="28" y="4"/>
                  </a:lnTo>
                  <a:lnTo>
                    <a:pt x="24" y="10"/>
                  </a:lnTo>
                  <a:lnTo>
                    <a:pt x="18" y="14"/>
                  </a:lnTo>
                  <a:lnTo>
                    <a:pt x="16" y="20"/>
                  </a:lnTo>
                  <a:lnTo>
                    <a:pt x="10" y="24"/>
                  </a:lnTo>
                  <a:lnTo>
                    <a:pt x="6" y="28"/>
                  </a:lnTo>
                  <a:lnTo>
                    <a:pt x="0" y="26"/>
                  </a:lnTo>
                  <a:lnTo>
                    <a:pt x="6" y="18"/>
                  </a:lnTo>
                  <a:lnTo>
                    <a:pt x="12" y="8"/>
                  </a:lnTo>
                  <a:lnTo>
                    <a:pt x="16" y="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23" name="Freeform 115">
              <a:extLst>
                <a:ext uri="{FF2B5EF4-FFF2-40B4-BE49-F238E27FC236}">
                  <a16:creationId xmlns:a16="http://schemas.microsoft.com/office/drawing/2014/main" id="{28F589F4-1CBF-41E9-A0A0-DF5BB5FB422C}"/>
                </a:ext>
              </a:extLst>
            </p:cNvPr>
            <p:cNvSpPr>
              <a:spLocks/>
            </p:cNvSpPr>
            <p:nvPr/>
          </p:nvSpPr>
          <p:spPr bwMode="gray">
            <a:xfrm>
              <a:off x="6747909" y="3668901"/>
              <a:ext cx="178316" cy="142746"/>
            </a:xfrm>
            <a:custGeom>
              <a:avLst/>
              <a:gdLst>
                <a:gd name="T0" fmla="*/ 10 w 108"/>
                <a:gd name="T1" fmla="*/ 48 h 86"/>
                <a:gd name="T2" fmla="*/ 8 w 108"/>
                <a:gd name="T3" fmla="*/ 32 h 86"/>
                <a:gd name="T4" fmla="*/ 8 w 108"/>
                <a:gd name="T5" fmla="*/ 24 h 86"/>
                <a:gd name="T6" fmla="*/ 10 w 108"/>
                <a:gd name="T7" fmla="*/ 20 h 86"/>
                <a:gd name="T8" fmla="*/ 18 w 108"/>
                <a:gd name="T9" fmla="*/ 12 h 86"/>
                <a:gd name="T10" fmla="*/ 20 w 108"/>
                <a:gd name="T11" fmla="*/ 4 h 86"/>
                <a:gd name="T12" fmla="*/ 26 w 108"/>
                <a:gd name="T13" fmla="*/ 8 h 86"/>
                <a:gd name="T14" fmla="*/ 38 w 108"/>
                <a:gd name="T15" fmla="*/ 8 h 86"/>
                <a:gd name="T16" fmla="*/ 40 w 108"/>
                <a:gd name="T17" fmla="*/ 4 h 86"/>
                <a:gd name="T18" fmla="*/ 46 w 108"/>
                <a:gd name="T19" fmla="*/ 4 h 86"/>
                <a:gd name="T20" fmla="*/ 52 w 108"/>
                <a:gd name="T21" fmla="*/ 10 h 86"/>
                <a:gd name="T22" fmla="*/ 70 w 108"/>
                <a:gd name="T23" fmla="*/ 8 h 86"/>
                <a:gd name="T24" fmla="*/ 82 w 108"/>
                <a:gd name="T25" fmla="*/ 0 h 86"/>
                <a:gd name="T26" fmla="*/ 108 w 108"/>
                <a:gd name="T27" fmla="*/ 0 h 86"/>
                <a:gd name="T28" fmla="*/ 108 w 108"/>
                <a:gd name="T29" fmla="*/ 4 h 86"/>
                <a:gd name="T30" fmla="*/ 94 w 108"/>
                <a:gd name="T31" fmla="*/ 14 h 86"/>
                <a:gd name="T32" fmla="*/ 90 w 108"/>
                <a:gd name="T33" fmla="*/ 46 h 86"/>
                <a:gd name="T34" fmla="*/ 54 w 108"/>
                <a:gd name="T35" fmla="*/ 68 h 86"/>
                <a:gd name="T36" fmla="*/ 28 w 108"/>
                <a:gd name="T37" fmla="*/ 84 h 86"/>
                <a:gd name="T38" fmla="*/ 20 w 108"/>
                <a:gd name="T39" fmla="*/ 86 h 86"/>
                <a:gd name="T40" fmla="*/ 12 w 108"/>
                <a:gd name="T41" fmla="*/ 82 h 86"/>
                <a:gd name="T42" fmla="*/ 6 w 108"/>
                <a:gd name="T43" fmla="*/ 80 h 86"/>
                <a:gd name="T44" fmla="*/ 2 w 108"/>
                <a:gd name="T45" fmla="*/ 78 h 86"/>
                <a:gd name="T46" fmla="*/ 0 w 108"/>
                <a:gd name="T47" fmla="*/ 74 h 86"/>
                <a:gd name="T48" fmla="*/ 10 w 108"/>
                <a:gd name="T49" fmla="*/ 66 h 86"/>
                <a:gd name="T50" fmla="*/ 12 w 108"/>
                <a:gd name="T51" fmla="*/ 60 h 86"/>
                <a:gd name="T52" fmla="*/ 18 w 108"/>
                <a:gd name="T53" fmla="*/ 56 h 86"/>
                <a:gd name="T54" fmla="*/ 22 w 108"/>
                <a:gd name="T55" fmla="*/ 50 h 86"/>
                <a:gd name="T56" fmla="*/ 18 w 108"/>
                <a:gd name="T57" fmla="*/ 46 h 86"/>
                <a:gd name="T58" fmla="*/ 10 w 108"/>
                <a:gd name="T59" fmla="*/ 4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8" h="86">
                  <a:moveTo>
                    <a:pt x="10" y="48"/>
                  </a:moveTo>
                  <a:lnTo>
                    <a:pt x="8" y="32"/>
                  </a:lnTo>
                  <a:lnTo>
                    <a:pt x="8" y="24"/>
                  </a:lnTo>
                  <a:lnTo>
                    <a:pt x="10" y="20"/>
                  </a:lnTo>
                  <a:lnTo>
                    <a:pt x="18" y="12"/>
                  </a:lnTo>
                  <a:lnTo>
                    <a:pt x="20" y="4"/>
                  </a:lnTo>
                  <a:lnTo>
                    <a:pt x="26" y="8"/>
                  </a:lnTo>
                  <a:lnTo>
                    <a:pt x="38" y="8"/>
                  </a:lnTo>
                  <a:lnTo>
                    <a:pt x="40" y="4"/>
                  </a:lnTo>
                  <a:lnTo>
                    <a:pt x="46" y="4"/>
                  </a:lnTo>
                  <a:lnTo>
                    <a:pt x="52" y="10"/>
                  </a:lnTo>
                  <a:lnTo>
                    <a:pt x="70" y="8"/>
                  </a:lnTo>
                  <a:lnTo>
                    <a:pt x="82" y="0"/>
                  </a:lnTo>
                  <a:lnTo>
                    <a:pt x="108" y="0"/>
                  </a:lnTo>
                  <a:lnTo>
                    <a:pt x="108" y="4"/>
                  </a:lnTo>
                  <a:lnTo>
                    <a:pt x="94" y="14"/>
                  </a:lnTo>
                  <a:lnTo>
                    <a:pt x="90" y="46"/>
                  </a:lnTo>
                  <a:lnTo>
                    <a:pt x="54" y="68"/>
                  </a:lnTo>
                  <a:lnTo>
                    <a:pt x="28" y="84"/>
                  </a:lnTo>
                  <a:lnTo>
                    <a:pt x="20" y="86"/>
                  </a:lnTo>
                  <a:lnTo>
                    <a:pt x="12" y="82"/>
                  </a:lnTo>
                  <a:lnTo>
                    <a:pt x="6" y="80"/>
                  </a:lnTo>
                  <a:lnTo>
                    <a:pt x="2" y="78"/>
                  </a:lnTo>
                  <a:lnTo>
                    <a:pt x="0" y="74"/>
                  </a:lnTo>
                  <a:lnTo>
                    <a:pt x="10" y="66"/>
                  </a:lnTo>
                  <a:lnTo>
                    <a:pt x="12" y="60"/>
                  </a:lnTo>
                  <a:lnTo>
                    <a:pt x="18" y="56"/>
                  </a:lnTo>
                  <a:lnTo>
                    <a:pt x="22" y="50"/>
                  </a:lnTo>
                  <a:lnTo>
                    <a:pt x="18" y="46"/>
                  </a:lnTo>
                  <a:lnTo>
                    <a:pt x="10" y="4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24" name="Freeform 116">
              <a:extLst>
                <a:ext uri="{FF2B5EF4-FFF2-40B4-BE49-F238E27FC236}">
                  <a16:creationId xmlns:a16="http://schemas.microsoft.com/office/drawing/2014/main" id="{17F443A3-8D92-4BC3-905E-2CE64AEC0C89}"/>
                </a:ext>
              </a:extLst>
            </p:cNvPr>
            <p:cNvSpPr>
              <a:spLocks/>
            </p:cNvSpPr>
            <p:nvPr/>
          </p:nvSpPr>
          <p:spPr bwMode="gray">
            <a:xfrm>
              <a:off x="6714887" y="3788408"/>
              <a:ext cx="39626" cy="106229"/>
            </a:xfrm>
            <a:custGeom>
              <a:avLst/>
              <a:gdLst>
                <a:gd name="T0" fmla="*/ 16 w 24"/>
                <a:gd name="T1" fmla="*/ 14 h 64"/>
                <a:gd name="T2" fmla="*/ 22 w 24"/>
                <a:gd name="T3" fmla="*/ 14 h 64"/>
                <a:gd name="T4" fmla="*/ 24 w 24"/>
                <a:gd name="T5" fmla="*/ 8 h 64"/>
                <a:gd name="T6" fmla="*/ 22 w 24"/>
                <a:gd name="T7" fmla="*/ 6 h 64"/>
                <a:gd name="T8" fmla="*/ 20 w 24"/>
                <a:gd name="T9" fmla="*/ 2 h 64"/>
                <a:gd name="T10" fmla="*/ 14 w 24"/>
                <a:gd name="T11" fmla="*/ 0 h 64"/>
                <a:gd name="T12" fmla="*/ 14 w 24"/>
                <a:gd name="T13" fmla="*/ 6 h 64"/>
                <a:gd name="T14" fmla="*/ 12 w 24"/>
                <a:gd name="T15" fmla="*/ 14 h 64"/>
                <a:gd name="T16" fmla="*/ 10 w 24"/>
                <a:gd name="T17" fmla="*/ 20 h 64"/>
                <a:gd name="T18" fmla="*/ 6 w 24"/>
                <a:gd name="T19" fmla="*/ 26 h 64"/>
                <a:gd name="T20" fmla="*/ 4 w 24"/>
                <a:gd name="T21" fmla="*/ 30 h 64"/>
                <a:gd name="T22" fmla="*/ 0 w 24"/>
                <a:gd name="T23" fmla="*/ 36 h 64"/>
                <a:gd name="T24" fmla="*/ 2 w 24"/>
                <a:gd name="T25" fmla="*/ 40 h 64"/>
                <a:gd name="T26" fmla="*/ 6 w 24"/>
                <a:gd name="T27" fmla="*/ 48 h 64"/>
                <a:gd name="T28" fmla="*/ 10 w 24"/>
                <a:gd name="T29" fmla="*/ 58 h 64"/>
                <a:gd name="T30" fmla="*/ 12 w 24"/>
                <a:gd name="T31" fmla="*/ 64 h 64"/>
                <a:gd name="T32" fmla="*/ 18 w 24"/>
                <a:gd name="T33" fmla="*/ 52 h 64"/>
                <a:gd name="T34" fmla="*/ 20 w 24"/>
                <a:gd name="T35" fmla="*/ 42 h 64"/>
                <a:gd name="T36" fmla="*/ 20 w 24"/>
                <a:gd name="T37" fmla="*/ 30 h 64"/>
                <a:gd name="T38" fmla="*/ 16 w 24"/>
                <a:gd name="T39" fmla="*/ 30 h 64"/>
                <a:gd name="T40" fmla="*/ 14 w 24"/>
                <a:gd name="T41" fmla="*/ 18 h 64"/>
                <a:gd name="T42" fmla="*/ 16 w 24"/>
                <a:gd name="T43" fmla="*/ 1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 h="64">
                  <a:moveTo>
                    <a:pt x="16" y="14"/>
                  </a:moveTo>
                  <a:lnTo>
                    <a:pt x="22" y="14"/>
                  </a:lnTo>
                  <a:lnTo>
                    <a:pt x="24" y="8"/>
                  </a:lnTo>
                  <a:lnTo>
                    <a:pt x="22" y="6"/>
                  </a:lnTo>
                  <a:lnTo>
                    <a:pt x="20" y="2"/>
                  </a:lnTo>
                  <a:lnTo>
                    <a:pt x="14" y="0"/>
                  </a:lnTo>
                  <a:lnTo>
                    <a:pt x="14" y="6"/>
                  </a:lnTo>
                  <a:lnTo>
                    <a:pt x="12" y="14"/>
                  </a:lnTo>
                  <a:lnTo>
                    <a:pt x="10" y="20"/>
                  </a:lnTo>
                  <a:lnTo>
                    <a:pt x="6" y="26"/>
                  </a:lnTo>
                  <a:lnTo>
                    <a:pt x="4" y="30"/>
                  </a:lnTo>
                  <a:lnTo>
                    <a:pt x="0" y="36"/>
                  </a:lnTo>
                  <a:lnTo>
                    <a:pt x="2" y="40"/>
                  </a:lnTo>
                  <a:lnTo>
                    <a:pt x="6" y="48"/>
                  </a:lnTo>
                  <a:lnTo>
                    <a:pt x="10" y="58"/>
                  </a:lnTo>
                  <a:lnTo>
                    <a:pt x="12" y="64"/>
                  </a:lnTo>
                  <a:lnTo>
                    <a:pt x="18" y="52"/>
                  </a:lnTo>
                  <a:lnTo>
                    <a:pt x="20" y="42"/>
                  </a:lnTo>
                  <a:lnTo>
                    <a:pt x="20" y="30"/>
                  </a:lnTo>
                  <a:lnTo>
                    <a:pt x="16" y="30"/>
                  </a:lnTo>
                  <a:lnTo>
                    <a:pt x="14" y="18"/>
                  </a:lnTo>
                  <a:lnTo>
                    <a:pt x="16" y="1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25" name="Freeform 117">
              <a:extLst>
                <a:ext uri="{FF2B5EF4-FFF2-40B4-BE49-F238E27FC236}">
                  <a16:creationId xmlns:a16="http://schemas.microsoft.com/office/drawing/2014/main" id="{16045DF5-2F54-4EE4-AE4F-2BFDCA21D239}"/>
                </a:ext>
              </a:extLst>
            </p:cNvPr>
            <p:cNvSpPr>
              <a:spLocks/>
            </p:cNvSpPr>
            <p:nvPr/>
          </p:nvSpPr>
          <p:spPr bwMode="gray">
            <a:xfrm>
              <a:off x="6843672" y="3658942"/>
              <a:ext cx="234452" cy="245655"/>
            </a:xfrm>
            <a:custGeom>
              <a:avLst/>
              <a:gdLst>
                <a:gd name="T0" fmla="*/ 90 w 142"/>
                <a:gd name="T1" fmla="*/ 2 h 148"/>
                <a:gd name="T2" fmla="*/ 94 w 142"/>
                <a:gd name="T3" fmla="*/ 10 h 148"/>
                <a:gd name="T4" fmla="*/ 106 w 142"/>
                <a:gd name="T5" fmla="*/ 28 h 148"/>
                <a:gd name="T6" fmla="*/ 114 w 142"/>
                <a:gd name="T7" fmla="*/ 30 h 148"/>
                <a:gd name="T8" fmla="*/ 110 w 142"/>
                <a:gd name="T9" fmla="*/ 36 h 148"/>
                <a:gd name="T10" fmla="*/ 112 w 142"/>
                <a:gd name="T11" fmla="*/ 44 h 148"/>
                <a:gd name="T12" fmla="*/ 106 w 142"/>
                <a:gd name="T13" fmla="*/ 48 h 148"/>
                <a:gd name="T14" fmla="*/ 100 w 142"/>
                <a:gd name="T15" fmla="*/ 62 h 148"/>
                <a:gd name="T16" fmla="*/ 112 w 142"/>
                <a:gd name="T17" fmla="*/ 74 h 148"/>
                <a:gd name="T18" fmla="*/ 118 w 142"/>
                <a:gd name="T19" fmla="*/ 84 h 148"/>
                <a:gd name="T20" fmla="*/ 132 w 142"/>
                <a:gd name="T21" fmla="*/ 90 h 148"/>
                <a:gd name="T22" fmla="*/ 140 w 142"/>
                <a:gd name="T23" fmla="*/ 98 h 148"/>
                <a:gd name="T24" fmla="*/ 136 w 142"/>
                <a:gd name="T25" fmla="*/ 112 h 148"/>
                <a:gd name="T26" fmla="*/ 142 w 142"/>
                <a:gd name="T27" fmla="*/ 124 h 148"/>
                <a:gd name="T28" fmla="*/ 140 w 142"/>
                <a:gd name="T29" fmla="*/ 130 h 148"/>
                <a:gd name="T30" fmla="*/ 132 w 142"/>
                <a:gd name="T31" fmla="*/ 132 h 148"/>
                <a:gd name="T32" fmla="*/ 122 w 142"/>
                <a:gd name="T33" fmla="*/ 140 h 148"/>
                <a:gd name="T34" fmla="*/ 122 w 142"/>
                <a:gd name="T35" fmla="*/ 148 h 148"/>
                <a:gd name="T36" fmla="*/ 90 w 142"/>
                <a:gd name="T37" fmla="*/ 148 h 148"/>
                <a:gd name="T38" fmla="*/ 76 w 142"/>
                <a:gd name="T39" fmla="*/ 136 h 148"/>
                <a:gd name="T40" fmla="*/ 68 w 142"/>
                <a:gd name="T41" fmla="*/ 136 h 148"/>
                <a:gd name="T42" fmla="*/ 58 w 142"/>
                <a:gd name="T43" fmla="*/ 120 h 148"/>
                <a:gd name="T44" fmla="*/ 22 w 142"/>
                <a:gd name="T45" fmla="*/ 100 h 148"/>
                <a:gd name="T46" fmla="*/ 2 w 142"/>
                <a:gd name="T47" fmla="*/ 96 h 148"/>
                <a:gd name="T48" fmla="*/ 0 w 142"/>
                <a:gd name="T49" fmla="*/ 72 h 148"/>
                <a:gd name="T50" fmla="*/ 32 w 142"/>
                <a:gd name="T51" fmla="*/ 52 h 148"/>
                <a:gd name="T52" fmla="*/ 36 w 142"/>
                <a:gd name="T53" fmla="*/ 20 h 148"/>
                <a:gd name="T54" fmla="*/ 50 w 142"/>
                <a:gd name="T55" fmla="*/ 10 h 148"/>
                <a:gd name="T56" fmla="*/ 50 w 142"/>
                <a:gd name="T57" fmla="*/ 6 h 148"/>
                <a:gd name="T58" fmla="*/ 60 w 142"/>
                <a:gd name="T59" fmla="*/ 0 h 148"/>
                <a:gd name="T60" fmla="*/ 88 w 142"/>
                <a:gd name="T61" fmla="*/ 6 h 148"/>
                <a:gd name="T62" fmla="*/ 90 w 142"/>
                <a:gd name="T63" fmla="*/ 2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2" h="148">
                  <a:moveTo>
                    <a:pt x="90" y="2"/>
                  </a:moveTo>
                  <a:lnTo>
                    <a:pt x="94" y="10"/>
                  </a:lnTo>
                  <a:lnTo>
                    <a:pt x="106" y="28"/>
                  </a:lnTo>
                  <a:lnTo>
                    <a:pt x="114" y="30"/>
                  </a:lnTo>
                  <a:lnTo>
                    <a:pt x="110" y="36"/>
                  </a:lnTo>
                  <a:lnTo>
                    <a:pt x="112" y="44"/>
                  </a:lnTo>
                  <a:lnTo>
                    <a:pt x="106" y="48"/>
                  </a:lnTo>
                  <a:lnTo>
                    <a:pt x="100" y="62"/>
                  </a:lnTo>
                  <a:lnTo>
                    <a:pt x="112" y="74"/>
                  </a:lnTo>
                  <a:lnTo>
                    <a:pt x="118" y="84"/>
                  </a:lnTo>
                  <a:lnTo>
                    <a:pt x="132" y="90"/>
                  </a:lnTo>
                  <a:lnTo>
                    <a:pt x="140" y="98"/>
                  </a:lnTo>
                  <a:lnTo>
                    <a:pt x="136" y="112"/>
                  </a:lnTo>
                  <a:lnTo>
                    <a:pt x="142" y="124"/>
                  </a:lnTo>
                  <a:lnTo>
                    <a:pt x="140" y="130"/>
                  </a:lnTo>
                  <a:lnTo>
                    <a:pt x="132" y="132"/>
                  </a:lnTo>
                  <a:lnTo>
                    <a:pt x="122" y="140"/>
                  </a:lnTo>
                  <a:lnTo>
                    <a:pt x="122" y="148"/>
                  </a:lnTo>
                  <a:lnTo>
                    <a:pt x="90" y="148"/>
                  </a:lnTo>
                  <a:lnTo>
                    <a:pt x="76" y="136"/>
                  </a:lnTo>
                  <a:lnTo>
                    <a:pt x="68" y="136"/>
                  </a:lnTo>
                  <a:lnTo>
                    <a:pt x="58" y="120"/>
                  </a:lnTo>
                  <a:lnTo>
                    <a:pt x="22" y="100"/>
                  </a:lnTo>
                  <a:lnTo>
                    <a:pt x="2" y="96"/>
                  </a:lnTo>
                  <a:lnTo>
                    <a:pt x="0" y="72"/>
                  </a:lnTo>
                  <a:lnTo>
                    <a:pt x="32" y="52"/>
                  </a:lnTo>
                  <a:lnTo>
                    <a:pt x="36" y="20"/>
                  </a:lnTo>
                  <a:lnTo>
                    <a:pt x="50" y="10"/>
                  </a:lnTo>
                  <a:lnTo>
                    <a:pt x="50" y="6"/>
                  </a:lnTo>
                  <a:lnTo>
                    <a:pt x="60" y="0"/>
                  </a:lnTo>
                  <a:lnTo>
                    <a:pt x="88" y="6"/>
                  </a:lnTo>
                  <a:lnTo>
                    <a:pt x="90" y="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26" name="Freeform 118">
              <a:extLst>
                <a:ext uri="{FF2B5EF4-FFF2-40B4-BE49-F238E27FC236}">
                  <a16:creationId xmlns:a16="http://schemas.microsoft.com/office/drawing/2014/main" id="{42C45BD7-814F-4870-A0F2-3C1D86DBD6F4}"/>
                </a:ext>
              </a:extLst>
            </p:cNvPr>
            <p:cNvSpPr>
              <a:spLocks/>
            </p:cNvSpPr>
            <p:nvPr/>
          </p:nvSpPr>
          <p:spPr bwMode="gray">
            <a:xfrm>
              <a:off x="7045101" y="3874720"/>
              <a:ext cx="46230" cy="46475"/>
            </a:xfrm>
            <a:custGeom>
              <a:avLst/>
              <a:gdLst>
                <a:gd name="T0" fmla="*/ 28 w 28"/>
                <a:gd name="T1" fmla="*/ 4 h 28"/>
                <a:gd name="T2" fmla="*/ 18 w 28"/>
                <a:gd name="T3" fmla="*/ 0 h 28"/>
                <a:gd name="T4" fmla="*/ 14 w 28"/>
                <a:gd name="T5" fmla="*/ 0 h 28"/>
                <a:gd name="T6" fmla="*/ 10 w 28"/>
                <a:gd name="T7" fmla="*/ 2 h 28"/>
                <a:gd name="T8" fmla="*/ 0 w 28"/>
                <a:gd name="T9" fmla="*/ 10 h 28"/>
                <a:gd name="T10" fmla="*/ 0 w 28"/>
                <a:gd name="T11" fmla="*/ 18 h 28"/>
                <a:gd name="T12" fmla="*/ 10 w 28"/>
                <a:gd name="T13" fmla="*/ 20 h 28"/>
                <a:gd name="T14" fmla="*/ 18 w 28"/>
                <a:gd name="T15" fmla="*/ 28 h 28"/>
                <a:gd name="T16" fmla="*/ 26 w 28"/>
                <a:gd name="T17" fmla="*/ 28 h 28"/>
                <a:gd name="T18" fmla="*/ 22 w 28"/>
                <a:gd name="T19" fmla="*/ 18 h 28"/>
                <a:gd name="T20" fmla="*/ 22 w 28"/>
                <a:gd name="T21" fmla="*/ 12 h 28"/>
                <a:gd name="T22" fmla="*/ 28 w 28"/>
                <a:gd name="T23"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28">
                  <a:moveTo>
                    <a:pt x="28" y="4"/>
                  </a:moveTo>
                  <a:lnTo>
                    <a:pt x="18" y="0"/>
                  </a:lnTo>
                  <a:lnTo>
                    <a:pt x="14" y="0"/>
                  </a:lnTo>
                  <a:lnTo>
                    <a:pt x="10" y="2"/>
                  </a:lnTo>
                  <a:lnTo>
                    <a:pt x="0" y="10"/>
                  </a:lnTo>
                  <a:lnTo>
                    <a:pt x="0" y="18"/>
                  </a:lnTo>
                  <a:lnTo>
                    <a:pt x="10" y="20"/>
                  </a:lnTo>
                  <a:lnTo>
                    <a:pt x="18" y="28"/>
                  </a:lnTo>
                  <a:lnTo>
                    <a:pt x="26" y="28"/>
                  </a:lnTo>
                  <a:lnTo>
                    <a:pt x="22" y="18"/>
                  </a:lnTo>
                  <a:lnTo>
                    <a:pt x="22" y="12"/>
                  </a:lnTo>
                  <a:lnTo>
                    <a:pt x="28" y="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27" name="Freeform 119">
              <a:extLst>
                <a:ext uri="{FF2B5EF4-FFF2-40B4-BE49-F238E27FC236}">
                  <a16:creationId xmlns:a16="http://schemas.microsoft.com/office/drawing/2014/main" id="{619CFC62-B30A-4638-A56A-6529EF87C1F7}"/>
                </a:ext>
              </a:extLst>
            </p:cNvPr>
            <p:cNvSpPr>
              <a:spLocks/>
            </p:cNvSpPr>
            <p:nvPr/>
          </p:nvSpPr>
          <p:spPr bwMode="gray">
            <a:xfrm>
              <a:off x="7160677" y="3997548"/>
              <a:ext cx="138690" cy="92950"/>
            </a:xfrm>
            <a:custGeom>
              <a:avLst/>
              <a:gdLst>
                <a:gd name="T0" fmla="*/ 0 w 84"/>
                <a:gd name="T1" fmla="*/ 24 h 56"/>
                <a:gd name="T2" fmla="*/ 8 w 84"/>
                <a:gd name="T3" fmla="*/ 34 h 56"/>
                <a:gd name="T4" fmla="*/ 22 w 84"/>
                <a:gd name="T5" fmla="*/ 50 h 56"/>
                <a:gd name="T6" fmla="*/ 48 w 84"/>
                <a:gd name="T7" fmla="*/ 56 h 56"/>
                <a:gd name="T8" fmla="*/ 66 w 84"/>
                <a:gd name="T9" fmla="*/ 56 h 56"/>
                <a:gd name="T10" fmla="*/ 84 w 84"/>
                <a:gd name="T11" fmla="*/ 24 h 56"/>
                <a:gd name="T12" fmla="*/ 82 w 84"/>
                <a:gd name="T13" fmla="*/ 10 h 56"/>
                <a:gd name="T14" fmla="*/ 80 w 84"/>
                <a:gd name="T15" fmla="*/ 2 h 56"/>
                <a:gd name="T16" fmla="*/ 76 w 84"/>
                <a:gd name="T17" fmla="*/ 0 h 56"/>
                <a:gd name="T18" fmla="*/ 68 w 84"/>
                <a:gd name="T19" fmla="*/ 10 h 56"/>
                <a:gd name="T20" fmla="*/ 58 w 84"/>
                <a:gd name="T21" fmla="*/ 18 h 56"/>
                <a:gd name="T22" fmla="*/ 50 w 84"/>
                <a:gd name="T23" fmla="*/ 28 h 56"/>
                <a:gd name="T24" fmla="*/ 42 w 84"/>
                <a:gd name="T25" fmla="*/ 30 h 56"/>
                <a:gd name="T26" fmla="*/ 32 w 84"/>
                <a:gd name="T27" fmla="*/ 26 h 56"/>
                <a:gd name="T28" fmla="*/ 26 w 84"/>
                <a:gd name="T29" fmla="*/ 30 h 56"/>
                <a:gd name="T30" fmla="*/ 22 w 84"/>
                <a:gd name="T31" fmla="*/ 32 h 56"/>
                <a:gd name="T32" fmla="*/ 14 w 84"/>
                <a:gd name="T33" fmla="*/ 30 h 56"/>
                <a:gd name="T34" fmla="*/ 8 w 84"/>
                <a:gd name="T35" fmla="*/ 24 h 56"/>
                <a:gd name="T36" fmla="*/ 4 w 84"/>
                <a:gd name="T37" fmla="*/ 20 h 56"/>
                <a:gd name="T38" fmla="*/ 0 w 84"/>
                <a:gd name="T39" fmla="*/ 2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4" h="56">
                  <a:moveTo>
                    <a:pt x="0" y="24"/>
                  </a:moveTo>
                  <a:lnTo>
                    <a:pt x="8" y="34"/>
                  </a:lnTo>
                  <a:lnTo>
                    <a:pt x="22" y="50"/>
                  </a:lnTo>
                  <a:lnTo>
                    <a:pt x="48" y="56"/>
                  </a:lnTo>
                  <a:lnTo>
                    <a:pt x="66" y="56"/>
                  </a:lnTo>
                  <a:lnTo>
                    <a:pt x="84" y="24"/>
                  </a:lnTo>
                  <a:lnTo>
                    <a:pt x="82" y="10"/>
                  </a:lnTo>
                  <a:lnTo>
                    <a:pt x="80" y="2"/>
                  </a:lnTo>
                  <a:lnTo>
                    <a:pt x="76" y="0"/>
                  </a:lnTo>
                  <a:lnTo>
                    <a:pt x="68" y="10"/>
                  </a:lnTo>
                  <a:lnTo>
                    <a:pt x="58" y="18"/>
                  </a:lnTo>
                  <a:lnTo>
                    <a:pt x="50" y="28"/>
                  </a:lnTo>
                  <a:lnTo>
                    <a:pt x="42" y="30"/>
                  </a:lnTo>
                  <a:lnTo>
                    <a:pt x="32" y="26"/>
                  </a:lnTo>
                  <a:lnTo>
                    <a:pt x="26" y="30"/>
                  </a:lnTo>
                  <a:lnTo>
                    <a:pt x="22" y="32"/>
                  </a:lnTo>
                  <a:lnTo>
                    <a:pt x="14" y="30"/>
                  </a:lnTo>
                  <a:lnTo>
                    <a:pt x="8" y="24"/>
                  </a:lnTo>
                  <a:lnTo>
                    <a:pt x="4" y="20"/>
                  </a:lnTo>
                  <a:lnTo>
                    <a:pt x="0" y="2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28" name="Freeform 120">
              <a:extLst>
                <a:ext uri="{FF2B5EF4-FFF2-40B4-BE49-F238E27FC236}">
                  <a16:creationId xmlns:a16="http://schemas.microsoft.com/office/drawing/2014/main" id="{EB9FB02B-C1A1-432C-BA0B-D9BEC087A0D1}"/>
                </a:ext>
              </a:extLst>
            </p:cNvPr>
            <p:cNvSpPr>
              <a:spLocks/>
            </p:cNvSpPr>
            <p:nvPr/>
          </p:nvSpPr>
          <p:spPr bwMode="gray">
            <a:xfrm>
              <a:off x="7183792" y="4037384"/>
              <a:ext cx="204732" cy="215777"/>
            </a:xfrm>
            <a:custGeom>
              <a:avLst/>
              <a:gdLst>
                <a:gd name="T0" fmla="*/ 52 w 124"/>
                <a:gd name="T1" fmla="*/ 30 h 130"/>
                <a:gd name="T2" fmla="*/ 70 w 124"/>
                <a:gd name="T3" fmla="*/ 0 h 130"/>
                <a:gd name="T4" fmla="*/ 82 w 124"/>
                <a:gd name="T5" fmla="*/ 8 h 130"/>
                <a:gd name="T6" fmla="*/ 90 w 124"/>
                <a:gd name="T7" fmla="*/ 14 h 130"/>
                <a:gd name="T8" fmla="*/ 102 w 124"/>
                <a:gd name="T9" fmla="*/ 16 h 130"/>
                <a:gd name="T10" fmla="*/ 124 w 124"/>
                <a:gd name="T11" fmla="*/ 36 h 130"/>
                <a:gd name="T12" fmla="*/ 116 w 124"/>
                <a:gd name="T13" fmla="*/ 50 h 130"/>
                <a:gd name="T14" fmla="*/ 104 w 124"/>
                <a:gd name="T15" fmla="*/ 64 h 130"/>
                <a:gd name="T16" fmla="*/ 98 w 124"/>
                <a:gd name="T17" fmla="*/ 66 h 130"/>
                <a:gd name="T18" fmla="*/ 86 w 124"/>
                <a:gd name="T19" fmla="*/ 70 h 130"/>
                <a:gd name="T20" fmla="*/ 88 w 124"/>
                <a:gd name="T21" fmla="*/ 80 h 130"/>
                <a:gd name="T22" fmla="*/ 90 w 124"/>
                <a:gd name="T23" fmla="*/ 90 h 130"/>
                <a:gd name="T24" fmla="*/ 80 w 124"/>
                <a:gd name="T25" fmla="*/ 92 h 130"/>
                <a:gd name="T26" fmla="*/ 72 w 124"/>
                <a:gd name="T27" fmla="*/ 98 h 130"/>
                <a:gd name="T28" fmla="*/ 68 w 124"/>
                <a:gd name="T29" fmla="*/ 104 h 130"/>
                <a:gd name="T30" fmla="*/ 68 w 124"/>
                <a:gd name="T31" fmla="*/ 110 h 130"/>
                <a:gd name="T32" fmla="*/ 54 w 124"/>
                <a:gd name="T33" fmla="*/ 112 h 130"/>
                <a:gd name="T34" fmla="*/ 52 w 124"/>
                <a:gd name="T35" fmla="*/ 118 h 130"/>
                <a:gd name="T36" fmla="*/ 46 w 124"/>
                <a:gd name="T37" fmla="*/ 128 h 130"/>
                <a:gd name="T38" fmla="*/ 26 w 124"/>
                <a:gd name="T39" fmla="*/ 126 h 130"/>
                <a:gd name="T40" fmla="*/ 16 w 124"/>
                <a:gd name="T41" fmla="*/ 130 h 130"/>
                <a:gd name="T42" fmla="*/ 0 w 124"/>
                <a:gd name="T43" fmla="*/ 94 h 130"/>
                <a:gd name="T44" fmla="*/ 12 w 124"/>
                <a:gd name="T45" fmla="*/ 84 h 130"/>
                <a:gd name="T46" fmla="*/ 48 w 124"/>
                <a:gd name="T47" fmla="*/ 72 h 130"/>
                <a:gd name="T48" fmla="*/ 56 w 124"/>
                <a:gd name="T49" fmla="*/ 54 h 130"/>
                <a:gd name="T50" fmla="*/ 56 w 124"/>
                <a:gd name="T51" fmla="*/ 40 h 130"/>
                <a:gd name="T52" fmla="*/ 52 w 124"/>
                <a:gd name="T53" fmla="*/ 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4" h="130">
                  <a:moveTo>
                    <a:pt x="52" y="30"/>
                  </a:moveTo>
                  <a:lnTo>
                    <a:pt x="70" y="0"/>
                  </a:lnTo>
                  <a:lnTo>
                    <a:pt x="82" y="8"/>
                  </a:lnTo>
                  <a:lnTo>
                    <a:pt x="90" y="14"/>
                  </a:lnTo>
                  <a:lnTo>
                    <a:pt x="102" y="16"/>
                  </a:lnTo>
                  <a:lnTo>
                    <a:pt x="124" y="36"/>
                  </a:lnTo>
                  <a:lnTo>
                    <a:pt x="116" y="50"/>
                  </a:lnTo>
                  <a:lnTo>
                    <a:pt x="104" y="64"/>
                  </a:lnTo>
                  <a:lnTo>
                    <a:pt x="98" y="66"/>
                  </a:lnTo>
                  <a:lnTo>
                    <a:pt x="86" y="70"/>
                  </a:lnTo>
                  <a:lnTo>
                    <a:pt x="88" y="80"/>
                  </a:lnTo>
                  <a:lnTo>
                    <a:pt x="90" y="90"/>
                  </a:lnTo>
                  <a:lnTo>
                    <a:pt x="80" y="92"/>
                  </a:lnTo>
                  <a:lnTo>
                    <a:pt x="72" y="98"/>
                  </a:lnTo>
                  <a:lnTo>
                    <a:pt x="68" y="104"/>
                  </a:lnTo>
                  <a:lnTo>
                    <a:pt x="68" y="110"/>
                  </a:lnTo>
                  <a:lnTo>
                    <a:pt x="54" y="112"/>
                  </a:lnTo>
                  <a:lnTo>
                    <a:pt x="52" y="118"/>
                  </a:lnTo>
                  <a:lnTo>
                    <a:pt x="46" y="128"/>
                  </a:lnTo>
                  <a:lnTo>
                    <a:pt x="26" y="126"/>
                  </a:lnTo>
                  <a:lnTo>
                    <a:pt x="16" y="130"/>
                  </a:lnTo>
                  <a:lnTo>
                    <a:pt x="0" y="94"/>
                  </a:lnTo>
                  <a:lnTo>
                    <a:pt x="12" y="84"/>
                  </a:lnTo>
                  <a:lnTo>
                    <a:pt x="48" y="72"/>
                  </a:lnTo>
                  <a:lnTo>
                    <a:pt x="56" y="54"/>
                  </a:lnTo>
                  <a:lnTo>
                    <a:pt x="56" y="40"/>
                  </a:lnTo>
                  <a:lnTo>
                    <a:pt x="52" y="3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29" name="Freeform 121">
              <a:extLst>
                <a:ext uri="{FF2B5EF4-FFF2-40B4-BE49-F238E27FC236}">
                  <a16:creationId xmlns:a16="http://schemas.microsoft.com/office/drawing/2014/main" id="{75A1A17E-6BC6-4A24-8B5B-29D7590C539F}"/>
                </a:ext>
              </a:extLst>
            </p:cNvPr>
            <p:cNvSpPr>
              <a:spLocks/>
            </p:cNvSpPr>
            <p:nvPr/>
          </p:nvSpPr>
          <p:spPr bwMode="gray">
            <a:xfrm>
              <a:off x="6942735" y="4193407"/>
              <a:ext cx="267473" cy="165983"/>
            </a:xfrm>
            <a:custGeom>
              <a:avLst/>
              <a:gdLst>
                <a:gd name="T0" fmla="*/ 50 w 162"/>
                <a:gd name="T1" fmla="*/ 86 h 100"/>
                <a:gd name="T2" fmla="*/ 42 w 162"/>
                <a:gd name="T3" fmla="*/ 92 h 100"/>
                <a:gd name="T4" fmla="*/ 36 w 162"/>
                <a:gd name="T5" fmla="*/ 100 h 100"/>
                <a:gd name="T6" fmla="*/ 16 w 162"/>
                <a:gd name="T7" fmla="*/ 100 h 100"/>
                <a:gd name="T8" fmla="*/ 8 w 162"/>
                <a:gd name="T9" fmla="*/ 96 h 100"/>
                <a:gd name="T10" fmla="*/ 0 w 162"/>
                <a:gd name="T11" fmla="*/ 66 h 100"/>
                <a:gd name="T12" fmla="*/ 0 w 162"/>
                <a:gd name="T13" fmla="*/ 42 h 100"/>
                <a:gd name="T14" fmla="*/ 8 w 162"/>
                <a:gd name="T15" fmla="*/ 24 h 100"/>
                <a:gd name="T16" fmla="*/ 42 w 162"/>
                <a:gd name="T17" fmla="*/ 22 h 100"/>
                <a:gd name="T18" fmla="*/ 72 w 162"/>
                <a:gd name="T19" fmla="*/ 28 h 100"/>
                <a:gd name="T20" fmla="*/ 98 w 162"/>
                <a:gd name="T21" fmla="*/ 4 h 100"/>
                <a:gd name="T22" fmla="*/ 128 w 162"/>
                <a:gd name="T23" fmla="*/ 0 h 100"/>
                <a:gd name="T24" fmla="*/ 146 w 162"/>
                <a:gd name="T25" fmla="*/ 0 h 100"/>
                <a:gd name="T26" fmla="*/ 162 w 162"/>
                <a:gd name="T27" fmla="*/ 36 h 100"/>
                <a:gd name="T28" fmla="*/ 150 w 162"/>
                <a:gd name="T29" fmla="*/ 42 h 100"/>
                <a:gd name="T30" fmla="*/ 142 w 162"/>
                <a:gd name="T31" fmla="*/ 48 h 100"/>
                <a:gd name="T32" fmla="*/ 142 w 162"/>
                <a:gd name="T33" fmla="*/ 56 h 100"/>
                <a:gd name="T34" fmla="*/ 136 w 162"/>
                <a:gd name="T35" fmla="*/ 60 h 100"/>
                <a:gd name="T36" fmla="*/ 114 w 162"/>
                <a:gd name="T37" fmla="*/ 66 h 100"/>
                <a:gd name="T38" fmla="*/ 104 w 162"/>
                <a:gd name="T39" fmla="*/ 68 h 100"/>
                <a:gd name="T40" fmla="*/ 96 w 162"/>
                <a:gd name="T41" fmla="*/ 80 h 100"/>
                <a:gd name="T42" fmla="*/ 78 w 162"/>
                <a:gd name="T43" fmla="*/ 78 h 100"/>
                <a:gd name="T44" fmla="*/ 70 w 162"/>
                <a:gd name="T45" fmla="*/ 88 h 100"/>
                <a:gd name="T46" fmla="*/ 56 w 162"/>
                <a:gd name="T47" fmla="*/ 88 h 100"/>
                <a:gd name="T48" fmla="*/ 50 w 162"/>
                <a:gd name="T49"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2" h="100">
                  <a:moveTo>
                    <a:pt x="50" y="86"/>
                  </a:moveTo>
                  <a:lnTo>
                    <a:pt x="42" y="92"/>
                  </a:lnTo>
                  <a:lnTo>
                    <a:pt x="36" y="100"/>
                  </a:lnTo>
                  <a:lnTo>
                    <a:pt x="16" y="100"/>
                  </a:lnTo>
                  <a:lnTo>
                    <a:pt x="8" y="96"/>
                  </a:lnTo>
                  <a:lnTo>
                    <a:pt x="0" y="66"/>
                  </a:lnTo>
                  <a:lnTo>
                    <a:pt x="0" y="42"/>
                  </a:lnTo>
                  <a:lnTo>
                    <a:pt x="8" y="24"/>
                  </a:lnTo>
                  <a:lnTo>
                    <a:pt x="42" y="22"/>
                  </a:lnTo>
                  <a:lnTo>
                    <a:pt x="72" y="28"/>
                  </a:lnTo>
                  <a:lnTo>
                    <a:pt x="98" y="4"/>
                  </a:lnTo>
                  <a:lnTo>
                    <a:pt x="128" y="0"/>
                  </a:lnTo>
                  <a:lnTo>
                    <a:pt x="146" y="0"/>
                  </a:lnTo>
                  <a:lnTo>
                    <a:pt x="162" y="36"/>
                  </a:lnTo>
                  <a:lnTo>
                    <a:pt x="150" y="42"/>
                  </a:lnTo>
                  <a:lnTo>
                    <a:pt x="142" y="48"/>
                  </a:lnTo>
                  <a:lnTo>
                    <a:pt x="142" y="56"/>
                  </a:lnTo>
                  <a:lnTo>
                    <a:pt x="136" y="60"/>
                  </a:lnTo>
                  <a:lnTo>
                    <a:pt x="114" y="66"/>
                  </a:lnTo>
                  <a:lnTo>
                    <a:pt x="104" y="68"/>
                  </a:lnTo>
                  <a:lnTo>
                    <a:pt x="96" y="80"/>
                  </a:lnTo>
                  <a:lnTo>
                    <a:pt x="78" y="78"/>
                  </a:lnTo>
                  <a:lnTo>
                    <a:pt x="70" y="88"/>
                  </a:lnTo>
                  <a:lnTo>
                    <a:pt x="56" y="88"/>
                  </a:lnTo>
                  <a:lnTo>
                    <a:pt x="50" y="8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30" name="Freeform 122">
              <a:extLst>
                <a:ext uri="{FF2B5EF4-FFF2-40B4-BE49-F238E27FC236}">
                  <a16:creationId xmlns:a16="http://schemas.microsoft.com/office/drawing/2014/main" id="{8B3FA341-616A-4190-B17E-C4992893C78F}"/>
                </a:ext>
              </a:extLst>
            </p:cNvPr>
            <p:cNvSpPr>
              <a:spLocks/>
            </p:cNvSpPr>
            <p:nvPr/>
          </p:nvSpPr>
          <p:spPr bwMode="gray">
            <a:xfrm>
              <a:off x="6975756" y="3589229"/>
              <a:ext cx="505228" cy="428236"/>
            </a:xfrm>
            <a:custGeom>
              <a:avLst/>
              <a:gdLst>
                <a:gd name="T0" fmla="*/ 80 w 306"/>
                <a:gd name="T1" fmla="*/ 38 h 258"/>
                <a:gd name="T2" fmla="*/ 112 w 306"/>
                <a:gd name="T3" fmla="*/ 56 h 258"/>
                <a:gd name="T4" fmla="*/ 156 w 306"/>
                <a:gd name="T5" fmla="*/ 48 h 258"/>
                <a:gd name="T6" fmla="*/ 204 w 306"/>
                <a:gd name="T7" fmla="*/ 28 h 258"/>
                <a:gd name="T8" fmla="*/ 256 w 306"/>
                <a:gd name="T9" fmla="*/ 52 h 258"/>
                <a:gd name="T10" fmla="*/ 274 w 306"/>
                <a:gd name="T11" fmla="*/ 78 h 258"/>
                <a:gd name="T12" fmla="*/ 262 w 306"/>
                <a:gd name="T13" fmla="*/ 126 h 258"/>
                <a:gd name="T14" fmla="*/ 282 w 306"/>
                <a:gd name="T15" fmla="*/ 150 h 258"/>
                <a:gd name="T16" fmla="*/ 266 w 306"/>
                <a:gd name="T17" fmla="*/ 176 h 258"/>
                <a:gd name="T18" fmla="*/ 286 w 306"/>
                <a:gd name="T19" fmla="*/ 202 h 258"/>
                <a:gd name="T20" fmla="*/ 298 w 306"/>
                <a:gd name="T21" fmla="*/ 224 h 258"/>
                <a:gd name="T22" fmla="*/ 306 w 306"/>
                <a:gd name="T23" fmla="*/ 232 h 258"/>
                <a:gd name="T24" fmla="*/ 278 w 306"/>
                <a:gd name="T25" fmla="*/ 242 h 258"/>
                <a:gd name="T26" fmla="*/ 236 w 306"/>
                <a:gd name="T27" fmla="*/ 254 h 258"/>
                <a:gd name="T28" fmla="*/ 206 w 306"/>
                <a:gd name="T29" fmla="*/ 230 h 258"/>
                <a:gd name="T30" fmla="*/ 188 w 306"/>
                <a:gd name="T31" fmla="*/ 224 h 258"/>
                <a:gd name="T32" fmla="*/ 164 w 306"/>
                <a:gd name="T33" fmla="*/ 234 h 258"/>
                <a:gd name="T34" fmla="*/ 118 w 306"/>
                <a:gd name="T35" fmla="*/ 206 h 258"/>
                <a:gd name="T36" fmla="*/ 98 w 306"/>
                <a:gd name="T37" fmla="*/ 176 h 258"/>
                <a:gd name="T38" fmla="*/ 70 w 306"/>
                <a:gd name="T39" fmla="*/ 176 h 258"/>
                <a:gd name="T40" fmla="*/ 62 w 306"/>
                <a:gd name="T41" fmla="*/ 166 h 258"/>
                <a:gd name="T42" fmla="*/ 60 w 306"/>
                <a:gd name="T43" fmla="*/ 140 h 258"/>
                <a:gd name="T44" fmla="*/ 38 w 306"/>
                <a:gd name="T45" fmla="*/ 126 h 258"/>
                <a:gd name="T46" fmla="*/ 26 w 306"/>
                <a:gd name="T47" fmla="*/ 90 h 258"/>
                <a:gd name="T48" fmla="*/ 30 w 306"/>
                <a:gd name="T49" fmla="*/ 78 h 258"/>
                <a:gd name="T50" fmla="*/ 26 w 306"/>
                <a:gd name="T51" fmla="*/ 70 h 258"/>
                <a:gd name="T52" fmla="*/ 10 w 306"/>
                <a:gd name="T53" fmla="*/ 44 h 258"/>
                <a:gd name="T54" fmla="*/ 4 w 306"/>
                <a:gd name="T55" fmla="*/ 24 h 258"/>
                <a:gd name="T56" fmla="*/ 0 w 306"/>
                <a:gd name="T57" fmla="*/ 8 h 258"/>
                <a:gd name="T58" fmla="*/ 10 w 306"/>
                <a:gd name="T59" fmla="*/ 2 h 258"/>
                <a:gd name="T60" fmla="*/ 32 w 306"/>
                <a:gd name="T61" fmla="*/ 18 h 258"/>
                <a:gd name="T62" fmla="*/ 42 w 306"/>
                <a:gd name="T63" fmla="*/ 14 h 258"/>
                <a:gd name="T64" fmla="*/ 60 w 306"/>
                <a:gd name="T65" fmla="*/ 0 h 258"/>
                <a:gd name="T66" fmla="*/ 64 w 306"/>
                <a:gd name="T67" fmla="*/ 10 h 258"/>
                <a:gd name="T68" fmla="*/ 62 w 306"/>
                <a:gd name="T69" fmla="*/ 18 h 258"/>
                <a:gd name="T70" fmla="*/ 76 w 306"/>
                <a:gd name="T71" fmla="*/ 24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6" h="258">
                  <a:moveTo>
                    <a:pt x="76" y="24"/>
                  </a:moveTo>
                  <a:lnTo>
                    <a:pt x="80" y="38"/>
                  </a:lnTo>
                  <a:lnTo>
                    <a:pt x="100" y="48"/>
                  </a:lnTo>
                  <a:lnTo>
                    <a:pt x="112" y="56"/>
                  </a:lnTo>
                  <a:lnTo>
                    <a:pt x="142" y="56"/>
                  </a:lnTo>
                  <a:lnTo>
                    <a:pt x="156" y="48"/>
                  </a:lnTo>
                  <a:lnTo>
                    <a:pt x="178" y="32"/>
                  </a:lnTo>
                  <a:lnTo>
                    <a:pt x="204" y="28"/>
                  </a:lnTo>
                  <a:lnTo>
                    <a:pt x="226" y="36"/>
                  </a:lnTo>
                  <a:lnTo>
                    <a:pt x="256" y="52"/>
                  </a:lnTo>
                  <a:lnTo>
                    <a:pt x="272" y="56"/>
                  </a:lnTo>
                  <a:lnTo>
                    <a:pt x="274" y="78"/>
                  </a:lnTo>
                  <a:lnTo>
                    <a:pt x="264" y="98"/>
                  </a:lnTo>
                  <a:lnTo>
                    <a:pt x="262" y="126"/>
                  </a:lnTo>
                  <a:lnTo>
                    <a:pt x="268" y="150"/>
                  </a:lnTo>
                  <a:lnTo>
                    <a:pt x="282" y="150"/>
                  </a:lnTo>
                  <a:lnTo>
                    <a:pt x="280" y="162"/>
                  </a:lnTo>
                  <a:lnTo>
                    <a:pt x="266" y="176"/>
                  </a:lnTo>
                  <a:lnTo>
                    <a:pt x="272" y="186"/>
                  </a:lnTo>
                  <a:lnTo>
                    <a:pt x="286" y="202"/>
                  </a:lnTo>
                  <a:lnTo>
                    <a:pt x="298" y="212"/>
                  </a:lnTo>
                  <a:lnTo>
                    <a:pt x="298" y="224"/>
                  </a:lnTo>
                  <a:lnTo>
                    <a:pt x="306" y="224"/>
                  </a:lnTo>
                  <a:lnTo>
                    <a:pt x="306" y="232"/>
                  </a:lnTo>
                  <a:lnTo>
                    <a:pt x="292" y="234"/>
                  </a:lnTo>
                  <a:lnTo>
                    <a:pt x="278" y="242"/>
                  </a:lnTo>
                  <a:lnTo>
                    <a:pt x="278" y="258"/>
                  </a:lnTo>
                  <a:lnTo>
                    <a:pt x="236" y="254"/>
                  </a:lnTo>
                  <a:lnTo>
                    <a:pt x="208" y="246"/>
                  </a:lnTo>
                  <a:lnTo>
                    <a:pt x="206" y="230"/>
                  </a:lnTo>
                  <a:lnTo>
                    <a:pt x="196" y="222"/>
                  </a:lnTo>
                  <a:lnTo>
                    <a:pt x="188" y="224"/>
                  </a:lnTo>
                  <a:lnTo>
                    <a:pt x="178" y="232"/>
                  </a:lnTo>
                  <a:lnTo>
                    <a:pt x="164" y="234"/>
                  </a:lnTo>
                  <a:lnTo>
                    <a:pt x="138" y="224"/>
                  </a:lnTo>
                  <a:lnTo>
                    <a:pt x="118" y="206"/>
                  </a:lnTo>
                  <a:lnTo>
                    <a:pt x="104" y="188"/>
                  </a:lnTo>
                  <a:lnTo>
                    <a:pt x="98" y="176"/>
                  </a:lnTo>
                  <a:lnTo>
                    <a:pt x="80" y="172"/>
                  </a:lnTo>
                  <a:lnTo>
                    <a:pt x="70" y="176"/>
                  </a:lnTo>
                  <a:lnTo>
                    <a:pt x="60" y="172"/>
                  </a:lnTo>
                  <a:lnTo>
                    <a:pt x="62" y="166"/>
                  </a:lnTo>
                  <a:lnTo>
                    <a:pt x="56" y="154"/>
                  </a:lnTo>
                  <a:lnTo>
                    <a:pt x="60" y="140"/>
                  </a:lnTo>
                  <a:lnTo>
                    <a:pt x="48" y="130"/>
                  </a:lnTo>
                  <a:lnTo>
                    <a:pt x="38" y="126"/>
                  </a:lnTo>
                  <a:lnTo>
                    <a:pt x="20" y="104"/>
                  </a:lnTo>
                  <a:lnTo>
                    <a:pt x="26" y="90"/>
                  </a:lnTo>
                  <a:lnTo>
                    <a:pt x="32" y="86"/>
                  </a:lnTo>
                  <a:lnTo>
                    <a:pt x="30" y="78"/>
                  </a:lnTo>
                  <a:lnTo>
                    <a:pt x="34" y="72"/>
                  </a:lnTo>
                  <a:lnTo>
                    <a:pt x="26" y="70"/>
                  </a:lnTo>
                  <a:lnTo>
                    <a:pt x="16" y="54"/>
                  </a:lnTo>
                  <a:lnTo>
                    <a:pt x="10" y="44"/>
                  </a:lnTo>
                  <a:lnTo>
                    <a:pt x="6" y="34"/>
                  </a:lnTo>
                  <a:lnTo>
                    <a:pt x="4" y="24"/>
                  </a:lnTo>
                  <a:lnTo>
                    <a:pt x="2" y="16"/>
                  </a:lnTo>
                  <a:lnTo>
                    <a:pt x="0" y="8"/>
                  </a:lnTo>
                  <a:lnTo>
                    <a:pt x="2" y="4"/>
                  </a:lnTo>
                  <a:lnTo>
                    <a:pt x="10" y="2"/>
                  </a:lnTo>
                  <a:lnTo>
                    <a:pt x="24" y="14"/>
                  </a:lnTo>
                  <a:lnTo>
                    <a:pt x="32" y="18"/>
                  </a:lnTo>
                  <a:lnTo>
                    <a:pt x="34" y="12"/>
                  </a:lnTo>
                  <a:lnTo>
                    <a:pt x="42" y="14"/>
                  </a:lnTo>
                  <a:lnTo>
                    <a:pt x="48" y="10"/>
                  </a:lnTo>
                  <a:lnTo>
                    <a:pt x="60" y="0"/>
                  </a:lnTo>
                  <a:lnTo>
                    <a:pt x="64" y="2"/>
                  </a:lnTo>
                  <a:lnTo>
                    <a:pt x="64" y="10"/>
                  </a:lnTo>
                  <a:lnTo>
                    <a:pt x="68" y="16"/>
                  </a:lnTo>
                  <a:lnTo>
                    <a:pt x="62" y="18"/>
                  </a:lnTo>
                  <a:lnTo>
                    <a:pt x="68" y="24"/>
                  </a:lnTo>
                  <a:lnTo>
                    <a:pt x="76" y="2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31" name="Freeform 123">
              <a:extLst>
                <a:ext uri="{FF2B5EF4-FFF2-40B4-BE49-F238E27FC236}">
                  <a16:creationId xmlns:a16="http://schemas.microsoft.com/office/drawing/2014/main" id="{7579E5C7-D843-495F-90C0-8171E24B5C14}"/>
                </a:ext>
              </a:extLst>
            </p:cNvPr>
            <p:cNvSpPr>
              <a:spLocks/>
            </p:cNvSpPr>
            <p:nvPr/>
          </p:nvSpPr>
          <p:spPr bwMode="gray">
            <a:xfrm>
              <a:off x="7408337" y="3625746"/>
              <a:ext cx="373141" cy="268892"/>
            </a:xfrm>
            <a:custGeom>
              <a:avLst/>
              <a:gdLst>
                <a:gd name="T0" fmla="*/ 12 w 226"/>
                <a:gd name="T1" fmla="*/ 56 h 162"/>
                <a:gd name="T2" fmla="*/ 24 w 226"/>
                <a:gd name="T3" fmla="*/ 56 h 162"/>
                <a:gd name="T4" fmla="*/ 34 w 226"/>
                <a:gd name="T5" fmla="*/ 60 h 162"/>
                <a:gd name="T6" fmla="*/ 44 w 226"/>
                <a:gd name="T7" fmla="*/ 48 h 162"/>
                <a:gd name="T8" fmla="*/ 56 w 226"/>
                <a:gd name="T9" fmla="*/ 44 h 162"/>
                <a:gd name="T10" fmla="*/ 68 w 226"/>
                <a:gd name="T11" fmla="*/ 26 h 162"/>
                <a:gd name="T12" fmla="*/ 84 w 226"/>
                <a:gd name="T13" fmla="*/ 20 h 162"/>
                <a:gd name="T14" fmla="*/ 96 w 226"/>
                <a:gd name="T15" fmla="*/ 20 h 162"/>
                <a:gd name="T16" fmla="*/ 116 w 226"/>
                <a:gd name="T17" fmla="*/ 26 h 162"/>
                <a:gd name="T18" fmla="*/ 126 w 226"/>
                <a:gd name="T19" fmla="*/ 30 h 162"/>
                <a:gd name="T20" fmla="*/ 146 w 226"/>
                <a:gd name="T21" fmla="*/ 18 h 162"/>
                <a:gd name="T22" fmla="*/ 154 w 226"/>
                <a:gd name="T23" fmla="*/ 16 h 162"/>
                <a:gd name="T24" fmla="*/ 164 w 226"/>
                <a:gd name="T25" fmla="*/ 0 h 162"/>
                <a:gd name="T26" fmla="*/ 172 w 226"/>
                <a:gd name="T27" fmla="*/ 6 h 162"/>
                <a:gd name="T28" fmla="*/ 174 w 226"/>
                <a:gd name="T29" fmla="*/ 18 h 162"/>
                <a:gd name="T30" fmla="*/ 172 w 226"/>
                <a:gd name="T31" fmla="*/ 26 h 162"/>
                <a:gd name="T32" fmla="*/ 172 w 226"/>
                <a:gd name="T33" fmla="*/ 32 h 162"/>
                <a:gd name="T34" fmla="*/ 182 w 226"/>
                <a:gd name="T35" fmla="*/ 30 h 162"/>
                <a:gd name="T36" fmla="*/ 190 w 226"/>
                <a:gd name="T37" fmla="*/ 26 h 162"/>
                <a:gd name="T38" fmla="*/ 198 w 226"/>
                <a:gd name="T39" fmla="*/ 20 h 162"/>
                <a:gd name="T40" fmla="*/ 226 w 226"/>
                <a:gd name="T41" fmla="*/ 20 h 162"/>
                <a:gd name="T42" fmla="*/ 226 w 226"/>
                <a:gd name="T43" fmla="*/ 28 h 162"/>
                <a:gd name="T44" fmla="*/ 214 w 226"/>
                <a:gd name="T45" fmla="*/ 30 h 162"/>
                <a:gd name="T46" fmla="*/ 198 w 226"/>
                <a:gd name="T47" fmla="*/ 30 h 162"/>
                <a:gd name="T48" fmla="*/ 190 w 226"/>
                <a:gd name="T49" fmla="*/ 30 h 162"/>
                <a:gd name="T50" fmla="*/ 186 w 226"/>
                <a:gd name="T51" fmla="*/ 32 h 162"/>
                <a:gd name="T52" fmla="*/ 174 w 226"/>
                <a:gd name="T53" fmla="*/ 40 h 162"/>
                <a:gd name="T54" fmla="*/ 168 w 226"/>
                <a:gd name="T55" fmla="*/ 46 h 162"/>
                <a:gd name="T56" fmla="*/ 172 w 226"/>
                <a:gd name="T57" fmla="*/ 52 h 162"/>
                <a:gd name="T58" fmla="*/ 174 w 226"/>
                <a:gd name="T59" fmla="*/ 58 h 162"/>
                <a:gd name="T60" fmla="*/ 172 w 226"/>
                <a:gd name="T61" fmla="*/ 68 h 162"/>
                <a:gd name="T62" fmla="*/ 168 w 226"/>
                <a:gd name="T63" fmla="*/ 78 h 162"/>
                <a:gd name="T64" fmla="*/ 152 w 226"/>
                <a:gd name="T65" fmla="*/ 84 h 162"/>
                <a:gd name="T66" fmla="*/ 148 w 226"/>
                <a:gd name="T67" fmla="*/ 96 h 162"/>
                <a:gd name="T68" fmla="*/ 142 w 226"/>
                <a:gd name="T69" fmla="*/ 100 h 162"/>
                <a:gd name="T70" fmla="*/ 138 w 226"/>
                <a:gd name="T71" fmla="*/ 110 h 162"/>
                <a:gd name="T72" fmla="*/ 138 w 226"/>
                <a:gd name="T73" fmla="*/ 124 h 162"/>
                <a:gd name="T74" fmla="*/ 114 w 226"/>
                <a:gd name="T75" fmla="*/ 124 h 162"/>
                <a:gd name="T76" fmla="*/ 110 w 226"/>
                <a:gd name="T77" fmla="*/ 132 h 162"/>
                <a:gd name="T78" fmla="*/ 94 w 226"/>
                <a:gd name="T79" fmla="*/ 132 h 162"/>
                <a:gd name="T80" fmla="*/ 90 w 226"/>
                <a:gd name="T81" fmla="*/ 138 h 162"/>
                <a:gd name="T82" fmla="*/ 88 w 226"/>
                <a:gd name="T83" fmla="*/ 156 h 162"/>
                <a:gd name="T84" fmla="*/ 78 w 226"/>
                <a:gd name="T85" fmla="*/ 158 h 162"/>
                <a:gd name="T86" fmla="*/ 42 w 226"/>
                <a:gd name="T87" fmla="*/ 162 h 162"/>
                <a:gd name="T88" fmla="*/ 24 w 226"/>
                <a:gd name="T89" fmla="*/ 162 h 162"/>
                <a:gd name="T90" fmla="*/ 18 w 226"/>
                <a:gd name="T91" fmla="*/ 156 h 162"/>
                <a:gd name="T92" fmla="*/ 8 w 226"/>
                <a:gd name="T93" fmla="*/ 160 h 162"/>
                <a:gd name="T94" fmla="*/ 4 w 226"/>
                <a:gd name="T95" fmla="*/ 154 h 162"/>
                <a:gd name="T96" fmla="*/ 18 w 226"/>
                <a:gd name="T97" fmla="*/ 140 h 162"/>
                <a:gd name="T98" fmla="*/ 20 w 226"/>
                <a:gd name="T99" fmla="*/ 128 h 162"/>
                <a:gd name="T100" fmla="*/ 6 w 226"/>
                <a:gd name="T101" fmla="*/ 128 h 162"/>
                <a:gd name="T102" fmla="*/ 4 w 226"/>
                <a:gd name="T103" fmla="*/ 114 h 162"/>
                <a:gd name="T104" fmla="*/ 0 w 226"/>
                <a:gd name="T105" fmla="*/ 104 h 162"/>
                <a:gd name="T106" fmla="*/ 2 w 226"/>
                <a:gd name="T107" fmla="*/ 76 h 162"/>
                <a:gd name="T108" fmla="*/ 12 w 226"/>
                <a:gd name="T109" fmla="*/ 56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26" h="162">
                  <a:moveTo>
                    <a:pt x="12" y="56"/>
                  </a:moveTo>
                  <a:lnTo>
                    <a:pt x="24" y="56"/>
                  </a:lnTo>
                  <a:lnTo>
                    <a:pt x="34" y="60"/>
                  </a:lnTo>
                  <a:lnTo>
                    <a:pt x="44" y="48"/>
                  </a:lnTo>
                  <a:lnTo>
                    <a:pt x="56" y="44"/>
                  </a:lnTo>
                  <a:lnTo>
                    <a:pt x="68" y="26"/>
                  </a:lnTo>
                  <a:lnTo>
                    <a:pt x="84" y="20"/>
                  </a:lnTo>
                  <a:lnTo>
                    <a:pt x="96" y="20"/>
                  </a:lnTo>
                  <a:lnTo>
                    <a:pt x="116" y="26"/>
                  </a:lnTo>
                  <a:lnTo>
                    <a:pt x="126" y="30"/>
                  </a:lnTo>
                  <a:lnTo>
                    <a:pt x="146" y="18"/>
                  </a:lnTo>
                  <a:lnTo>
                    <a:pt x="154" y="16"/>
                  </a:lnTo>
                  <a:lnTo>
                    <a:pt x="164" y="0"/>
                  </a:lnTo>
                  <a:lnTo>
                    <a:pt x="172" y="6"/>
                  </a:lnTo>
                  <a:lnTo>
                    <a:pt x="174" y="18"/>
                  </a:lnTo>
                  <a:lnTo>
                    <a:pt x="172" y="26"/>
                  </a:lnTo>
                  <a:lnTo>
                    <a:pt x="172" y="32"/>
                  </a:lnTo>
                  <a:lnTo>
                    <a:pt x="182" y="30"/>
                  </a:lnTo>
                  <a:lnTo>
                    <a:pt x="190" y="26"/>
                  </a:lnTo>
                  <a:lnTo>
                    <a:pt x="198" y="20"/>
                  </a:lnTo>
                  <a:lnTo>
                    <a:pt x="226" y="20"/>
                  </a:lnTo>
                  <a:lnTo>
                    <a:pt x="226" y="28"/>
                  </a:lnTo>
                  <a:lnTo>
                    <a:pt x="214" y="30"/>
                  </a:lnTo>
                  <a:lnTo>
                    <a:pt x="198" y="30"/>
                  </a:lnTo>
                  <a:lnTo>
                    <a:pt x="190" y="30"/>
                  </a:lnTo>
                  <a:lnTo>
                    <a:pt x="186" y="32"/>
                  </a:lnTo>
                  <a:lnTo>
                    <a:pt x="174" y="40"/>
                  </a:lnTo>
                  <a:lnTo>
                    <a:pt x="168" y="46"/>
                  </a:lnTo>
                  <a:lnTo>
                    <a:pt x="172" y="52"/>
                  </a:lnTo>
                  <a:lnTo>
                    <a:pt x="174" y="58"/>
                  </a:lnTo>
                  <a:lnTo>
                    <a:pt x="172" y="68"/>
                  </a:lnTo>
                  <a:lnTo>
                    <a:pt x="168" y="78"/>
                  </a:lnTo>
                  <a:lnTo>
                    <a:pt x="152" y="84"/>
                  </a:lnTo>
                  <a:lnTo>
                    <a:pt x="148" y="96"/>
                  </a:lnTo>
                  <a:lnTo>
                    <a:pt x="142" y="100"/>
                  </a:lnTo>
                  <a:lnTo>
                    <a:pt x="138" y="110"/>
                  </a:lnTo>
                  <a:lnTo>
                    <a:pt x="138" y="124"/>
                  </a:lnTo>
                  <a:lnTo>
                    <a:pt x="114" y="124"/>
                  </a:lnTo>
                  <a:lnTo>
                    <a:pt x="110" y="132"/>
                  </a:lnTo>
                  <a:lnTo>
                    <a:pt x="94" y="132"/>
                  </a:lnTo>
                  <a:lnTo>
                    <a:pt x="90" y="138"/>
                  </a:lnTo>
                  <a:lnTo>
                    <a:pt x="88" y="156"/>
                  </a:lnTo>
                  <a:lnTo>
                    <a:pt x="78" y="158"/>
                  </a:lnTo>
                  <a:lnTo>
                    <a:pt x="42" y="162"/>
                  </a:lnTo>
                  <a:lnTo>
                    <a:pt x="24" y="162"/>
                  </a:lnTo>
                  <a:lnTo>
                    <a:pt x="18" y="156"/>
                  </a:lnTo>
                  <a:lnTo>
                    <a:pt x="8" y="160"/>
                  </a:lnTo>
                  <a:lnTo>
                    <a:pt x="4" y="154"/>
                  </a:lnTo>
                  <a:lnTo>
                    <a:pt x="18" y="140"/>
                  </a:lnTo>
                  <a:lnTo>
                    <a:pt x="20" y="128"/>
                  </a:lnTo>
                  <a:lnTo>
                    <a:pt x="6" y="128"/>
                  </a:lnTo>
                  <a:lnTo>
                    <a:pt x="4" y="114"/>
                  </a:lnTo>
                  <a:lnTo>
                    <a:pt x="0" y="104"/>
                  </a:lnTo>
                  <a:lnTo>
                    <a:pt x="2" y="76"/>
                  </a:lnTo>
                  <a:lnTo>
                    <a:pt x="12" y="5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32" name="Freeform 125">
              <a:extLst>
                <a:ext uri="{FF2B5EF4-FFF2-40B4-BE49-F238E27FC236}">
                  <a16:creationId xmlns:a16="http://schemas.microsoft.com/office/drawing/2014/main" id="{78A802F7-29D3-4021-A904-DA532A453E08}"/>
                </a:ext>
              </a:extLst>
            </p:cNvPr>
            <p:cNvSpPr>
              <a:spLocks/>
            </p:cNvSpPr>
            <p:nvPr/>
          </p:nvSpPr>
          <p:spPr bwMode="gray">
            <a:xfrm>
              <a:off x="6734700" y="3778449"/>
              <a:ext cx="112273" cy="126147"/>
            </a:xfrm>
            <a:custGeom>
              <a:avLst/>
              <a:gdLst>
                <a:gd name="T0" fmla="*/ 66 w 68"/>
                <a:gd name="T1" fmla="*/ 0 h 76"/>
                <a:gd name="T2" fmla="*/ 68 w 68"/>
                <a:gd name="T3" fmla="*/ 24 h 76"/>
                <a:gd name="T4" fmla="*/ 66 w 68"/>
                <a:gd name="T5" fmla="*/ 30 h 76"/>
                <a:gd name="T6" fmla="*/ 38 w 68"/>
                <a:gd name="T7" fmla="*/ 34 h 76"/>
                <a:gd name="T8" fmla="*/ 50 w 68"/>
                <a:gd name="T9" fmla="*/ 50 h 76"/>
                <a:gd name="T10" fmla="*/ 44 w 68"/>
                <a:gd name="T11" fmla="*/ 56 h 76"/>
                <a:gd name="T12" fmla="*/ 42 w 68"/>
                <a:gd name="T13" fmla="*/ 62 h 76"/>
                <a:gd name="T14" fmla="*/ 30 w 68"/>
                <a:gd name="T15" fmla="*/ 64 h 76"/>
                <a:gd name="T16" fmla="*/ 24 w 68"/>
                <a:gd name="T17" fmla="*/ 72 h 76"/>
                <a:gd name="T18" fmla="*/ 20 w 68"/>
                <a:gd name="T19" fmla="*/ 76 h 76"/>
                <a:gd name="T20" fmla="*/ 0 w 68"/>
                <a:gd name="T21" fmla="*/ 70 h 76"/>
                <a:gd name="T22" fmla="*/ 6 w 68"/>
                <a:gd name="T23" fmla="*/ 58 h 76"/>
                <a:gd name="T24" fmla="*/ 8 w 68"/>
                <a:gd name="T25" fmla="*/ 48 h 76"/>
                <a:gd name="T26" fmla="*/ 8 w 68"/>
                <a:gd name="T27" fmla="*/ 36 h 76"/>
                <a:gd name="T28" fmla="*/ 10 w 68"/>
                <a:gd name="T29" fmla="*/ 28 h 76"/>
                <a:gd name="T30" fmla="*/ 10 w 68"/>
                <a:gd name="T31" fmla="*/ 20 h 76"/>
                <a:gd name="T32" fmla="*/ 12 w 68"/>
                <a:gd name="T33" fmla="*/ 14 h 76"/>
                <a:gd name="T34" fmla="*/ 16 w 68"/>
                <a:gd name="T35" fmla="*/ 16 h 76"/>
                <a:gd name="T36" fmla="*/ 20 w 68"/>
                <a:gd name="T37" fmla="*/ 16 h 76"/>
                <a:gd name="T38" fmla="*/ 28 w 68"/>
                <a:gd name="T39" fmla="*/ 20 h 76"/>
                <a:gd name="T40" fmla="*/ 36 w 68"/>
                <a:gd name="T41" fmla="*/ 18 h 76"/>
                <a:gd name="T42" fmla="*/ 66 w 68"/>
                <a:gd name="T43"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 h="76">
                  <a:moveTo>
                    <a:pt x="66" y="0"/>
                  </a:moveTo>
                  <a:lnTo>
                    <a:pt x="68" y="24"/>
                  </a:lnTo>
                  <a:lnTo>
                    <a:pt x="66" y="30"/>
                  </a:lnTo>
                  <a:lnTo>
                    <a:pt x="38" y="34"/>
                  </a:lnTo>
                  <a:lnTo>
                    <a:pt x="50" y="50"/>
                  </a:lnTo>
                  <a:lnTo>
                    <a:pt x="44" y="56"/>
                  </a:lnTo>
                  <a:lnTo>
                    <a:pt x="42" y="62"/>
                  </a:lnTo>
                  <a:lnTo>
                    <a:pt x="30" y="64"/>
                  </a:lnTo>
                  <a:lnTo>
                    <a:pt x="24" y="72"/>
                  </a:lnTo>
                  <a:lnTo>
                    <a:pt x="20" y="76"/>
                  </a:lnTo>
                  <a:lnTo>
                    <a:pt x="0" y="70"/>
                  </a:lnTo>
                  <a:lnTo>
                    <a:pt x="6" y="58"/>
                  </a:lnTo>
                  <a:lnTo>
                    <a:pt x="8" y="48"/>
                  </a:lnTo>
                  <a:lnTo>
                    <a:pt x="8" y="36"/>
                  </a:lnTo>
                  <a:lnTo>
                    <a:pt x="10" y="28"/>
                  </a:lnTo>
                  <a:lnTo>
                    <a:pt x="10" y="20"/>
                  </a:lnTo>
                  <a:lnTo>
                    <a:pt x="12" y="14"/>
                  </a:lnTo>
                  <a:lnTo>
                    <a:pt x="16" y="16"/>
                  </a:lnTo>
                  <a:lnTo>
                    <a:pt x="20" y="16"/>
                  </a:lnTo>
                  <a:lnTo>
                    <a:pt x="28" y="20"/>
                  </a:lnTo>
                  <a:lnTo>
                    <a:pt x="36" y="18"/>
                  </a:lnTo>
                  <a:lnTo>
                    <a:pt x="66"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33" name="Freeform 126">
              <a:extLst>
                <a:ext uri="{FF2B5EF4-FFF2-40B4-BE49-F238E27FC236}">
                  <a16:creationId xmlns:a16="http://schemas.microsoft.com/office/drawing/2014/main" id="{7316EECA-C181-4A7F-AF0E-B403EF97BFCC}"/>
                </a:ext>
              </a:extLst>
            </p:cNvPr>
            <p:cNvSpPr>
              <a:spLocks/>
            </p:cNvSpPr>
            <p:nvPr/>
          </p:nvSpPr>
          <p:spPr bwMode="gray">
            <a:xfrm>
              <a:off x="6731399" y="3818285"/>
              <a:ext cx="544853" cy="444834"/>
            </a:xfrm>
            <a:custGeom>
              <a:avLst/>
              <a:gdLst>
                <a:gd name="T0" fmla="*/ 0 w 330"/>
                <a:gd name="T1" fmla="*/ 68 h 268"/>
                <a:gd name="T2" fmla="*/ 4 w 330"/>
                <a:gd name="T3" fmla="*/ 46 h 268"/>
                <a:gd name="T4" fmla="*/ 22 w 330"/>
                <a:gd name="T5" fmla="*/ 52 h 268"/>
                <a:gd name="T6" fmla="*/ 26 w 330"/>
                <a:gd name="T7" fmla="*/ 48 h 268"/>
                <a:gd name="T8" fmla="*/ 32 w 330"/>
                <a:gd name="T9" fmla="*/ 40 h 268"/>
                <a:gd name="T10" fmla="*/ 44 w 330"/>
                <a:gd name="T11" fmla="*/ 38 h 268"/>
                <a:gd name="T12" fmla="*/ 46 w 330"/>
                <a:gd name="T13" fmla="*/ 32 h 268"/>
                <a:gd name="T14" fmla="*/ 52 w 330"/>
                <a:gd name="T15" fmla="*/ 26 h 268"/>
                <a:gd name="T16" fmla="*/ 40 w 330"/>
                <a:gd name="T17" fmla="*/ 10 h 268"/>
                <a:gd name="T18" fmla="*/ 68 w 330"/>
                <a:gd name="T19" fmla="*/ 6 h 268"/>
                <a:gd name="T20" fmla="*/ 70 w 330"/>
                <a:gd name="T21" fmla="*/ 0 h 268"/>
                <a:gd name="T22" fmla="*/ 90 w 330"/>
                <a:gd name="T23" fmla="*/ 4 h 268"/>
                <a:gd name="T24" fmla="*/ 126 w 330"/>
                <a:gd name="T25" fmla="*/ 24 h 268"/>
                <a:gd name="T26" fmla="*/ 134 w 330"/>
                <a:gd name="T27" fmla="*/ 36 h 268"/>
                <a:gd name="T28" fmla="*/ 136 w 330"/>
                <a:gd name="T29" fmla="*/ 40 h 268"/>
                <a:gd name="T30" fmla="*/ 144 w 330"/>
                <a:gd name="T31" fmla="*/ 42 h 268"/>
                <a:gd name="T32" fmla="*/ 158 w 330"/>
                <a:gd name="T33" fmla="*/ 52 h 268"/>
                <a:gd name="T34" fmla="*/ 174 w 330"/>
                <a:gd name="T35" fmla="*/ 52 h 268"/>
                <a:gd name="T36" fmla="*/ 190 w 330"/>
                <a:gd name="T37" fmla="*/ 52 h 268"/>
                <a:gd name="T38" fmla="*/ 200 w 330"/>
                <a:gd name="T39" fmla="*/ 54 h 268"/>
                <a:gd name="T40" fmla="*/ 208 w 330"/>
                <a:gd name="T41" fmla="*/ 62 h 268"/>
                <a:gd name="T42" fmla="*/ 216 w 330"/>
                <a:gd name="T43" fmla="*/ 62 h 268"/>
                <a:gd name="T44" fmla="*/ 226 w 330"/>
                <a:gd name="T45" fmla="*/ 82 h 268"/>
                <a:gd name="T46" fmla="*/ 234 w 330"/>
                <a:gd name="T47" fmla="*/ 88 h 268"/>
                <a:gd name="T48" fmla="*/ 242 w 330"/>
                <a:gd name="T49" fmla="*/ 96 h 268"/>
                <a:gd name="T50" fmla="*/ 244 w 330"/>
                <a:gd name="T51" fmla="*/ 110 h 268"/>
                <a:gd name="T52" fmla="*/ 248 w 330"/>
                <a:gd name="T53" fmla="*/ 118 h 268"/>
                <a:gd name="T54" fmla="*/ 256 w 330"/>
                <a:gd name="T55" fmla="*/ 128 h 268"/>
                <a:gd name="T56" fmla="*/ 260 w 330"/>
                <a:gd name="T57" fmla="*/ 132 h 268"/>
                <a:gd name="T58" fmla="*/ 282 w 330"/>
                <a:gd name="T59" fmla="*/ 158 h 268"/>
                <a:gd name="T60" fmla="*/ 290 w 330"/>
                <a:gd name="T61" fmla="*/ 160 h 268"/>
                <a:gd name="T62" fmla="*/ 302 w 330"/>
                <a:gd name="T63" fmla="*/ 164 h 268"/>
                <a:gd name="T64" fmla="*/ 308 w 330"/>
                <a:gd name="T65" fmla="*/ 166 h 268"/>
                <a:gd name="T66" fmla="*/ 326 w 330"/>
                <a:gd name="T67" fmla="*/ 164 h 268"/>
                <a:gd name="T68" fmla="*/ 330 w 330"/>
                <a:gd name="T69" fmla="*/ 172 h 268"/>
                <a:gd name="T70" fmla="*/ 330 w 330"/>
                <a:gd name="T71" fmla="*/ 186 h 268"/>
                <a:gd name="T72" fmla="*/ 322 w 330"/>
                <a:gd name="T73" fmla="*/ 204 h 268"/>
                <a:gd name="T74" fmla="*/ 306 w 330"/>
                <a:gd name="T75" fmla="*/ 208 h 268"/>
                <a:gd name="T76" fmla="*/ 290 w 330"/>
                <a:gd name="T77" fmla="*/ 216 h 268"/>
                <a:gd name="T78" fmla="*/ 274 w 330"/>
                <a:gd name="T79" fmla="*/ 226 h 268"/>
                <a:gd name="T80" fmla="*/ 258 w 330"/>
                <a:gd name="T81" fmla="*/ 224 h 268"/>
                <a:gd name="T82" fmla="*/ 226 w 330"/>
                <a:gd name="T83" fmla="*/ 230 h 268"/>
                <a:gd name="T84" fmla="*/ 200 w 330"/>
                <a:gd name="T85" fmla="*/ 254 h 268"/>
                <a:gd name="T86" fmla="*/ 170 w 330"/>
                <a:gd name="T87" fmla="*/ 248 h 268"/>
                <a:gd name="T88" fmla="*/ 136 w 330"/>
                <a:gd name="T89" fmla="*/ 250 h 268"/>
                <a:gd name="T90" fmla="*/ 128 w 330"/>
                <a:gd name="T91" fmla="*/ 268 h 268"/>
                <a:gd name="T92" fmla="*/ 120 w 330"/>
                <a:gd name="T93" fmla="*/ 250 h 268"/>
                <a:gd name="T94" fmla="*/ 106 w 330"/>
                <a:gd name="T95" fmla="*/ 232 h 268"/>
                <a:gd name="T96" fmla="*/ 96 w 330"/>
                <a:gd name="T97" fmla="*/ 212 h 268"/>
                <a:gd name="T98" fmla="*/ 88 w 330"/>
                <a:gd name="T99" fmla="*/ 202 h 268"/>
                <a:gd name="T100" fmla="*/ 76 w 330"/>
                <a:gd name="T101" fmla="*/ 200 h 268"/>
                <a:gd name="T102" fmla="*/ 68 w 330"/>
                <a:gd name="T103" fmla="*/ 184 h 268"/>
                <a:gd name="T104" fmla="*/ 68 w 330"/>
                <a:gd name="T105" fmla="*/ 160 h 268"/>
                <a:gd name="T106" fmla="*/ 56 w 330"/>
                <a:gd name="T107" fmla="*/ 142 h 268"/>
                <a:gd name="T108" fmla="*/ 42 w 330"/>
                <a:gd name="T109" fmla="*/ 136 h 268"/>
                <a:gd name="T110" fmla="*/ 38 w 330"/>
                <a:gd name="T111" fmla="*/ 126 h 268"/>
                <a:gd name="T112" fmla="*/ 38 w 330"/>
                <a:gd name="T113" fmla="*/ 114 h 268"/>
                <a:gd name="T114" fmla="*/ 18 w 330"/>
                <a:gd name="T115" fmla="*/ 90 h 268"/>
                <a:gd name="T116" fmla="*/ 8 w 330"/>
                <a:gd name="T117" fmla="*/ 70 h 268"/>
                <a:gd name="T118" fmla="*/ 0 w 330"/>
                <a:gd name="T119" fmla="*/ 68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30" h="268">
                  <a:moveTo>
                    <a:pt x="0" y="68"/>
                  </a:moveTo>
                  <a:lnTo>
                    <a:pt x="4" y="46"/>
                  </a:lnTo>
                  <a:lnTo>
                    <a:pt x="22" y="52"/>
                  </a:lnTo>
                  <a:lnTo>
                    <a:pt x="26" y="48"/>
                  </a:lnTo>
                  <a:lnTo>
                    <a:pt x="32" y="40"/>
                  </a:lnTo>
                  <a:lnTo>
                    <a:pt x="44" y="38"/>
                  </a:lnTo>
                  <a:lnTo>
                    <a:pt x="46" y="32"/>
                  </a:lnTo>
                  <a:lnTo>
                    <a:pt x="52" y="26"/>
                  </a:lnTo>
                  <a:lnTo>
                    <a:pt x="40" y="10"/>
                  </a:lnTo>
                  <a:lnTo>
                    <a:pt x="68" y="6"/>
                  </a:lnTo>
                  <a:lnTo>
                    <a:pt x="70" y="0"/>
                  </a:lnTo>
                  <a:lnTo>
                    <a:pt x="90" y="4"/>
                  </a:lnTo>
                  <a:lnTo>
                    <a:pt x="126" y="24"/>
                  </a:lnTo>
                  <a:lnTo>
                    <a:pt x="134" y="36"/>
                  </a:lnTo>
                  <a:lnTo>
                    <a:pt x="136" y="40"/>
                  </a:lnTo>
                  <a:lnTo>
                    <a:pt x="144" y="42"/>
                  </a:lnTo>
                  <a:lnTo>
                    <a:pt x="158" y="52"/>
                  </a:lnTo>
                  <a:lnTo>
                    <a:pt x="174" y="52"/>
                  </a:lnTo>
                  <a:lnTo>
                    <a:pt x="190" y="52"/>
                  </a:lnTo>
                  <a:lnTo>
                    <a:pt x="200" y="54"/>
                  </a:lnTo>
                  <a:lnTo>
                    <a:pt x="208" y="62"/>
                  </a:lnTo>
                  <a:lnTo>
                    <a:pt x="216" y="62"/>
                  </a:lnTo>
                  <a:lnTo>
                    <a:pt x="226" y="82"/>
                  </a:lnTo>
                  <a:lnTo>
                    <a:pt x="234" y="88"/>
                  </a:lnTo>
                  <a:lnTo>
                    <a:pt x="242" y="96"/>
                  </a:lnTo>
                  <a:lnTo>
                    <a:pt x="244" y="110"/>
                  </a:lnTo>
                  <a:lnTo>
                    <a:pt x="248" y="118"/>
                  </a:lnTo>
                  <a:lnTo>
                    <a:pt x="256" y="128"/>
                  </a:lnTo>
                  <a:lnTo>
                    <a:pt x="260" y="132"/>
                  </a:lnTo>
                  <a:lnTo>
                    <a:pt x="282" y="158"/>
                  </a:lnTo>
                  <a:lnTo>
                    <a:pt x="290" y="160"/>
                  </a:lnTo>
                  <a:lnTo>
                    <a:pt x="302" y="164"/>
                  </a:lnTo>
                  <a:lnTo>
                    <a:pt x="308" y="166"/>
                  </a:lnTo>
                  <a:lnTo>
                    <a:pt x="326" y="164"/>
                  </a:lnTo>
                  <a:lnTo>
                    <a:pt x="330" y="172"/>
                  </a:lnTo>
                  <a:lnTo>
                    <a:pt x="330" y="186"/>
                  </a:lnTo>
                  <a:lnTo>
                    <a:pt x="322" y="204"/>
                  </a:lnTo>
                  <a:lnTo>
                    <a:pt x="306" y="208"/>
                  </a:lnTo>
                  <a:lnTo>
                    <a:pt x="290" y="216"/>
                  </a:lnTo>
                  <a:lnTo>
                    <a:pt x="274" y="226"/>
                  </a:lnTo>
                  <a:lnTo>
                    <a:pt x="258" y="224"/>
                  </a:lnTo>
                  <a:lnTo>
                    <a:pt x="226" y="230"/>
                  </a:lnTo>
                  <a:lnTo>
                    <a:pt x="200" y="254"/>
                  </a:lnTo>
                  <a:lnTo>
                    <a:pt x="170" y="248"/>
                  </a:lnTo>
                  <a:lnTo>
                    <a:pt x="136" y="250"/>
                  </a:lnTo>
                  <a:lnTo>
                    <a:pt x="128" y="268"/>
                  </a:lnTo>
                  <a:lnTo>
                    <a:pt x="120" y="250"/>
                  </a:lnTo>
                  <a:lnTo>
                    <a:pt x="106" y="232"/>
                  </a:lnTo>
                  <a:lnTo>
                    <a:pt x="96" y="212"/>
                  </a:lnTo>
                  <a:lnTo>
                    <a:pt x="88" y="202"/>
                  </a:lnTo>
                  <a:lnTo>
                    <a:pt x="76" y="200"/>
                  </a:lnTo>
                  <a:lnTo>
                    <a:pt x="68" y="184"/>
                  </a:lnTo>
                  <a:lnTo>
                    <a:pt x="68" y="160"/>
                  </a:lnTo>
                  <a:lnTo>
                    <a:pt x="56" y="142"/>
                  </a:lnTo>
                  <a:lnTo>
                    <a:pt x="42" y="136"/>
                  </a:lnTo>
                  <a:lnTo>
                    <a:pt x="38" y="126"/>
                  </a:lnTo>
                  <a:lnTo>
                    <a:pt x="38" y="114"/>
                  </a:lnTo>
                  <a:lnTo>
                    <a:pt x="18" y="90"/>
                  </a:lnTo>
                  <a:lnTo>
                    <a:pt x="8" y="70"/>
                  </a:lnTo>
                  <a:lnTo>
                    <a:pt x="0" y="6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34" name="Freeform 127">
              <a:extLst>
                <a:ext uri="{FF2B5EF4-FFF2-40B4-BE49-F238E27FC236}">
                  <a16:creationId xmlns:a16="http://schemas.microsoft.com/office/drawing/2014/main" id="{FDB607A6-8958-4F29-8D04-2574ABB97934}"/>
                </a:ext>
              </a:extLst>
            </p:cNvPr>
            <p:cNvSpPr>
              <a:spLocks/>
            </p:cNvSpPr>
            <p:nvPr/>
          </p:nvSpPr>
          <p:spPr bwMode="gray">
            <a:xfrm>
              <a:off x="6738003" y="3811647"/>
              <a:ext cx="13209" cy="26557"/>
            </a:xfrm>
            <a:custGeom>
              <a:avLst/>
              <a:gdLst>
                <a:gd name="T0" fmla="*/ 8 w 8"/>
                <a:gd name="T1" fmla="*/ 0 h 16"/>
                <a:gd name="T2" fmla="*/ 2 w 8"/>
                <a:gd name="T3" fmla="*/ 0 h 16"/>
                <a:gd name="T4" fmla="*/ 0 w 8"/>
                <a:gd name="T5" fmla="*/ 4 h 16"/>
                <a:gd name="T6" fmla="*/ 0 w 8"/>
                <a:gd name="T7" fmla="*/ 10 h 16"/>
                <a:gd name="T8" fmla="*/ 2 w 8"/>
                <a:gd name="T9" fmla="*/ 16 h 16"/>
                <a:gd name="T10" fmla="*/ 6 w 8"/>
                <a:gd name="T11" fmla="*/ 16 h 16"/>
                <a:gd name="T12" fmla="*/ 8 w 8"/>
                <a:gd name="T13" fmla="*/ 8 h 16"/>
                <a:gd name="T14" fmla="*/ 8 w 8"/>
                <a:gd name="T15" fmla="*/ 2 h 16"/>
                <a:gd name="T16" fmla="*/ 8 w 8"/>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6">
                  <a:moveTo>
                    <a:pt x="8" y="0"/>
                  </a:moveTo>
                  <a:lnTo>
                    <a:pt x="2" y="0"/>
                  </a:lnTo>
                  <a:lnTo>
                    <a:pt x="0" y="4"/>
                  </a:lnTo>
                  <a:lnTo>
                    <a:pt x="0" y="10"/>
                  </a:lnTo>
                  <a:lnTo>
                    <a:pt x="2" y="16"/>
                  </a:lnTo>
                  <a:lnTo>
                    <a:pt x="6" y="16"/>
                  </a:lnTo>
                  <a:lnTo>
                    <a:pt x="8" y="8"/>
                  </a:lnTo>
                  <a:lnTo>
                    <a:pt x="8" y="2"/>
                  </a:lnTo>
                  <a:lnTo>
                    <a:pt x="8"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35" name="Freeform 128">
              <a:extLst>
                <a:ext uri="{FF2B5EF4-FFF2-40B4-BE49-F238E27FC236}">
                  <a16:creationId xmlns:a16="http://schemas.microsoft.com/office/drawing/2014/main" id="{B8353495-181E-4C4F-82A6-61DC67866717}"/>
                </a:ext>
              </a:extLst>
            </p:cNvPr>
            <p:cNvSpPr>
              <a:spLocks/>
            </p:cNvSpPr>
            <p:nvPr/>
          </p:nvSpPr>
          <p:spPr bwMode="gray">
            <a:xfrm>
              <a:off x="7154073" y="3994226"/>
              <a:ext cx="16510" cy="43155"/>
            </a:xfrm>
            <a:custGeom>
              <a:avLst/>
              <a:gdLst>
                <a:gd name="T0" fmla="*/ 0 w 10"/>
                <a:gd name="T1" fmla="*/ 22 h 26"/>
                <a:gd name="T2" fmla="*/ 0 w 10"/>
                <a:gd name="T3" fmla="*/ 10 h 26"/>
                <a:gd name="T4" fmla="*/ 4 w 10"/>
                <a:gd name="T5" fmla="*/ 0 h 26"/>
                <a:gd name="T6" fmla="*/ 8 w 10"/>
                <a:gd name="T7" fmla="*/ 0 h 26"/>
                <a:gd name="T8" fmla="*/ 10 w 10"/>
                <a:gd name="T9" fmla="*/ 8 h 26"/>
                <a:gd name="T10" fmla="*/ 10 w 10"/>
                <a:gd name="T11" fmla="*/ 14 h 26"/>
                <a:gd name="T12" fmla="*/ 8 w 10"/>
                <a:gd name="T13" fmla="*/ 22 h 26"/>
                <a:gd name="T14" fmla="*/ 4 w 10"/>
                <a:gd name="T15" fmla="*/ 26 h 26"/>
                <a:gd name="T16" fmla="*/ 0 w 10"/>
                <a:gd name="T17" fmla="*/ 2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26">
                  <a:moveTo>
                    <a:pt x="0" y="22"/>
                  </a:moveTo>
                  <a:lnTo>
                    <a:pt x="0" y="10"/>
                  </a:lnTo>
                  <a:lnTo>
                    <a:pt x="4" y="0"/>
                  </a:lnTo>
                  <a:lnTo>
                    <a:pt x="8" y="0"/>
                  </a:lnTo>
                  <a:lnTo>
                    <a:pt x="10" y="8"/>
                  </a:lnTo>
                  <a:lnTo>
                    <a:pt x="10" y="14"/>
                  </a:lnTo>
                  <a:lnTo>
                    <a:pt x="8" y="22"/>
                  </a:lnTo>
                  <a:lnTo>
                    <a:pt x="4" y="26"/>
                  </a:lnTo>
                  <a:lnTo>
                    <a:pt x="0" y="2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36" name="Freeform 129">
              <a:extLst>
                <a:ext uri="{FF2B5EF4-FFF2-40B4-BE49-F238E27FC236}">
                  <a16:creationId xmlns:a16="http://schemas.microsoft.com/office/drawing/2014/main" id="{F31F9323-A812-4616-80C9-47C07A21D7C0}"/>
                </a:ext>
              </a:extLst>
            </p:cNvPr>
            <p:cNvSpPr>
              <a:spLocks/>
            </p:cNvSpPr>
            <p:nvPr/>
          </p:nvSpPr>
          <p:spPr bwMode="gray">
            <a:xfrm>
              <a:off x="7140864" y="3980949"/>
              <a:ext cx="13209" cy="19918"/>
            </a:xfrm>
            <a:custGeom>
              <a:avLst/>
              <a:gdLst>
                <a:gd name="T0" fmla="*/ 0 w 8"/>
                <a:gd name="T1" fmla="*/ 0 h 12"/>
                <a:gd name="T2" fmla="*/ 8 w 8"/>
                <a:gd name="T3" fmla="*/ 2 h 12"/>
                <a:gd name="T4" fmla="*/ 4 w 8"/>
                <a:gd name="T5" fmla="*/ 12 h 12"/>
                <a:gd name="T6" fmla="*/ 0 w 8"/>
                <a:gd name="T7" fmla="*/ 0 h 12"/>
              </a:gdLst>
              <a:ahLst/>
              <a:cxnLst>
                <a:cxn ang="0">
                  <a:pos x="T0" y="T1"/>
                </a:cxn>
                <a:cxn ang="0">
                  <a:pos x="T2" y="T3"/>
                </a:cxn>
                <a:cxn ang="0">
                  <a:pos x="T4" y="T5"/>
                </a:cxn>
                <a:cxn ang="0">
                  <a:pos x="T6" y="T7"/>
                </a:cxn>
              </a:cxnLst>
              <a:rect l="0" t="0" r="r" b="b"/>
              <a:pathLst>
                <a:path w="8" h="12">
                  <a:moveTo>
                    <a:pt x="0" y="0"/>
                  </a:moveTo>
                  <a:lnTo>
                    <a:pt x="8" y="2"/>
                  </a:lnTo>
                  <a:lnTo>
                    <a:pt x="4" y="12"/>
                  </a:lnTo>
                  <a:lnTo>
                    <a:pt x="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grpSp>
          <p:nvGrpSpPr>
            <p:cNvPr id="1257" name="Group 1256">
              <a:extLst>
                <a:ext uri="{FF2B5EF4-FFF2-40B4-BE49-F238E27FC236}">
                  <a16:creationId xmlns:a16="http://schemas.microsoft.com/office/drawing/2014/main" id="{CBEC5149-7E3F-4489-B66A-993500B374F8}"/>
                </a:ext>
              </a:extLst>
            </p:cNvPr>
            <p:cNvGrpSpPr/>
            <p:nvPr/>
          </p:nvGrpSpPr>
          <p:grpSpPr>
            <a:xfrm>
              <a:off x="5411884" y="3671397"/>
              <a:ext cx="1739395" cy="1920749"/>
              <a:chOff x="5369265" y="3665581"/>
              <a:chExt cx="1794714" cy="1981836"/>
            </a:xfrm>
            <a:grpFill/>
          </p:grpSpPr>
          <p:sp>
            <p:nvSpPr>
              <p:cNvPr id="937" name="Freeform 130">
                <a:extLst>
                  <a:ext uri="{FF2B5EF4-FFF2-40B4-BE49-F238E27FC236}">
                    <a16:creationId xmlns:a16="http://schemas.microsoft.com/office/drawing/2014/main" id="{5D24B105-2F29-47CA-918E-E20DEF2A097C}"/>
                  </a:ext>
                </a:extLst>
              </p:cNvPr>
              <p:cNvSpPr>
                <a:spLocks/>
              </p:cNvSpPr>
              <p:nvPr/>
            </p:nvSpPr>
            <p:spPr bwMode="gray">
              <a:xfrm>
                <a:off x="6467227" y="3828244"/>
                <a:ext cx="283984" cy="285491"/>
              </a:xfrm>
              <a:custGeom>
                <a:avLst/>
                <a:gdLst>
                  <a:gd name="T0" fmla="*/ 6 w 172"/>
                  <a:gd name="T1" fmla="*/ 0 h 172"/>
                  <a:gd name="T2" fmla="*/ 16 w 172"/>
                  <a:gd name="T3" fmla="*/ 4 h 172"/>
                  <a:gd name="T4" fmla="*/ 24 w 172"/>
                  <a:gd name="T5" fmla="*/ 2 h 172"/>
                  <a:gd name="T6" fmla="*/ 48 w 172"/>
                  <a:gd name="T7" fmla="*/ 12 h 172"/>
                  <a:gd name="T8" fmla="*/ 66 w 172"/>
                  <a:gd name="T9" fmla="*/ 16 h 172"/>
                  <a:gd name="T10" fmla="*/ 80 w 172"/>
                  <a:gd name="T11" fmla="*/ 14 h 172"/>
                  <a:gd name="T12" fmla="*/ 90 w 172"/>
                  <a:gd name="T13" fmla="*/ 8 h 172"/>
                  <a:gd name="T14" fmla="*/ 112 w 172"/>
                  <a:gd name="T15" fmla="*/ 6 h 172"/>
                  <a:gd name="T16" fmla="*/ 122 w 172"/>
                  <a:gd name="T17" fmla="*/ 12 h 172"/>
                  <a:gd name="T18" fmla="*/ 134 w 172"/>
                  <a:gd name="T19" fmla="*/ 10 h 172"/>
                  <a:gd name="T20" fmla="*/ 150 w 172"/>
                  <a:gd name="T21" fmla="*/ 12 h 172"/>
                  <a:gd name="T22" fmla="*/ 154 w 172"/>
                  <a:gd name="T23" fmla="*/ 20 h 172"/>
                  <a:gd name="T24" fmla="*/ 162 w 172"/>
                  <a:gd name="T25" fmla="*/ 40 h 172"/>
                  <a:gd name="T26" fmla="*/ 158 w 172"/>
                  <a:gd name="T27" fmla="*/ 44 h 172"/>
                  <a:gd name="T28" fmla="*/ 152 w 172"/>
                  <a:gd name="T29" fmla="*/ 56 h 172"/>
                  <a:gd name="T30" fmla="*/ 150 w 172"/>
                  <a:gd name="T31" fmla="*/ 66 h 172"/>
                  <a:gd name="T32" fmla="*/ 146 w 172"/>
                  <a:gd name="T33" fmla="*/ 70 h 172"/>
                  <a:gd name="T34" fmla="*/ 140 w 172"/>
                  <a:gd name="T35" fmla="*/ 60 h 172"/>
                  <a:gd name="T36" fmla="*/ 136 w 172"/>
                  <a:gd name="T37" fmla="*/ 48 h 172"/>
                  <a:gd name="T38" fmla="*/ 130 w 172"/>
                  <a:gd name="T39" fmla="*/ 40 h 172"/>
                  <a:gd name="T40" fmla="*/ 126 w 172"/>
                  <a:gd name="T41" fmla="*/ 28 h 172"/>
                  <a:gd name="T42" fmla="*/ 122 w 172"/>
                  <a:gd name="T43" fmla="*/ 16 h 172"/>
                  <a:gd name="T44" fmla="*/ 122 w 172"/>
                  <a:gd name="T45" fmla="*/ 24 h 172"/>
                  <a:gd name="T46" fmla="*/ 124 w 172"/>
                  <a:gd name="T47" fmla="*/ 42 h 172"/>
                  <a:gd name="T48" fmla="*/ 128 w 172"/>
                  <a:gd name="T49" fmla="*/ 54 h 172"/>
                  <a:gd name="T50" fmla="*/ 136 w 172"/>
                  <a:gd name="T51" fmla="*/ 64 h 172"/>
                  <a:gd name="T52" fmla="*/ 142 w 172"/>
                  <a:gd name="T53" fmla="*/ 72 h 172"/>
                  <a:gd name="T54" fmla="*/ 150 w 172"/>
                  <a:gd name="T55" fmla="*/ 96 h 172"/>
                  <a:gd name="T56" fmla="*/ 170 w 172"/>
                  <a:gd name="T57" fmla="*/ 130 h 172"/>
                  <a:gd name="T58" fmla="*/ 172 w 172"/>
                  <a:gd name="T59" fmla="*/ 136 h 172"/>
                  <a:gd name="T60" fmla="*/ 172 w 172"/>
                  <a:gd name="T61" fmla="*/ 152 h 172"/>
                  <a:gd name="T62" fmla="*/ 164 w 172"/>
                  <a:gd name="T63" fmla="*/ 152 h 172"/>
                  <a:gd name="T64" fmla="*/ 144 w 172"/>
                  <a:gd name="T65" fmla="*/ 172 h 172"/>
                  <a:gd name="T66" fmla="*/ 134 w 172"/>
                  <a:gd name="T67" fmla="*/ 166 h 172"/>
                  <a:gd name="T68" fmla="*/ 6 w 172"/>
                  <a:gd name="T69" fmla="*/ 164 h 172"/>
                  <a:gd name="T70" fmla="*/ 6 w 172"/>
                  <a:gd name="T71" fmla="*/ 38 h 172"/>
                  <a:gd name="T72" fmla="*/ 2 w 172"/>
                  <a:gd name="T73" fmla="*/ 36 h 172"/>
                  <a:gd name="T74" fmla="*/ 0 w 172"/>
                  <a:gd name="T75" fmla="*/ 24 h 172"/>
                  <a:gd name="T76" fmla="*/ 6 w 172"/>
                  <a:gd name="T77" fmla="*/ 20 h 172"/>
                  <a:gd name="T78" fmla="*/ 6 w 172"/>
                  <a:gd name="T79"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72" h="172">
                    <a:moveTo>
                      <a:pt x="6" y="0"/>
                    </a:moveTo>
                    <a:lnTo>
                      <a:pt x="16" y="4"/>
                    </a:lnTo>
                    <a:lnTo>
                      <a:pt x="24" y="2"/>
                    </a:lnTo>
                    <a:lnTo>
                      <a:pt x="48" y="12"/>
                    </a:lnTo>
                    <a:lnTo>
                      <a:pt x="66" y="16"/>
                    </a:lnTo>
                    <a:lnTo>
                      <a:pt x="80" y="14"/>
                    </a:lnTo>
                    <a:lnTo>
                      <a:pt x="90" y="8"/>
                    </a:lnTo>
                    <a:lnTo>
                      <a:pt x="112" y="6"/>
                    </a:lnTo>
                    <a:lnTo>
                      <a:pt x="122" y="12"/>
                    </a:lnTo>
                    <a:lnTo>
                      <a:pt x="134" y="10"/>
                    </a:lnTo>
                    <a:lnTo>
                      <a:pt x="150" y="12"/>
                    </a:lnTo>
                    <a:lnTo>
                      <a:pt x="154" y="20"/>
                    </a:lnTo>
                    <a:lnTo>
                      <a:pt x="162" y="40"/>
                    </a:lnTo>
                    <a:lnTo>
                      <a:pt x="158" y="44"/>
                    </a:lnTo>
                    <a:lnTo>
                      <a:pt x="152" y="56"/>
                    </a:lnTo>
                    <a:lnTo>
                      <a:pt x="150" y="66"/>
                    </a:lnTo>
                    <a:lnTo>
                      <a:pt x="146" y="70"/>
                    </a:lnTo>
                    <a:lnTo>
                      <a:pt x="140" y="60"/>
                    </a:lnTo>
                    <a:lnTo>
                      <a:pt x="136" y="48"/>
                    </a:lnTo>
                    <a:lnTo>
                      <a:pt x="130" y="40"/>
                    </a:lnTo>
                    <a:lnTo>
                      <a:pt x="126" y="28"/>
                    </a:lnTo>
                    <a:lnTo>
                      <a:pt x="122" y="16"/>
                    </a:lnTo>
                    <a:lnTo>
                      <a:pt x="122" y="24"/>
                    </a:lnTo>
                    <a:lnTo>
                      <a:pt x="124" y="42"/>
                    </a:lnTo>
                    <a:lnTo>
                      <a:pt x="128" y="54"/>
                    </a:lnTo>
                    <a:lnTo>
                      <a:pt x="136" y="64"/>
                    </a:lnTo>
                    <a:lnTo>
                      <a:pt x="142" y="72"/>
                    </a:lnTo>
                    <a:lnTo>
                      <a:pt x="150" y="96"/>
                    </a:lnTo>
                    <a:lnTo>
                      <a:pt x="170" y="130"/>
                    </a:lnTo>
                    <a:lnTo>
                      <a:pt x="172" y="136"/>
                    </a:lnTo>
                    <a:lnTo>
                      <a:pt x="172" y="152"/>
                    </a:lnTo>
                    <a:lnTo>
                      <a:pt x="164" y="152"/>
                    </a:lnTo>
                    <a:lnTo>
                      <a:pt x="144" y="172"/>
                    </a:lnTo>
                    <a:lnTo>
                      <a:pt x="134" y="166"/>
                    </a:lnTo>
                    <a:lnTo>
                      <a:pt x="6" y="164"/>
                    </a:lnTo>
                    <a:lnTo>
                      <a:pt x="6" y="38"/>
                    </a:lnTo>
                    <a:lnTo>
                      <a:pt x="2" y="36"/>
                    </a:lnTo>
                    <a:lnTo>
                      <a:pt x="0" y="24"/>
                    </a:lnTo>
                    <a:lnTo>
                      <a:pt x="6" y="20"/>
                    </a:lnTo>
                    <a:lnTo>
                      <a:pt x="6"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38" name="Freeform 131">
                <a:extLst>
                  <a:ext uri="{FF2B5EF4-FFF2-40B4-BE49-F238E27FC236}">
                    <a16:creationId xmlns:a16="http://schemas.microsoft.com/office/drawing/2014/main" id="{BC1425CB-C18E-4618-A99F-CFED40E72133}"/>
                  </a:ext>
                </a:extLst>
              </p:cNvPr>
              <p:cNvSpPr>
                <a:spLocks/>
              </p:cNvSpPr>
              <p:nvPr/>
            </p:nvSpPr>
            <p:spPr bwMode="gray">
              <a:xfrm>
                <a:off x="6066016" y="3788408"/>
                <a:ext cx="411117" cy="368482"/>
              </a:xfrm>
              <a:custGeom>
                <a:avLst/>
                <a:gdLst>
                  <a:gd name="T0" fmla="*/ 35 w 249"/>
                  <a:gd name="T1" fmla="*/ 0 h 222"/>
                  <a:gd name="T2" fmla="*/ 51 w 249"/>
                  <a:gd name="T3" fmla="*/ 4 h 222"/>
                  <a:gd name="T4" fmla="*/ 79 w 249"/>
                  <a:gd name="T5" fmla="*/ 8 h 222"/>
                  <a:gd name="T6" fmla="*/ 93 w 249"/>
                  <a:gd name="T7" fmla="*/ 16 h 222"/>
                  <a:gd name="T8" fmla="*/ 99 w 249"/>
                  <a:gd name="T9" fmla="*/ 28 h 222"/>
                  <a:gd name="T10" fmla="*/ 107 w 249"/>
                  <a:gd name="T11" fmla="*/ 34 h 222"/>
                  <a:gd name="T12" fmla="*/ 125 w 249"/>
                  <a:gd name="T13" fmla="*/ 34 h 222"/>
                  <a:gd name="T14" fmla="*/ 137 w 249"/>
                  <a:gd name="T15" fmla="*/ 42 h 222"/>
                  <a:gd name="T16" fmla="*/ 157 w 249"/>
                  <a:gd name="T17" fmla="*/ 54 h 222"/>
                  <a:gd name="T18" fmla="*/ 171 w 249"/>
                  <a:gd name="T19" fmla="*/ 40 h 222"/>
                  <a:gd name="T20" fmla="*/ 173 w 249"/>
                  <a:gd name="T21" fmla="*/ 30 h 222"/>
                  <a:gd name="T22" fmla="*/ 167 w 249"/>
                  <a:gd name="T23" fmla="*/ 22 h 222"/>
                  <a:gd name="T24" fmla="*/ 177 w 249"/>
                  <a:gd name="T25" fmla="*/ 12 h 222"/>
                  <a:gd name="T26" fmla="*/ 191 w 249"/>
                  <a:gd name="T27" fmla="*/ 6 h 222"/>
                  <a:gd name="T28" fmla="*/ 209 w 249"/>
                  <a:gd name="T29" fmla="*/ 8 h 222"/>
                  <a:gd name="T30" fmla="*/ 223 w 249"/>
                  <a:gd name="T31" fmla="*/ 16 h 222"/>
                  <a:gd name="T32" fmla="*/ 237 w 249"/>
                  <a:gd name="T33" fmla="*/ 22 h 222"/>
                  <a:gd name="T34" fmla="*/ 249 w 249"/>
                  <a:gd name="T35" fmla="*/ 24 h 222"/>
                  <a:gd name="T36" fmla="*/ 249 w 249"/>
                  <a:gd name="T37" fmla="*/ 44 h 222"/>
                  <a:gd name="T38" fmla="*/ 243 w 249"/>
                  <a:gd name="T39" fmla="*/ 48 h 222"/>
                  <a:gd name="T40" fmla="*/ 245 w 249"/>
                  <a:gd name="T41" fmla="*/ 60 h 222"/>
                  <a:gd name="T42" fmla="*/ 249 w 249"/>
                  <a:gd name="T43" fmla="*/ 62 h 222"/>
                  <a:gd name="T44" fmla="*/ 249 w 249"/>
                  <a:gd name="T45" fmla="*/ 188 h 222"/>
                  <a:gd name="T46" fmla="*/ 249 w 249"/>
                  <a:gd name="T47" fmla="*/ 222 h 222"/>
                  <a:gd name="T48" fmla="*/ 231 w 249"/>
                  <a:gd name="T49" fmla="*/ 222 h 222"/>
                  <a:gd name="T50" fmla="*/ 97 w 249"/>
                  <a:gd name="T51" fmla="*/ 168 h 222"/>
                  <a:gd name="T52" fmla="*/ 91 w 249"/>
                  <a:gd name="T53" fmla="*/ 174 h 222"/>
                  <a:gd name="T54" fmla="*/ 79 w 249"/>
                  <a:gd name="T55" fmla="*/ 180 h 222"/>
                  <a:gd name="T56" fmla="*/ 69 w 249"/>
                  <a:gd name="T57" fmla="*/ 172 h 222"/>
                  <a:gd name="T58" fmla="*/ 59 w 249"/>
                  <a:gd name="T59" fmla="*/ 168 h 222"/>
                  <a:gd name="T60" fmla="*/ 43 w 249"/>
                  <a:gd name="T61" fmla="*/ 164 h 222"/>
                  <a:gd name="T62" fmla="*/ 37 w 249"/>
                  <a:gd name="T63" fmla="*/ 158 h 222"/>
                  <a:gd name="T64" fmla="*/ 33 w 249"/>
                  <a:gd name="T65" fmla="*/ 150 h 222"/>
                  <a:gd name="T66" fmla="*/ 14 w 249"/>
                  <a:gd name="T67" fmla="*/ 148 h 222"/>
                  <a:gd name="T68" fmla="*/ 8 w 249"/>
                  <a:gd name="T69" fmla="*/ 136 h 222"/>
                  <a:gd name="T70" fmla="*/ 4 w 249"/>
                  <a:gd name="T71" fmla="*/ 126 h 222"/>
                  <a:gd name="T72" fmla="*/ 0 w 249"/>
                  <a:gd name="T73" fmla="*/ 116 h 222"/>
                  <a:gd name="T74" fmla="*/ 8 w 249"/>
                  <a:gd name="T75" fmla="*/ 112 h 222"/>
                  <a:gd name="T76" fmla="*/ 8 w 249"/>
                  <a:gd name="T77" fmla="*/ 66 h 222"/>
                  <a:gd name="T78" fmla="*/ 4 w 249"/>
                  <a:gd name="T79" fmla="*/ 48 h 222"/>
                  <a:gd name="T80" fmla="*/ 12 w 249"/>
                  <a:gd name="T81" fmla="*/ 42 h 222"/>
                  <a:gd name="T82" fmla="*/ 12 w 249"/>
                  <a:gd name="T83" fmla="*/ 26 h 222"/>
                  <a:gd name="T84" fmla="*/ 33 w 249"/>
                  <a:gd name="T85" fmla="*/ 12 h 222"/>
                  <a:gd name="T86" fmla="*/ 35 w 249"/>
                  <a:gd name="T87" fmla="*/ 10 h 222"/>
                  <a:gd name="T88" fmla="*/ 35 w 249"/>
                  <a:gd name="T89" fmla="*/ 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49" h="222">
                    <a:moveTo>
                      <a:pt x="35" y="0"/>
                    </a:moveTo>
                    <a:lnTo>
                      <a:pt x="51" y="4"/>
                    </a:lnTo>
                    <a:lnTo>
                      <a:pt x="79" y="8"/>
                    </a:lnTo>
                    <a:lnTo>
                      <a:pt x="93" y="16"/>
                    </a:lnTo>
                    <a:lnTo>
                      <a:pt x="99" y="28"/>
                    </a:lnTo>
                    <a:lnTo>
                      <a:pt x="107" y="34"/>
                    </a:lnTo>
                    <a:lnTo>
                      <a:pt x="125" y="34"/>
                    </a:lnTo>
                    <a:lnTo>
                      <a:pt x="137" y="42"/>
                    </a:lnTo>
                    <a:lnTo>
                      <a:pt x="157" y="54"/>
                    </a:lnTo>
                    <a:lnTo>
                      <a:pt x="171" y="40"/>
                    </a:lnTo>
                    <a:lnTo>
                      <a:pt x="173" y="30"/>
                    </a:lnTo>
                    <a:lnTo>
                      <a:pt x="167" y="22"/>
                    </a:lnTo>
                    <a:lnTo>
                      <a:pt x="177" y="12"/>
                    </a:lnTo>
                    <a:lnTo>
                      <a:pt x="191" y="6"/>
                    </a:lnTo>
                    <a:lnTo>
                      <a:pt x="209" y="8"/>
                    </a:lnTo>
                    <a:lnTo>
                      <a:pt x="223" y="16"/>
                    </a:lnTo>
                    <a:lnTo>
                      <a:pt x="237" y="22"/>
                    </a:lnTo>
                    <a:lnTo>
                      <a:pt x="249" y="24"/>
                    </a:lnTo>
                    <a:lnTo>
                      <a:pt x="249" y="44"/>
                    </a:lnTo>
                    <a:lnTo>
                      <a:pt x="243" y="48"/>
                    </a:lnTo>
                    <a:lnTo>
                      <a:pt x="245" y="60"/>
                    </a:lnTo>
                    <a:lnTo>
                      <a:pt x="249" y="62"/>
                    </a:lnTo>
                    <a:lnTo>
                      <a:pt x="249" y="188"/>
                    </a:lnTo>
                    <a:lnTo>
                      <a:pt x="249" y="222"/>
                    </a:lnTo>
                    <a:lnTo>
                      <a:pt x="231" y="222"/>
                    </a:lnTo>
                    <a:lnTo>
                      <a:pt x="97" y="168"/>
                    </a:lnTo>
                    <a:lnTo>
                      <a:pt x="91" y="174"/>
                    </a:lnTo>
                    <a:lnTo>
                      <a:pt x="79" y="180"/>
                    </a:lnTo>
                    <a:lnTo>
                      <a:pt x="69" y="172"/>
                    </a:lnTo>
                    <a:lnTo>
                      <a:pt x="59" y="168"/>
                    </a:lnTo>
                    <a:lnTo>
                      <a:pt x="43" y="164"/>
                    </a:lnTo>
                    <a:lnTo>
                      <a:pt x="37" y="158"/>
                    </a:lnTo>
                    <a:lnTo>
                      <a:pt x="33" y="150"/>
                    </a:lnTo>
                    <a:lnTo>
                      <a:pt x="14" y="148"/>
                    </a:lnTo>
                    <a:lnTo>
                      <a:pt x="8" y="136"/>
                    </a:lnTo>
                    <a:lnTo>
                      <a:pt x="4" y="126"/>
                    </a:lnTo>
                    <a:lnTo>
                      <a:pt x="0" y="116"/>
                    </a:lnTo>
                    <a:lnTo>
                      <a:pt x="8" y="112"/>
                    </a:lnTo>
                    <a:lnTo>
                      <a:pt x="8" y="66"/>
                    </a:lnTo>
                    <a:lnTo>
                      <a:pt x="4" y="48"/>
                    </a:lnTo>
                    <a:lnTo>
                      <a:pt x="12" y="42"/>
                    </a:lnTo>
                    <a:lnTo>
                      <a:pt x="12" y="26"/>
                    </a:lnTo>
                    <a:lnTo>
                      <a:pt x="33" y="12"/>
                    </a:lnTo>
                    <a:lnTo>
                      <a:pt x="35" y="10"/>
                    </a:lnTo>
                    <a:lnTo>
                      <a:pt x="35"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39" name="Freeform 132">
                <a:extLst>
                  <a:ext uri="{FF2B5EF4-FFF2-40B4-BE49-F238E27FC236}">
                    <a16:creationId xmlns:a16="http://schemas.microsoft.com/office/drawing/2014/main" id="{B00C06F7-0EEE-43FF-A767-2BF63E6F4C74}"/>
                  </a:ext>
                </a:extLst>
              </p:cNvPr>
              <p:cNvSpPr>
                <a:spLocks/>
              </p:cNvSpPr>
              <p:nvPr/>
            </p:nvSpPr>
            <p:spPr bwMode="gray">
              <a:xfrm>
                <a:off x="6016485" y="3665581"/>
                <a:ext cx="107320" cy="202500"/>
              </a:xfrm>
              <a:custGeom>
                <a:avLst/>
                <a:gdLst>
                  <a:gd name="T0" fmla="*/ 16 w 65"/>
                  <a:gd name="T1" fmla="*/ 6 h 122"/>
                  <a:gd name="T2" fmla="*/ 30 w 65"/>
                  <a:gd name="T3" fmla="*/ 0 h 122"/>
                  <a:gd name="T4" fmla="*/ 38 w 65"/>
                  <a:gd name="T5" fmla="*/ 0 h 122"/>
                  <a:gd name="T6" fmla="*/ 42 w 65"/>
                  <a:gd name="T7" fmla="*/ 8 h 122"/>
                  <a:gd name="T8" fmla="*/ 48 w 65"/>
                  <a:gd name="T9" fmla="*/ 10 h 122"/>
                  <a:gd name="T10" fmla="*/ 54 w 65"/>
                  <a:gd name="T11" fmla="*/ 6 h 122"/>
                  <a:gd name="T12" fmla="*/ 58 w 65"/>
                  <a:gd name="T13" fmla="*/ 8 h 122"/>
                  <a:gd name="T14" fmla="*/ 56 w 65"/>
                  <a:gd name="T15" fmla="*/ 14 h 122"/>
                  <a:gd name="T16" fmla="*/ 50 w 65"/>
                  <a:gd name="T17" fmla="*/ 16 h 122"/>
                  <a:gd name="T18" fmla="*/ 46 w 65"/>
                  <a:gd name="T19" fmla="*/ 24 h 122"/>
                  <a:gd name="T20" fmla="*/ 50 w 65"/>
                  <a:gd name="T21" fmla="*/ 28 h 122"/>
                  <a:gd name="T22" fmla="*/ 58 w 65"/>
                  <a:gd name="T23" fmla="*/ 32 h 122"/>
                  <a:gd name="T24" fmla="*/ 58 w 65"/>
                  <a:gd name="T25" fmla="*/ 38 h 122"/>
                  <a:gd name="T26" fmla="*/ 52 w 65"/>
                  <a:gd name="T27" fmla="*/ 44 h 122"/>
                  <a:gd name="T28" fmla="*/ 46 w 65"/>
                  <a:gd name="T29" fmla="*/ 46 h 122"/>
                  <a:gd name="T30" fmla="*/ 40 w 65"/>
                  <a:gd name="T31" fmla="*/ 54 h 122"/>
                  <a:gd name="T32" fmla="*/ 44 w 65"/>
                  <a:gd name="T33" fmla="*/ 64 h 122"/>
                  <a:gd name="T34" fmla="*/ 54 w 65"/>
                  <a:gd name="T35" fmla="*/ 64 h 122"/>
                  <a:gd name="T36" fmla="*/ 58 w 65"/>
                  <a:gd name="T37" fmla="*/ 70 h 122"/>
                  <a:gd name="T38" fmla="*/ 65 w 65"/>
                  <a:gd name="T39" fmla="*/ 74 h 122"/>
                  <a:gd name="T40" fmla="*/ 65 w 65"/>
                  <a:gd name="T41" fmla="*/ 84 h 122"/>
                  <a:gd name="T42" fmla="*/ 42 w 65"/>
                  <a:gd name="T43" fmla="*/ 100 h 122"/>
                  <a:gd name="T44" fmla="*/ 42 w 65"/>
                  <a:gd name="T45" fmla="*/ 116 h 122"/>
                  <a:gd name="T46" fmla="*/ 34 w 65"/>
                  <a:gd name="T47" fmla="*/ 122 h 122"/>
                  <a:gd name="T48" fmla="*/ 28 w 65"/>
                  <a:gd name="T49" fmla="*/ 120 h 122"/>
                  <a:gd name="T50" fmla="*/ 26 w 65"/>
                  <a:gd name="T51" fmla="*/ 108 h 122"/>
                  <a:gd name="T52" fmla="*/ 24 w 65"/>
                  <a:gd name="T53" fmla="*/ 92 h 122"/>
                  <a:gd name="T54" fmla="*/ 10 w 65"/>
                  <a:gd name="T55" fmla="*/ 76 h 122"/>
                  <a:gd name="T56" fmla="*/ 0 w 65"/>
                  <a:gd name="T57" fmla="*/ 64 h 122"/>
                  <a:gd name="T58" fmla="*/ 0 w 65"/>
                  <a:gd name="T59" fmla="*/ 56 h 122"/>
                  <a:gd name="T60" fmla="*/ 12 w 65"/>
                  <a:gd name="T61" fmla="*/ 46 h 122"/>
                  <a:gd name="T62" fmla="*/ 12 w 65"/>
                  <a:gd name="T63" fmla="*/ 10 h 122"/>
                  <a:gd name="T64" fmla="*/ 16 w 65"/>
                  <a:gd name="T65" fmla="*/ 6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5" h="122">
                    <a:moveTo>
                      <a:pt x="16" y="6"/>
                    </a:moveTo>
                    <a:lnTo>
                      <a:pt x="30" y="0"/>
                    </a:lnTo>
                    <a:lnTo>
                      <a:pt x="38" y="0"/>
                    </a:lnTo>
                    <a:lnTo>
                      <a:pt x="42" y="8"/>
                    </a:lnTo>
                    <a:lnTo>
                      <a:pt x="48" y="10"/>
                    </a:lnTo>
                    <a:lnTo>
                      <a:pt x="54" y="6"/>
                    </a:lnTo>
                    <a:lnTo>
                      <a:pt x="58" y="8"/>
                    </a:lnTo>
                    <a:lnTo>
                      <a:pt x="56" y="14"/>
                    </a:lnTo>
                    <a:lnTo>
                      <a:pt x="50" y="16"/>
                    </a:lnTo>
                    <a:lnTo>
                      <a:pt x="46" y="24"/>
                    </a:lnTo>
                    <a:lnTo>
                      <a:pt x="50" y="28"/>
                    </a:lnTo>
                    <a:lnTo>
                      <a:pt x="58" y="32"/>
                    </a:lnTo>
                    <a:lnTo>
                      <a:pt x="58" y="38"/>
                    </a:lnTo>
                    <a:lnTo>
                      <a:pt x="52" y="44"/>
                    </a:lnTo>
                    <a:lnTo>
                      <a:pt x="46" y="46"/>
                    </a:lnTo>
                    <a:lnTo>
                      <a:pt x="40" y="54"/>
                    </a:lnTo>
                    <a:lnTo>
                      <a:pt x="44" y="64"/>
                    </a:lnTo>
                    <a:lnTo>
                      <a:pt x="54" y="64"/>
                    </a:lnTo>
                    <a:lnTo>
                      <a:pt x="58" y="70"/>
                    </a:lnTo>
                    <a:lnTo>
                      <a:pt x="65" y="74"/>
                    </a:lnTo>
                    <a:lnTo>
                      <a:pt x="65" y="84"/>
                    </a:lnTo>
                    <a:lnTo>
                      <a:pt x="42" y="100"/>
                    </a:lnTo>
                    <a:lnTo>
                      <a:pt x="42" y="116"/>
                    </a:lnTo>
                    <a:lnTo>
                      <a:pt x="34" y="122"/>
                    </a:lnTo>
                    <a:lnTo>
                      <a:pt x="28" y="120"/>
                    </a:lnTo>
                    <a:lnTo>
                      <a:pt x="26" y="108"/>
                    </a:lnTo>
                    <a:lnTo>
                      <a:pt x="24" y="92"/>
                    </a:lnTo>
                    <a:lnTo>
                      <a:pt x="10" y="76"/>
                    </a:lnTo>
                    <a:lnTo>
                      <a:pt x="0" y="64"/>
                    </a:lnTo>
                    <a:lnTo>
                      <a:pt x="0" y="56"/>
                    </a:lnTo>
                    <a:lnTo>
                      <a:pt x="12" y="46"/>
                    </a:lnTo>
                    <a:lnTo>
                      <a:pt x="12" y="10"/>
                    </a:lnTo>
                    <a:lnTo>
                      <a:pt x="16" y="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40" name="Freeform 133">
                <a:extLst>
                  <a:ext uri="{FF2B5EF4-FFF2-40B4-BE49-F238E27FC236}">
                    <a16:creationId xmlns:a16="http://schemas.microsoft.com/office/drawing/2014/main" id="{4B7ADB65-23BD-4E79-9E9F-5CFA236DCA6F}"/>
                  </a:ext>
                </a:extLst>
              </p:cNvPr>
              <p:cNvSpPr>
                <a:spLocks/>
              </p:cNvSpPr>
              <p:nvPr/>
            </p:nvSpPr>
            <p:spPr bwMode="gray">
              <a:xfrm>
                <a:off x="5590507" y="3675540"/>
                <a:ext cx="546505" cy="514547"/>
              </a:xfrm>
              <a:custGeom>
                <a:avLst/>
                <a:gdLst>
                  <a:gd name="T0" fmla="*/ 0 w 331"/>
                  <a:gd name="T1" fmla="*/ 164 h 310"/>
                  <a:gd name="T2" fmla="*/ 0 w 331"/>
                  <a:gd name="T3" fmla="*/ 146 h 310"/>
                  <a:gd name="T4" fmla="*/ 32 w 331"/>
                  <a:gd name="T5" fmla="*/ 126 h 310"/>
                  <a:gd name="T6" fmla="*/ 54 w 331"/>
                  <a:gd name="T7" fmla="*/ 124 h 310"/>
                  <a:gd name="T8" fmla="*/ 78 w 331"/>
                  <a:gd name="T9" fmla="*/ 104 h 310"/>
                  <a:gd name="T10" fmla="*/ 80 w 331"/>
                  <a:gd name="T11" fmla="*/ 96 h 310"/>
                  <a:gd name="T12" fmla="*/ 96 w 331"/>
                  <a:gd name="T13" fmla="*/ 86 h 310"/>
                  <a:gd name="T14" fmla="*/ 120 w 331"/>
                  <a:gd name="T15" fmla="*/ 84 h 310"/>
                  <a:gd name="T16" fmla="*/ 120 w 331"/>
                  <a:gd name="T17" fmla="*/ 76 h 310"/>
                  <a:gd name="T18" fmla="*/ 112 w 331"/>
                  <a:gd name="T19" fmla="*/ 66 h 310"/>
                  <a:gd name="T20" fmla="*/ 112 w 331"/>
                  <a:gd name="T21" fmla="*/ 40 h 310"/>
                  <a:gd name="T22" fmla="*/ 110 w 331"/>
                  <a:gd name="T23" fmla="*/ 34 h 310"/>
                  <a:gd name="T24" fmla="*/ 126 w 331"/>
                  <a:gd name="T25" fmla="*/ 22 h 310"/>
                  <a:gd name="T26" fmla="*/ 138 w 331"/>
                  <a:gd name="T27" fmla="*/ 20 h 310"/>
                  <a:gd name="T28" fmla="*/ 154 w 331"/>
                  <a:gd name="T29" fmla="*/ 10 h 310"/>
                  <a:gd name="T30" fmla="*/ 180 w 331"/>
                  <a:gd name="T31" fmla="*/ 6 h 310"/>
                  <a:gd name="T32" fmla="*/ 204 w 331"/>
                  <a:gd name="T33" fmla="*/ 2 h 310"/>
                  <a:gd name="T34" fmla="*/ 218 w 331"/>
                  <a:gd name="T35" fmla="*/ 4 h 310"/>
                  <a:gd name="T36" fmla="*/ 226 w 331"/>
                  <a:gd name="T37" fmla="*/ 6 h 310"/>
                  <a:gd name="T38" fmla="*/ 238 w 331"/>
                  <a:gd name="T39" fmla="*/ 0 h 310"/>
                  <a:gd name="T40" fmla="*/ 254 w 331"/>
                  <a:gd name="T41" fmla="*/ 0 h 310"/>
                  <a:gd name="T42" fmla="*/ 262 w 331"/>
                  <a:gd name="T43" fmla="*/ 0 h 310"/>
                  <a:gd name="T44" fmla="*/ 270 w 331"/>
                  <a:gd name="T45" fmla="*/ 4 h 310"/>
                  <a:gd name="T46" fmla="*/ 270 w 331"/>
                  <a:gd name="T47" fmla="*/ 40 h 310"/>
                  <a:gd name="T48" fmla="*/ 258 w 331"/>
                  <a:gd name="T49" fmla="*/ 50 h 310"/>
                  <a:gd name="T50" fmla="*/ 258 w 331"/>
                  <a:gd name="T51" fmla="*/ 58 h 310"/>
                  <a:gd name="T52" fmla="*/ 282 w 331"/>
                  <a:gd name="T53" fmla="*/ 86 h 310"/>
                  <a:gd name="T54" fmla="*/ 286 w 331"/>
                  <a:gd name="T55" fmla="*/ 114 h 310"/>
                  <a:gd name="T56" fmla="*/ 292 w 331"/>
                  <a:gd name="T57" fmla="*/ 116 h 310"/>
                  <a:gd name="T58" fmla="*/ 294 w 331"/>
                  <a:gd name="T59" fmla="*/ 132 h 310"/>
                  <a:gd name="T60" fmla="*/ 296 w 331"/>
                  <a:gd name="T61" fmla="*/ 180 h 310"/>
                  <a:gd name="T62" fmla="*/ 288 w 331"/>
                  <a:gd name="T63" fmla="*/ 184 h 310"/>
                  <a:gd name="T64" fmla="*/ 292 w 331"/>
                  <a:gd name="T65" fmla="*/ 194 h 310"/>
                  <a:gd name="T66" fmla="*/ 302 w 331"/>
                  <a:gd name="T67" fmla="*/ 216 h 310"/>
                  <a:gd name="T68" fmla="*/ 321 w 331"/>
                  <a:gd name="T69" fmla="*/ 218 h 310"/>
                  <a:gd name="T70" fmla="*/ 325 w 331"/>
                  <a:gd name="T71" fmla="*/ 226 h 310"/>
                  <a:gd name="T72" fmla="*/ 331 w 331"/>
                  <a:gd name="T73" fmla="*/ 232 h 310"/>
                  <a:gd name="T74" fmla="*/ 264 w 331"/>
                  <a:gd name="T75" fmla="*/ 272 h 310"/>
                  <a:gd name="T76" fmla="*/ 226 w 331"/>
                  <a:gd name="T77" fmla="*/ 304 h 310"/>
                  <a:gd name="T78" fmla="*/ 206 w 331"/>
                  <a:gd name="T79" fmla="*/ 308 h 310"/>
                  <a:gd name="T80" fmla="*/ 188 w 331"/>
                  <a:gd name="T81" fmla="*/ 310 h 310"/>
                  <a:gd name="T82" fmla="*/ 190 w 331"/>
                  <a:gd name="T83" fmla="*/ 294 h 310"/>
                  <a:gd name="T84" fmla="*/ 170 w 331"/>
                  <a:gd name="T85" fmla="*/ 286 h 310"/>
                  <a:gd name="T86" fmla="*/ 160 w 331"/>
                  <a:gd name="T87" fmla="*/ 276 h 310"/>
                  <a:gd name="T88" fmla="*/ 0 w 331"/>
                  <a:gd name="T89" fmla="*/ 164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31" h="310">
                    <a:moveTo>
                      <a:pt x="0" y="164"/>
                    </a:moveTo>
                    <a:lnTo>
                      <a:pt x="0" y="146"/>
                    </a:lnTo>
                    <a:lnTo>
                      <a:pt x="32" y="126"/>
                    </a:lnTo>
                    <a:lnTo>
                      <a:pt x="54" y="124"/>
                    </a:lnTo>
                    <a:lnTo>
                      <a:pt x="78" y="104"/>
                    </a:lnTo>
                    <a:lnTo>
                      <a:pt x="80" y="96"/>
                    </a:lnTo>
                    <a:lnTo>
                      <a:pt x="96" y="86"/>
                    </a:lnTo>
                    <a:lnTo>
                      <a:pt x="120" y="84"/>
                    </a:lnTo>
                    <a:lnTo>
                      <a:pt x="120" y="76"/>
                    </a:lnTo>
                    <a:lnTo>
                      <a:pt x="112" y="66"/>
                    </a:lnTo>
                    <a:lnTo>
                      <a:pt x="112" y="40"/>
                    </a:lnTo>
                    <a:lnTo>
                      <a:pt x="110" y="34"/>
                    </a:lnTo>
                    <a:lnTo>
                      <a:pt x="126" y="22"/>
                    </a:lnTo>
                    <a:lnTo>
                      <a:pt x="138" y="20"/>
                    </a:lnTo>
                    <a:lnTo>
                      <a:pt x="154" y="10"/>
                    </a:lnTo>
                    <a:lnTo>
                      <a:pt x="180" y="6"/>
                    </a:lnTo>
                    <a:lnTo>
                      <a:pt x="204" y="2"/>
                    </a:lnTo>
                    <a:lnTo>
                      <a:pt x="218" y="4"/>
                    </a:lnTo>
                    <a:lnTo>
                      <a:pt x="226" y="6"/>
                    </a:lnTo>
                    <a:lnTo>
                      <a:pt x="238" y="0"/>
                    </a:lnTo>
                    <a:lnTo>
                      <a:pt x="254" y="0"/>
                    </a:lnTo>
                    <a:lnTo>
                      <a:pt x="262" y="0"/>
                    </a:lnTo>
                    <a:lnTo>
                      <a:pt x="270" y="4"/>
                    </a:lnTo>
                    <a:lnTo>
                      <a:pt x="270" y="40"/>
                    </a:lnTo>
                    <a:lnTo>
                      <a:pt x="258" y="50"/>
                    </a:lnTo>
                    <a:lnTo>
                      <a:pt x="258" y="58"/>
                    </a:lnTo>
                    <a:lnTo>
                      <a:pt x="282" y="86"/>
                    </a:lnTo>
                    <a:lnTo>
                      <a:pt x="286" y="114"/>
                    </a:lnTo>
                    <a:lnTo>
                      <a:pt x="292" y="116"/>
                    </a:lnTo>
                    <a:lnTo>
                      <a:pt x="294" y="132"/>
                    </a:lnTo>
                    <a:lnTo>
                      <a:pt x="296" y="180"/>
                    </a:lnTo>
                    <a:lnTo>
                      <a:pt x="288" y="184"/>
                    </a:lnTo>
                    <a:lnTo>
                      <a:pt x="292" y="194"/>
                    </a:lnTo>
                    <a:lnTo>
                      <a:pt x="302" y="216"/>
                    </a:lnTo>
                    <a:lnTo>
                      <a:pt x="321" y="218"/>
                    </a:lnTo>
                    <a:lnTo>
                      <a:pt x="325" y="226"/>
                    </a:lnTo>
                    <a:lnTo>
                      <a:pt x="331" y="232"/>
                    </a:lnTo>
                    <a:lnTo>
                      <a:pt x="264" y="272"/>
                    </a:lnTo>
                    <a:lnTo>
                      <a:pt x="226" y="304"/>
                    </a:lnTo>
                    <a:lnTo>
                      <a:pt x="206" y="308"/>
                    </a:lnTo>
                    <a:lnTo>
                      <a:pt x="188" y="310"/>
                    </a:lnTo>
                    <a:lnTo>
                      <a:pt x="190" y="294"/>
                    </a:lnTo>
                    <a:lnTo>
                      <a:pt x="170" y="286"/>
                    </a:lnTo>
                    <a:lnTo>
                      <a:pt x="160" y="276"/>
                    </a:lnTo>
                    <a:lnTo>
                      <a:pt x="0" y="16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41" name="Freeform 134">
                <a:extLst>
                  <a:ext uri="{FF2B5EF4-FFF2-40B4-BE49-F238E27FC236}">
                    <a16:creationId xmlns:a16="http://schemas.microsoft.com/office/drawing/2014/main" id="{27D8226A-7FA7-4A5F-9C0D-0E6BACEFD5EF}"/>
                  </a:ext>
                </a:extLst>
              </p:cNvPr>
              <p:cNvSpPr>
                <a:spLocks/>
              </p:cNvSpPr>
              <p:nvPr/>
            </p:nvSpPr>
            <p:spPr bwMode="gray">
              <a:xfrm>
                <a:off x="5478235" y="3708737"/>
                <a:ext cx="310401" cy="239015"/>
              </a:xfrm>
              <a:custGeom>
                <a:avLst/>
                <a:gdLst>
                  <a:gd name="T0" fmla="*/ 68 w 188"/>
                  <a:gd name="T1" fmla="*/ 144 h 144"/>
                  <a:gd name="T2" fmla="*/ 0 w 188"/>
                  <a:gd name="T3" fmla="*/ 144 h 144"/>
                  <a:gd name="T4" fmla="*/ 10 w 188"/>
                  <a:gd name="T5" fmla="*/ 138 h 144"/>
                  <a:gd name="T6" fmla="*/ 28 w 188"/>
                  <a:gd name="T7" fmla="*/ 128 h 144"/>
                  <a:gd name="T8" fmla="*/ 50 w 188"/>
                  <a:gd name="T9" fmla="*/ 110 h 144"/>
                  <a:gd name="T10" fmla="*/ 52 w 188"/>
                  <a:gd name="T11" fmla="*/ 104 h 144"/>
                  <a:gd name="T12" fmla="*/ 52 w 188"/>
                  <a:gd name="T13" fmla="*/ 68 h 144"/>
                  <a:gd name="T14" fmla="*/ 62 w 188"/>
                  <a:gd name="T15" fmla="*/ 56 h 144"/>
                  <a:gd name="T16" fmla="*/ 74 w 188"/>
                  <a:gd name="T17" fmla="*/ 44 h 144"/>
                  <a:gd name="T18" fmla="*/ 88 w 188"/>
                  <a:gd name="T19" fmla="*/ 40 h 144"/>
                  <a:gd name="T20" fmla="*/ 102 w 188"/>
                  <a:gd name="T21" fmla="*/ 30 h 144"/>
                  <a:gd name="T22" fmla="*/ 108 w 188"/>
                  <a:gd name="T23" fmla="*/ 14 h 144"/>
                  <a:gd name="T24" fmla="*/ 112 w 188"/>
                  <a:gd name="T25" fmla="*/ 4 h 144"/>
                  <a:gd name="T26" fmla="*/ 116 w 188"/>
                  <a:gd name="T27" fmla="*/ 0 h 144"/>
                  <a:gd name="T28" fmla="*/ 122 w 188"/>
                  <a:gd name="T29" fmla="*/ 0 h 144"/>
                  <a:gd name="T30" fmla="*/ 126 w 188"/>
                  <a:gd name="T31" fmla="*/ 8 h 144"/>
                  <a:gd name="T32" fmla="*/ 132 w 188"/>
                  <a:gd name="T33" fmla="*/ 12 h 144"/>
                  <a:gd name="T34" fmla="*/ 154 w 188"/>
                  <a:gd name="T35" fmla="*/ 10 h 144"/>
                  <a:gd name="T36" fmla="*/ 164 w 188"/>
                  <a:gd name="T37" fmla="*/ 10 h 144"/>
                  <a:gd name="T38" fmla="*/ 168 w 188"/>
                  <a:gd name="T39" fmla="*/ 14 h 144"/>
                  <a:gd name="T40" fmla="*/ 178 w 188"/>
                  <a:gd name="T41" fmla="*/ 14 h 144"/>
                  <a:gd name="T42" fmla="*/ 180 w 188"/>
                  <a:gd name="T43" fmla="*/ 20 h 144"/>
                  <a:gd name="T44" fmla="*/ 180 w 188"/>
                  <a:gd name="T45" fmla="*/ 46 h 144"/>
                  <a:gd name="T46" fmla="*/ 188 w 188"/>
                  <a:gd name="T47" fmla="*/ 56 h 144"/>
                  <a:gd name="T48" fmla="*/ 188 w 188"/>
                  <a:gd name="T49" fmla="*/ 64 h 144"/>
                  <a:gd name="T50" fmla="*/ 164 w 188"/>
                  <a:gd name="T51" fmla="*/ 66 h 144"/>
                  <a:gd name="T52" fmla="*/ 148 w 188"/>
                  <a:gd name="T53" fmla="*/ 76 h 144"/>
                  <a:gd name="T54" fmla="*/ 146 w 188"/>
                  <a:gd name="T55" fmla="*/ 84 h 144"/>
                  <a:gd name="T56" fmla="*/ 122 w 188"/>
                  <a:gd name="T57" fmla="*/ 104 h 144"/>
                  <a:gd name="T58" fmla="*/ 100 w 188"/>
                  <a:gd name="T59" fmla="*/ 106 h 144"/>
                  <a:gd name="T60" fmla="*/ 68 w 188"/>
                  <a:gd name="T61" fmla="*/ 126 h 144"/>
                  <a:gd name="T62" fmla="*/ 68 w 188"/>
                  <a:gd name="T63"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8" h="144">
                    <a:moveTo>
                      <a:pt x="68" y="144"/>
                    </a:moveTo>
                    <a:lnTo>
                      <a:pt x="0" y="144"/>
                    </a:lnTo>
                    <a:lnTo>
                      <a:pt x="10" y="138"/>
                    </a:lnTo>
                    <a:lnTo>
                      <a:pt x="28" y="128"/>
                    </a:lnTo>
                    <a:lnTo>
                      <a:pt x="50" y="110"/>
                    </a:lnTo>
                    <a:lnTo>
                      <a:pt x="52" y="104"/>
                    </a:lnTo>
                    <a:lnTo>
                      <a:pt x="52" y="68"/>
                    </a:lnTo>
                    <a:lnTo>
                      <a:pt x="62" y="56"/>
                    </a:lnTo>
                    <a:lnTo>
                      <a:pt x="74" y="44"/>
                    </a:lnTo>
                    <a:lnTo>
                      <a:pt x="88" y="40"/>
                    </a:lnTo>
                    <a:lnTo>
                      <a:pt x="102" y="30"/>
                    </a:lnTo>
                    <a:lnTo>
                      <a:pt x="108" y="14"/>
                    </a:lnTo>
                    <a:lnTo>
                      <a:pt x="112" y="4"/>
                    </a:lnTo>
                    <a:lnTo>
                      <a:pt x="116" y="0"/>
                    </a:lnTo>
                    <a:lnTo>
                      <a:pt x="122" y="0"/>
                    </a:lnTo>
                    <a:lnTo>
                      <a:pt x="126" y="8"/>
                    </a:lnTo>
                    <a:lnTo>
                      <a:pt x="132" y="12"/>
                    </a:lnTo>
                    <a:lnTo>
                      <a:pt x="154" y="10"/>
                    </a:lnTo>
                    <a:lnTo>
                      <a:pt x="164" y="10"/>
                    </a:lnTo>
                    <a:lnTo>
                      <a:pt x="168" y="14"/>
                    </a:lnTo>
                    <a:lnTo>
                      <a:pt x="178" y="14"/>
                    </a:lnTo>
                    <a:lnTo>
                      <a:pt x="180" y="20"/>
                    </a:lnTo>
                    <a:lnTo>
                      <a:pt x="180" y="46"/>
                    </a:lnTo>
                    <a:lnTo>
                      <a:pt x="188" y="56"/>
                    </a:lnTo>
                    <a:lnTo>
                      <a:pt x="188" y="64"/>
                    </a:lnTo>
                    <a:lnTo>
                      <a:pt x="164" y="66"/>
                    </a:lnTo>
                    <a:lnTo>
                      <a:pt x="148" y="76"/>
                    </a:lnTo>
                    <a:lnTo>
                      <a:pt x="146" y="84"/>
                    </a:lnTo>
                    <a:lnTo>
                      <a:pt x="122" y="104"/>
                    </a:lnTo>
                    <a:lnTo>
                      <a:pt x="100" y="106"/>
                    </a:lnTo>
                    <a:lnTo>
                      <a:pt x="68" y="126"/>
                    </a:lnTo>
                    <a:lnTo>
                      <a:pt x="68" y="14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42" name="Freeform 135">
                <a:extLst>
                  <a:ext uri="{FF2B5EF4-FFF2-40B4-BE49-F238E27FC236}">
                    <a16:creationId xmlns:a16="http://schemas.microsoft.com/office/drawing/2014/main" id="{AE38F373-A35E-4879-853A-AE80848E3ACF}"/>
                  </a:ext>
                </a:extLst>
              </p:cNvPr>
              <p:cNvSpPr>
                <a:spLocks/>
              </p:cNvSpPr>
              <p:nvPr/>
            </p:nvSpPr>
            <p:spPr bwMode="gray">
              <a:xfrm>
                <a:off x="5372566" y="3947752"/>
                <a:ext cx="217941" cy="175942"/>
              </a:xfrm>
              <a:custGeom>
                <a:avLst/>
                <a:gdLst>
                  <a:gd name="T0" fmla="*/ 0 w 132"/>
                  <a:gd name="T1" fmla="*/ 106 h 106"/>
                  <a:gd name="T2" fmla="*/ 4 w 132"/>
                  <a:gd name="T3" fmla="*/ 94 h 106"/>
                  <a:gd name="T4" fmla="*/ 14 w 132"/>
                  <a:gd name="T5" fmla="*/ 78 h 106"/>
                  <a:gd name="T6" fmla="*/ 20 w 132"/>
                  <a:gd name="T7" fmla="*/ 62 h 106"/>
                  <a:gd name="T8" fmla="*/ 30 w 132"/>
                  <a:gd name="T9" fmla="*/ 54 h 106"/>
                  <a:gd name="T10" fmla="*/ 36 w 132"/>
                  <a:gd name="T11" fmla="*/ 38 h 106"/>
                  <a:gd name="T12" fmla="*/ 46 w 132"/>
                  <a:gd name="T13" fmla="*/ 24 h 106"/>
                  <a:gd name="T14" fmla="*/ 52 w 132"/>
                  <a:gd name="T15" fmla="*/ 18 h 106"/>
                  <a:gd name="T16" fmla="*/ 60 w 132"/>
                  <a:gd name="T17" fmla="*/ 8 h 106"/>
                  <a:gd name="T18" fmla="*/ 64 w 132"/>
                  <a:gd name="T19" fmla="*/ 0 h 106"/>
                  <a:gd name="T20" fmla="*/ 132 w 132"/>
                  <a:gd name="T21" fmla="*/ 0 h 106"/>
                  <a:gd name="T22" fmla="*/ 132 w 132"/>
                  <a:gd name="T23" fmla="*/ 28 h 106"/>
                  <a:gd name="T24" fmla="*/ 82 w 132"/>
                  <a:gd name="T25" fmla="*/ 28 h 106"/>
                  <a:gd name="T26" fmla="*/ 82 w 132"/>
                  <a:gd name="T27" fmla="*/ 70 h 106"/>
                  <a:gd name="T28" fmla="*/ 72 w 132"/>
                  <a:gd name="T29" fmla="*/ 70 h 106"/>
                  <a:gd name="T30" fmla="*/ 64 w 132"/>
                  <a:gd name="T31" fmla="*/ 74 h 106"/>
                  <a:gd name="T32" fmla="*/ 64 w 132"/>
                  <a:gd name="T33" fmla="*/ 82 h 106"/>
                  <a:gd name="T34" fmla="*/ 64 w 132"/>
                  <a:gd name="T35" fmla="*/ 106 h 106"/>
                  <a:gd name="T36" fmla="*/ 0 w 132"/>
                  <a:gd name="T37"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2" h="106">
                    <a:moveTo>
                      <a:pt x="0" y="106"/>
                    </a:moveTo>
                    <a:lnTo>
                      <a:pt x="4" y="94"/>
                    </a:lnTo>
                    <a:lnTo>
                      <a:pt x="14" y="78"/>
                    </a:lnTo>
                    <a:lnTo>
                      <a:pt x="20" y="62"/>
                    </a:lnTo>
                    <a:lnTo>
                      <a:pt x="30" y="54"/>
                    </a:lnTo>
                    <a:lnTo>
                      <a:pt x="36" y="38"/>
                    </a:lnTo>
                    <a:lnTo>
                      <a:pt x="46" y="24"/>
                    </a:lnTo>
                    <a:lnTo>
                      <a:pt x="52" y="18"/>
                    </a:lnTo>
                    <a:lnTo>
                      <a:pt x="60" y="8"/>
                    </a:lnTo>
                    <a:lnTo>
                      <a:pt x="64" y="0"/>
                    </a:lnTo>
                    <a:lnTo>
                      <a:pt x="132" y="0"/>
                    </a:lnTo>
                    <a:lnTo>
                      <a:pt x="132" y="28"/>
                    </a:lnTo>
                    <a:lnTo>
                      <a:pt x="82" y="28"/>
                    </a:lnTo>
                    <a:lnTo>
                      <a:pt x="82" y="70"/>
                    </a:lnTo>
                    <a:lnTo>
                      <a:pt x="72" y="70"/>
                    </a:lnTo>
                    <a:lnTo>
                      <a:pt x="64" y="74"/>
                    </a:lnTo>
                    <a:lnTo>
                      <a:pt x="64" y="82"/>
                    </a:lnTo>
                    <a:lnTo>
                      <a:pt x="64" y="106"/>
                    </a:lnTo>
                    <a:lnTo>
                      <a:pt x="0" y="10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43" name="Freeform 136">
                <a:extLst>
                  <a:ext uri="{FF2B5EF4-FFF2-40B4-BE49-F238E27FC236}">
                    <a16:creationId xmlns:a16="http://schemas.microsoft.com/office/drawing/2014/main" id="{2AE08152-B7BD-4B82-83E2-FAE0E0AAA137}"/>
                  </a:ext>
                </a:extLst>
              </p:cNvPr>
              <p:cNvSpPr>
                <a:spLocks/>
              </p:cNvSpPr>
              <p:nvPr/>
            </p:nvSpPr>
            <p:spPr bwMode="gray">
              <a:xfrm>
                <a:off x="5385775" y="4356070"/>
                <a:ext cx="79252" cy="46475"/>
              </a:xfrm>
              <a:custGeom>
                <a:avLst/>
                <a:gdLst>
                  <a:gd name="T0" fmla="*/ 0 w 48"/>
                  <a:gd name="T1" fmla="*/ 6 h 28"/>
                  <a:gd name="T2" fmla="*/ 18 w 48"/>
                  <a:gd name="T3" fmla="*/ 4 h 28"/>
                  <a:gd name="T4" fmla="*/ 22 w 48"/>
                  <a:gd name="T5" fmla="*/ 0 h 28"/>
                  <a:gd name="T6" fmla="*/ 48 w 48"/>
                  <a:gd name="T7" fmla="*/ 0 h 28"/>
                  <a:gd name="T8" fmla="*/ 44 w 48"/>
                  <a:gd name="T9" fmla="*/ 10 h 28"/>
                  <a:gd name="T10" fmla="*/ 42 w 48"/>
                  <a:gd name="T11" fmla="*/ 16 h 28"/>
                  <a:gd name="T12" fmla="*/ 30 w 48"/>
                  <a:gd name="T13" fmla="*/ 20 h 28"/>
                  <a:gd name="T14" fmla="*/ 22 w 48"/>
                  <a:gd name="T15" fmla="*/ 28 h 28"/>
                  <a:gd name="T16" fmla="*/ 16 w 48"/>
                  <a:gd name="T17" fmla="*/ 22 h 28"/>
                  <a:gd name="T18" fmla="*/ 8 w 48"/>
                  <a:gd name="T19" fmla="*/ 14 h 28"/>
                  <a:gd name="T20" fmla="*/ 6 w 48"/>
                  <a:gd name="T21" fmla="*/ 12 h 28"/>
                  <a:gd name="T22" fmla="*/ 0 w 48"/>
                  <a:gd name="T23" fmla="*/ 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28">
                    <a:moveTo>
                      <a:pt x="0" y="6"/>
                    </a:moveTo>
                    <a:lnTo>
                      <a:pt x="18" y="4"/>
                    </a:lnTo>
                    <a:lnTo>
                      <a:pt x="22" y="0"/>
                    </a:lnTo>
                    <a:lnTo>
                      <a:pt x="48" y="0"/>
                    </a:lnTo>
                    <a:lnTo>
                      <a:pt x="44" y="10"/>
                    </a:lnTo>
                    <a:lnTo>
                      <a:pt x="42" y="16"/>
                    </a:lnTo>
                    <a:lnTo>
                      <a:pt x="30" y="20"/>
                    </a:lnTo>
                    <a:lnTo>
                      <a:pt x="22" y="28"/>
                    </a:lnTo>
                    <a:lnTo>
                      <a:pt x="16" y="22"/>
                    </a:lnTo>
                    <a:lnTo>
                      <a:pt x="8" y="14"/>
                    </a:lnTo>
                    <a:lnTo>
                      <a:pt x="6" y="12"/>
                    </a:lnTo>
                    <a:lnTo>
                      <a:pt x="0" y="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44" name="Freeform 137">
                <a:extLst>
                  <a:ext uri="{FF2B5EF4-FFF2-40B4-BE49-F238E27FC236}">
                    <a16:creationId xmlns:a16="http://schemas.microsoft.com/office/drawing/2014/main" id="{64404911-E177-4AFD-A9F1-F361A2F05E87}"/>
                  </a:ext>
                </a:extLst>
              </p:cNvPr>
              <p:cNvSpPr>
                <a:spLocks/>
              </p:cNvSpPr>
              <p:nvPr/>
            </p:nvSpPr>
            <p:spPr bwMode="gray">
              <a:xfrm>
                <a:off x="5474933" y="4429103"/>
                <a:ext cx="72648" cy="79672"/>
              </a:xfrm>
              <a:custGeom>
                <a:avLst/>
                <a:gdLst>
                  <a:gd name="T0" fmla="*/ 0 w 44"/>
                  <a:gd name="T1" fmla="*/ 16 h 48"/>
                  <a:gd name="T2" fmla="*/ 8 w 44"/>
                  <a:gd name="T3" fmla="*/ 8 h 48"/>
                  <a:gd name="T4" fmla="*/ 16 w 44"/>
                  <a:gd name="T5" fmla="*/ 2 h 48"/>
                  <a:gd name="T6" fmla="*/ 30 w 44"/>
                  <a:gd name="T7" fmla="*/ 0 h 48"/>
                  <a:gd name="T8" fmla="*/ 38 w 44"/>
                  <a:gd name="T9" fmla="*/ 8 h 48"/>
                  <a:gd name="T10" fmla="*/ 44 w 44"/>
                  <a:gd name="T11" fmla="*/ 16 h 48"/>
                  <a:gd name="T12" fmla="*/ 42 w 44"/>
                  <a:gd name="T13" fmla="*/ 24 h 48"/>
                  <a:gd name="T14" fmla="*/ 40 w 44"/>
                  <a:gd name="T15" fmla="*/ 32 h 48"/>
                  <a:gd name="T16" fmla="*/ 34 w 44"/>
                  <a:gd name="T17" fmla="*/ 40 h 48"/>
                  <a:gd name="T18" fmla="*/ 24 w 44"/>
                  <a:gd name="T19" fmla="*/ 48 h 48"/>
                  <a:gd name="T20" fmla="*/ 16 w 44"/>
                  <a:gd name="T21" fmla="*/ 44 h 48"/>
                  <a:gd name="T22" fmla="*/ 4 w 44"/>
                  <a:gd name="T23" fmla="*/ 32 h 48"/>
                  <a:gd name="T24" fmla="*/ 0 w 44"/>
                  <a:gd name="T25" fmla="*/ 24 h 48"/>
                  <a:gd name="T26" fmla="*/ 0 w 44"/>
                  <a:gd name="T2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48">
                    <a:moveTo>
                      <a:pt x="0" y="16"/>
                    </a:moveTo>
                    <a:lnTo>
                      <a:pt x="8" y="8"/>
                    </a:lnTo>
                    <a:lnTo>
                      <a:pt x="16" y="2"/>
                    </a:lnTo>
                    <a:lnTo>
                      <a:pt x="30" y="0"/>
                    </a:lnTo>
                    <a:lnTo>
                      <a:pt x="38" y="8"/>
                    </a:lnTo>
                    <a:lnTo>
                      <a:pt x="44" y="16"/>
                    </a:lnTo>
                    <a:lnTo>
                      <a:pt x="42" y="24"/>
                    </a:lnTo>
                    <a:lnTo>
                      <a:pt x="40" y="32"/>
                    </a:lnTo>
                    <a:lnTo>
                      <a:pt x="34" y="40"/>
                    </a:lnTo>
                    <a:lnTo>
                      <a:pt x="24" y="48"/>
                    </a:lnTo>
                    <a:lnTo>
                      <a:pt x="16" y="44"/>
                    </a:lnTo>
                    <a:lnTo>
                      <a:pt x="4" y="32"/>
                    </a:lnTo>
                    <a:lnTo>
                      <a:pt x="0" y="24"/>
                    </a:lnTo>
                    <a:lnTo>
                      <a:pt x="0" y="1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45" name="Freeform 138">
                <a:extLst>
                  <a:ext uri="{FF2B5EF4-FFF2-40B4-BE49-F238E27FC236}">
                    <a16:creationId xmlns:a16="http://schemas.microsoft.com/office/drawing/2014/main" id="{B5059AE7-8FBC-4752-AC7A-2D83638B5272}"/>
                  </a:ext>
                </a:extLst>
              </p:cNvPr>
              <p:cNvSpPr>
                <a:spLocks/>
              </p:cNvSpPr>
              <p:nvPr/>
            </p:nvSpPr>
            <p:spPr bwMode="gray">
              <a:xfrm>
                <a:off x="5372566" y="3947752"/>
                <a:ext cx="326912" cy="355203"/>
              </a:xfrm>
              <a:custGeom>
                <a:avLst/>
                <a:gdLst>
                  <a:gd name="T0" fmla="*/ 0 w 198"/>
                  <a:gd name="T1" fmla="*/ 106 h 214"/>
                  <a:gd name="T2" fmla="*/ 64 w 198"/>
                  <a:gd name="T3" fmla="*/ 106 h 214"/>
                  <a:gd name="T4" fmla="*/ 64 w 198"/>
                  <a:gd name="T5" fmla="*/ 82 h 214"/>
                  <a:gd name="T6" fmla="*/ 64 w 198"/>
                  <a:gd name="T7" fmla="*/ 74 h 214"/>
                  <a:gd name="T8" fmla="*/ 68 w 198"/>
                  <a:gd name="T9" fmla="*/ 72 h 214"/>
                  <a:gd name="T10" fmla="*/ 72 w 198"/>
                  <a:gd name="T11" fmla="*/ 70 h 214"/>
                  <a:gd name="T12" fmla="*/ 82 w 198"/>
                  <a:gd name="T13" fmla="*/ 70 h 214"/>
                  <a:gd name="T14" fmla="*/ 82 w 198"/>
                  <a:gd name="T15" fmla="*/ 28 h 214"/>
                  <a:gd name="T16" fmla="*/ 132 w 198"/>
                  <a:gd name="T17" fmla="*/ 28 h 214"/>
                  <a:gd name="T18" fmla="*/ 132 w 198"/>
                  <a:gd name="T19" fmla="*/ 0 h 214"/>
                  <a:gd name="T20" fmla="*/ 198 w 198"/>
                  <a:gd name="T21" fmla="*/ 48 h 214"/>
                  <a:gd name="T22" fmla="*/ 168 w 198"/>
                  <a:gd name="T23" fmla="*/ 48 h 214"/>
                  <a:gd name="T24" fmla="*/ 180 w 198"/>
                  <a:gd name="T25" fmla="*/ 184 h 214"/>
                  <a:gd name="T26" fmla="*/ 186 w 198"/>
                  <a:gd name="T27" fmla="*/ 192 h 214"/>
                  <a:gd name="T28" fmla="*/ 184 w 198"/>
                  <a:gd name="T29" fmla="*/ 202 h 214"/>
                  <a:gd name="T30" fmla="*/ 84 w 198"/>
                  <a:gd name="T31" fmla="*/ 200 h 214"/>
                  <a:gd name="T32" fmla="*/ 78 w 198"/>
                  <a:gd name="T33" fmla="*/ 214 h 214"/>
                  <a:gd name="T34" fmla="*/ 68 w 198"/>
                  <a:gd name="T35" fmla="*/ 206 h 214"/>
                  <a:gd name="T36" fmla="*/ 60 w 198"/>
                  <a:gd name="T37" fmla="*/ 194 h 214"/>
                  <a:gd name="T38" fmla="*/ 52 w 198"/>
                  <a:gd name="T39" fmla="*/ 188 h 214"/>
                  <a:gd name="T40" fmla="*/ 40 w 198"/>
                  <a:gd name="T41" fmla="*/ 182 h 214"/>
                  <a:gd name="T42" fmla="*/ 26 w 198"/>
                  <a:gd name="T43" fmla="*/ 182 h 214"/>
                  <a:gd name="T44" fmla="*/ 12 w 198"/>
                  <a:gd name="T45" fmla="*/ 184 h 214"/>
                  <a:gd name="T46" fmla="*/ 12 w 198"/>
                  <a:gd name="T47" fmla="*/ 172 h 214"/>
                  <a:gd name="T48" fmla="*/ 18 w 198"/>
                  <a:gd name="T49" fmla="*/ 152 h 214"/>
                  <a:gd name="T50" fmla="*/ 12 w 198"/>
                  <a:gd name="T51" fmla="*/ 144 h 214"/>
                  <a:gd name="T52" fmla="*/ 8 w 198"/>
                  <a:gd name="T53" fmla="*/ 138 h 214"/>
                  <a:gd name="T54" fmla="*/ 12 w 198"/>
                  <a:gd name="T55" fmla="*/ 130 h 214"/>
                  <a:gd name="T56" fmla="*/ 12 w 198"/>
                  <a:gd name="T57" fmla="*/ 122 h 214"/>
                  <a:gd name="T58" fmla="*/ 8 w 198"/>
                  <a:gd name="T59" fmla="*/ 116 h 214"/>
                  <a:gd name="T60" fmla="*/ 0 w 198"/>
                  <a:gd name="T61" fmla="*/ 112 h 214"/>
                  <a:gd name="T62" fmla="*/ 0 w 198"/>
                  <a:gd name="T63" fmla="*/ 106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8" h="214">
                    <a:moveTo>
                      <a:pt x="0" y="106"/>
                    </a:moveTo>
                    <a:lnTo>
                      <a:pt x="64" y="106"/>
                    </a:lnTo>
                    <a:lnTo>
                      <a:pt x="64" y="82"/>
                    </a:lnTo>
                    <a:lnTo>
                      <a:pt x="64" y="74"/>
                    </a:lnTo>
                    <a:lnTo>
                      <a:pt x="68" y="72"/>
                    </a:lnTo>
                    <a:lnTo>
                      <a:pt x="72" y="70"/>
                    </a:lnTo>
                    <a:lnTo>
                      <a:pt x="82" y="70"/>
                    </a:lnTo>
                    <a:lnTo>
                      <a:pt x="82" y="28"/>
                    </a:lnTo>
                    <a:lnTo>
                      <a:pt x="132" y="28"/>
                    </a:lnTo>
                    <a:lnTo>
                      <a:pt x="132" y="0"/>
                    </a:lnTo>
                    <a:lnTo>
                      <a:pt x="198" y="48"/>
                    </a:lnTo>
                    <a:lnTo>
                      <a:pt x="168" y="48"/>
                    </a:lnTo>
                    <a:lnTo>
                      <a:pt x="180" y="184"/>
                    </a:lnTo>
                    <a:lnTo>
                      <a:pt x="186" y="192"/>
                    </a:lnTo>
                    <a:lnTo>
                      <a:pt x="184" y="202"/>
                    </a:lnTo>
                    <a:lnTo>
                      <a:pt x="84" y="200"/>
                    </a:lnTo>
                    <a:lnTo>
                      <a:pt x="78" y="214"/>
                    </a:lnTo>
                    <a:lnTo>
                      <a:pt x="68" y="206"/>
                    </a:lnTo>
                    <a:lnTo>
                      <a:pt x="60" y="194"/>
                    </a:lnTo>
                    <a:lnTo>
                      <a:pt x="52" y="188"/>
                    </a:lnTo>
                    <a:lnTo>
                      <a:pt x="40" y="182"/>
                    </a:lnTo>
                    <a:lnTo>
                      <a:pt x="26" y="182"/>
                    </a:lnTo>
                    <a:lnTo>
                      <a:pt x="12" y="184"/>
                    </a:lnTo>
                    <a:lnTo>
                      <a:pt x="12" y="172"/>
                    </a:lnTo>
                    <a:lnTo>
                      <a:pt x="18" y="152"/>
                    </a:lnTo>
                    <a:lnTo>
                      <a:pt x="12" y="144"/>
                    </a:lnTo>
                    <a:lnTo>
                      <a:pt x="8" y="138"/>
                    </a:lnTo>
                    <a:lnTo>
                      <a:pt x="12" y="130"/>
                    </a:lnTo>
                    <a:lnTo>
                      <a:pt x="12" y="122"/>
                    </a:lnTo>
                    <a:lnTo>
                      <a:pt x="8" y="116"/>
                    </a:lnTo>
                    <a:lnTo>
                      <a:pt x="0" y="112"/>
                    </a:lnTo>
                    <a:lnTo>
                      <a:pt x="0" y="10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46" name="Freeform 139">
                <a:extLst>
                  <a:ext uri="{FF2B5EF4-FFF2-40B4-BE49-F238E27FC236}">
                    <a16:creationId xmlns:a16="http://schemas.microsoft.com/office/drawing/2014/main" id="{3F75917B-D5A4-4BB8-9CDF-28752ECD68F3}"/>
                  </a:ext>
                </a:extLst>
              </p:cNvPr>
              <p:cNvSpPr>
                <a:spLocks/>
              </p:cNvSpPr>
              <p:nvPr/>
            </p:nvSpPr>
            <p:spPr bwMode="gray">
              <a:xfrm>
                <a:off x="5422098" y="4356070"/>
                <a:ext cx="191523" cy="146065"/>
              </a:xfrm>
              <a:custGeom>
                <a:avLst/>
                <a:gdLst>
                  <a:gd name="T0" fmla="*/ 60 w 116"/>
                  <a:gd name="T1" fmla="*/ 6 h 88"/>
                  <a:gd name="T2" fmla="*/ 60 w 116"/>
                  <a:gd name="T3" fmla="*/ 8 h 88"/>
                  <a:gd name="T4" fmla="*/ 72 w 116"/>
                  <a:gd name="T5" fmla="*/ 12 h 88"/>
                  <a:gd name="T6" fmla="*/ 84 w 116"/>
                  <a:gd name="T7" fmla="*/ 8 h 88"/>
                  <a:gd name="T8" fmla="*/ 98 w 116"/>
                  <a:gd name="T9" fmla="*/ 6 h 88"/>
                  <a:gd name="T10" fmla="*/ 100 w 116"/>
                  <a:gd name="T11" fmla="*/ 14 h 88"/>
                  <a:gd name="T12" fmla="*/ 106 w 116"/>
                  <a:gd name="T13" fmla="*/ 24 h 88"/>
                  <a:gd name="T14" fmla="*/ 112 w 116"/>
                  <a:gd name="T15" fmla="*/ 38 h 88"/>
                  <a:gd name="T16" fmla="*/ 110 w 116"/>
                  <a:gd name="T17" fmla="*/ 46 h 88"/>
                  <a:gd name="T18" fmla="*/ 112 w 116"/>
                  <a:gd name="T19" fmla="*/ 50 h 88"/>
                  <a:gd name="T20" fmla="*/ 114 w 116"/>
                  <a:gd name="T21" fmla="*/ 54 h 88"/>
                  <a:gd name="T22" fmla="*/ 116 w 116"/>
                  <a:gd name="T23" fmla="*/ 68 h 88"/>
                  <a:gd name="T24" fmla="*/ 110 w 116"/>
                  <a:gd name="T25" fmla="*/ 70 h 88"/>
                  <a:gd name="T26" fmla="*/ 112 w 116"/>
                  <a:gd name="T27" fmla="*/ 80 h 88"/>
                  <a:gd name="T28" fmla="*/ 106 w 116"/>
                  <a:gd name="T29" fmla="*/ 84 h 88"/>
                  <a:gd name="T30" fmla="*/ 100 w 116"/>
                  <a:gd name="T31" fmla="*/ 82 h 88"/>
                  <a:gd name="T32" fmla="*/ 96 w 116"/>
                  <a:gd name="T33" fmla="*/ 88 h 88"/>
                  <a:gd name="T34" fmla="*/ 90 w 116"/>
                  <a:gd name="T35" fmla="*/ 86 h 88"/>
                  <a:gd name="T36" fmla="*/ 88 w 116"/>
                  <a:gd name="T37" fmla="*/ 72 h 88"/>
                  <a:gd name="T38" fmla="*/ 82 w 116"/>
                  <a:gd name="T39" fmla="*/ 70 h 88"/>
                  <a:gd name="T40" fmla="*/ 74 w 116"/>
                  <a:gd name="T41" fmla="*/ 68 h 88"/>
                  <a:gd name="T42" fmla="*/ 76 w 116"/>
                  <a:gd name="T43" fmla="*/ 60 h 88"/>
                  <a:gd name="T44" fmla="*/ 70 w 116"/>
                  <a:gd name="T45" fmla="*/ 52 h 88"/>
                  <a:gd name="T46" fmla="*/ 62 w 116"/>
                  <a:gd name="T47" fmla="*/ 44 h 88"/>
                  <a:gd name="T48" fmla="*/ 48 w 116"/>
                  <a:gd name="T49" fmla="*/ 46 h 88"/>
                  <a:gd name="T50" fmla="*/ 40 w 116"/>
                  <a:gd name="T51" fmla="*/ 52 h 88"/>
                  <a:gd name="T52" fmla="*/ 32 w 116"/>
                  <a:gd name="T53" fmla="*/ 60 h 88"/>
                  <a:gd name="T54" fmla="*/ 24 w 116"/>
                  <a:gd name="T55" fmla="*/ 50 h 88"/>
                  <a:gd name="T56" fmla="*/ 14 w 116"/>
                  <a:gd name="T57" fmla="*/ 40 h 88"/>
                  <a:gd name="T58" fmla="*/ 6 w 116"/>
                  <a:gd name="T59" fmla="*/ 38 h 88"/>
                  <a:gd name="T60" fmla="*/ 0 w 116"/>
                  <a:gd name="T61" fmla="*/ 28 h 88"/>
                  <a:gd name="T62" fmla="*/ 8 w 116"/>
                  <a:gd name="T63" fmla="*/ 20 h 88"/>
                  <a:gd name="T64" fmla="*/ 20 w 116"/>
                  <a:gd name="T65" fmla="*/ 16 h 88"/>
                  <a:gd name="T66" fmla="*/ 22 w 116"/>
                  <a:gd name="T67" fmla="*/ 10 h 88"/>
                  <a:gd name="T68" fmla="*/ 26 w 116"/>
                  <a:gd name="T69" fmla="*/ 0 h 88"/>
                  <a:gd name="T70" fmla="*/ 32 w 116"/>
                  <a:gd name="T71" fmla="*/ 0 h 88"/>
                  <a:gd name="T72" fmla="*/ 38 w 116"/>
                  <a:gd name="T73" fmla="*/ 4 h 88"/>
                  <a:gd name="T74" fmla="*/ 50 w 116"/>
                  <a:gd name="T75" fmla="*/ 4 h 88"/>
                  <a:gd name="T76" fmla="*/ 60 w 116"/>
                  <a:gd name="T77" fmla="*/ 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6" h="88">
                    <a:moveTo>
                      <a:pt x="60" y="6"/>
                    </a:moveTo>
                    <a:lnTo>
                      <a:pt x="60" y="8"/>
                    </a:lnTo>
                    <a:lnTo>
                      <a:pt x="72" y="12"/>
                    </a:lnTo>
                    <a:lnTo>
                      <a:pt x="84" y="8"/>
                    </a:lnTo>
                    <a:lnTo>
                      <a:pt x="98" y="6"/>
                    </a:lnTo>
                    <a:lnTo>
                      <a:pt x="100" y="14"/>
                    </a:lnTo>
                    <a:lnTo>
                      <a:pt x="106" y="24"/>
                    </a:lnTo>
                    <a:lnTo>
                      <a:pt x="112" y="38"/>
                    </a:lnTo>
                    <a:lnTo>
                      <a:pt x="110" y="46"/>
                    </a:lnTo>
                    <a:lnTo>
                      <a:pt x="112" y="50"/>
                    </a:lnTo>
                    <a:lnTo>
                      <a:pt x="114" y="54"/>
                    </a:lnTo>
                    <a:lnTo>
                      <a:pt x="116" y="68"/>
                    </a:lnTo>
                    <a:lnTo>
                      <a:pt x="110" y="70"/>
                    </a:lnTo>
                    <a:lnTo>
                      <a:pt x="112" y="80"/>
                    </a:lnTo>
                    <a:lnTo>
                      <a:pt x="106" y="84"/>
                    </a:lnTo>
                    <a:lnTo>
                      <a:pt x="100" y="82"/>
                    </a:lnTo>
                    <a:lnTo>
                      <a:pt x="96" y="88"/>
                    </a:lnTo>
                    <a:lnTo>
                      <a:pt x="90" y="86"/>
                    </a:lnTo>
                    <a:lnTo>
                      <a:pt x="88" y="72"/>
                    </a:lnTo>
                    <a:lnTo>
                      <a:pt x="82" y="70"/>
                    </a:lnTo>
                    <a:lnTo>
                      <a:pt x="74" y="68"/>
                    </a:lnTo>
                    <a:lnTo>
                      <a:pt x="76" y="60"/>
                    </a:lnTo>
                    <a:lnTo>
                      <a:pt x="70" y="52"/>
                    </a:lnTo>
                    <a:lnTo>
                      <a:pt x="62" y="44"/>
                    </a:lnTo>
                    <a:lnTo>
                      <a:pt x="48" y="46"/>
                    </a:lnTo>
                    <a:lnTo>
                      <a:pt x="40" y="52"/>
                    </a:lnTo>
                    <a:lnTo>
                      <a:pt x="32" y="60"/>
                    </a:lnTo>
                    <a:lnTo>
                      <a:pt x="24" y="50"/>
                    </a:lnTo>
                    <a:lnTo>
                      <a:pt x="14" y="40"/>
                    </a:lnTo>
                    <a:lnTo>
                      <a:pt x="6" y="38"/>
                    </a:lnTo>
                    <a:lnTo>
                      <a:pt x="0" y="28"/>
                    </a:lnTo>
                    <a:lnTo>
                      <a:pt x="8" y="20"/>
                    </a:lnTo>
                    <a:lnTo>
                      <a:pt x="20" y="16"/>
                    </a:lnTo>
                    <a:lnTo>
                      <a:pt x="22" y="10"/>
                    </a:lnTo>
                    <a:lnTo>
                      <a:pt x="26" y="0"/>
                    </a:lnTo>
                    <a:lnTo>
                      <a:pt x="32" y="0"/>
                    </a:lnTo>
                    <a:lnTo>
                      <a:pt x="38" y="4"/>
                    </a:lnTo>
                    <a:lnTo>
                      <a:pt x="50" y="4"/>
                    </a:lnTo>
                    <a:lnTo>
                      <a:pt x="60" y="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47" name="Freeform 140">
                <a:extLst>
                  <a:ext uri="{FF2B5EF4-FFF2-40B4-BE49-F238E27FC236}">
                    <a16:creationId xmlns:a16="http://schemas.microsoft.com/office/drawing/2014/main" id="{9CE64D02-F3CF-4B63-A686-509E22C12719}"/>
                  </a:ext>
                </a:extLst>
              </p:cNvPr>
              <p:cNvSpPr>
                <a:spLocks/>
              </p:cNvSpPr>
              <p:nvPr/>
            </p:nvSpPr>
            <p:spPr bwMode="gray">
              <a:xfrm>
                <a:off x="5514558" y="4468939"/>
                <a:ext cx="108970" cy="109548"/>
              </a:xfrm>
              <a:custGeom>
                <a:avLst/>
                <a:gdLst>
                  <a:gd name="T0" fmla="*/ 50 w 66"/>
                  <a:gd name="T1" fmla="*/ 16 h 66"/>
                  <a:gd name="T2" fmla="*/ 50 w 66"/>
                  <a:gd name="T3" fmla="*/ 26 h 66"/>
                  <a:gd name="T4" fmla="*/ 50 w 66"/>
                  <a:gd name="T5" fmla="*/ 34 h 66"/>
                  <a:gd name="T6" fmla="*/ 58 w 66"/>
                  <a:gd name="T7" fmla="*/ 36 h 66"/>
                  <a:gd name="T8" fmla="*/ 64 w 66"/>
                  <a:gd name="T9" fmla="*/ 40 h 66"/>
                  <a:gd name="T10" fmla="*/ 66 w 66"/>
                  <a:gd name="T11" fmla="*/ 46 h 66"/>
                  <a:gd name="T12" fmla="*/ 66 w 66"/>
                  <a:gd name="T13" fmla="*/ 54 h 66"/>
                  <a:gd name="T14" fmla="*/ 62 w 66"/>
                  <a:gd name="T15" fmla="*/ 66 h 66"/>
                  <a:gd name="T16" fmla="*/ 50 w 66"/>
                  <a:gd name="T17" fmla="*/ 62 h 66"/>
                  <a:gd name="T18" fmla="*/ 38 w 66"/>
                  <a:gd name="T19" fmla="*/ 54 h 66"/>
                  <a:gd name="T20" fmla="*/ 30 w 66"/>
                  <a:gd name="T21" fmla="*/ 44 h 66"/>
                  <a:gd name="T22" fmla="*/ 18 w 66"/>
                  <a:gd name="T23" fmla="*/ 36 h 66"/>
                  <a:gd name="T24" fmla="*/ 8 w 66"/>
                  <a:gd name="T25" fmla="*/ 32 h 66"/>
                  <a:gd name="T26" fmla="*/ 0 w 66"/>
                  <a:gd name="T27" fmla="*/ 24 h 66"/>
                  <a:gd name="T28" fmla="*/ 16 w 66"/>
                  <a:gd name="T29" fmla="*/ 8 h 66"/>
                  <a:gd name="T30" fmla="*/ 18 w 66"/>
                  <a:gd name="T31" fmla="*/ 0 h 66"/>
                  <a:gd name="T32" fmla="*/ 24 w 66"/>
                  <a:gd name="T33" fmla="*/ 0 h 66"/>
                  <a:gd name="T34" fmla="*/ 32 w 66"/>
                  <a:gd name="T35" fmla="*/ 4 h 66"/>
                  <a:gd name="T36" fmla="*/ 34 w 66"/>
                  <a:gd name="T37" fmla="*/ 18 h 66"/>
                  <a:gd name="T38" fmla="*/ 40 w 66"/>
                  <a:gd name="T39" fmla="*/ 20 h 66"/>
                  <a:gd name="T40" fmla="*/ 44 w 66"/>
                  <a:gd name="T41" fmla="*/ 14 h 66"/>
                  <a:gd name="T42" fmla="*/ 50 w 66"/>
                  <a:gd name="T43" fmla="*/ 1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6" h="66">
                    <a:moveTo>
                      <a:pt x="50" y="16"/>
                    </a:moveTo>
                    <a:lnTo>
                      <a:pt x="50" y="26"/>
                    </a:lnTo>
                    <a:lnTo>
                      <a:pt x="50" y="34"/>
                    </a:lnTo>
                    <a:lnTo>
                      <a:pt x="58" y="36"/>
                    </a:lnTo>
                    <a:lnTo>
                      <a:pt x="64" y="40"/>
                    </a:lnTo>
                    <a:lnTo>
                      <a:pt x="66" y="46"/>
                    </a:lnTo>
                    <a:lnTo>
                      <a:pt x="66" y="54"/>
                    </a:lnTo>
                    <a:lnTo>
                      <a:pt x="62" y="66"/>
                    </a:lnTo>
                    <a:lnTo>
                      <a:pt x="50" y="62"/>
                    </a:lnTo>
                    <a:lnTo>
                      <a:pt x="38" y="54"/>
                    </a:lnTo>
                    <a:lnTo>
                      <a:pt x="30" y="44"/>
                    </a:lnTo>
                    <a:lnTo>
                      <a:pt x="18" y="36"/>
                    </a:lnTo>
                    <a:lnTo>
                      <a:pt x="8" y="32"/>
                    </a:lnTo>
                    <a:lnTo>
                      <a:pt x="0" y="24"/>
                    </a:lnTo>
                    <a:lnTo>
                      <a:pt x="16" y="8"/>
                    </a:lnTo>
                    <a:lnTo>
                      <a:pt x="18" y="0"/>
                    </a:lnTo>
                    <a:lnTo>
                      <a:pt x="24" y="0"/>
                    </a:lnTo>
                    <a:lnTo>
                      <a:pt x="32" y="4"/>
                    </a:lnTo>
                    <a:lnTo>
                      <a:pt x="34" y="18"/>
                    </a:lnTo>
                    <a:lnTo>
                      <a:pt x="40" y="20"/>
                    </a:lnTo>
                    <a:lnTo>
                      <a:pt x="44" y="14"/>
                    </a:lnTo>
                    <a:lnTo>
                      <a:pt x="50" y="1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48" name="Freeform 141">
                <a:extLst>
                  <a:ext uri="{FF2B5EF4-FFF2-40B4-BE49-F238E27FC236}">
                    <a16:creationId xmlns:a16="http://schemas.microsoft.com/office/drawing/2014/main" id="{89DD6D5B-5CAC-4D1B-83AA-E80BDB2F3737}"/>
                  </a:ext>
                </a:extLst>
              </p:cNvPr>
              <p:cNvSpPr>
                <a:spLocks/>
              </p:cNvSpPr>
              <p:nvPr/>
            </p:nvSpPr>
            <p:spPr bwMode="gray">
              <a:xfrm>
                <a:off x="6170033" y="4067260"/>
                <a:ext cx="277380" cy="428236"/>
              </a:xfrm>
              <a:custGeom>
                <a:avLst/>
                <a:gdLst>
                  <a:gd name="T0" fmla="*/ 166 w 168"/>
                  <a:gd name="T1" fmla="*/ 128 h 258"/>
                  <a:gd name="T2" fmla="*/ 152 w 168"/>
                  <a:gd name="T3" fmla="*/ 130 h 258"/>
                  <a:gd name="T4" fmla="*/ 148 w 168"/>
                  <a:gd name="T5" fmla="*/ 142 h 258"/>
                  <a:gd name="T6" fmla="*/ 136 w 168"/>
                  <a:gd name="T7" fmla="*/ 170 h 258"/>
                  <a:gd name="T8" fmla="*/ 144 w 168"/>
                  <a:gd name="T9" fmla="*/ 178 h 258"/>
                  <a:gd name="T10" fmla="*/ 148 w 168"/>
                  <a:gd name="T11" fmla="*/ 204 h 258"/>
                  <a:gd name="T12" fmla="*/ 136 w 168"/>
                  <a:gd name="T13" fmla="*/ 206 h 258"/>
                  <a:gd name="T14" fmla="*/ 112 w 168"/>
                  <a:gd name="T15" fmla="*/ 230 h 258"/>
                  <a:gd name="T16" fmla="*/ 88 w 168"/>
                  <a:gd name="T17" fmla="*/ 234 h 258"/>
                  <a:gd name="T18" fmla="*/ 86 w 168"/>
                  <a:gd name="T19" fmla="*/ 246 h 258"/>
                  <a:gd name="T20" fmla="*/ 40 w 168"/>
                  <a:gd name="T21" fmla="*/ 258 h 258"/>
                  <a:gd name="T22" fmla="*/ 30 w 168"/>
                  <a:gd name="T23" fmla="*/ 246 h 258"/>
                  <a:gd name="T24" fmla="*/ 10 w 168"/>
                  <a:gd name="T25" fmla="*/ 226 h 258"/>
                  <a:gd name="T26" fmla="*/ 12 w 168"/>
                  <a:gd name="T27" fmla="*/ 216 h 258"/>
                  <a:gd name="T28" fmla="*/ 32 w 168"/>
                  <a:gd name="T29" fmla="*/ 216 h 258"/>
                  <a:gd name="T30" fmla="*/ 26 w 168"/>
                  <a:gd name="T31" fmla="*/ 206 h 258"/>
                  <a:gd name="T32" fmla="*/ 24 w 168"/>
                  <a:gd name="T33" fmla="*/ 182 h 258"/>
                  <a:gd name="T34" fmla="*/ 16 w 168"/>
                  <a:gd name="T35" fmla="*/ 170 h 258"/>
                  <a:gd name="T36" fmla="*/ 2 w 168"/>
                  <a:gd name="T37" fmla="*/ 156 h 258"/>
                  <a:gd name="T38" fmla="*/ 0 w 168"/>
                  <a:gd name="T39" fmla="*/ 144 h 258"/>
                  <a:gd name="T40" fmla="*/ 32 w 168"/>
                  <a:gd name="T41" fmla="*/ 106 h 258"/>
                  <a:gd name="T42" fmla="*/ 36 w 168"/>
                  <a:gd name="T43" fmla="*/ 66 h 258"/>
                  <a:gd name="T44" fmla="*/ 40 w 168"/>
                  <a:gd name="T45" fmla="*/ 50 h 258"/>
                  <a:gd name="T46" fmla="*/ 28 w 168"/>
                  <a:gd name="T47" fmla="*/ 6 h 258"/>
                  <a:gd name="T48" fmla="*/ 34 w 168"/>
                  <a:gd name="T49" fmla="*/ 0 h 258"/>
                  <a:gd name="T50" fmla="*/ 168 w 168"/>
                  <a:gd name="T51" fmla="*/ 54 h 258"/>
                  <a:gd name="T52" fmla="*/ 166 w 168"/>
                  <a:gd name="T53" fmla="*/ 12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8" h="258">
                    <a:moveTo>
                      <a:pt x="166" y="128"/>
                    </a:moveTo>
                    <a:lnTo>
                      <a:pt x="152" y="130"/>
                    </a:lnTo>
                    <a:lnTo>
                      <a:pt x="148" y="142"/>
                    </a:lnTo>
                    <a:lnTo>
                      <a:pt x="136" y="170"/>
                    </a:lnTo>
                    <a:lnTo>
                      <a:pt x="144" y="178"/>
                    </a:lnTo>
                    <a:lnTo>
                      <a:pt x="148" y="204"/>
                    </a:lnTo>
                    <a:lnTo>
                      <a:pt x="136" y="206"/>
                    </a:lnTo>
                    <a:lnTo>
                      <a:pt x="112" y="230"/>
                    </a:lnTo>
                    <a:lnTo>
                      <a:pt x="88" y="234"/>
                    </a:lnTo>
                    <a:lnTo>
                      <a:pt x="86" y="246"/>
                    </a:lnTo>
                    <a:lnTo>
                      <a:pt x="40" y="258"/>
                    </a:lnTo>
                    <a:lnTo>
                      <a:pt x="30" y="246"/>
                    </a:lnTo>
                    <a:lnTo>
                      <a:pt x="10" y="226"/>
                    </a:lnTo>
                    <a:lnTo>
                      <a:pt x="12" y="216"/>
                    </a:lnTo>
                    <a:lnTo>
                      <a:pt x="32" y="216"/>
                    </a:lnTo>
                    <a:lnTo>
                      <a:pt x="26" y="206"/>
                    </a:lnTo>
                    <a:lnTo>
                      <a:pt x="24" y="182"/>
                    </a:lnTo>
                    <a:lnTo>
                      <a:pt x="16" y="170"/>
                    </a:lnTo>
                    <a:lnTo>
                      <a:pt x="2" y="156"/>
                    </a:lnTo>
                    <a:lnTo>
                      <a:pt x="0" y="144"/>
                    </a:lnTo>
                    <a:lnTo>
                      <a:pt x="32" y="106"/>
                    </a:lnTo>
                    <a:lnTo>
                      <a:pt x="36" y="66"/>
                    </a:lnTo>
                    <a:lnTo>
                      <a:pt x="40" y="50"/>
                    </a:lnTo>
                    <a:lnTo>
                      <a:pt x="28" y="6"/>
                    </a:lnTo>
                    <a:lnTo>
                      <a:pt x="34" y="0"/>
                    </a:lnTo>
                    <a:lnTo>
                      <a:pt x="168" y="54"/>
                    </a:lnTo>
                    <a:lnTo>
                      <a:pt x="166" y="12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49" name="Freeform 142">
                <a:extLst>
                  <a:ext uri="{FF2B5EF4-FFF2-40B4-BE49-F238E27FC236}">
                    <a16:creationId xmlns:a16="http://schemas.microsoft.com/office/drawing/2014/main" id="{75EC9D64-9DC2-4789-B17F-2A4FAF46C30C}"/>
                  </a:ext>
                </a:extLst>
              </p:cNvPr>
              <p:cNvSpPr>
                <a:spLocks/>
              </p:cNvSpPr>
              <p:nvPr/>
            </p:nvSpPr>
            <p:spPr bwMode="gray">
              <a:xfrm>
                <a:off x="5821658" y="4060621"/>
                <a:ext cx="414419" cy="322007"/>
              </a:xfrm>
              <a:custGeom>
                <a:avLst/>
                <a:gdLst>
                  <a:gd name="T0" fmla="*/ 4 w 251"/>
                  <a:gd name="T1" fmla="*/ 142 h 194"/>
                  <a:gd name="T2" fmla="*/ 18 w 251"/>
                  <a:gd name="T3" fmla="*/ 142 h 194"/>
                  <a:gd name="T4" fmla="*/ 52 w 251"/>
                  <a:gd name="T5" fmla="*/ 136 h 194"/>
                  <a:gd name="T6" fmla="*/ 64 w 251"/>
                  <a:gd name="T7" fmla="*/ 118 h 194"/>
                  <a:gd name="T8" fmla="*/ 66 w 251"/>
                  <a:gd name="T9" fmla="*/ 76 h 194"/>
                  <a:gd name="T10" fmla="*/ 86 w 251"/>
                  <a:gd name="T11" fmla="*/ 72 h 194"/>
                  <a:gd name="T12" fmla="*/ 124 w 251"/>
                  <a:gd name="T13" fmla="*/ 40 h 194"/>
                  <a:gd name="T14" fmla="*/ 191 w 251"/>
                  <a:gd name="T15" fmla="*/ 0 h 194"/>
                  <a:gd name="T16" fmla="*/ 199 w 251"/>
                  <a:gd name="T17" fmla="*/ 2 h 194"/>
                  <a:gd name="T18" fmla="*/ 207 w 251"/>
                  <a:gd name="T19" fmla="*/ 4 h 194"/>
                  <a:gd name="T20" fmla="*/ 217 w 251"/>
                  <a:gd name="T21" fmla="*/ 8 h 194"/>
                  <a:gd name="T22" fmla="*/ 227 w 251"/>
                  <a:gd name="T23" fmla="*/ 16 h 194"/>
                  <a:gd name="T24" fmla="*/ 239 w 251"/>
                  <a:gd name="T25" fmla="*/ 10 h 194"/>
                  <a:gd name="T26" fmla="*/ 251 w 251"/>
                  <a:gd name="T27" fmla="*/ 54 h 194"/>
                  <a:gd name="T28" fmla="*/ 247 w 251"/>
                  <a:gd name="T29" fmla="*/ 70 h 194"/>
                  <a:gd name="T30" fmla="*/ 243 w 251"/>
                  <a:gd name="T31" fmla="*/ 110 h 194"/>
                  <a:gd name="T32" fmla="*/ 211 w 251"/>
                  <a:gd name="T33" fmla="*/ 148 h 194"/>
                  <a:gd name="T34" fmla="*/ 213 w 251"/>
                  <a:gd name="T35" fmla="*/ 160 h 194"/>
                  <a:gd name="T36" fmla="*/ 191 w 251"/>
                  <a:gd name="T37" fmla="*/ 174 h 194"/>
                  <a:gd name="T38" fmla="*/ 156 w 251"/>
                  <a:gd name="T39" fmla="*/ 170 h 194"/>
                  <a:gd name="T40" fmla="*/ 150 w 251"/>
                  <a:gd name="T41" fmla="*/ 178 h 194"/>
                  <a:gd name="T42" fmla="*/ 122 w 251"/>
                  <a:gd name="T43" fmla="*/ 168 h 194"/>
                  <a:gd name="T44" fmla="*/ 112 w 251"/>
                  <a:gd name="T45" fmla="*/ 174 h 194"/>
                  <a:gd name="T46" fmla="*/ 96 w 251"/>
                  <a:gd name="T47" fmla="*/ 162 h 194"/>
                  <a:gd name="T48" fmla="*/ 66 w 251"/>
                  <a:gd name="T49" fmla="*/ 162 h 194"/>
                  <a:gd name="T50" fmla="*/ 54 w 251"/>
                  <a:gd name="T51" fmla="*/ 194 h 194"/>
                  <a:gd name="T52" fmla="*/ 44 w 251"/>
                  <a:gd name="T53" fmla="*/ 184 h 194"/>
                  <a:gd name="T54" fmla="*/ 30 w 251"/>
                  <a:gd name="T55" fmla="*/ 186 h 194"/>
                  <a:gd name="T56" fmla="*/ 16 w 251"/>
                  <a:gd name="T57" fmla="*/ 178 h 194"/>
                  <a:gd name="T58" fmla="*/ 12 w 251"/>
                  <a:gd name="T59" fmla="*/ 176 h 194"/>
                  <a:gd name="T60" fmla="*/ 14 w 251"/>
                  <a:gd name="T61" fmla="*/ 170 h 194"/>
                  <a:gd name="T62" fmla="*/ 4 w 251"/>
                  <a:gd name="T63" fmla="*/ 158 h 194"/>
                  <a:gd name="T64" fmla="*/ 0 w 251"/>
                  <a:gd name="T65" fmla="*/ 150 h 194"/>
                  <a:gd name="T66" fmla="*/ 4 w 251"/>
                  <a:gd name="T67" fmla="*/ 142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1" h="194">
                    <a:moveTo>
                      <a:pt x="4" y="142"/>
                    </a:moveTo>
                    <a:lnTo>
                      <a:pt x="18" y="142"/>
                    </a:lnTo>
                    <a:lnTo>
                      <a:pt x="52" y="136"/>
                    </a:lnTo>
                    <a:lnTo>
                      <a:pt x="64" y="118"/>
                    </a:lnTo>
                    <a:lnTo>
                      <a:pt x="66" y="76"/>
                    </a:lnTo>
                    <a:lnTo>
                      <a:pt x="86" y="72"/>
                    </a:lnTo>
                    <a:lnTo>
                      <a:pt x="124" y="40"/>
                    </a:lnTo>
                    <a:lnTo>
                      <a:pt x="191" y="0"/>
                    </a:lnTo>
                    <a:lnTo>
                      <a:pt x="199" y="2"/>
                    </a:lnTo>
                    <a:lnTo>
                      <a:pt x="207" y="4"/>
                    </a:lnTo>
                    <a:lnTo>
                      <a:pt x="217" y="8"/>
                    </a:lnTo>
                    <a:lnTo>
                      <a:pt x="227" y="16"/>
                    </a:lnTo>
                    <a:lnTo>
                      <a:pt x="239" y="10"/>
                    </a:lnTo>
                    <a:lnTo>
                      <a:pt x="251" y="54"/>
                    </a:lnTo>
                    <a:lnTo>
                      <a:pt x="247" y="70"/>
                    </a:lnTo>
                    <a:lnTo>
                      <a:pt x="243" y="110"/>
                    </a:lnTo>
                    <a:lnTo>
                      <a:pt x="211" y="148"/>
                    </a:lnTo>
                    <a:lnTo>
                      <a:pt x="213" y="160"/>
                    </a:lnTo>
                    <a:lnTo>
                      <a:pt x="191" y="174"/>
                    </a:lnTo>
                    <a:lnTo>
                      <a:pt x="156" y="170"/>
                    </a:lnTo>
                    <a:lnTo>
                      <a:pt x="150" y="178"/>
                    </a:lnTo>
                    <a:lnTo>
                      <a:pt x="122" y="168"/>
                    </a:lnTo>
                    <a:lnTo>
                      <a:pt x="112" y="174"/>
                    </a:lnTo>
                    <a:lnTo>
                      <a:pt x="96" y="162"/>
                    </a:lnTo>
                    <a:lnTo>
                      <a:pt x="66" y="162"/>
                    </a:lnTo>
                    <a:lnTo>
                      <a:pt x="54" y="194"/>
                    </a:lnTo>
                    <a:lnTo>
                      <a:pt x="44" y="184"/>
                    </a:lnTo>
                    <a:lnTo>
                      <a:pt x="30" y="186"/>
                    </a:lnTo>
                    <a:lnTo>
                      <a:pt x="16" y="178"/>
                    </a:lnTo>
                    <a:lnTo>
                      <a:pt x="12" y="176"/>
                    </a:lnTo>
                    <a:lnTo>
                      <a:pt x="14" y="170"/>
                    </a:lnTo>
                    <a:lnTo>
                      <a:pt x="4" y="158"/>
                    </a:lnTo>
                    <a:lnTo>
                      <a:pt x="0" y="150"/>
                    </a:lnTo>
                    <a:lnTo>
                      <a:pt x="4" y="14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50" name="Freeform 143">
                <a:extLst>
                  <a:ext uri="{FF2B5EF4-FFF2-40B4-BE49-F238E27FC236}">
                    <a16:creationId xmlns:a16="http://schemas.microsoft.com/office/drawing/2014/main" id="{F4EF538D-4C02-4A14-9467-53E72CB317F7}"/>
                  </a:ext>
                </a:extLst>
              </p:cNvPr>
              <p:cNvSpPr>
                <a:spLocks/>
              </p:cNvSpPr>
              <p:nvPr/>
            </p:nvSpPr>
            <p:spPr bwMode="gray">
              <a:xfrm>
                <a:off x="6203055" y="4405864"/>
                <a:ext cx="333517" cy="212458"/>
              </a:xfrm>
              <a:custGeom>
                <a:avLst/>
                <a:gdLst>
                  <a:gd name="T0" fmla="*/ 20 w 202"/>
                  <a:gd name="T1" fmla="*/ 54 h 128"/>
                  <a:gd name="T2" fmla="*/ 66 w 202"/>
                  <a:gd name="T3" fmla="*/ 42 h 128"/>
                  <a:gd name="T4" fmla="*/ 68 w 202"/>
                  <a:gd name="T5" fmla="*/ 30 h 128"/>
                  <a:gd name="T6" fmla="*/ 92 w 202"/>
                  <a:gd name="T7" fmla="*/ 26 h 128"/>
                  <a:gd name="T8" fmla="*/ 116 w 202"/>
                  <a:gd name="T9" fmla="*/ 2 h 128"/>
                  <a:gd name="T10" fmla="*/ 128 w 202"/>
                  <a:gd name="T11" fmla="*/ 0 h 128"/>
                  <a:gd name="T12" fmla="*/ 140 w 202"/>
                  <a:gd name="T13" fmla="*/ 8 h 128"/>
                  <a:gd name="T14" fmla="*/ 142 w 202"/>
                  <a:gd name="T15" fmla="*/ 22 h 128"/>
                  <a:gd name="T16" fmla="*/ 142 w 202"/>
                  <a:gd name="T17" fmla="*/ 34 h 128"/>
                  <a:gd name="T18" fmla="*/ 180 w 202"/>
                  <a:gd name="T19" fmla="*/ 60 h 128"/>
                  <a:gd name="T20" fmla="*/ 202 w 202"/>
                  <a:gd name="T21" fmla="*/ 92 h 128"/>
                  <a:gd name="T22" fmla="*/ 172 w 202"/>
                  <a:gd name="T23" fmla="*/ 90 h 128"/>
                  <a:gd name="T24" fmla="*/ 138 w 202"/>
                  <a:gd name="T25" fmla="*/ 100 h 128"/>
                  <a:gd name="T26" fmla="*/ 126 w 202"/>
                  <a:gd name="T27" fmla="*/ 108 h 128"/>
                  <a:gd name="T28" fmla="*/ 104 w 202"/>
                  <a:gd name="T29" fmla="*/ 106 h 128"/>
                  <a:gd name="T30" fmla="*/ 92 w 202"/>
                  <a:gd name="T31" fmla="*/ 102 h 128"/>
                  <a:gd name="T32" fmla="*/ 78 w 202"/>
                  <a:gd name="T33" fmla="*/ 88 h 128"/>
                  <a:gd name="T34" fmla="*/ 64 w 202"/>
                  <a:gd name="T35" fmla="*/ 104 h 128"/>
                  <a:gd name="T36" fmla="*/ 62 w 202"/>
                  <a:gd name="T37" fmla="*/ 118 h 128"/>
                  <a:gd name="T38" fmla="*/ 32 w 202"/>
                  <a:gd name="T39" fmla="*/ 116 h 128"/>
                  <a:gd name="T40" fmla="*/ 24 w 202"/>
                  <a:gd name="T41" fmla="*/ 128 h 128"/>
                  <a:gd name="T42" fmla="*/ 10 w 202"/>
                  <a:gd name="T43" fmla="*/ 112 h 128"/>
                  <a:gd name="T44" fmla="*/ 0 w 202"/>
                  <a:gd name="T45" fmla="*/ 86 h 128"/>
                  <a:gd name="T46" fmla="*/ 0 w 202"/>
                  <a:gd name="T47" fmla="*/ 70 h 128"/>
                  <a:gd name="T48" fmla="*/ 20 w 202"/>
                  <a:gd name="T49" fmla="*/ 5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2" h="128">
                    <a:moveTo>
                      <a:pt x="20" y="54"/>
                    </a:moveTo>
                    <a:lnTo>
                      <a:pt x="66" y="42"/>
                    </a:lnTo>
                    <a:lnTo>
                      <a:pt x="68" y="30"/>
                    </a:lnTo>
                    <a:lnTo>
                      <a:pt x="92" y="26"/>
                    </a:lnTo>
                    <a:lnTo>
                      <a:pt x="116" y="2"/>
                    </a:lnTo>
                    <a:lnTo>
                      <a:pt x="128" y="0"/>
                    </a:lnTo>
                    <a:lnTo>
                      <a:pt x="140" y="8"/>
                    </a:lnTo>
                    <a:lnTo>
                      <a:pt x="142" y="22"/>
                    </a:lnTo>
                    <a:lnTo>
                      <a:pt x="142" y="34"/>
                    </a:lnTo>
                    <a:lnTo>
                      <a:pt x="180" y="60"/>
                    </a:lnTo>
                    <a:lnTo>
                      <a:pt x="202" y="92"/>
                    </a:lnTo>
                    <a:lnTo>
                      <a:pt x="172" y="90"/>
                    </a:lnTo>
                    <a:lnTo>
                      <a:pt x="138" y="100"/>
                    </a:lnTo>
                    <a:lnTo>
                      <a:pt x="126" y="108"/>
                    </a:lnTo>
                    <a:lnTo>
                      <a:pt x="104" y="106"/>
                    </a:lnTo>
                    <a:lnTo>
                      <a:pt x="92" y="102"/>
                    </a:lnTo>
                    <a:lnTo>
                      <a:pt x="78" y="88"/>
                    </a:lnTo>
                    <a:lnTo>
                      <a:pt x="64" y="104"/>
                    </a:lnTo>
                    <a:lnTo>
                      <a:pt x="62" y="118"/>
                    </a:lnTo>
                    <a:lnTo>
                      <a:pt x="32" y="116"/>
                    </a:lnTo>
                    <a:lnTo>
                      <a:pt x="24" y="128"/>
                    </a:lnTo>
                    <a:lnTo>
                      <a:pt x="10" y="112"/>
                    </a:lnTo>
                    <a:lnTo>
                      <a:pt x="0" y="86"/>
                    </a:lnTo>
                    <a:lnTo>
                      <a:pt x="0" y="70"/>
                    </a:lnTo>
                    <a:lnTo>
                      <a:pt x="20" y="5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51" name="Freeform 144">
                <a:extLst>
                  <a:ext uri="{FF2B5EF4-FFF2-40B4-BE49-F238E27FC236}">
                    <a16:creationId xmlns:a16="http://schemas.microsoft.com/office/drawing/2014/main" id="{1EA1C605-7BC3-402B-9863-0A9CB0535A6C}"/>
                  </a:ext>
                </a:extLst>
              </p:cNvPr>
              <p:cNvSpPr>
                <a:spLocks/>
              </p:cNvSpPr>
              <p:nvPr/>
            </p:nvSpPr>
            <p:spPr bwMode="gray">
              <a:xfrm>
                <a:off x="6394580" y="4080539"/>
                <a:ext cx="435883" cy="511227"/>
              </a:xfrm>
              <a:custGeom>
                <a:avLst/>
                <a:gdLst>
                  <a:gd name="T0" fmla="*/ 188 w 264"/>
                  <a:gd name="T1" fmla="*/ 20 h 308"/>
                  <a:gd name="T2" fmla="*/ 208 w 264"/>
                  <a:gd name="T3" fmla="*/ 0 h 308"/>
                  <a:gd name="T4" fmla="*/ 216 w 264"/>
                  <a:gd name="T5" fmla="*/ 0 h 308"/>
                  <a:gd name="T6" fmla="*/ 238 w 264"/>
                  <a:gd name="T7" fmla="*/ 18 h 308"/>
                  <a:gd name="T8" fmla="*/ 242 w 264"/>
                  <a:gd name="T9" fmla="*/ 32 h 308"/>
                  <a:gd name="T10" fmla="*/ 240 w 264"/>
                  <a:gd name="T11" fmla="*/ 60 h 308"/>
                  <a:gd name="T12" fmla="*/ 264 w 264"/>
                  <a:gd name="T13" fmla="*/ 86 h 308"/>
                  <a:gd name="T14" fmla="*/ 236 w 264"/>
                  <a:gd name="T15" fmla="*/ 98 h 308"/>
                  <a:gd name="T16" fmla="*/ 230 w 264"/>
                  <a:gd name="T17" fmla="*/ 128 h 308"/>
                  <a:gd name="T18" fmla="*/ 230 w 264"/>
                  <a:gd name="T19" fmla="*/ 142 h 308"/>
                  <a:gd name="T20" fmla="*/ 206 w 264"/>
                  <a:gd name="T21" fmla="*/ 180 h 308"/>
                  <a:gd name="T22" fmla="*/ 206 w 264"/>
                  <a:gd name="T23" fmla="*/ 196 h 308"/>
                  <a:gd name="T24" fmla="*/ 194 w 264"/>
                  <a:gd name="T25" fmla="*/ 198 h 308"/>
                  <a:gd name="T26" fmla="*/ 194 w 264"/>
                  <a:gd name="T27" fmla="*/ 234 h 308"/>
                  <a:gd name="T28" fmla="*/ 174 w 264"/>
                  <a:gd name="T29" fmla="*/ 234 h 308"/>
                  <a:gd name="T30" fmla="*/ 178 w 264"/>
                  <a:gd name="T31" fmla="*/ 248 h 308"/>
                  <a:gd name="T32" fmla="*/ 188 w 264"/>
                  <a:gd name="T33" fmla="*/ 250 h 308"/>
                  <a:gd name="T34" fmla="*/ 212 w 264"/>
                  <a:gd name="T35" fmla="*/ 282 h 308"/>
                  <a:gd name="T36" fmla="*/ 218 w 264"/>
                  <a:gd name="T37" fmla="*/ 282 h 308"/>
                  <a:gd name="T38" fmla="*/ 218 w 264"/>
                  <a:gd name="T39" fmla="*/ 296 h 308"/>
                  <a:gd name="T40" fmla="*/ 198 w 264"/>
                  <a:gd name="T41" fmla="*/ 296 h 308"/>
                  <a:gd name="T42" fmla="*/ 190 w 264"/>
                  <a:gd name="T43" fmla="*/ 304 h 308"/>
                  <a:gd name="T44" fmla="*/ 138 w 264"/>
                  <a:gd name="T45" fmla="*/ 308 h 308"/>
                  <a:gd name="T46" fmla="*/ 122 w 264"/>
                  <a:gd name="T47" fmla="*/ 296 h 308"/>
                  <a:gd name="T48" fmla="*/ 94 w 264"/>
                  <a:gd name="T49" fmla="*/ 298 h 308"/>
                  <a:gd name="T50" fmla="*/ 86 w 264"/>
                  <a:gd name="T51" fmla="*/ 288 h 308"/>
                  <a:gd name="T52" fmla="*/ 64 w 264"/>
                  <a:gd name="T53" fmla="*/ 256 h 308"/>
                  <a:gd name="T54" fmla="*/ 26 w 264"/>
                  <a:gd name="T55" fmla="*/ 230 h 308"/>
                  <a:gd name="T56" fmla="*/ 24 w 264"/>
                  <a:gd name="T57" fmla="*/ 204 h 308"/>
                  <a:gd name="T58" fmla="*/ 12 w 264"/>
                  <a:gd name="T59" fmla="*/ 196 h 308"/>
                  <a:gd name="T60" fmla="*/ 8 w 264"/>
                  <a:gd name="T61" fmla="*/ 170 h 308"/>
                  <a:gd name="T62" fmla="*/ 0 w 264"/>
                  <a:gd name="T63" fmla="*/ 162 h 308"/>
                  <a:gd name="T64" fmla="*/ 16 w 264"/>
                  <a:gd name="T65" fmla="*/ 122 h 308"/>
                  <a:gd name="T66" fmla="*/ 30 w 264"/>
                  <a:gd name="T67" fmla="*/ 120 h 308"/>
                  <a:gd name="T68" fmla="*/ 32 w 264"/>
                  <a:gd name="T69" fmla="*/ 46 h 308"/>
                  <a:gd name="T70" fmla="*/ 50 w 264"/>
                  <a:gd name="T71" fmla="*/ 46 h 308"/>
                  <a:gd name="T72" fmla="*/ 50 w 264"/>
                  <a:gd name="T73" fmla="*/ 12 h 308"/>
                  <a:gd name="T74" fmla="*/ 178 w 264"/>
                  <a:gd name="T75" fmla="*/ 14 h 308"/>
                  <a:gd name="T76" fmla="*/ 188 w 264"/>
                  <a:gd name="T77" fmla="*/ 2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64" h="308">
                    <a:moveTo>
                      <a:pt x="188" y="20"/>
                    </a:moveTo>
                    <a:lnTo>
                      <a:pt x="208" y="0"/>
                    </a:lnTo>
                    <a:lnTo>
                      <a:pt x="216" y="0"/>
                    </a:lnTo>
                    <a:lnTo>
                      <a:pt x="238" y="18"/>
                    </a:lnTo>
                    <a:lnTo>
                      <a:pt x="242" y="32"/>
                    </a:lnTo>
                    <a:lnTo>
                      <a:pt x="240" y="60"/>
                    </a:lnTo>
                    <a:lnTo>
                      <a:pt x="264" y="86"/>
                    </a:lnTo>
                    <a:lnTo>
                      <a:pt x="236" y="98"/>
                    </a:lnTo>
                    <a:lnTo>
                      <a:pt x="230" y="128"/>
                    </a:lnTo>
                    <a:lnTo>
                      <a:pt x="230" y="142"/>
                    </a:lnTo>
                    <a:lnTo>
                      <a:pt x="206" y="180"/>
                    </a:lnTo>
                    <a:lnTo>
                      <a:pt x="206" y="196"/>
                    </a:lnTo>
                    <a:lnTo>
                      <a:pt x="194" y="198"/>
                    </a:lnTo>
                    <a:lnTo>
                      <a:pt x="194" y="234"/>
                    </a:lnTo>
                    <a:lnTo>
                      <a:pt x="174" y="234"/>
                    </a:lnTo>
                    <a:lnTo>
                      <a:pt x="178" y="248"/>
                    </a:lnTo>
                    <a:lnTo>
                      <a:pt x="188" y="250"/>
                    </a:lnTo>
                    <a:lnTo>
                      <a:pt x="212" y="282"/>
                    </a:lnTo>
                    <a:lnTo>
                      <a:pt x="218" y="282"/>
                    </a:lnTo>
                    <a:lnTo>
                      <a:pt x="218" y="296"/>
                    </a:lnTo>
                    <a:lnTo>
                      <a:pt x="198" y="296"/>
                    </a:lnTo>
                    <a:lnTo>
                      <a:pt x="190" y="304"/>
                    </a:lnTo>
                    <a:lnTo>
                      <a:pt x="138" y="308"/>
                    </a:lnTo>
                    <a:lnTo>
                      <a:pt x="122" y="296"/>
                    </a:lnTo>
                    <a:lnTo>
                      <a:pt x="94" y="298"/>
                    </a:lnTo>
                    <a:lnTo>
                      <a:pt x="86" y="288"/>
                    </a:lnTo>
                    <a:lnTo>
                      <a:pt x="64" y="256"/>
                    </a:lnTo>
                    <a:lnTo>
                      <a:pt x="26" y="230"/>
                    </a:lnTo>
                    <a:lnTo>
                      <a:pt x="24" y="204"/>
                    </a:lnTo>
                    <a:lnTo>
                      <a:pt x="12" y="196"/>
                    </a:lnTo>
                    <a:lnTo>
                      <a:pt x="8" y="170"/>
                    </a:lnTo>
                    <a:lnTo>
                      <a:pt x="0" y="162"/>
                    </a:lnTo>
                    <a:lnTo>
                      <a:pt x="16" y="122"/>
                    </a:lnTo>
                    <a:lnTo>
                      <a:pt x="30" y="120"/>
                    </a:lnTo>
                    <a:lnTo>
                      <a:pt x="32" y="46"/>
                    </a:lnTo>
                    <a:lnTo>
                      <a:pt x="50" y="46"/>
                    </a:lnTo>
                    <a:lnTo>
                      <a:pt x="50" y="12"/>
                    </a:lnTo>
                    <a:lnTo>
                      <a:pt x="178" y="14"/>
                    </a:lnTo>
                    <a:lnTo>
                      <a:pt x="188" y="2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52" name="Freeform 145">
                <a:extLst>
                  <a:ext uri="{FF2B5EF4-FFF2-40B4-BE49-F238E27FC236}">
                    <a16:creationId xmlns:a16="http://schemas.microsoft.com/office/drawing/2014/main" id="{C3997325-9344-41E1-B9AC-0307D557DE66}"/>
                  </a:ext>
                </a:extLst>
              </p:cNvPr>
              <p:cNvSpPr>
                <a:spLocks/>
              </p:cNvSpPr>
              <p:nvPr/>
            </p:nvSpPr>
            <p:spPr bwMode="gray">
              <a:xfrm>
                <a:off x="6774325" y="4223284"/>
                <a:ext cx="165108" cy="142746"/>
              </a:xfrm>
              <a:custGeom>
                <a:avLst/>
                <a:gdLst>
                  <a:gd name="T0" fmla="*/ 34 w 100"/>
                  <a:gd name="T1" fmla="*/ 0 h 86"/>
                  <a:gd name="T2" fmla="*/ 42 w 100"/>
                  <a:gd name="T3" fmla="*/ 12 h 86"/>
                  <a:gd name="T4" fmla="*/ 48 w 100"/>
                  <a:gd name="T5" fmla="*/ 26 h 86"/>
                  <a:gd name="T6" fmla="*/ 50 w 100"/>
                  <a:gd name="T7" fmla="*/ 44 h 86"/>
                  <a:gd name="T8" fmla="*/ 64 w 100"/>
                  <a:gd name="T9" fmla="*/ 44 h 86"/>
                  <a:gd name="T10" fmla="*/ 100 w 100"/>
                  <a:gd name="T11" fmla="*/ 76 h 86"/>
                  <a:gd name="T12" fmla="*/ 94 w 100"/>
                  <a:gd name="T13" fmla="*/ 86 h 86"/>
                  <a:gd name="T14" fmla="*/ 76 w 100"/>
                  <a:gd name="T15" fmla="*/ 68 h 86"/>
                  <a:gd name="T16" fmla="*/ 58 w 100"/>
                  <a:gd name="T17" fmla="*/ 52 h 86"/>
                  <a:gd name="T18" fmla="*/ 24 w 100"/>
                  <a:gd name="T19" fmla="*/ 50 h 86"/>
                  <a:gd name="T20" fmla="*/ 22 w 100"/>
                  <a:gd name="T21" fmla="*/ 56 h 86"/>
                  <a:gd name="T22" fmla="*/ 0 w 100"/>
                  <a:gd name="T23" fmla="*/ 56 h 86"/>
                  <a:gd name="T24" fmla="*/ 0 w 100"/>
                  <a:gd name="T25" fmla="*/ 42 h 86"/>
                  <a:gd name="T26" fmla="*/ 4 w 100"/>
                  <a:gd name="T27" fmla="*/ 28 h 86"/>
                  <a:gd name="T28" fmla="*/ 6 w 100"/>
                  <a:gd name="T29" fmla="*/ 12 h 86"/>
                  <a:gd name="T30" fmla="*/ 34 w 100"/>
                  <a:gd name="T31"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0" h="86">
                    <a:moveTo>
                      <a:pt x="34" y="0"/>
                    </a:moveTo>
                    <a:lnTo>
                      <a:pt x="42" y="12"/>
                    </a:lnTo>
                    <a:lnTo>
                      <a:pt x="48" y="26"/>
                    </a:lnTo>
                    <a:lnTo>
                      <a:pt x="50" y="44"/>
                    </a:lnTo>
                    <a:lnTo>
                      <a:pt x="64" y="44"/>
                    </a:lnTo>
                    <a:lnTo>
                      <a:pt x="100" y="76"/>
                    </a:lnTo>
                    <a:lnTo>
                      <a:pt x="94" y="86"/>
                    </a:lnTo>
                    <a:lnTo>
                      <a:pt x="76" y="68"/>
                    </a:lnTo>
                    <a:lnTo>
                      <a:pt x="58" y="52"/>
                    </a:lnTo>
                    <a:lnTo>
                      <a:pt x="24" y="50"/>
                    </a:lnTo>
                    <a:lnTo>
                      <a:pt x="22" y="56"/>
                    </a:lnTo>
                    <a:lnTo>
                      <a:pt x="0" y="56"/>
                    </a:lnTo>
                    <a:lnTo>
                      <a:pt x="0" y="42"/>
                    </a:lnTo>
                    <a:lnTo>
                      <a:pt x="4" y="28"/>
                    </a:lnTo>
                    <a:lnTo>
                      <a:pt x="6" y="12"/>
                    </a:lnTo>
                    <a:lnTo>
                      <a:pt x="34"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53" name="Freeform 146">
                <a:extLst>
                  <a:ext uri="{FF2B5EF4-FFF2-40B4-BE49-F238E27FC236}">
                    <a16:creationId xmlns:a16="http://schemas.microsoft.com/office/drawing/2014/main" id="{CB75B9F6-9EAA-4B63-B23F-FCFA405864E7}"/>
                  </a:ext>
                </a:extLst>
              </p:cNvPr>
              <p:cNvSpPr>
                <a:spLocks/>
              </p:cNvSpPr>
              <p:nvPr/>
            </p:nvSpPr>
            <p:spPr bwMode="gray">
              <a:xfrm>
                <a:off x="6916317" y="4349431"/>
                <a:ext cx="36323" cy="56435"/>
              </a:xfrm>
              <a:custGeom>
                <a:avLst/>
                <a:gdLst>
                  <a:gd name="T0" fmla="*/ 22 w 22"/>
                  <a:gd name="T1" fmla="*/ 16 h 34"/>
                  <a:gd name="T2" fmla="*/ 14 w 22"/>
                  <a:gd name="T3" fmla="*/ 22 h 34"/>
                  <a:gd name="T4" fmla="*/ 16 w 22"/>
                  <a:gd name="T5" fmla="*/ 34 h 34"/>
                  <a:gd name="T6" fmla="*/ 0 w 22"/>
                  <a:gd name="T7" fmla="*/ 32 h 34"/>
                  <a:gd name="T8" fmla="*/ 0 w 22"/>
                  <a:gd name="T9" fmla="*/ 20 h 34"/>
                  <a:gd name="T10" fmla="*/ 8 w 22"/>
                  <a:gd name="T11" fmla="*/ 10 h 34"/>
                  <a:gd name="T12" fmla="*/ 14 w 22"/>
                  <a:gd name="T13" fmla="*/ 0 h 34"/>
                  <a:gd name="T14" fmla="*/ 22 w 22"/>
                  <a:gd name="T15" fmla="*/ 16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34">
                    <a:moveTo>
                      <a:pt x="22" y="16"/>
                    </a:moveTo>
                    <a:lnTo>
                      <a:pt x="14" y="22"/>
                    </a:lnTo>
                    <a:lnTo>
                      <a:pt x="16" y="34"/>
                    </a:lnTo>
                    <a:lnTo>
                      <a:pt x="0" y="32"/>
                    </a:lnTo>
                    <a:lnTo>
                      <a:pt x="0" y="20"/>
                    </a:lnTo>
                    <a:lnTo>
                      <a:pt x="8" y="10"/>
                    </a:lnTo>
                    <a:lnTo>
                      <a:pt x="14" y="0"/>
                    </a:lnTo>
                    <a:lnTo>
                      <a:pt x="22" y="1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54" name="Freeform 147">
                <a:extLst>
                  <a:ext uri="{FF2B5EF4-FFF2-40B4-BE49-F238E27FC236}">
                    <a16:creationId xmlns:a16="http://schemas.microsoft.com/office/drawing/2014/main" id="{95ACDB8E-5996-4A32-9D76-353F68ED099B}"/>
                  </a:ext>
                </a:extLst>
              </p:cNvPr>
              <p:cNvSpPr>
                <a:spLocks/>
              </p:cNvSpPr>
              <p:nvPr/>
            </p:nvSpPr>
            <p:spPr bwMode="gray">
              <a:xfrm>
                <a:off x="6889901" y="4379308"/>
                <a:ext cx="274078" cy="358523"/>
              </a:xfrm>
              <a:custGeom>
                <a:avLst/>
                <a:gdLst>
                  <a:gd name="T0" fmla="*/ 60 w 166"/>
                  <a:gd name="T1" fmla="*/ 26 h 216"/>
                  <a:gd name="T2" fmla="*/ 78 w 166"/>
                  <a:gd name="T3" fmla="*/ 18 h 216"/>
                  <a:gd name="T4" fmla="*/ 146 w 166"/>
                  <a:gd name="T5" fmla="*/ 8 h 216"/>
                  <a:gd name="T6" fmla="*/ 164 w 166"/>
                  <a:gd name="T7" fmla="*/ 0 h 216"/>
                  <a:gd name="T8" fmla="*/ 166 w 166"/>
                  <a:gd name="T9" fmla="*/ 22 h 216"/>
                  <a:gd name="T10" fmla="*/ 158 w 166"/>
                  <a:gd name="T11" fmla="*/ 30 h 216"/>
                  <a:gd name="T12" fmla="*/ 132 w 166"/>
                  <a:gd name="T13" fmla="*/ 80 h 216"/>
                  <a:gd name="T14" fmla="*/ 80 w 166"/>
                  <a:gd name="T15" fmla="*/ 152 h 216"/>
                  <a:gd name="T16" fmla="*/ 12 w 166"/>
                  <a:gd name="T17" fmla="*/ 216 h 216"/>
                  <a:gd name="T18" fmla="*/ 2 w 166"/>
                  <a:gd name="T19" fmla="*/ 202 h 216"/>
                  <a:gd name="T20" fmla="*/ 0 w 166"/>
                  <a:gd name="T21" fmla="*/ 146 h 216"/>
                  <a:gd name="T22" fmla="*/ 16 w 166"/>
                  <a:gd name="T23" fmla="*/ 136 h 216"/>
                  <a:gd name="T24" fmla="*/ 16 w 166"/>
                  <a:gd name="T25" fmla="*/ 126 h 216"/>
                  <a:gd name="T26" fmla="*/ 40 w 166"/>
                  <a:gd name="T27" fmla="*/ 112 h 216"/>
                  <a:gd name="T28" fmla="*/ 66 w 166"/>
                  <a:gd name="T29" fmla="*/ 108 h 216"/>
                  <a:gd name="T30" fmla="*/ 108 w 166"/>
                  <a:gd name="T31" fmla="*/ 62 h 216"/>
                  <a:gd name="T32" fmla="*/ 52 w 166"/>
                  <a:gd name="T33" fmla="*/ 48 h 216"/>
                  <a:gd name="T34" fmla="*/ 32 w 166"/>
                  <a:gd name="T35" fmla="*/ 26 h 216"/>
                  <a:gd name="T36" fmla="*/ 32 w 166"/>
                  <a:gd name="T37" fmla="*/ 16 h 216"/>
                  <a:gd name="T38" fmla="*/ 40 w 166"/>
                  <a:gd name="T39" fmla="*/ 8 h 216"/>
                  <a:gd name="T40" fmla="*/ 60 w 166"/>
                  <a:gd name="T41" fmla="*/ 2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6" h="216">
                    <a:moveTo>
                      <a:pt x="60" y="26"/>
                    </a:moveTo>
                    <a:lnTo>
                      <a:pt x="78" y="18"/>
                    </a:lnTo>
                    <a:lnTo>
                      <a:pt x="146" y="8"/>
                    </a:lnTo>
                    <a:lnTo>
                      <a:pt x="164" y="0"/>
                    </a:lnTo>
                    <a:lnTo>
                      <a:pt x="166" y="22"/>
                    </a:lnTo>
                    <a:lnTo>
                      <a:pt x="158" y="30"/>
                    </a:lnTo>
                    <a:lnTo>
                      <a:pt x="132" y="80"/>
                    </a:lnTo>
                    <a:lnTo>
                      <a:pt x="80" y="152"/>
                    </a:lnTo>
                    <a:lnTo>
                      <a:pt x="12" y="216"/>
                    </a:lnTo>
                    <a:lnTo>
                      <a:pt x="2" y="202"/>
                    </a:lnTo>
                    <a:lnTo>
                      <a:pt x="0" y="146"/>
                    </a:lnTo>
                    <a:lnTo>
                      <a:pt x="16" y="136"/>
                    </a:lnTo>
                    <a:lnTo>
                      <a:pt x="16" y="126"/>
                    </a:lnTo>
                    <a:lnTo>
                      <a:pt x="40" y="112"/>
                    </a:lnTo>
                    <a:lnTo>
                      <a:pt x="66" y="108"/>
                    </a:lnTo>
                    <a:lnTo>
                      <a:pt x="108" y="62"/>
                    </a:lnTo>
                    <a:lnTo>
                      <a:pt x="52" y="48"/>
                    </a:lnTo>
                    <a:lnTo>
                      <a:pt x="32" y="26"/>
                    </a:lnTo>
                    <a:lnTo>
                      <a:pt x="32" y="16"/>
                    </a:lnTo>
                    <a:lnTo>
                      <a:pt x="40" y="8"/>
                    </a:lnTo>
                    <a:lnTo>
                      <a:pt x="60" y="2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55" name="Freeform 148">
                <a:extLst>
                  <a:ext uri="{FF2B5EF4-FFF2-40B4-BE49-F238E27FC236}">
                    <a16:creationId xmlns:a16="http://schemas.microsoft.com/office/drawing/2014/main" id="{90481255-D60D-4BA6-B34F-0BE5ED63B1DE}"/>
                  </a:ext>
                </a:extLst>
              </p:cNvPr>
              <p:cNvSpPr>
                <a:spLocks/>
              </p:cNvSpPr>
              <p:nvPr/>
            </p:nvSpPr>
            <p:spPr bwMode="gray">
              <a:xfrm>
                <a:off x="6681865" y="4306275"/>
                <a:ext cx="386350" cy="295449"/>
              </a:xfrm>
              <a:custGeom>
                <a:avLst/>
                <a:gdLst>
                  <a:gd name="T0" fmla="*/ 56 w 234"/>
                  <a:gd name="T1" fmla="*/ 6 h 178"/>
                  <a:gd name="T2" fmla="*/ 78 w 234"/>
                  <a:gd name="T3" fmla="*/ 6 h 178"/>
                  <a:gd name="T4" fmla="*/ 80 w 234"/>
                  <a:gd name="T5" fmla="*/ 0 h 178"/>
                  <a:gd name="T6" fmla="*/ 114 w 234"/>
                  <a:gd name="T7" fmla="*/ 2 h 178"/>
                  <a:gd name="T8" fmla="*/ 150 w 234"/>
                  <a:gd name="T9" fmla="*/ 36 h 178"/>
                  <a:gd name="T10" fmla="*/ 142 w 234"/>
                  <a:gd name="T11" fmla="*/ 46 h 178"/>
                  <a:gd name="T12" fmla="*/ 142 w 234"/>
                  <a:gd name="T13" fmla="*/ 58 h 178"/>
                  <a:gd name="T14" fmla="*/ 158 w 234"/>
                  <a:gd name="T15" fmla="*/ 60 h 178"/>
                  <a:gd name="T16" fmla="*/ 158 w 234"/>
                  <a:gd name="T17" fmla="*/ 70 h 178"/>
                  <a:gd name="T18" fmla="*/ 178 w 234"/>
                  <a:gd name="T19" fmla="*/ 92 h 178"/>
                  <a:gd name="T20" fmla="*/ 234 w 234"/>
                  <a:gd name="T21" fmla="*/ 106 h 178"/>
                  <a:gd name="T22" fmla="*/ 192 w 234"/>
                  <a:gd name="T23" fmla="*/ 152 h 178"/>
                  <a:gd name="T24" fmla="*/ 166 w 234"/>
                  <a:gd name="T25" fmla="*/ 156 h 178"/>
                  <a:gd name="T26" fmla="*/ 142 w 234"/>
                  <a:gd name="T27" fmla="*/ 170 h 178"/>
                  <a:gd name="T28" fmla="*/ 130 w 234"/>
                  <a:gd name="T29" fmla="*/ 174 h 178"/>
                  <a:gd name="T30" fmla="*/ 124 w 234"/>
                  <a:gd name="T31" fmla="*/ 166 h 178"/>
                  <a:gd name="T32" fmla="*/ 104 w 234"/>
                  <a:gd name="T33" fmla="*/ 178 h 178"/>
                  <a:gd name="T34" fmla="*/ 80 w 234"/>
                  <a:gd name="T35" fmla="*/ 176 h 178"/>
                  <a:gd name="T36" fmla="*/ 44 w 234"/>
                  <a:gd name="T37" fmla="*/ 160 h 178"/>
                  <a:gd name="T38" fmla="*/ 44 w 234"/>
                  <a:gd name="T39" fmla="*/ 146 h 178"/>
                  <a:gd name="T40" fmla="*/ 38 w 234"/>
                  <a:gd name="T41" fmla="*/ 146 h 178"/>
                  <a:gd name="T42" fmla="*/ 14 w 234"/>
                  <a:gd name="T43" fmla="*/ 114 h 178"/>
                  <a:gd name="T44" fmla="*/ 4 w 234"/>
                  <a:gd name="T45" fmla="*/ 112 h 178"/>
                  <a:gd name="T46" fmla="*/ 0 w 234"/>
                  <a:gd name="T47" fmla="*/ 98 h 178"/>
                  <a:gd name="T48" fmla="*/ 20 w 234"/>
                  <a:gd name="T49" fmla="*/ 98 h 178"/>
                  <a:gd name="T50" fmla="*/ 20 w 234"/>
                  <a:gd name="T51" fmla="*/ 62 h 178"/>
                  <a:gd name="T52" fmla="*/ 32 w 234"/>
                  <a:gd name="T53" fmla="*/ 60 h 178"/>
                  <a:gd name="T54" fmla="*/ 32 w 234"/>
                  <a:gd name="T55" fmla="*/ 44 h 178"/>
                  <a:gd name="T56" fmla="*/ 56 w 234"/>
                  <a:gd name="T57" fmla="*/ 6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34" h="178">
                    <a:moveTo>
                      <a:pt x="56" y="6"/>
                    </a:moveTo>
                    <a:lnTo>
                      <a:pt x="78" y="6"/>
                    </a:lnTo>
                    <a:lnTo>
                      <a:pt x="80" y="0"/>
                    </a:lnTo>
                    <a:lnTo>
                      <a:pt x="114" y="2"/>
                    </a:lnTo>
                    <a:lnTo>
                      <a:pt x="150" y="36"/>
                    </a:lnTo>
                    <a:lnTo>
                      <a:pt x="142" y="46"/>
                    </a:lnTo>
                    <a:lnTo>
                      <a:pt x="142" y="58"/>
                    </a:lnTo>
                    <a:lnTo>
                      <a:pt x="158" y="60"/>
                    </a:lnTo>
                    <a:lnTo>
                      <a:pt x="158" y="70"/>
                    </a:lnTo>
                    <a:lnTo>
                      <a:pt x="178" y="92"/>
                    </a:lnTo>
                    <a:lnTo>
                      <a:pt x="234" y="106"/>
                    </a:lnTo>
                    <a:lnTo>
                      <a:pt x="192" y="152"/>
                    </a:lnTo>
                    <a:lnTo>
                      <a:pt x="166" y="156"/>
                    </a:lnTo>
                    <a:lnTo>
                      <a:pt x="142" y="170"/>
                    </a:lnTo>
                    <a:lnTo>
                      <a:pt x="130" y="174"/>
                    </a:lnTo>
                    <a:lnTo>
                      <a:pt x="124" y="166"/>
                    </a:lnTo>
                    <a:lnTo>
                      <a:pt x="104" y="178"/>
                    </a:lnTo>
                    <a:lnTo>
                      <a:pt x="80" y="176"/>
                    </a:lnTo>
                    <a:lnTo>
                      <a:pt x="44" y="160"/>
                    </a:lnTo>
                    <a:lnTo>
                      <a:pt x="44" y="146"/>
                    </a:lnTo>
                    <a:lnTo>
                      <a:pt x="38" y="146"/>
                    </a:lnTo>
                    <a:lnTo>
                      <a:pt x="14" y="114"/>
                    </a:lnTo>
                    <a:lnTo>
                      <a:pt x="4" y="112"/>
                    </a:lnTo>
                    <a:lnTo>
                      <a:pt x="0" y="98"/>
                    </a:lnTo>
                    <a:lnTo>
                      <a:pt x="20" y="98"/>
                    </a:lnTo>
                    <a:lnTo>
                      <a:pt x="20" y="62"/>
                    </a:lnTo>
                    <a:lnTo>
                      <a:pt x="32" y="60"/>
                    </a:lnTo>
                    <a:lnTo>
                      <a:pt x="32" y="44"/>
                    </a:lnTo>
                    <a:lnTo>
                      <a:pt x="56" y="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56" name="Freeform 149">
                <a:extLst>
                  <a:ext uri="{FF2B5EF4-FFF2-40B4-BE49-F238E27FC236}">
                    <a16:creationId xmlns:a16="http://schemas.microsoft.com/office/drawing/2014/main" id="{5E368153-D955-4893-9C72-726163090567}"/>
                  </a:ext>
                </a:extLst>
              </p:cNvPr>
              <p:cNvSpPr>
                <a:spLocks/>
              </p:cNvSpPr>
              <p:nvPr/>
            </p:nvSpPr>
            <p:spPr bwMode="gray">
              <a:xfrm>
                <a:off x="6046203" y="4349431"/>
                <a:ext cx="196478" cy="295449"/>
              </a:xfrm>
              <a:custGeom>
                <a:avLst/>
                <a:gdLst>
                  <a:gd name="T0" fmla="*/ 91 w 119"/>
                  <a:gd name="T1" fmla="*/ 0 h 178"/>
                  <a:gd name="T2" fmla="*/ 99 w 119"/>
                  <a:gd name="T3" fmla="*/ 12 h 178"/>
                  <a:gd name="T4" fmla="*/ 101 w 119"/>
                  <a:gd name="T5" fmla="*/ 36 h 178"/>
                  <a:gd name="T6" fmla="*/ 107 w 119"/>
                  <a:gd name="T7" fmla="*/ 46 h 178"/>
                  <a:gd name="T8" fmla="*/ 87 w 119"/>
                  <a:gd name="T9" fmla="*/ 46 h 178"/>
                  <a:gd name="T10" fmla="*/ 85 w 119"/>
                  <a:gd name="T11" fmla="*/ 56 h 178"/>
                  <a:gd name="T12" fmla="*/ 115 w 119"/>
                  <a:gd name="T13" fmla="*/ 88 h 178"/>
                  <a:gd name="T14" fmla="*/ 95 w 119"/>
                  <a:gd name="T15" fmla="*/ 104 h 178"/>
                  <a:gd name="T16" fmla="*/ 95 w 119"/>
                  <a:gd name="T17" fmla="*/ 120 h 178"/>
                  <a:gd name="T18" fmla="*/ 105 w 119"/>
                  <a:gd name="T19" fmla="*/ 146 h 178"/>
                  <a:gd name="T20" fmla="*/ 119 w 119"/>
                  <a:gd name="T21" fmla="*/ 162 h 178"/>
                  <a:gd name="T22" fmla="*/ 117 w 119"/>
                  <a:gd name="T23" fmla="*/ 176 h 178"/>
                  <a:gd name="T24" fmla="*/ 99 w 119"/>
                  <a:gd name="T25" fmla="*/ 178 h 178"/>
                  <a:gd name="T26" fmla="*/ 99 w 119"/>
                  <a:gd name="T27" fmla="*/ 170 h 178"/>
                  <a:gd name="T28" fmla="*/ 18 w 119"/>
                  <a:gd name="T29" fmla="*/ 170 h 178"/>
                  <a:gd name="T30" fmla="*/ 18 w 119"/>
                  <a:gd name="T31" fmla="*/ 146 h 178"/>
                  <a:gd name="T32" fmla="*/ 10 w 119"/>
                  <a:gd name="T33" fmla="*/ 138 h 178"/>
                  <a:gd name="T34" fmla="*/ 0 w 119"/>
                  <a:gd name="T35" fmla="*/ 132 h 178"/>
                  <a:gd name="T36" fmla="*/ 2 w 119"/>
                  <a:gd name="T37" fmla="*/ 114 h 178"/>
                  <a:gd name="T38" fmla="*/ 22 w 119"/>
                  <a:gd name="T39" fmla="*/ 96 h 178"/>
                  <a:gd name="T40" fmla="*/ 32 w 119"/>
                  <a:gd name="T41" fmla="*/ 96 h 178"/>
                  <a:gd name="T42" fmla="*/ 43 w 119"/>
                  <a:gd name="T43" fmla="*/ 104 h 178"/>
                  <a:gd name="T44" fmla="*/ 83 w 119"/>
                  <a:gd name="T45" fmla="*/ 28 h 178"/>
                  <a:gd name="T46" fmla="*/ 93 w 119"/>
                  <a:gd name="T47" fmla="*/ 26 h 178"/>
                  <a:gd name="T48" fmla="*/ 91 w 119"/>
                  <a:gd name="T49" fmla="*/ 12 h 178"/>
                  <a:gd name="T50" fmla="*/ 91 w 119"/>
                  <a:gd name="T51"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9" h="178">
                    <a:moveTo>
                      <a:pt x="91" y="0"/>
                    </a:moveTo>
                    <a:lnTo>
                      <a:pt x="99" y="12"/>
                    </a:lnTo>
                    <a:lnTo>
                      <a:pt x="101" y="36"/>
                    </a:lnTo>
                    <a:lnTo>
                      <a:pt x="107" y="46"/>
                    </a:lnTo>
                    <a:lnTo>
                      <a:pt x="87" y="46"/>
                    </a:lnTo>
                    <a:lnTo>
                      <a:pt x="85" y="56"/>
                    </a:lnTo>
                    <a:lnTo>
                      <a:pt x="115" y="88"/>
                    </a:lnTo>
                    <a:lnTo>
                      <a:pt x="95" y="104"/>
                    </a:lnTo>
                    <a:lnTo>
                      <a:pt x="95" y="120"/>
                    </a:lnTo>
                    <a:lnTo>
                      <a:pt x="105" y="146"/>
                    </a:lnTo>
                    <a:lnTo>
                      <a:pt x="119" y="162"/>
                    </a:lnTo>
                    <a:lnTo>
                      <a:pt x="117" y="176"/>
                    </a:lnTo>
                    <a:lnTo>
                      <a:pt x="99" y="178"/>
                    </a:lnTo>
                    <a:lnTo>
                      <a:pt x="99" y="170"/>
                    </a:lnTo>
                    <a:lnTo>
                      <a:pt x="18" y="170"/>
                    </a:lnTo>
                    <a:lnTo>
                      <a:pt x="18" y="146"/>
                    </a:lnTo>
                    <a:lnTo>
                      <a:pt x="10" y="138"/>
                    </a:lnTo>
                    <a:lnTo>
                      <a:pt x="0" y="132"/>
                    </a:lnTo>
                    <a:lnTo>
                      <a:pt x="2" y="114"/>
                    </a:lnTo>
                    <a:lnTo>
                      <a:pt x="22" y="96"/>
                    </a:lnTo>
                    <a:lnTo>
                      <a:pt x="32" y="96"/>
                    </a:lnTo>
                    <a:lnTo>
                      <a:pt x="43" y="104"/>
                    </a:lnTo>
                    <a:lnTo>
                      <a:pt x="83" y="28"/>
                    </a:lnTo>
                    <a:lnTo>
                      <a:pt x="93" y="26"/>
                    </a:lnTo>
                    <a:lnTo>
                      <a:pt x="91" y="12"/>
                    </a:lnTo>
                    <a:lnTo>
                      <a:pt x="91"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57" name="Freeform 150">
                <a:extLst>
                  <a:ext uri="{FF2B5EF4-FFF2-40B4-BE49-F238E27FC236}">
                    <a16:creationId xmlns:a16="http://schemas.microsoft.com/office/drawing/2014/main" id="{3C8F2B86-7299-436D-BC3D-70F0A3870DA9}"/>
                  </a:ext>
                </a:extLst>
              </p:cNvPr>
              <p:cNvSpPr>
                <a:spLocks/>
              </p:cNvSpPr>
              <p:nvPr/>
            </p:nvSpPr>
            <p:spPr bwMode="gray">
              <a:xfrm>
                <a:off x="5891003" y="4326193"/>
                <a:ext cx="308750" cy="248974"/>
              </a:xfrm>
              <a:custGeom>
                <a:avLst/>
                <a:gdLst>
                  <a:gd name="T0" fmla="*/ 94 w 187"/>
                  <a:gd name="T1" fmla="*/ 146 h 150"/>
                  <a:gd name="T2" fmla="*/ 64 w 187"/>
                  <a:gd name="T3" fmla="*/ 150 h 150"/>
                  <a:gd name="T4" fmla="*/ 44 w 187"/>
                  <a:gd name="T5" fmla="*/ 148 h 150"/>
                  <a:gd name="T6" fmla="*/ 46 w 187"/>
                  <a:gd name="T7" fmla="*/ 132 h 150"/>
                  <a:gd name="T8" fmla="*/ 22 w 187"/>
                  <a:gd name="T9" fmla="*/ 118 h 150"/>
                  <a:gd name="T10" fmla="*/ 2 w 187"/>
                  <a:gd name="T11" fmla="*/ 116 h 150"/>
                  <a:gd name="T12" fmla="*/ 0 w 187"/>
                  <a:gd name="T13" fmla="*/ 78 h 150"/>
                  <a:gd name="T14" fmla="*/ 22 w 187"/>
                  <a:gd name="T15" fmla="*/ 52 h 150"/>
                  <a:gd name="T16" fmla="*/ 10 w 187"/>
                  <a:gd name="T17" fmla="*/ 42 h 150"/>
                  <a:gd name="T18" fmla="*/ 12 w 187"/>
                  <a:gd name="T19" fmla="*/ 34 h 150"/>
                  <a:gd name="T20" fmla="*/ 24 w 187"/>
                  <a:gd name="T21" fmla="*/ 2 h 150"/>
                  <a:gd name="T22" fmla="*/ 54 w 187"/>
                  <a:gd name="T23" fmla="*/ 2 h 150"/>
                  <a:gd name="T24" fmla="*/ 70 w 187"/>
                  <a:gd name="T25" fmla="*/ 14 h 150"/>
                  <a:gd name="T26" fmla="*/ 80 w 187"/>
                  <a:gd name="T27" fmla="*/ 8 h 150"/>
                  <a:gd name="T28" fmla="*/ 108 w 187"/>
                  <a:gd name="T29" fmla="*/ 18 h 150"/>
                  <a:gd name="T30" fmla="*/ 114 w 187"/>
                  <a:gd name="T31" fmla="*/ 10 h 150"/>
                  <a:gd name="T32" fmla="*/ 149 w 187"/>
                  <a:gd name="T33" fmla="*/ 14 h 150"/>
                  <a:gd name="T34" fmla="*/ 171 w 187"/>
                  <a:gd name="T35" fmla="*/ 0 h 150"/>
                  <a:gd name="T36" fmla="*/ 185 w 187"/>
                  <a:gd name="T37" fmla="*/ 14 h 150"/>
                  <a:gd name="T38" fmla="*/ 187 w 187"/>
                  <a:gd name="T39" fmla="*/ 40 h 150"/>
                  <a:gd name="T40" fmla="*/ 177 w 187"/>
                  <a:gd name="T41" fmla="*/ 42 h 150"/>
                  <a:gd name="T42" fmla="*/ 137 w 187"/>
                  <a:gd name="T43" fmla="*/ 118 h 150"/>
                  <a:gd name="T44" fmla="*/ 126 w 187"/>
                  <a:gd name="T45" fmla="*/ 110 h 150"/>
                  <a:gd name="T46" fmla="*/ 116 w 187"/>
                  <a:gd name="T47" fmla="*/ 110 h 150"/>
                  <a:gd name="T48" fmla="*/ 96 w 187"/>
                  <a:gd name="T49" fmla="*/ 128 h 150"/>
                  <a:gd name="T50" fmla="*/ 94 w 187"/>
                  <a:gd name="T51" fmla="*/ 146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87" h="150">
                    <a:moveTo>
                      <a:pt x="94" y="146"/>
                    </a:moveTo>
                    <a:lnTo>
                      <a:pt x="64" y="150"/>
                    </a:lnTo>
                    <a:lnTo>
                      <a:pt x="44" y="148"/>
                    </a:lnTo>
                    <a:lnTo>
                      <a:pt x="46" y="132"/>
                    </a:lnTo>
                    <a:lnTo>
                      <a:pt x="22" y="118"/>
                    </a:lnTo>
                    <a:lnTo>
                      <a:pt x="2" y="116"/>
                    </a:lnTo>
                    <a:lnTo>
                      <a:pt x="0" y="78"/>
                    </a:lnTo>
                    <a:lnTo>
                      <a:pt x="22" y="52"/>
                    </a:lnTo>
                    <a:lnTo>
                      <a:pt x="10" y="42"/>
                    </a:lnTo>
                    <a:lnTo>
                      <a:pt x="12" y="34"/>
                    </a:lnTo>
                    <a:lnTo>
                      <a:pt x="24" y="2"/>
                    </a:lnTo>
                    <a:lnTo>
                      <a:pt x="54" y="2"/>
                    </a:lnTo>
                    <a:lnTo>
                      <a:pt x="70" y="14"/>
                    </a:lnTo>
                    <a:lnTo>
                      <a:pt x="80" y="8"/>
                    </a:lnTo>
                    <a:lnTo>
                      <a:pt x="108" y="18"/>
                    </a:lnTo>
                    <a:lnTo>
                      <a:pt x="114" y="10"/>
                    </a:lnTo>
                    <a:lnTo>
                      <a:pt x="149" y="14"/>
                    </a:lnTo>
                    <a:lnTo>
                      <a:pt x="171" y="0"/>
                    </a:lnTo>
                    <a:lnTo>
                      <a:pt x="185" y="14"/>
                    </a:lnTo>
                    <a:lnTo>
                      <a:pt x="187" y="40"/>
                    </a:lnTo>
                    <a:lnTo>
                      <a:pt x="177" y="42"/>
                    </a:lnTo>
                    <a:lnTo>
                      <a:pt x="137" y="118"/>
                    </a:lnTo>
                    <a:lnTo>
                      <a:pt x="126" y="110"/>
                    </a:lnTo>
                    <a:lnTo>
                      <a:pt x="116" y="110"/>
                    </a:lnTo>
                    <a:lnTo>
                      <a:pt x="96" y="128"/>
                    </a:lnTo>
                    <a:lnTo>
                      <a:pt x="94" y="14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58" name="Freeform 151">
                <a:extLst>
                  <a:ext uri="{FF2B5EF4-FFF2-40B4-BE49-F238E27FC236}">
                    <a16:creationId xmlns:a16="http://schemas.microsoft.com/office/drawing/2014/main" id="{D1E831C4-3922-4B24-9138-E07AAAB7800B}"/>
                  </a:ext>
                </a:extLst>
              </p:cNvPr>
              <p:cNvSpPr>
                <a:spLocks/>
              </p:cNvSpPr>
              <p:nvPr/>
            </p:nvSpPr>
            <p:spPr bwMode="gray">
              <a:xfrm>
                <a:off x="5838168" y="4366029"/>
                <a:ext cx="89158" cy="159344"/>
              </a:xfrm>
              <a:custGeom>
                <a:avLst/>
                <a:gdLst>
                  <a:gd name="T0" fmla="*/ 20 w 54"/>
                  <a:gd name="T1" fmla="*/ 2 h 96"/>
                  <a:gd name="T2" fmla="*/ 34 w 54"/>
                  <a:gd name="T3" fmla="*/ 0 h 96"/>
                  <a:gd name="T4" fmla="*/ 44 w 54"/>
                  <a:gd name="T5" fmla="*/ 10 h 96"/>
                  <a:gd name="T6" fmla="*/ 42 w 54"/>
                  <a:gd name="T7" fmla="*/ 18 h 96"/>
                  <a:gd name="T8" fmla="*/ 54 w 54"/>
                  <a:gd name="T9" fmla="*/ 28 h 96"/>
                  <a:gd name="T10" fmla="*/ 32 w 54"/>
                  <a:gd name="T11" fmla="*/ 54 h 96"/>
                  <a:gd name="T12" fmla="*/ 34 w 54"/>
                  <a:gd name="T13" fmla="*/ 92 h 96"/>
                  <a:gd name="T14" fmla="*/ 12 w 54"/>
                  <a:gd name="T15" fmla="*/ 96 h 96"/>
                  <a:gd name="T16" fmla="*/ 12 w 54"/>
                  <a:gd name="T17" fmla="*/ 48 h 96"/>
                  <a:gd name="T18" fmla="*/ 0 w 54"/>
                  <a:gd name="T19" fmla="*/ 32 h 96"/>
                  <a:gd name="T20" fmla="*/ 4 w 54"/>
                  <a:gd name="T21" fmla="*/ 20 h 96"/>
                  <a:gd name="T22" fmla="*/ 20 w 54"/>
                  <a:gd name="T23" fmla="*/ 16 h 96"/>
                  <a:gd name="T24" fmla="*/ 20 w 54"/>
                  <a:gd name="T25" fmla="*/ 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96">
                    <a:moveTo>
                      <a:pt x="20" y="2"/>
                    </a:moveTo>
                    <a:lnTo>
                      <a:pt x="34" y="0"/>
                    </a:lnTo>
                    <a:lnTo>
                      <a:pt x="44" y="10"/>
                    </a:lnTo>
                    <a:lnTo>
                      <a:pt x="42" y="18"/>
                    </a:lnTo>
                    <a:lnTo>
                      <a:pt x="54" y="28"/>
                    </a:lnTo>
                    <a:lnTo>
                      <a:pt x="32" y="54"/>
                    </a:lnTo>
                    <a:lnTo>
                      <a:pt x="34" y="92"/>
                    </a:lnTo>
                    <a:lnTo>
                      <a:pt x="12" y="96"/>
                    </a:lnTo>
                    <a:lnTo>
                      <a:pt x="12" y="48"/>
                    </a:lnTo>
                    <a:lnTo>
                      <a:pt x="0" y="32"/>
                    </a:lnTo>
                    <a:lnTo>
                      <a:pt x="4" y="20"/>
                    </a:lnTo>
                    <a:lnTo>
                      <a:pt x="20" y="16"/>
                    </a:lnTo>
                    <a:lnTo>
                      <a:pt x="20" y="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59" name="Freeform 152">
                <a:extLst>
                  <a:ext uri="{FF2B5EF4-FFF2-40B4-BE49-F238E27FC236}">
                    <a16:creationId xmlns:a16="http://schemas.microsoft.com/office/drawing/2014/main" id="{28D3DDDF-32C7-414D-850A-5A8E0A78C993}"/>
                  </a:ext>
                </a:extLst>
              </p:cNvPr>
              <p:cNvSpPr>
                <a:spLocks/>
              </p:cNvSpPr>
              <p:nvPr/>
            </p:nvSpPr>
            <p:spPr bwMode="gray">
              <a:xfrm>
                <a:off x="5808450" y="4399226"/>
                <a:ext cx="49532" cy="132786"/>
              </a:xfrm>
              <a:custGeom>
                <a:avLst/>
                <a:gdLst>
                  <a:gd name="T0" fmla="*/ 30 w 30"/>
                  <a:gd name="T1" fmla="*/ 76 h 80"/>
                  <a:gd name="T2" fmla="*/ 16 w 30"/>
                  <a:gd name="T3" fmla="*/ 80 h 80"/>
                  <a:gd name="T4" fmla="*/ 12 w 30"/>
                  <a:gd name="T5" fmla="*/ 48 h 80"/>
                  <a:gd name="T6" fmla="*/ 8 w 30"/>
                  <a:gd name="T7" fmla="*/ 34 h 80"/>
                  <a:gd name="T8" fmla="*/ 12 w 30"/>
                  <a:gd name="T9" fmla="*/ 18 h 80"/>
                  <a:gd name="T10" fmla="*/ 0 w 30"/>
                  <a:gd name="T11" fmla="*/ 0 h 80"/>
                  <a:gd name="T12" fmla="*/ 22 w 30"/>
                  <a:gd name="T13" fmla="*/ 0 h 80"/>
                  <a:gd name="T14" fmla="*/ 18 w 30"/>
                  <a:gd name="T15" fmla="*/ 12 h 80"/>
                  <a:gd name="T16" fmla="*/ 30 w 30"/>
                  <a:gd name="T17" fmla="*/ 28 h 80"/>
                  <a:gd name="T18" fmla="*/ 30 w 30"/>
                  <a:gd name="T19" fmla="*/ 76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80">
                    <a:moveTo>
                      <a:pt x="30" y="76"/>
                    </a:moveTo>
                    <a:lnTo>
                      <a:pt x="16" y="80"/>
                    </a:lnTo>
                    <a:lnTo>
                      <a:pt x="12" y="48"/>
                    </a:lnTo>
                    <a:lnTo>
                      <a:pt x="8" y="34"/>
                    </a:lnTo>
                    <a:lnTo>
                      <a:pt x="12" y="18"/>
                    </a:lnTo>
                    <a:lnTo>
                      <a:pt x="0" y="0"/>
                    </a:lnTo>
                    <a:lnTo>
                      <a:pt x="22" y="0"/>
                    </a:lnTo>
                    <a:lnTo>
                      <a:pt x="18" y="12"/>
                    </a:lnTo>
                    <a:lnTo>
                      <a:pt x="30" y="28"/>
                    </a:lnTo>
                    <a:lnTo>
                      <a:pt x="30" y="7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60" name="Freeform 153">
                <a:extLst>
                  <a:ext uri="{FF2B5EF4-FFF2-40B4-BE49-F238E27FC236}">
                    <a16:creationId xmlns:a16="http://schemas.microsoft.com/office/drawing/2014/main" id="{A2C7CE92-0297-4EE3-96D8-1DC0CA1873E3}"/>
                  </a:ext>
                </a:extLst>
              </p:cNvPr>
              <p:cNvSpPr>
                <a:spLocks/>
              </p:cNvSpPr>
              <p:nvPr/>
            </p:nvSpPr>
            <p:spPr bwMode="gray">
              <a:xfrm>
                <a:off x="5501349" y="4027424"/>
                <a:ext cx="425976" cy="391720"/>
              </a:xfrm>
              <a:custGeom>
                <a:avLst/>
                <a:gdLst>
                  <a:gd name="T0" fmla="*/ 120 w 258"/>
                  <a:gd name="T1" fmla="*/ 0 h 236"/>
                  <a:gd name="T2" fmla="*/ 210 w 258"/>
                  <a:gd name="T3" fmla="*/ 60 h 236"/>
                  <a:gd name="T4" fmla="*/ 224 w 258"/>
                  <a:gd name="T5" fmla="*/ 74 h 236"/>
                  <a:gd name="T6" fmla="*/ 244 w 258"/>
                  <a:gd name="T7" fmla="*/ 82 h 236"/>
                  <a:gd name="T8" fmla="*/ 242 w 258"/>
                  <a:gd name="T9" fmla="*/ 98 h 236"/>
                  <a:gd name="T10" fmla="*/ 258 w 258"/>
                  <a:gd name="T11" fmla="*/ 96 h 236"/>
                  <a:gd name="T12" fmla="*/ 258 w 258"/>
                  <a:gd name="T13" fmla="*/ 138 h 236"/>
                  <a:gd name="T14" fmla="*/ 246 w 258"/>
                  <a:gd name="T15" fmla="*/ 156 h 236"/>
                  <a:gd name="T16" fmla="*/ 212 w 258"/>
                  <a:gd name="T17" fmla="*/ 162 h 236"/>
                  <a:gd name="T18" fmla="*/ 198 w 258"/>
                  <a:gd name="T19" fmla="*/ 162 h 236"/>
                  <a:gd name="T20" fmla="*/ 178 w 258"/>
                  <a:gd name="T21" fmla="*/ 162 h 236"/>
                  <a:gd name="T22" fmla="*/ 154 w 258"/>
                  <a:gd name="T23" fmla="*/ 172 h 236"/>
                  <a:gd name="T24" fmla="*/ 136 w 258"/>
                  <a:gd name="T25" fmla="*/ 190 h 236"/>
                  <a:gd name="T26" fmla="*/ 128 w 258"/>
                  <a:gd name="T27" fmla="*/ 186 h 236"/>
                  <a:gd name="T28" fmla="*/ 118 w 258"/>
                  <a:gd name="T29" fmla="*/ 210 h 236"/>
                  <a:gd name="T30" fmla="*/ 108 w 258"/>
                  <a:gd name="T31" fmla="*/ 212 h 236"/>
                  <a:gd name="T32" fmla="*/ 104 w 258"/>
                  <a:gd name="T33" fmla="*/ 234 h 236"/>
                  <a:gd name="T34" fmla="*/ 64 w 258"/>
                  <a:gd name="T35" fmla="*/ 236 h 236"/>
                  <a:gd name="T36" fmla="*/ 56 w 258"/>
                  <a:gd name="T37" fmla="*/ 218 h 236"/>
                  <a:gd name="T38" fmla="*/ 50 w 258"/>
                  <a:gd name="T39" fmla="*/ 204 h 236"/>
                  <a:gd name="T40" fmla="*/ 24 w 258"/>
                  <a:gd name="T41" fmla="*/ 210 h 236"/>
                  <a:gd name="T42" fmla="*/ 12 w 258"/>
                  <a:gd name="T43" fmla="*/ 206 h 236"/>
                  <a:gd name="T44" fmla="*/ 12 w 258"/>
                  <a:gd name="T45" fmla="*/ 204 h 236"/>
                  <a:gd name="T46" fmla="*/ 12 w 258"/>
                  <a:gd name="T47" fmla="*/ 200 h 236"/>
                  <a:gd name="T48" fmla="*/ 10 w 258"/>
                  <a:gd name="T49" fmla="*/ 192 h 236"/>
                  <a:gd name="T50" fmla="*/ 4 w 258"/>
                  <a:gd name="T51" fmla="*/ 184 h 236"/>
                  <a:gd name="T52" fmla="*/ 2 w 258"/>
                  <a:gd name="T53" fmla="*/ 172 h 236"/>
                  <a:gd name="T54" fmla="*/ 0 w 258"/>
                  <a:gd name="T55" fmla="*/ 166 h 236"/>
                  <a:gd name="T56" fmla="*/ 6 w 258"/>
                  <a:gd name="T57" fmla="*/ 152 h 236"/>
                  <a:gd name="T58" fmla="*/ 106 w 258"/>
                  <a:gd name="T59" fmla="*/ 154 h 236"/>
                  <a:gd name="T60" fmla="*/ 108 w 258"/>
                  <a:gd name="T61" fmla="*/ 144 h 236"/>
                  <a:gd name="T62" fmla="*/ 102 w 258"/>
                  <a:gd name="T63" fmla="*/ 136 h 236"/>
                  <a:gd name="T64" fmla="*/ 90 w 258"/>
                  <a:gd name="T65" fmla="*/ 0 h 236"/>
                  <a:gd name="T66" fmla="*/ 120 w 258"/>
                  <a:gd name="T67" fmla="*/ 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8" h="236">
                    <a:moveTo>
                      <a:pt x="120" y="0"/>
                    </a:moveTo>
                    <a:lnTo>
                      <a:pt x="210" y="60"/>
                    </a:lnTo>
                    <a:lnTo>
                      <a:pt x="224" y="74"/>
                    </a:lnTo>
                    <a:lnTo>
                      <a:pt x="244" y="82"/>
                    </a:lnTo>
                    <a:lnTo>
                      <a:pt x="242" y="98"/>
                    </a:lnTo>
                    <a:lnTo>
                      <a:pt x="258" y="96"/>
                    </a:lnTo>
                    <a:lnTo>
                      <a:pt x="258" y="138"/>
                    </a:lnTo>
                    <a:lnTo>
                      <a:pt x="246" y="156"/>
                    </a:lnTo>
                    <a:lnTo>
                      <a:pt x="212" y="162"/>
                    </a:lnTo>
                    <a:lnTo>
                      <a:pt x="198" y="162"/>
                    </a:lnTo>
                    <a:lnTo>
                      <a:pt x="178" y="162"/>
                    </a:lnTo>
                    <a:lnTo>
                      <a:pt x="154" y="172"/>
                    </a:lnTo>
                    <a:lnTo>
                      <a:pt x="136" y="190"/>
                    </a:lnTo>
                    <a:lnTo>
                      <a:pt x="128" y="186"/>
                    </a:lnTo>
                    <a:lnTo>
                      <a:pt x="118" y="210"/>
                    </a:lnTo>
                    <a:lnTo>
                      <a:pt x="108" y="212"/>
                    </a:lnTo>
                    <a:lnTo>
                      <a:pt x="104" y="234"/>
                    </a:lnTo>
                    <a:lnTo>
                      <a:pt x="64" y="236"/>
                    </a:lnTo>
                    <a:lnTo>
                      <a:pt x="56" y="218"/>
                    </a:lnTo>
                    <a:lnTo>
                      <a:pt x="50" y="204"/>
                    </a:lnTo>
                    <a:lnTo>
                      <a:pt x="24" y="210"/>
                    </a:lnTo>
                    <a:lnTo>
                      <a:pt x="12" y="206"/>
                    </a:lnTo>
                    <a:lnTo>
                      <a:pt x="12" y="204"/>
                    </a:lnTo>
                    <a:lnTo>
                      <a:pt x="12" y="200"/>
                    </a:lnTo>
                    <a:lnTo>
                      <a:pt x="10" y="192"/>
                    </a:lnTo>
                    <a:lnTo>
                      <a:pt x="4" y="184"/>
                    </a:lnTo>
                    <a:lnTo>
                      <a:pt x="2" y="172"/>
                    </a:lnTo>
                    <a:lnTo>
                      <a:pt x="0" y="166"/>
                    </a:lnTo>
                    <a:lnTo>
                      <a:pt x="6" y="152"/>
                    </a:lnTo>
                    <a:lnTo>
                      <a:pt x="106" y="154"/>
                    </a:lnTo>
                    <a:lnTo>
                      <a:pt x="108" y="144"/>
                    </a:lnTo>
                    <a:lnTo>
                      <a:pt x="102" y="136"/>
                    </a:lnTo>
                    <a:lnTo>
                      <a:pt x="90" y="0"/>
                    </a:lnTo>
                    <a:lnTo>
                      <a:pt x="12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61" name="Freeform 154">
                <a:extLst>
                  <a:ext uri="{FF2B5EF4-FFF2-40B4-BE49-F238E27FC236}">
                    <a16:creationId xmlns:a16="http://schemas.microsoft.com/office/drawing/2014/main" id="{8988295B-46A9-42AC-B564-FCE9BF553CF4}"/>
                  </a:ext>
                </a:extLst>
              </p:cNvPr>
              <p:cNvSpPr>
                <a:spLocks/>
              </p:cNvSpPr>
              <p:nvPr/>
            </p:nvSpPr>
            <p:spPr bwMode="gray">
              <a:xfrm>
                <a:off x="5673062" y="4296316"/>
                <a:ext cx="198128" cy="142746"/>
              </a:xfrm>
              <a:custGeom>
                <a:avLst/>
                <a:gdLst>
                  <a:gd name="T0" fmla="*/ 44 w 120"/>
                  <a:gd name="T1" fmla="*/ 62 h 86"/>
                  <a:gd name="T2" fmla="*/ 44 w 120"/>
                  <a:gd name="T3" fmla="*/ 84 h 86"/>
                  <a:gd name="T4" fmla="*/ 30 w 120"/>
                  <a:gd name="T5" fmla="*/ 78 h 86"/>
                  <a:gd name="T6" fmla="*/ 20 w 120"/>
                  <a:gd name="T7" fmla="*/ 86 h 86"/>
                  <a:gd name="T8" fmla="*/ 0 w 120"/>
                  <a:gd name="T9" fmla="*/ 72 h 86"/>
                  <a:gd name="T10" fmla="*/ 4 w 120"/>
                  <a:gd name="T11" fmla="*/ 50 h 86"/>
                  <a:gd name="T12" fmla="*/ 14 w 120"/>
                  <a:gd name="T13" fmla="*/ 48 h 86"/>
                  <a:gd name="T14" fmla="*/ 24 w 120"/>
                  <a:gd name="T15" fmla="*/ 24 h 86"/>
                  <a:gd name="T16" fmla="*/ 32 w 120"/>
                  <a:gd name="T17" fmla="*/ 28 h 86"/>
                  <a:gd name="T18" fmla="*/ 50 w 120"/>
                  <a:gd name="T19" fmla="*/ 10 h 86"/>
                  <a:gd name="T20" fmla="*/ 74 w 120"/>
                  <a:gd name="T21" fmla="*/ 0 h 86"/>
                  <a:gd name="T22" fmla="*/ 94 w 120"/>
                  <a:gd name="T23" fmla="*/ 0 h 86"/>
                  <a:gd name="T24" fmla="*/ 90 w 120"/>
                  <a:gd name="T25" fmla="*/ 8 h 86"/>
                  <a:gd name="T26" fmla="*/ 92 w 120"/>
                  <a:gd name="T27" fmla="*/ 14 h 86"/>
                  <a:gd name="T28" fmla="*/ 104 w 120"/>
                  <a:gd name="T29" fmla="*/ 28 h 86"/>
                  <a:gd name="T30" fmla="*/ 102 w 120"/>
                  <a:gd name="T31" fmla="*/ 34 h 86"/>
                  <a:gd name="T32" fmla="*/ 120 w 120"/>
                  <a:gd name="T33" fmla="*/ 44 h 86"/>
                  <a:gd name="T34" fmla="*/ 120 w 120"/>
                  <a:gd name="T35" fmla="*/ 58 h 86"/>
                  <a:gd name="T36" fmla="*/ 104 w 120"/>
                  <a:gd name="T37" fmla="*/ 62 h 86"/>
                  <a:gd name="T38" fmla="*/ 82 w 120"/>
                  <a:gd name="T39" fmla="*/ 62 h 86"/>
                  <a:gd name="T40" fmla="*/ 44 w 120"/>
                  <a:gd name="T41" fmla="*/ 6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0" h="86">
                    <a:moveTo>
                      <a:pt x="44" y="62"/>
                    </a:moveTo>
                    <a:lnTo>
                      <a:pt x="44" y="84"/>
                    </a:lnTo>
                    <a:lnTo>
                      <a:pt x="30" y="78"/>
                    </a:lnTo>
                    <a:lnTo>
                      <a:pt x="20" y="86"/>
                    </a:lnTo>
                    <a:lnTo>
                      <a:pt x="0" y="72"/>
                    </a:lnTo>
                    <a:lnTo>
                      <a:pt x="4" y="50"/>
                    </a:lnTo>
                    <a:lnTo>
                      <a:pt x="14" y="48"/>
                    </a:lnTo>
                    <a:lnTo>
                      <a:pt x="24" y="24"/>
                    </a:lnTo>
                    <a:lnTo>
                      <a:pt x="32" y="28"/>
                    </a:lnTo>
                    <a:lnTo>
                      <a:pt x="50" y="10"/>
                    </a:lnTo>
                    <a:lnTo>
                      <a:pt x="74" y="0"/>
                    </a:lnTo>
                    <a:lnTo>
                      <a:pt x="94" y="0"/>
                    </a:lnTo>
                    <a:lnTo>
                      <a:pt x="90" y="8"/>
                    </a:lnTo>
                    <a:lnTo>
                      <a:pt x="92" y="14"/>
                    </a:lnTo>
                    <a:lnTo>
                      <a:pt x="104" y="28"/>
                    </a:lnTo>
                    <a:lnTo>
                      <a:pt x="102" y="34"/>
                    </a:lnTo>
                    <a:lnTo>
                      <a:pt x="120" y="44"/>
                    </a:lnTo>
                    <a:lnTo>
                      <a:pt x="120" y="58"/>
                    </a:lnTo>
                    <a:lnTo>
                      <a:pt x="104" y="62"/>
                    </a:lnTo>
                    <a:lnTo>
                      <a:pt x="82" y="62"/>
                    </a:lnTo>
                    <a:lnTo>
                      <a:pt x="44" y="6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62" name="Freeform 155">
                <a:extLst>
                  <a:ext uri="{FF2B5EF4-FFF2-40B4-BE49-F238E27FC236}">
                    <a16:creationId xmlns:a16="http://schemas.microsoft.com/office/drawing/2014/main" id="{330C1619-F7DF-4984-AEEF-8FC30C87FA66}"/>
                  </a:ext>
                </a:extLst>
              </p:cNvPr>
              <p:cNvSpPr>
                <a:spLocks/>
              </p:cNvSpPr>
              <p:nvPr/>
            </p:nvSpPr>
            <p:spPr bwMode="gray">
              <a:xfrm>
                <a:off x="5735802" y="4399226"/>
                <a:ext cx="99064" cy="165983"/>
              </a:xfrm>
              <a:custGeom>
                <a:avLst/>
                <a:gdLst>
                  <a:gd name="T0" fmla="*/ 60 w 60"/>
                  <a:gd name="T1" fmla="*/ 80 h 100"/>
                  <a:gd name="T2" fmla="*/ 48 w 60"/>
                  <a:gd name="T3" fmla="*/ 86 h 100"/>
                  <a:gd name="T4" fmla="*/ 36 w 60"/>
                  <a:gd name="T5" fmla="*/ 96 h 100"/>
                  <a:gd name="T6" fmla="*/ 20 w 60"/>
                  <a:gd name="T7" fmla="*/ 100 h 100"/>
                  <a:gd name="T8" fmla="*/ 8 w 60"/>
                  <a:gd name="T9" fmla="*/ 94 h 100"/>
                  <a:gd name="T10" fmla="*/ 0 w 60"/>
                  <a:gd name="T11" fmla="*/ 72 h 100"/>
                  <a:gd name="T12" fmla="*/ 10 w 60"/>
                  <a:gd name="T13" fmla="*/ 50 h 100"/>
                  <a:gd name="T14" fmla="*/ 6 w 60"/>
                  <a:gd name="T15" fmla="*/ 22 h 100"/>
                  <a:gd name="T16" fmla="*/ 6 w 60"/>
                  <a:gd name="T17" fmla="*/ 0 h 100"/>
                  <a:gd name="T18" fmla="*/ 44 w 60"/>
                  <a:gd name="T19" fmla="*/ 0 h 100"/>
                  <a:gd name="T20" fmla="*/ 56 w 60"/>
                  <a:gd name="T21" fmla="*/ 18 h 100"/>
                  <a:gd name="T22" fmla="*/ 52 w 60"/>
                  <a:gd name="T23" fmla="*/ 30 h 100"/>
                  <a:gd name="T24" fmla="*/ 54 w 60"/>
                  <a:gd name="T25" fmla="*/ 40 h 100"/>
                  <a:gd name="T26" fmla="*/ 56 w 60"/>
                  <a:gd name="T27" fmla="*/ 48 h 100"/>
                  <a:gd name="T28" fmla="*/ 60 w 60"/>
                  <a:gd name="T29" fmla="*/ 8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0" h="100">
                    <a:moveTo>
                      <a:pt x="60" y="80"/>
                    </a:moveTo>
                    <a:lnTo>
                      <a:pt x="48" y="86"/>
                    </a:lnTo>
                    <a:lnTo>
                      <a:pt x="36" y="96"/>
                    </a:lnTo>
                    <a:lnTo>
                      <a:pt x="20" y="100"/>
                    </a:lnTo>
                    <a:lnTo>
                      <a:pt x="8" y="94"/>
                    </a:lnTo>
                    <a:lnTo>
                      <a:pt x="0" y="72"/>
                    </a:lnTo>
                    <a:lnTo>
                      <a:pt x="10" y="50"/>
                    </a:lnTo>
                    <a:lnTo>
                      <a:pt x="6" y="22"/>
                    </a:lnTo>
                    <a:lnTo>
                      <a:pt x="6" y="0"/>
                    </a:lnTo>
                    <a:lnTo>
                      <a:pt x="44" y="0"/>
                    </a:lnTo>
                    <a:lnTo>
                      <a:pt x="56" y="18"/>
                    </a:lnTo>
                    <a:lnTo>
                      <a:pt x="52" y="30"/>
                    </a:lnTo>
                    <a:lnTo>
                      <a:pt x="54" y="40"/>
                    </a:lnTo>
                    <a:lnTo>
                      <a:pt x="56" y="48"/>
                    </a:lnTo>
                    <a:lnTo>
                      <a:pt x="60" y="8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63" name="Freeform 156">
                <a:extLst>
                  <a:ext uri="{FF2B5EF4-FFF2-40B4-BE49-F238E27FC236}">
                    <a16:creationId xmlns:a16="http://schemas.microsoft.com/office/drawing/2014/main" id="{06F72D32-569D-4F87-89FE-CFF2083FB22B}"/>
                  </a:ext>
                </a:extLst>
              </p:cNvPr>
              <p:cNvSpPr>
                <a:spLocks/>
              </p:cNvSpPr>
              <p:nvPr/>
            </p:nvSpPr>
            <p:spPr bwMode="gray">
              <a:xfrm>
                <a:off x="5597112" y="4415823"/>
                <a:ext cx="155201" cy="162664"/>
              </a:xfrm>
              <a:custGeom>
                <a:avLst/>
                <a:gdLst>
                  <a:gd name="T0" fmla="*/ 92 w 94"/>
                  <a:gd name="T1" fmla="*/ 84 h 98"/>
                  <a:gd name="T2" fmla="*/ 50 w 94"/>
                  <a:gd name="T3" fmla="*/ 84 h 98"/>
                  <a:gd name="T4" fmla="*/ 24 w 94"/>
                  <a:gd name="T5" fmla="*/ 94 h 98"/>
                  <a:gd name="T6" fmla="*/ 12 w 94"/>
                  <a:gd name="T7" fmla="*/ 98 h 98"/>
                  <a:gd name="T8" fmla="*/ 16 w 94"/>
                  <a:gd name="T9" fmla="*/ 78 h 98"/>
                  <a:gd name="T10" fmla="*/ 14 w 94"/>
                  <a:gd name="T11" fmla="*/ 72 h 98"/>
                  <a:gd name="T12" fmla="*/ 8 w 94"/>
                  <a:gd name="T13" fmla="*/ 68 h 98"/>
                  <a:gd name="T14" fmla="*/ 0 w 94"/>
                  <a:gd name="T15" fmla="*/ 66 h 98"/>
                  <a:gd name="T16" fmla="*/ 0 w 94"/>
                  <a:gd name="T17" fmla="*/ 56 h 98"/>
                  <a:gd name="T18" fmla="*/ 0 w 94"/>
                  <a:gd name="T19" fmla="*/ 48 h 98"/>
                  <a:gd name="T20" fmla="*/ 6 w 94"/>
                  <a:gd name="T21" fmla="*/ 44 h 98"/>
                  <a:gd name="T22" fmla="*/ 4 w 94"/>
                  <a:gd name="T23" fmla="*/ 34 h 98"/>
                  <a:gd name="T24" fmla="*/ 10 w 94"/>
                  <a:gd name="T25" fmla="*/ 32 h 98"/>
                  <a:gd name="T26" fmla="*/ 8 w 94"/>
                  <a:gd name="T27" fmla="*/ 18 h 98"/>
                  <a:gd name="T28" fmla="*/ 4 w 94"/>
                  <a:gd name="T29" fmla="*/ 10 h 98"/>
                  <a:gd name="T30" fmla="*/ 6 w 94"/>
                  <a:gd name="T31" fmla="*/ 2 h 98"/>
                  <a:gd name="T32" fmla="*/ 46 w 94"/>
                  <a:gd name="T33" fmla="*/ 0 h 98"/>
                  <a:gd name="T34" fmla="*/ 66 w 94"/>
                  <a:gd name="T35" fmla="*/ 14 h 98"/>
                  <a:gd name="T36" fmla="*/ 76 w 94"/>
                  <a:gd name="T37" fmla="*/ 6 h 98"/>
                  <a:gd name="T38" fmla="*/ 90 w 94"/>
                  <a:gd name="T39" fmla="*/ 12 h 98"/>
                  <a:gd name="T40" fmla="*/ 94 w 94"/>
                  <a:gd name="T41" fmla="*/ 40 h 98"/>
                  <a:gd name="T42" fmla="*/ 84 w 94"/>
                  <a:gd name="T43" fmla="*/ 62 h 98"/>
                  <a:gd name="T44" fmla="*/ 92 w 94"/>
                  <a:gd name="T45" fmla="*/ 84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4" h="98">
                    <a:moveTo>
                      <a:pt x="92" y="84"/>
                    </a:moveTo>
                    <a:lnTo>
                      <a:pt x="50" y="84"/>
                    </a:lnTo>
                    <a:lnTo>
                      <a:pt x="24" y="94"/>
                    </a:lnTo>
                    <a:lnTo>
                      <a:pt x="12" y="98"/>
                    </a:lnTo>
                    <a:lnTo>
                      <a:pt x="16" y="78"/>
                    </a:lnTo>
                    <a:lnTo>
                      <a:pt x="14" y="72"/>
                    </a:lnTo>
                    <a:lnTo>
                      <a:pt x="8" y="68"/>
                    </a:lnTo>
                    <a:lnTo>
                      <a:pt x="0" y="66"/>
                    </a:lnTo>
                    <a:lnTo>
                      <a:pt x="0" y="56"/>
                    </a:lnTo>
                    <a:lnTo>
                      <a:pt x="0" y="48"/>
                    </a:lnTo>
                    <a:lnTo>
                      <a:pt x="6" y="44"/>
                    </a:lnTo>
                    <a:lnTo>
                      <a:pt x="4" y="34"/>
                    </a:lnTo>
                    <a:lnTo>
                      <a:pt x="10" y="32"/>
                    </a:lnTo>
                    <a:lnTo>
                      <a:pt x="8" y="18"/>
                    </a:lnTo>
                    <a:lnTo>
                      <a:pt x="4" y="10"/>
                    </a:lnTo>
                    <a:lnTo>
                      <a:pt x="6" y="2"/>
                    </a:lnTo>
                    <a:lnTo>
                      <a:pt x="46" y="0"/>
                    </a:lnTo>
                    <a:lnTo>
                      <a:pt x="66" y="14"/>
                    </a:lnTo>
                    <a:lnTo>
                      <a:pt x="76" y="6"/>
                    </a:lnTo>
                    <a:lnTo>
                      <a:pt x="90" y="12"/>
                    </a:lnTo>
                    <a:lnTo>
                      <a:pt x="94" y="40"/>
                    </a:lnTo>
                    <a:lnTo>
                      <a:pt x="84" y="62"/>
                    </a:lnTo>
                    <a:lnTo>
                      <a:pt x="92" y="8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64" name="Freeform 157">
                <a:extLst>
                  <a:ext uri="{FF2B5EF4-FFF2-40B4-BE49-F238E27FC236}">
                    <a16:creationId xmlns:a16="http://schemas.microsoft.com/office/drawing/2014/main" id="{765E549D-7EFE-46A8-967D-E2413B47A008}"/>
                  </a:ext>
                </a:extLst>
              </p:cNvPr>
              <p:cNvSpPr>
                <a:spLocks/>
              </p:cNvSpPr>
              <p:nvPr/>
            </p:nvSpPr>
            <p:spPr bwMode="gray">
              <a:xfrm>
                <a:off x="6069320" y="4631601"/>
                <a:ext cx="47881" cy="39836"/>
              </a:xfrm>
              <a:custGeom>
                <a:avLst/>
                <a:gdLst>
                  <a:gd name="T0" fmla="*/ 4 w 29"/>
                  <a:gd name="T1" fmla="*/ 0 h 24"/>
                  <a:gd name="T2" fmla="*/ 29 w 29"/>
                  <a:gd name="T3" fmla="*/ 0 h 24"/>
                  <a:gd name="T4" fmla="*/ 26 w 29"/>
                  <a:gd name="T5" fmla="*/ 22 h 24"/>
                  <a:gd name="T6" fmla="*/ 2 w 29"/>
                  <a:gd name="T7" fmla="*/ 24 h 24"/>
                  <a:gd name="T8" fmla="*/ 0 w 29"/>
                  <a:gd name="T9" fmla="*/ 10 h 24"/>
                  <a:gd name="T10" fmla="*/ 4 w 29"/>
                  <a:gd name="T11" fmla="*/ 0 h 24"/>
                </a:gdLst>
                <a:ahLst/>
                <a:cxnLst>
                  <a:cxn ang="0">
                    <a:pos x="T0" y="T1"/>
                  </a:cxn>
                  <a:cxn ang="0">
                    <a:pos x="T2" y="T3"/>
                  </a:cxn>
                  <a:cxn ang="0">
                    <a:pos x="T4" y="T5"/>
                  </a:cxn>
                  <a:cxn ang="0">
                    <a:pos x="T6" y="T7"/>
                  </a:cxn>
                  <a:cxn ang="0">
                    <a:pos x="T8" y="T9"/>
                  </a:cxn>
                  <a:cxn ang="0">
                    <a:pos x="T10" y="T11"/>
                  </a:cxn>
                </a:cxnLst>
                <a:rect l="0" t="0" r="r" b="b"/>
                <a:pathLst>
                  <a:path w="29" h="24">
                    <a:moveTo>
                      <a:pt x="4" y="0"/>
                    </a:moveTo>
                    <a:lnTo>
                      <a:pt x="29" y="0"/>
                    </a:lnTo>
                    <a:lnTo>
                      <a:pt x="26" y="22"/>
                    </a:lnTo>
                    <a:lnTo>
                      <a:pt x="2" y="24"/>
                    </a:lnTo>
                    <a:lnTo>
                      <a:pt x="0" y="10"/>
                    </a:lnTo>
                    <a:lnTo>
                      <a:pt x="4"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65" name="Freeform 158">
                <a:extLst>
                  <a:ext uri="{FF2B5EF4-FFF2-40B4-BE49-F238E27FC236}">
                    <a16:creationId xmlns:a16="http://schemas.microsoft.com/office/drawing/2014/main" id="{51FC3635-E051-4748-B9DE-C45CC594AEA4}"/>
                  </a:ext>
                </a:extLst>
              </p:cNvPr>
              <p:cNvSpPr>
                <a:spLocks/>
              </p:cNvSpPr>
              <p:nvPr/>
            </p:nvSpPr>
            <p:spPr bwMode="gray">
              <a:xfrm>
                <a:off x="6952642" y="5010043"/>
                <a:ext cx="188222" cy="371802"/>
              </a:xfrm>
              <a:custGeom>
                <a:avLst/>
                <a:gdLst>
                  <a:gd name="T0" fmla="*/ 22 w 114"/>
                  <a:gd name="T1" fmla="*/ 70 h 224"/>
                  <a:gd name="T2" fmla="*/ 46 w 114"/>
                  <a:gd name="T3" fmla="*/ 60 h 224"/>
                  <a:gd name="T4" fmla="*/ 70 w 114"/>
                  <a:gd name="T5" fmla="*/ 44 h 224"/>
                  <a:gd name="T6" fmla="*/ 78 w 114"/>
                  <a:gd name="T7" fmla="*/ 30 h 224"/>
                  <a:gd name="T8" fmla="*/ 86 w 114"/>
                  <a:gd name="T9" fmla="*/ 26 h 224"/>
                  <a:gd name="T10" fmla="*/ 94 w 114"/>
                  <a:gd name="T11" fmla="*/ 10 h 224"/>
                  <a:gd name="T12" fmla="*/ 96 w 114"/>
                  <a:gd name="T13" fmla="*/ 0 h 224"/>
                  <a:gd name="T14" fmla="*/ 108 w 114"/>
                  <a:gd name="T15" fmla="*/ 20 h 224"/>
                  <a:gd name="T16" fmla="*/ 112 w 114"/>
                  <a:gd name="T17" fmla="*/ 40 h 224"/>
                  <a:gd name="T18" fmla="*/ 114 w 114"/>
                  <a:gd name="T19" fmla="*/ 52 h 224"/>
                  <a:gd name="T20" fmla="*/ 114 w 114"/>
                  <a:gd name="T21" fmla="*/ 64 h 224"/>
                  <a:gd name="T22" fmla="*/ 102 w 114"/>
                  <a:gd name="T23" fmla="*/ 66 h 224"/>
                  <a:gd name="T24" fmla="*/ 102 w 114"/>
                  <a:gd name="T25" fmla="*/ 82 h 224"/>
                  <a:gd name="T26" fmla="*/ 82 w 114"/>
                  <a:gd name="T27" fmla="*/ 150 h 224"/>
                  <a:gd name="T28" fmla="*/ 74 w 114"/>
                  <a:gd name="T29" fmla="*/ 182 h 224"/>
                  <a:gd name="T30" fmla="*/ 62 w 114"/>
                  <a:gd name="T31" fmla="*/ 214 h 224"/>
                  <a:gd name="T32" fmla="*/ 40 w 114"/>
                  <a:gd name="T33" fmla="*/ 224 h 224"/>
                  <a:gd name="T34" fmla="*/ 18 w 114"/>
                  <a:gd name="T35" fmla="*/ 222 h 224"/>
                  <a:gd name="T36" fmla="*/ 8 w 114"/>
                  <a:gd name="T37" fmla="*/ 202 h 224"/>
                  <a:gd name="T38" fmla="*/ 6 w 114"/>
                  <a:gd name="T39" fmla="*/ 182 h 224"/>
                  <a:gd name="T40" fmla="*/ 0 w 114"/>
                  <a:gd name="T41" fmla="*/ 164 h 224"/>
                  <a:gd name="T42" fmla="*/ 16 w 114"/>
                  <a:gd name="T43" fmla="*/ 142 h 224"/>
                  <a:gd name="T44" fmla="*/ 20 w 114"/>
                  <a:gd name="T45" fmla="*/ 122 h 224"/>
                  <a:gd name="T46" fmla="*/ 16 w 114"/>
                  <a:gd name="T47" fmla="*/ 106 h 224"/>
                  <a:gd name="T48" fmla="*/ 10 w 114"/>
                  <a:gd name="T49" fmla="*/ 90 h 224"/>
                  <a:gd name="T50" fmla="*/ 18 w 114"/>
                  <a:gd name="T51" fmla="*/ 80 h 224"/>
                  <a:gd name="T52" fmla="*/ 22 w 114"/>
                  <a:gd name="T53" fmla="*/ 7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4" h="224">
                    <a:moveTo>
                      <a:pt x="22" y="70"/>
                    </a:moveTo>
                    <a:lnTo>
                      <a:pt x="46" y="60"/>
                    </a:lnTo>
                    <a:lnTo>
                      <a:pt x="70" y="44"/>
                    </a:lnTo>
                    <a:lnTo>
                      <a:pt x="78" y="30"/>
                    </a:lnTo>
                    <a:lnTo>
                      <a:pt x="86" y="26"/>
                    </a:lnTo>
                    <a:lnTo>
                      <a:pt x="94" y="10"/>
                    </a:lnTo>
                    <a:lnTo>
                      <a:pt x="96" y="0"/>
                    </a:lnTo>
                    <a:lnTo>
                      <a:pt x="108" y="20"/>
                    </a:lnTo>
                    <a:lnTo>
                      <a:pt x="112" y="40"/>
                    </a:lnTo>
                    <a:lnTo>
                      <a:pt x="114" y="52"/>
                    </a:lnTo>
                    <a:lnTo>
                      <a:pt x="114" y="64"/>
                    </a:lnTo>
                    <a:lnTo>
                      <a:pt x="102" y="66"/>
                    </a:lnTo>
                    <a:lnTo>
                      <a:pt x="102" y="82"/>
                    </a:lnTo>
                    <a:lnTo>
                      <a:pt x="82" y="150"/>
                    </a:lnTo>
                    <a:lnTo>
                      <a:pt x="74" y="182"/>
                    </a:lnTo>
                    <a:lnTo>
                      <a:pt x="62" y="214"/>
                    </a:lnTo>
                    <a:lnTo>
                      <a:pt x="40" y="224"/>
                    </a:lnTo>
                    <a:lnTo>
                      <a:pt x="18" y="222"/>
                    </a:lnTo>
                    <a:lnTo>
                      <a:pt x="8" y="202"/>
                    </a:lnTo>
                    <a:lnTo>
                      <a:pt x="6" y="182"/>
                    </a:lnTo>
                    <a:lnTo>
                      <a:pt x="0" y="164"/>
                    </a:lnTo>
                    <a:lnTo>
                      <a:pt x="16" y="142"/>
                    </a:lnTo>
                    <a:lnTo>
                      <a:pt x="20" y="122"/>
                    </a:lnTo>
                    <a:lnTo>
                      <a:pt x="16" y="106"/>
                    </a:lnTo>
                    <a:lnTo>
                      <a:pt x="10" y="90"/>
                    </a:lnTo>
                    <a:lnTo>
                      <a:pt x="18" y="80"/>
                    </a:lnTo>
                    <a:lnTo>
                      <a:pt x="22" y="7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66" name="Freeform 159">
                <a:extLst>
                  <a:ext uri="{FF2B5EF4-FFF2-40B4-BE49-F238E27FC236}">
                    <a16:creationId xmlns:a16="http://schemas.microsoft.com/office/drawing/2014/main" id="{3ABF0F2C-249D-4D11-82F8-9F33E8367543}"/>
                  </a:ext>
                </a:extLst>
              </p:cNvPr>
              <p:cNvSpPr>
                <a:spLocks/>
              </p:cNvSpPr>
              <p:nvPr/>
            </p:nvSpPr>
            <p:spPr bwMode="gray">
              <a:xfrm>
                <a:off x="6255890" y="5285574"/>
                <a:ext cx="429279" cy="361843"/>
              </a:xfrm>
              <a:custGeom>
                <a:avLst/>
                <a:gdLst>
                  <a:gd name="T0" fmla="*/ 0 w 260"/>
                  <a:gd name="T1" fmla="*/ 108 h 218"/>
                  <a:gd name="T2" fmla="*/ 2 w 260"/>
                  <a:gd name="T3" fmla="*/ 104 h 218"/>
                  <a:gd name="T4" fmla="*/ 6 w 260"/>
                  <a:gd name="T5" fmla="*/ 102 h 218"/>
                  <a:gd name="T6" fmla="*/ 8 w 260"/>
                  <a:gd name="T7" fmla="*/ 102 h 218"/>
                  <a:gd name="T8" fmla="*/ 14 w 260"/>
                  <a:gd name="T9" fmla="*/ 110 h 218"/>
                  <a:gd name="T10" fmla="*/ 22 w 260"/>
                  <a:gd name="T11" fmla="*/ 114 h 218"/>
                  <a:gd name="T12" fmla="*/ 38 w 260"/>
                  <a:gd name="T13" fmla="*/ 114 h 218"/>
                  <a:gd name="T14" fmla="*/ 54 w 260"/>
                  <a:gd name="T15" fmla="*/ 104 h 218"/>
                  <a:gd name="T16" fmla="*/ 54 w 260"/>
                  <a:gd name="T17" fmla="*/ 46 h 218"/>
                  <a:gd name="T18" fmla="*/ 66 w 260"/>
                  <a:gd name="T19" fmla="*/ 58 h 218"/>
                  <a:gd name="T20" fmla="*/ 66 w 260"/>
                  <a:gd name="T21" fmla="*/ 78 h 218"/>
                  <a:gd name="T22" fmla="*/ 82 w 260"/>
                  <a:gd name="T23" fmla="*/ 78 h 218"/>
                  <a:gd name="T24" fmla="*/ 96 w 260"/>
                  <a:gd name="T25" fmla="*/ 66 h 218"/>
                  <a:gd name="T26" fmla="*/ 100 w 260"/>
                  <a:gd name="T27" fmla="*/ 54 h 218"/>
                  <a:gd name="T28" fmla="*/ 110 w 260"/>
                  <a:gd name="T29" fmla="*/ 54 h 218"/>
                  <a:gd name="T30" fmla="*/ 120 w 260"/>
                  <a:gd name="T31" fmla="*/ 62 h 218"/>
                  <a:gd name="T32" fmla="*/ 140 w 260"/>
                  <a:gd name="T33" fmla="*/ 60 h 218"/>
                  <a:gd name="T34" fmla="*/ 148 w 260"/>
                  <a:gd name="T35" fmla="*/ 46 h 218"/>
                  <a:gd name="T36" fmla="*/ 186 w 260"/>
                  <a:gd name="T37" fmla="*/ 6 h 218"/>
                  <a:gd name="T38" fmla="*/ 196 w 260"/>
                  <a:gd name="T39" fmla="*/ 6 h 218"/>
                  <a:gd name="T40" fmla="*/ 198 w 260"/>
                  <a:gd name="T41" fmla="*/ 0 h 218"/>
                  <a:gd name="T42" fmla="*/ 228 w 260"/>
                  <a:gd name="T43" fmla="*/ 2 h 218"/>
                  <a:gd name="T44" fmla="*/ 236 w 260"/>
                  <a:gd name="T45" fmla="*/ 8 h 218"/>
                  <a:gd name="T46" fmla="*/ 241 w 260"/>
                  <a:gd name="T47" fmla="*/ 31 h 218"/>
                  <a:gd name="T48" fmla="*/ 241 w 260"/>
                  <a:gd name="T49" fmla="*/ 55 h 218"/>
                  <a:gd name="T50" fmla="*/ 217 w 260"/>
                  <a:gd name="T51" fmla="*/ 69 h 218"/>
                  <a:gd name="T52" fmla="*/ 227 w 260"/>
                  <a:gd name="T53" fmla="*/ 93 h 218"/>
                  <a:gd name="T54" fmla="*/ 260 w 260"/>
                  <a:gd name="T55" fmla="*/ 80 h 218"/>
                  <a:gd name="T56" fmla="*/ 254 w 260"/>
                  <a:gd name="T57" fmla="*/ 90 h 218"/>
                  <a:gd name="T58" fmla="*/ 254 w 260"/>
                  <a:gd name="T59" fmla="*/ 104 h 218"/>
                  <a:gd name="T60" fmla="*/ 246 w 260"/>
                  <a:gd name="T61" fmla="*/ 110 h 218"/>
                  <a:gd name="T62" fmla="*/ 230 w 260"/>
                  <a:gd name="T63" fmla="*/ 130 h 218"/>
                  <a:gd name="T64" fmla="*/ 224 w 260"/>
                  <a:gd name="T65" fmla="*/ 142 h 218"/>
                  <a:gd name="T66" fmla="*/ 210 w 260"/>
                  <a:gd name="T67" fmla="*/ 160 h 218"/>
                  <a:gd name="T68" fmla="*/ 188 w 260"/>
                  <a:gd name="T69" fmla="*/ 176 h 218"/>
                  <a:gd name="T70" fmla="*/ 164 w 260"/>
                  <a:gd name="T71" fmla="*/ 198 h 218"/>
                  <a:gd name="T72" fmla="*/ 142 w 260"/>
                  <a:gd name="T73" fmla="*/ 202 h 218"/>
                  <a:gd name="T74" fmla="*/ 128 w 260"/>
                  <a:gd name="T75" fmla="*/ 208 h 218"/>
                  <a:gd name="T76" fmla="*/ 110 w 260"/>
                  <a:gd name="T77" fmla="*/ 206 h 218"/>
                  <a:gd name="T78" fmla="*/ 88 w 260"/>
                  <a:gd name="T79" fmla="*/ 206 h 218"/>
                  <a:gd name="T80" fmla="*/ 70 w 260"/>
                  <a:gd name="T81" fmla="*/ 212 h 218"/>
                  <a:gd name="T82" fmla="*/ 50 w 260"/>
                  <a:gd name="T83" fmla="*/ 218 h 218"/>
                  <a:gd name="T84" fmla="*/ 34 w 260"/>
                  <a:gd name="T85" fmla="*/ 210 h 218"/>
                  <a:gd name="T86" fmla="*/ 28 w 260"/>
                  <a:gd name="T87" fmla="*/ 198 h 218"/>
                  <a:gd name="T88" fmla="*/ 20 w 260"/>
                  <a:gd name="T89" fmla="*/ 184 h 218"/>
                  <a:gd name="T90" fmla="*/ 30 w 260"/>
                  <a:gd name="T91" fmla="*/ 172 h 218"/>
                  <a:gd name="T92" fmla="*/ 22 w 260"/>
                  <a:gd name="T93" fmla="*/ 158 h 218"/>
                  <a:gd name="T94" fmla="*/ 12 w 260"/>
                  <a:gd name="T95" fmla="*/ 144 h 218"/>
                  <a:gd name="T96" fmla="*/ 6 w 260"/>
                  <a:gd name="T97" fmla="*/ 122 h 218"/>
                  <a:gd name="T98" fmla="*/ 0 w 260"/>
                  <a:gd name="T99" fmla="*/ 10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60" h="218">
                    <a:moveTo>
                      <a:pt x="0" y="108"/>
                    </a:moveTo>
                    <a:lnTo>
                      <a:pt x="2" y="104"/>
                    </a:lnTo>
                    <a:lnTo>
                      <a:pt x="6" y="102"/>
                    </a:lnTo>
                    <a:lnTo>
                      <a:pt x="8" y="102"/>
                    </a:lnTo>
                    <a:lnTo>
                      <a:pt x="14" y="110"/>
                    </a:lnTo>
                    <a:lnTo>
                      <a:pt x="22" y="114"/>
                    </a:lnTo>
                    <a:lnTo>
                      <a:pt x="38" y="114"/>
                    </a:lnTo>
                    <a:lnTo>
                      <a:pt x="54" y="104"/>
                    </a:lnTo>
                    <a:lnTo>
                      <a:pt x="54" y="46"/>
                    </a:lnTo>
                    <a:lnTo>
                      <a:pt x="66" y="58"/>
                    </a:lnTo>
                    <a:lnTo>
                      <a:pt x="66" y="78"/>
                    </a:lnTo>
                    <a:lnTo>
                      <a:pt x="82" y="78"/>
                    </a:lnTo>
                    <a:lnTo>
                      <a:pt x="96" y="66"/>
                    </a:lnTo>
                    <a:lnTo>
                      <a:pt x="100" y="54"/>
                    </a:lnTo>
                    <a:lnTo>
                      <a:pt x="110" y="54"/>
                    </a:lnTo>
                    <a:lnTo>
                      <a:pt x="120" y="62"/>
                    </a:lnTo>
                    <a:lnTo>
                      <a:pt x="140" y="60"/>
                    </a:lnTo>
                    <a:lnTo>
                      <a:pt x="148" y="46"/>
                    </a:lnTo>
                    <a:lnTo>
                      <a:pt x="186" y="6"/>
                    </a:lnTo>
                    <a:lnTo>
                      <a:pt x="196" y="6"/>
                    </a:lnTo>
                    <a:lnTo>
                      <a:pt x="198" y="0"/>
                    </a:lnTo>
                    <a:lnTo>
                      <a:pt x="228" y="2"/>
                    </a:lnTo>
                    <a:lnTo>
                      <a:pt x="236" y="8"/>
                    </a:lnTo>
                    <a:lnTo>
                      <a:pt x="241" y="31"/>
                    </a:lnTo>
                    <a:lnTo>
                      <a:pt x="241" y="55"/>
                    </a:lnTo>
                    <a:lnTo>
                      <a:pt x="217" y="69"/>
                    </a:lnTo>
                    <a:lnTo>
                      <a:pt x="227" y="93"/>
                    </a:lnTo>
                    <a:lnTo>
                      <a:pt x="260" y="80"/>
                    </a:lnTo>
                    <a:lnTo>
                      <a:pt x="254" y="90"/>
                    </a:lnTo>
                    <a:lnTo>
                      <a:pt x="254" y="104"/>
                    </a:lnTo>
                    <a:lnTo>
                      <a:pt x="246" y="110"/>
                    </a:lnTo>
                    <a:lnTo>
                      <a:pt x="230" y="130"/>
                    </a:lnTo>
                    <a:lnTo>
                      <a:pt x="224" y="142"/>
                    </a:lnTo>
                    <a:lnTo>
                      <a:pt x="210" y="160"/>
                    </a:lnTo>
                    <a:lnTo>
                      <a:pt x="188" y="176"/>
                    </a:lnTo>
                    <a:lnTo>
                      <a:pt x="164" y="198"/>
                    </a:lnTo>
                    <a:lnTo>
                      <a:pt x="142" y="202"/>
                    </a:lnTo>
                    <a:lnTo>
                      <a:pt x="128" y="208"/>
                    </a:lnTo>
                    <a:lnTo>
                      <a:pt x="110" y="206"/>
                    </a:lnTo>
                    <a:lnTo>
                      <a:pt x="88" y="206"/>
                    </a:lnTo>
                    <a:lnTo>
                      <a:pt x="70" y="212"/>
                    </a:lnTo>
                    <a:lnTo>
                      <a:pt x="50" y="218"/>
                    </a:lnTo>
                    <a:lnTo>
                      <a:pt x="34" y="210"/>
                    </a:lnTo>
                    <a:lnTo>
                      <a:pt x="28" y="198"/>
                    </a:lnTo>
                    <a:lnTo>
                      <a:pt x="20" y="184"/>
                    </a:lnTo>
                    <a:lnTo>
                      <a:pt x="30" y="172"/>
                    </a:lnTo>
                    <a:lnTo>
                      <a:pt x="22" y="158"/>
                    </a:lnTo>
                    <a:lnTo>
                      <a:pt x="12" y="144"/>
                    </a:lnTo>
                    <a:lnTo>
                      <a:pt x="6" y="122"/>
                    </a:lnTo>
                    <a:lnTo>
                      <a:pt x="0" y="10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67" name="Freeform 160">
                <a:extLst>
                  <a:ext uri="{FF2B5EF4-FFF2-40B4-BE49-F238E27FC236}">
                    <a16:creationId xmlns:a16="http://schemas.microsoft.com/office/drawing/2014/main" id="{93A587C1-116A-4277-BE5C-D647CC3C6DA7}"/>
                  </a:ext>
                </a:extLst>
              </p:cNvPr>
              <p:cNvSpPr>
                <a:spLocks/>
              </p:cNvSpPr>
              <p:nvPr/>
            </p:nvSpPr>
            <p:spPr bwMode="gray">
              <a:xfrm>
                <a:off x="6483737" y="5112952"/>
                <a:ext cx="198128" cy="175942"/>
              </a:xfrm>
              <a:custGeom>
                <a:avLst/>
                <a:gdLst>
                  <a:gd name="T0" fmla="*/ 60 w 120"/>
                  <a:gd name="T1" fmla="*/ 104 h 106"/>
                  <a:gd name="T2" fmla="*/ 58 w 120"/>
                  <a:gd name="T3" fmla="*/ 98 h 106"/>
                  <a:gd name="T4" fmla="*/ 44 w 120"/>
                  <a:gd name="T5" fmla="*/ 96 h 106"/>
                  <a:gd name="T6" fmla="*/ 36 w 120"/>
                  <a:gd name="T7" fmla="*/ 76 h 106"/>
                  <a:gd name="T8" fmla="*/ 12 w 120"/>
                  <a:gd name="T9" fmla="*/ 64 h 106"/>
                  <a:gd name="T10" fmla="*/ 8 w 120"/>
                  <a:gd name="T11" fmla="*/ 48 h 106"/>
                  <a:gd name="T12" fmla="*/ 0 w 120"/>
                  <a:gd name="T13" fmla="*/ 36 h 106"/>
                  <a:gd name="T14" fmla="*/ 28 w 120"/>
                  <a:gd name="T15" fmla="*/ 34 h 106"/>
                  <a:gd name="T16" fmla="*/ 42 w 120"/>
                  <a:gd name="T17" fmla="*/ 16 h 106"/>
                  <a:gd name="T18" fmla="*/ 54 w 120"/>
                  <a:gd name="T19" fmla="*/ 14 h 106"/>
                  <a:gd name="T20" fmla="*/ 62 w 120"/>
                  <a:gd name="T21" fmla="*/ 0 h 106"/>
                  <a:gd name="T22" fmla="*/ 78 w 120"/>
                  <a:gd name="T23" fmla="*/ 0 h 106"/>
                  <a:gd name="T24" fmla="*/ 118 w 120"/>
                  <a:gd name="T25" fmla="*/ 14 h 106"/>
                  <a:gd name="T26" fmla="*/ 120 w 120"/>
                  <a:gd name="T27" fmla="*/ 42 h 106"/>
                  <a:gd name="T28" fmla="*/ 120 w 120"/>
                  <a:gd name="T29" fmla="*/ 72 h 106"/>
                  <a:gd name="T30" fmla="*/ 112 w 120"/>
                  <a:gd name="T31" fmla="*/ 90 h 106"/>
                  <a:gd name="T32" fmla="*/ 90 w 120"/>
                  <a:gd name="T33" fmla="*/ 106 h 106"/>
                  <a:gd name="T34" fmla="*/ 60 w 120"/>
                  <a:gd name="T35" fmla="*/ 104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 h="106">
                    <a:moveTo>
                      <a:pt x="60" y="104"/>
                    </a:moveTo>
                    <a:lnTo>
                      <a:pt x="58" y="98"/>
                    </a:lnTo>
                    <a:lnTo>
                      <a:pt x="44" y="96"/>
                    </a:lnTo>
                    <a:lnTo>
                      <a:pt x="36" y="76"/>
                    </a:lnTo>
                    <a:lnTo>
                      <a:pt x="12" y="64"/>
                    </a:lnTo>
                    <a:lnTo>
                      <a:pt x="8" y="48"/>
                    </a:lnTo>
                    <a:lnTo>
                      <a:pt x="0" y="36"/>
                    </a:lnTo>
                    <a:lnTo>
                      <a:pt x="28" y="34"/>
                    </a:lnTo>
                    <a:lnTo>
                      <a:pt x="42" y="16"/>
                    </a:lnTo>
                    <a:lnTo>
                      <a:pt x="54" y="14"/>
                    </a:lnTo>
                    <a:lnTo>
                      <a:pt x="62" y="0"/>
                    </a:lnTo>
                    <a:lnTo>
                      <a:pt x="78" y="0"/>
                    </a:lnTo>
                    <a:lnTo>
                      <a:pt x="118" y="14"/>
                    </a:lnTo>
                    <a:lnTo>
                      <a:pt x="120" y="42"/>
                    </a:lnTo>
                    <a:lnTo>
                      <a:pt x="120" y="72"/>
                    </a:lnTo>
                    <a:lnTo>
                      <a:pt x="112" y="90"/>
                    </a:lnTo>
                    <a:lnTo>
                      <a:pt x="90" y="106"/>
                    </a:lnTo>
                    <a:lnTo>
                      <a:pt x="60" y="10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68" name="Freeform 161">
                <a:extLst>
                  <a:ext uri="{FF2B5EF4-FFF2-40B4-BE49-F238E27FC236}">
                    <a16:creationId xmlns:a16="http://schemas.microsoft.com/office/drawing/2014/main" id="{C7C29C65-876F-4664-B8B0-3C5C2AD4DABB}"/>
                  </a:ext>
                </a:extLst>
              </p:cNvPr>
              <p:cNvSpPr>
                <a:spLocks/>
              </p:cNvSpPr>
              <p:nvPr/>
            </p:nvSpPr>
            <p:spPr bwMode="gray">
              <a:xfrm>
                <a:off x="6345047" y="5172706"/>
                <a:ext cx="237754" cy="242335"/>
              </a:xfrm>
              <a:custGeom>
                <a:avLst/>
                <a:gdLst>
                  <a:gd name="T0" fmla="*/ 0 w 144"/>
                  <a:gd name="T1" fmla="*/ 114 h 146"/>
                  <a:gd name="T2" fmla="*/ 0 w 144"/>
                  <a:gd name="T3" fmla="*/ 66 h 146"/>
                  <a:gd name="T4" fmla="*/ 14 w 144"/>
                  <a:gd name="T5" fmla="*/ 66 h 146"/>
                  <a:gd name="T6" fmla="*/ 16 w 144"/>
                  <a:gd name="T7" fmla="*/ 4 h 146"/>
                  <a:gd name="T8" fmla="*/ 50 w 144"/>
                  <a:gd name="T9" fmla="*/ 0 h 146"/>
                  <a:gd name="T10" fmla="*/ 56 w 144"/>
                  <a:gd name="T11" fmla="*/ 8 h 146"/>
                  <a:gd name="T12" fmla="*/ 84 w 144"/>
                  <a:gd name="T13" fmla="*/ 0 h 146"/>
                  <a:gd name="T14" fmla="*/ 92 w 144"/>
                  <a:gd name="T15" fmla="*/ 12 h 146"/>
                  <a:gd name="T16" fmla="*/ 96 w 144"/>
                  <a:gd name="T17" fmla="*/ 28 h 146"/>
                  <a:gd name="T18" fmla="*/ 120 w 144"/>
                  <a:gd name="T19" fmla="*/ 40 h 146"/>
                  <a:gd name="T20" fmla="*/ 128 w 144"/>
                  <a:gd name="T21" fmla="*/ 60 h 146"/>
                  <a:gd name="T22" fmla="*/ 142 w 144"/>
                  <a:gd name="T23" fmla="*/ 62 h 146"/>
                  <a:gd name="T24" fmla="*/ 144 w 144"/>
                  <a:gd name="T25" fmla="*/ 70 h 146"/>
                  <a:gd name="T26" fmla="*/ 142 w 144"/>
                  <a:gd name="T27" fmla="*/ 74 h 146"/>
                  <a:gd name="T28" fmla="*/ 132 w 144"/>
                  <a:gd name="T29" fmla="*/ 74 h 146"/>
                  <a:gd name="T30" fmla="*/ 94 w 144"/>
                  <a:gd name="T31" fmla="*/ 114 h 146"/>
                  <a:gd name="T32" fmla="*/ 86 w 144"/>
                  <a:gd name="T33" fmla="*/ 128 h 146"/>
                  <a:gd name="T34" fmla="*/ 66 w 144"/>
                  <a:gd name="T35" fmla="*/ 130 h 146"/>
                  <a:gd name="T36" fmla="*/ 56 w 144"/>
                  <a:gd name="T37" fmla="*/ 122 h 146"/>
                  <a:gd name="T38" fmla="*/ 46 w 144"/>
                  <a:gd name="T39" fmla="*/ 122 h 146"/>
                  <a:gd name="T40" fmla="*/ 42 w 144"/>
                  <a:gd name="T41" fmla="*/ 134 h 146"/>
                  <a:gd name="T42" fmla="*/ 28 w 144"/>
                  <a:gd name="T43" fmla="*/ 146 h 146"/>
                  <a:gd name="T44" fmla="*/ 12 w 144"/>
                  <a:gd name="T45" fmla="*/ 146 h 146"/>
                  <a:gd name="T46" fmla="*/ 12 w 144"/>
                  <a:gd name="T47" fmla="*/ 126 h 146"/>
                  <a:gd name="T48" fmla="*/ 0 w 144"/>
                  <a:gd name="T49" fmla="*/ 11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4" h="146">
                    <a:moveTo>
                      <a:pt x="0" y="114"/>
                    </a:moveTo>
                    <a:lnTo>
                      <a:pt x="0" y="66"/>
                    </a:lnTo>
                    <a:lnTo>
                      <a:pt x="14" y="66"/>
                    </a:lnTo>
                    <a:lnTo>
                      <a:pt x="16" y="4"/>
                    </a:lnTo>
                    <a:lnTo>
                      <a:pt x="50" y="0"/>
                    </a:lnTo>
                    <a:lnTo>
                      <a:pt x="56" y="8"/>
                    </a:lnTo>
                    <a:lnTo>
                      <a:pt x="84" y="0"/>
                    </a:lnTo>
                    <a:lnTo>
                      <a:pt x="92" y="12"/>
                    </a:lnTo>
                    <a:lnTo>
                      <a:pt x="96" y="28"/>
                    </a:lnTo>
                    <a:lnTo>
                      <a:pt x="120" y="40"/>
                    </a:lnTo>
                    <a:lnTo>
                      <a:pt x="128" y="60"/>
                    </a:lnTo>
                    <a:lnTo>
                      <a:pt x="142" y="62"/>
                    </a:lnTo>
                    <a:lnTo>
                      <a:pt x="144" y="70"/>
                    </a:lnTo>
                    <a:lnTo>
                      <a:pt x="142" y="74"/>
                    </a:lnTo>
                    <a:lnTo>
                      <a:pt x="132" y="74"/>
                    </a:lnTo>
                    <a:lnTo>
                      <a:pt x="94" y="114"/>
                    </a:lnTo>
                    <a:lnTo>
                      <a:pt x="86" y="128"/>
                    </a:lnTo>
                    <a:lnTo>
                      <a:pt x="66" y="130"/>
                    </a:lnTo>
                    <a:lnTo>
                      <a:pt x="56" y="122"/>
                    </a:lnTo>
                    <a:lnTo>
                      <a:pt x="46" y="122"/>
                    </a:lnTo>
                    <a:lnTo>
                      <a:pt x="42" y="134"/>
                    </a:lnTo>
                    <a:lnTo>
                      <a:pt x="28" y="146"/>
                    </a:lnTo>
                    <a:lnTo>
                      <a:pt x="12" y="146"/>
                    </a:lnTo>
                    <a:lnTo>
                      <a:pt x="12" y="126"/>
                    </a:lnTo>
                    <a:lnTo>
                      <a:pt x="0" y="11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69" name="Freeform 162">
                <a:extLst>
                  <a:ext uri="{FF2B5EF4-FFF2-40B4-BE49-F238E27FC236}">
                    <a16:creationId xmlns:a16="http://schemas.microsoft.com/office/drawing/2014/main" id="{1F752715-F5EF-4269-A7CC-95EFD3F93AE7}"/>
                  </a:ext>
                </a:extLst>
              </p:cNvPr>
              <p:cNvSpPr>
                <a:spLocks/>
              </p:cNvSpPr>
              <p:nvPr/>
            </p:nvSpPr>
            <p:spPr bwMode="gray">
              <a:xfrm>
                <a:off x="6137013" y="5156107"/>
                <a:ext cx="234452" cy="318687"/>
              </a:xfrm>
              <a:custGeom>
                <a:avLst/>
                <a:gdLst>
                  <a:gd name="T0" fmla="*/ 0 w 142"/>
                  <a:gd name="T1" fmla="*/ 0 h 192"/>
                  <a:gd name="T2" fmla="*/ 98 w 142"/>
                  <a:gd name="T3" fmla="*/ 0 h 192"/>
                  <a:gd name="T4" fmla="*/ 106 w 142"/>
                  <a:gd name="T5" fmla="*/ 6 h 192"/>
                  <a:gd name="T6" fmla="*/ 134 w 142"/>
                  <a:gd name="T7" fmla="*/ 8 h 192"/>
                  <a:gd name="T8" fmla="*/ 142 w 142"/>
                  <a:gd name="T9" fmla="*/ 14 h 192"/>
                  <a:gd name="T10" fmla="*/ 140 w 142"/>
                  <a:gd name="T11" fmla="*/ 76 h 192"/>
                  <a:gd name="T12" fmla="*/ 126 w 142"/>
                  <a:gd name="T13" fmla="*/ 76 h 192"/>
                  <a:gd name="T14" fmla="*/ 126 w 142"/>
                  <a:gd name="T15" fmla="*/ 182 h 192"/>
                  <a:gd name="T16" fmla="*/ 110 w 142"/>
                  <a:gd name="T17" fmla="*/ 192 h 192"/>
                  <a:gd name="T18" fmla="*/ 94 w 142"/>
                  <a:gd name="T19" fmla="*/ 192 h 192"/>
                  <a:gd name="T20" fmla="*/ 86 w 142"/>
                  <a:gd name="T21" fmla="*/ 188 h 192"/>
                  <a:gd name="T22" fmla="*/ 80 w 142"/>
                  <a:gd name="T23" fmla="*/ 180 h 192"/>
                  <a:gd name="T24" fmla="*/ 72 w 142"/>
                  <a:gd name="T25" fmla="*/ 186 h 192"/>
                  <a:gd name="T26" fmla="*/ 52 w 142"/>
                  <a:gd name="T27" fmla="*/ 164 h 192"/>
                  <a:gd name="T28" fmla="*/ 44 w 142"/>
                  <a:gd name="T29" fmla="*/ 126 h 192"/>
                  <a:gd name="T30" fmla="*/ 38 w 142"/>
                  <a:gd name="T31" fmla="*/ 114 h 192"/>
                  <a:gd name="T32" fmla="*/ 38 w 142"/>
                  <a:gd name="T33" fmla="*/ 82 h 192"/>
                  <a:gd name="T34" fmla="*/ 12 w 142"/>
                  <a:gd name="T35" fmla="*/ 36 h 192"/>
                  <a:gd name="T36" fmla="*/ 0 w 142"/>
                  <a:gd name="T37" fmla="*/ 16 h 192"/>
                  <a:gd name="T38" fmla="*/ 0 w 142"/>
                  <a:gd name="T3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92">
                    <a:moveTo>
                      <a:pt x="0" y="0"/>
                    </a:moveTo>
                    <a:lnTo>
                      <a:pt x="98" y="0"/>
                    </a:lnTo>
                    <a:lnTo>
                      <a:pt x="106" y="6"/>
                    </a:lnTo>
                    <a:lnTo>
                      <a:pt x="134" y="8"/>
                    </a:lnTo>
                    <a:lnTo>
                      <a:pt x="142" y="14"/>
                    </a:lnTo>
                    <a:lnTo>
                      <a:pt x="140" y="76"/>
                    </a:lnTo>
                    <a:lnTo>
                      <a:pt x="126" y="76"/>
                    </a:lnTo>
                    <a:lnTo>
                      <a:pt x="126" y="182"/>
                    </a:lnTo>
                    <a:lnTo>
                      <a:pt x="110" y="192"/>
                    </a:lnTo>
                    <a:lnTo>
                      <a:pt x="94" y="192"/>
                    </a:lnTo>
                    <a:lnTo>
                      <a:pt x="86" y="188"/>
                    </a:lnTo>
                    <a:lnTo>
                      <a:pt x="80" y="180"/>
                    </a:lnTo>
                    <a:lnTo>
                      <a:pt x="72" y="186"/>
                    </a:lnTo>
                    <a:lnTo>
                      <a:pt x="52" y="164"/>
                    </a:lnTo>
                    <a:lnTo>
                      <a:pt x="44" y="126"/>
                    </a:lnTo>
                    <a:lnTo>
                      <a:pt x="38" y="114"/>
                    </a:lnTo>
                    <a:lnTo>
                      <a:pt x="38" y="82"/>
                    </a:lnTo>
                    <a:lnTo>
                      <a:pt x="12" y="36"/>
                    </a:lnTo>
                    <a:lnTo>
                      <a:pt x="0" y="16"/>
                    </a:lnTo>
                    <a:lnTo>
                      <a:pt x="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70" name="Freeform 163">
                <a:extLst>
                  <a:ext uri="{FF2B5EF4-FFF2-40B4-BE49-F238E27FC236}">
                    <a16:creationId xmlns:a16="http://schemas.microsoft.com/office/drawing/2014/main" id="{8F990D2E-6834-45E3-BF3A-F61C3FC4777A}"/>
                  </a:ext>
                </a:extLst>
              </p:cNvPr>
              <p:cNvSpPr>
                <a:spLocks/>
              </p:cNvSpPr>
              <p:nvPr/>
            </p:nvSpPr>
            <p:spPr bwMode="gray">
              <a:xfrm>
                <a:off x="6619125" y="4970207"/>
                <a:ext cx="267473" cy="448154"/>
              </a:xfrm>
              <a:custGeom>
                <a:avLst/>
                <a:gdLst>
                  <a:gd name="T0" fmla="*/ 0 w 162"/>
                  <a:gd name="T1" fmla="*/ 88 h 270"/>
                  <a:gd name="T2" fmla="*/ 0 w 162"/>
                  <a:gd name="T3" fmla="*/ 72 h 270"/>
                  <a:gd name="T4" fmla="*/ 50 w 162"/>
                  <a:gd name="T5" fmla="*/ 64 h 270"/>
                  <a:gd name="T6" fmla="*/ 66 w 162"/>
                  <a:gd name="T7" fmla="*/ 64 h 270"/>
                  <a:gd name="T8" fmla="*/ 64 w 162"/>
                  <a:gd name="T9" fmla="*/ 94 h 270"/>
                  <a:gd name="T10" fmla="*/ 76 w 162"/>
                  <a:gd name="T11" fmla="*/ 106 h 270"/>
                  <a:gd name="T12" fmla="*/ 86 w 162"/>
                  <a:gd name="T13" fmla="*/ 92 h 270"/>
                  <a:gd name="T14" fmla="*/ 84 w 162"/>
                  <a:gd name="T15" fmla="*/ 64 h 270"/>
                  <a:gd name="T16" fmla="*/ 70 w 162"/>
                  <a:gd name="T17" fmla="*/ 48 h 270"/>
                  <a:gd name="T18" fmla="*/ 64 w 162"/>
                  <a:gd name="T19" fmla="*/ 32 h 270"/>
                  <a:gd name="T20" fmla="*/ 68 w 162"/>
                  <a:gd name="T21" fmla="*/ 16 h 270"/>
                  <a:gd name="T22" fmla="*/ 90 w 162"/>
                  <a:gd name="T23" fmla="*/ 18 h 270"/>
                  <a:gd name="T24" fmla="*/ 116 w 162"/>
                  <a:gd name="T25" fmla="*/ 20 h 270"/>
                  <a:gd name="T26" fmla="*/ 142 w 162"/>
                  <a:gd name="T27" fmla="*/ 10 h 270"/>
                  <a:gd name="T28" fmla="*/ 158 w 162"/>
                  <a:gd name="T29" fmla="*/ 0 h 270"/>
                  <a:gd name="T30" fmla="*/ 158 w 162"/>
                  <a:gd name="T31" fmla="*/ 40 h 270"/>
                  <a:gd name="T32" fmla="*/ 162 w 162"/>
                  <a:gd name="T33" fmla="*/ 80 h 270"/>
                  <a:gd name="T34" fmla="*/ 144 w 162"/>
                  <a:gd name="T35" fmla="*/ 98 h 270"/>
                  <a:gd name="T36" fmla="*/ 112 w 162"/>
                  <a:gd name="T37" fmla="*/ 118 h 270"/>
                  <a:gd name="T38" fmla="*/ 76 w 162"/>
                  <a:gd name="T39" fmla="*/ 150 h 270"/>
                  <a:gd name="T40" fmla="*/ 68 w 162"/>
                  <a:gd name="T41" fmla="*/ 154 h 270"/>
                  <a:gd name="T42" fmla="*/ 70 w 162"/>
                  <a:gd name="T43" fmla="*/ 168 h 270"/>
                  <a:gd name="T44" fmla="*/ 80 w 162"/>
                  <a:gd name="T45" fmla="*/ 196 h 270"/>
                  <a:gd name="T46" fmla="*/ 76 w 162"/>
                  <a:gd name="T47" fmla="*/ 228 h 270"/>
                  <a:gd name="T48" fmla="*/ 38 w 162"/>
                  <a:gd name="T49" fmla="*/ 248 h 270"/>
                  <a:gd name="T50" fmla="*/ 34 w 162"/>
                  <a:gd name="T51" fmla="*/ 256 h 270"/>
                  <a:gd name="T52" fmla="*/ 38 w 162"/>
                  <a:gd name="T53" fmla="*/ 264 h 270"/>
                  <a:gd name="T54" fmla="*/ 40 w 162"/>
                  <a:gd name="T55" fmla="*/ 270 h 270"/>
                  <a:gd name="T56" fmla="*/ 24 w 162"/>
                  <a:gd name="T57" fmla="*/ 268 h 270"/>
                  <a:gd name="T58" fmla="*/ 24 w 162"/>
                  <a:gd name="T59" fmla="*/ 258 h 270"/>
                  <a:gd name="T60" fmla="*/ 24 w 162"/>
                  <a:gd name="T61" fmla="*/ 222 h 270"/>
                  <a:gd name="T62" fmla="*/ 16 w 162"/>
                  <a:gd name="T63" fmla="*/ 198 h 270"/>
                  <a:gd name="T64" fmla="*/ 8 w 162"/>
                  <a:gd name="T65" fmla="*/ 192 h 270"/>
                  <a:gd name="T66" fmla="*/ 30 w 162"/>
                  <a:gd name="T67" fmla="*/ 176 h 270"/>
                  <a:gd name="T68" fmla="*/ 38 w 162"/>
                  <a:gd name="T69" fmla="*/ 158 h 270"/>
                  <a:gd name="T70" fmla="*/ 38 w 162"/>
                  <a:gd name="T71" fmla="*/ 128 h 270"/>
                  <a:gd name="T72" fmla="*/ 36 w 162"/>
                  <a:gd name="T73" fmla="*/ 100 h 270"/>
                  <a:gd name="T74" fmla="*/ 0 w 162"/>
                  <a:gd name="T75" fmla="*/ 88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2" h="270">
                    <a:moveTo>
                      <a:pt x="0" y="88"/>
                    </a:moveTo>
                    <a:lnTo>
                      <a:pt x="0" y="72"/>
                    </a:lnTo>
                    <a:lnTo>
                      <a:pt x="50" y="64"/>
                    </a:lnTo>
                    <a:lnTo>
                      <a:pt x="66" y="64"/>
                    </a:lnTo>
                    <a:lnTo>
                      <a:pt x="64" y="94"/>
                    </a:lnTo>
                    <a:lnTo>
                      <a:pt x="76" y="106"/>
                    </a:lnTo>
                    <a:lnTo>
                      <a:pt x="86" y="92"/>
                    </a:lnTo>
                    <a:lnTo>
                      <a:pt x="84" y="64"/>
                    </a:lnTo>
                    <a:lnTo>
                      <a:pt x="70" y="48"/>
                    </a:lnTo>
                    <a:lnTo>
                      <a:pt x="64" y="32"/>
                    </a:lnTo>
                    <a:lnTo>
                      <a:pt x="68" y="16"/>
                    </a:lnTo>
                    <a:lnTo>
                      <a:pt x="90" y="18"/>
                    </a:lnTo>
                    <a:lnTo>
                      <a:pt x="116" y="20"/>
                    </a:lnTo>
                    <a:lnTo>
                      <a:pt x="142" y="10"/>
                    </a:lnTo>
                    <a:lnTo>
                      <a:pt x="158" y="0"/>
                    </a:lnTo>
                    <a:lnTo>
                      <a:pt x="158" y="40"/>
                    </a:lnTo>
                    <a:lnTo>
                      <a:pt x="162" y="80"/>
                    </a:lnTo>
                    <a:lnTo>
                      <a:pt x="144" y="98"/>
                    </a:lnTo>
                    <a:lnTo>
                      <a:pt x="112" y="118"/>
                    </a:lnTo>
                    <a:lnTo>
                      <a:pt x="76" y="150"/>
                    </a:lnTo>
                    <a:lnTo>
                      <a:pt x="68" y="154"/>
                    </a:lnTo>
                    <a:lnTo>
                      <a:pt x="70" y="168"/>
                    </a:lnTo>
                    <a:lnTo>
                      <a:pt x="80" y="196"/>
                    </a:lnTo>
                    <a:lnTo>
                      <a:pt x="76" y="228"/>
                    </a:lnTo>
                    <a:lnTo>
                      <a:pt x="38" y="248"/>
                    </a:lnTo>
                    <a:lnTo>
                      <a:pt x="34" y="256"/>
                    </a:lnTo>
                    <a:lnTo>
                      <a:pt x="38" y="264"/>
                    </a:lnTo>
                    <a:lnTo>
                      <a:pt x="40" y="270"/>
                    </a:lnTo>
                    <a:lnTo>
                      <a:pt x="24" y="268"/>
                    </a:lnTo>
                    <a:lnTo>
                      <a:pt x="24" y="258"/>
                    </a:lnTo>
                    <a:lnTo>
                      <a:pt x="24" y="222"/>
                    </a:lnTo>
                    <a:lnTo>
                      <a:pt x="16" y="198"/>
                    </a:lnTo>
                    <a:lnTo>
                      <a:pt x="8" y="192"/>
                    </a:lnTo>
                    <a:lnTo>
                      <a:pt x="30" y="176"/>
                    </a:lnTo>
                    <a:lnTo>
                      <a:pt x="38" y="158"/>
                    </a:lnTo>
                    <a:lnTo>
                      <a:pt x="38" y="128"/>
                    </a:lnTo>
                    <a:lnTo>
                      <a:pt x="36" y="100"/>
                    </a:lnTo>
                    <a:lnTo>
                      <a:pt x="0" y="8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71" name="Freeform 164">
                <a:extLst>
                  <a:ext uri="{FF2B5EF4-FFF2-40B4-BE49-F238E27FC236}">
                    <a16:creationId xmlns:a16="http://schemas.microsoft.com/office/drawing/2014/main" id="{725F01C9-B993-4486-907D-1B08B80A7D0C}"/>
                  </a:ext>
                </a:extLst>
              </p:cNvPr>
              <p:cNvSpPr>
                <a:spLocks/>
              </p:cNvSpPr>
              <p:nvPr/>
            </p:nvSpPr>
            <p:spPr bwMode="gray">
              <a:xfrm>
                <a:off x="6678564" y="4946970"/>
                <a:ext cx="82553" cy="199179"/>
              </a:xfrm>
              <a:custGeom>
                <a:avLst/>
                <a:gdLst>
                  <a:gd name="T0" fmla="*/ 4 w 50"/>
                  <a:gd name="T1" fmla="*/ 50 h 120"/>
                  <a:gd name="T2" fmla="*/ 10 w 50"/>
                  <a:gd name="T3" fmla="*/ 44 h 120"/>
                  <a:gd name="T4" fmla="*/ 12 w 50"/>
                  <a:gd name="T5" fmla="*/ 18 h 120"/>
                  <a:gd name="T6" fmla="*/ 14 w 50"/>
                  <a:gd name="T7" fmla="*/ 14 h 120"/>
                  <a:gd name="T8" fmla="*/ 8 w 50"/>
                  <a:gd name="T9" fmla="*/ 0 h 120"/>
                  <a:gd name="T10" fmla="*/ 22 w 50"/>
                  <a:gd name="T11" fmla="*/ 0 h 120"/>
                  <a:gd name="T12" fmla="*/ 30 w 50"/>
                  <a:gd name="T13" fmla="*/ 12 h 120"/>
                  <a:gd name="T14" fmla="*/ 32 w 50"/>
                  <a:gd name="T15" fmla="*/ 30 h 120"/>
                  <a:gd name="T16" fmla="*/ 28 w 50"/>
                  <a:gd name="T17" fmla="*/ 46 h 120"/>
                  <a:gd name="T18" fmla="*/ 34 w 50"/>
                  <a:gd name="T19" fmla="*/ 62 h 120"/>
                  <a:gd name="T20" fmla="*/ 48 w 50"/>
                  <a:gd name="T21" fmla="*/ 78 h 120"/>
                  <a:gd name="T22" fmla="*/ 50 w 50"/>
                  <a:gd name="T23" fmla="*/ 106 h 120"/>
                  <a:gd name="T24" fmla="*/ 40 w 50"/>
                  <a:gd name="T25" fmla="*/ 120 h 120"/>
                  <a:gd name="T26" fmla="*/ 28 w 50"/>
                  <a:gd name="T27" fmla="*/ 108 h 120"/>
                  <a:gd name="T28" fmla="*/ 30 w 50"/>
                  <a:gd name="T29" fmla="*/ 78 h 120"/>
                  <a:gd name="T30" fmla="*/ 10 w 50"/>
                  <a:gd name="T31" fmla="*/ 78 h 120"/>
                  <a:gd name="T32" fmla="*/ 0 w 50"/>
                  <a:gd name="T33" fmla="*/ 64 h 120"/>
                  <a:gd name="T34" fmla="*/ 4 w 50"/>
                  <a:gd name="T35" fmla="*/ 5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 h="120">
                    <a:moveTo>
                      <a:pt x="4" y="50"/>
                    </a:moveTo>
                    <a:lnTo>
                      <a:pt x="10" y="44"/>
                    </a:lnTo>
                    <a:lnTo>
                      <a:pt x="12" y="18"/>
                    </a:lnTo>
                    <a:lnTo>
                      <a:pt x="14" y="14"/>
                    </a:lnTo>
                    <a:lnTo>
                      <a:pt x="8" y="0"/>
                    </a:lnTo>
                    <a:lnTo>
                      <a:pt x="22" y="0"/>
                    </a:lnTo>
                    <a:lnTo>
                      <a:pt x="30" y="12"/>
                    </a:lnTo>
                    <a:lnTo>
                      <a:pt x="32" y="30"/>
                    </a:lnTo>
                    <a:lnTo>
                      <a:pt x="28" y="46"/>
                    </a:lnTo>
                    <a:lnTo>
                      <a:pt x="34" y="62"/>
                    </a:lnTo>
                    <a:lnTo>
                      <a:pt x="48" y="78"/>
                    </a:lnTo>
                    <a:lnTo>
                      <a:pt x="50" y="106"/>
                    </a:lnTo>
                    <a:lnTo>
                      <a:pt x="40" y="120"/>
                    </a:lnTo>
                    <a:lnTo>
                      <a:pt x="28" y="108"/>
                    </a:lnTo>
                    <a:lnTo>
                      <a:pt x="30" y="78"/>
                    </a:lnTo>
                    <a:lnTo>
                      <a:pt x="10" y="78"/>
                    </a:lnTo>
                    <a:lnTo>
                      <a:pt x="0" y="64"/>
                    </a:lnTo>
                    <a:lnTo>
                      <a:pt x="4" y="5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72" name="Freeform 165">
                <a:extLst>
                  <a:ext uri="{FF2B5EF4-FFF2-40B4-BE49-F238E27FC236}">
                    <a16:creationId xmlns:a16="http://schemas.microsoft.com/office/drawing/2014/main" id="{47EABC7C-203D-4BE2-B3DD-58753365DD7B}"/>
                  </a:ext>
                </a:extLst>
              </p:cNvPr>
              <p:cNvSpPr>
                <a:spLocks/>
              </p:cNvSpPr>
              <p:nvPr/>
            </p:nvSpPr>
            <p:spPr bwMode="gray">
              <a:xfrm>
                <a:off x="6397882" y="4913772"/>
                <a:ext cx="303797" cy="258933"/>
              </a:xfrm>
              <a:custGeom>
                <a:avLst/>
                <a:gdLst>
                  <a:gd name="T0" fmla="*/ 52 w 184"/>
                  <a:gd name="T1" fmla="*/ 156 h 156"/>
                  <a:gd name="T2" fmla="*/ 46 w 184"/>
                  <a:gd name="T3" fmla="*/ 150 h 156"/>
                  <a:gd name="T4" fmla="*/ 20 w 184"/>
                  <a:gd name="T5" fmla="*/ 148 h 156"/>
                  <a:gd name="T6" fmla="*/ 2 w 184"/>
                  <a:gd name="T7" fmla="*/ 128 h 156"/>
                  <a:gd name="T8" fmla="*/ 0 w 184"/>
                  <a:gd name="T9" fmla="*/ 76 h 156"/>
                  <a:gd name="T10" fmla="*/ 30 w 184"/>
                  <a:gd name="T11" fmla="*/ 76 h 156"/>
                  <a:gd name="T12" fmla="*/ 30 w 184"/>
                  <a:gd name="T13" fmla="*/ 42 h 156"/>
                  <a:gd name="T14" fmla="*/ 48 w 184"/>
                  <a:gd name="T15" fmla="*/ 50 h 156"/>
                  <a:gd name="T16" fmla="*/ 68 w 184"/>
                  <a:gd name="T17" fmla="*/ 58 h 156"/>
                  <a:gd name="T18" fmla="*/ 82 w 184"/>
                  <a:gd name="T19" fmla="*/ 52 h 156"/>
                  <a:gd name="T20" fmla="*/ 90 w 184"/>
                  <a:gd name="T21" fmla="*/ 64 h 156"/>
                  <a:gd name="T22" fmla="*/ 102 w 184"/>
                  <a:gd name="T23" fmla="*/ 70 h 156"/>
                  <a:gd name="T24" fmla="*/ 110 w 184"/>
                  <a:gd name="T25" fmla="*/ 82 h 156"/>
                  <a:gd name="T26" fmla="*/ 124 w 184"/>
                  <a:gd name="T27" fmla="*/ 82 h 156"/>
                  <a:gd name="T28" fmla="*/ 124 w 184"/>
                  <a:gd name="T29" fmla="*/ 64 h 156"/>
                  <a:gd name="T30" fmla="*/ 110 w 184"/>
                  <a:gd name="T31" fmla="*/ 58 h 156"/>
                  <a:gd name="T32" fmla="*/ 100 w 184"/>
                  <a:gd name="T33" fmla="*/ 48 h 156"/>
                  <a:gd name="T34" fmla="*/ 104 w 184"/>
                  <a:gd name="T35" fmla="*/ 26 h 156"/>
                  <a:gd name="T36" fmla="*/ 102 w 184"/>
                  <a:gd name="T37" fmla="*/ 8 h 156"/>
                  <a:gd name="T38" fmla="*/ 118 w 184"/>
                  <a:gd name="T39" fmla="*/ 0 h 156"/>
                  <a:gd name="T40" fmla="*/ 136 w 184"/>
                  <a:gd name="T41" fmla="*/ 0 h 156"/>
                  <a:gd name="T42" fmla="*/ 178 w 184"/>
                  <a:gd name="T43" fmla="*/ 20 h 156"/>
                  <a:gd name="T44" fmla="*/ 184 w 184"/>
                  <a:gd name="T45" fmla="*/ 34 h 156"/>
                  <a:gd name="T46" fmla="*/ 180 w 184"/>
                  <a:gd name="T47" fmla="*/ 40 h 156"/>
                  <a:gd name="T48" fmla="*/ 180 w 184"/>
                  <a:gd name="T49" fmla="*/ 64 h 156"/>
                  <a:gd name="T50" fmla="*/ 174 w 184"/>
                  <a:gd name="T51" fmla="*/ 70 h 156"/>
                  <a:gd name="T52" fmla="*/ 170 w 184"/>
                  <a:gd name="T53" fmla="*/ 84 h 156"/>
                  <a:gd name="T54" fmla="*/ 180 w 184"/>
                  <a:gd name="T55" fmla="*/ 98 h 156"/>
                  <a:gd name="T56" fmla="*/ 134 w 184"/>
                  <a:gd name="T57" fmla="*/ 106 h 156"/>
                  <a:gd name="T58" fmla="*/ 134 w 184"/>
                  <a:gd name="T59" fmla="*/ 122 h 156"/>
                  <a:gd name="T60" fmla="*/ 114 w 184"/>
                  <a:gd name="T61" fmla="*/ 120 h 156"/>
                  <a:gd name="T62" fmla="*/ 106 w 184"/>
                  <a:gd name="T63" fmla="*/ 134 h 156"/>
                  <a:gd name="T64" fmla="*/ 94 w 184"/>
                  <a:gd name="T65" fmla="*/ 136 h 156"/>
                  <a:gd name="T66" fmla="*/ 80 w 184"/>
                  <a:gd name="T67" fmla="*/ 154 h 156"/>
                  <a:gd name="T68" fmla="*/ 52 w 184"/>
                  <a:gd name="T69"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4" h="156">
                    <a:moveTo>
                      <a:pt x="52" y="156"/>
                    </a:moveTo>
                    <a:lnTo>
                      <a:pt x="46" y="150"/>
                    </a:lnTo>
                    <a:lnTo>
                      <a:pt x="20" y="148"/>
                    </a:lnTo>
                    <a:lnTo>
                      <a:pt x="2" y="128"/>
                    </a:lnTo>
                    <a:lnTo>
                      <a:pt x="0" y="76"/>
                    </a:lnTo>
                    <a:lnTo>
                      <a:pt x="30" y="76"/>
                    </a:lnTo>
                    <a:lnTo>
                      <a:pt x="30" y="42"/>
                    </a:lnTo>
                    <a:lnTo>
                      <a:pt x="48" y="50"/>
                    </a:lnTo>
                    <a:lnTo>
                      <a:pt x="68" y="58"/>
                    </a:lnTo>
                    <a:lnTo>
                      <a:pt x="82" y="52"/>
                    </a:lnTo>
                    <a:lnTo>
                      <a:pt x="90" y="64"/>
                    </a:lnTo>
                    <a:lnTo>
                      <a:pt x="102" y="70"/>
                    </a:lnTo>
                    <a:lnTo>
                      <a:pt x="110" y="82"/>
                    </a:lnTo>
                    <a:lnTo>
                      <a:pt x="124" y="82"/>
                    </a:lnTo>
                    <a:lnTo>
                      <a:pt x="124" y="64"/>
                    </a:lnTo>
                    <a:lnTo>
                      <a:pt x="110" y="58"/>
                    </a:lnTo>
                    <a:lnTo>
                      <a:pt x="100" y="48"/>
                    </a:lnTo>
                    <a:lnTo>
                      <a:pt x="104" y="26"/>
                    </a:lnTo>
                    <a:lnTo>
                      <a:pt x="102" y="8"/>
                    </a:lnTo>
                    <a:lnTo>
                      <a:pt x="118" y="0"/>
                    </a:lnTo>
                    <a:lnTo>
                      <a:pt x="136" y="0"/>
                    </a:lnTo>
                    <a:lnTo>
                      <a:pt x="178" y="20"/>
                    </a:lnTo>
                    <a:lnTo>
                      <a:pt x="184" y="34"/>
                    </a:lnTo>
                    <a:lnTo>
                      <a:pt x="180" y="40"/>
                    </a:lnTo>
                    <a:lnTo>
                      <a:pt x="180" y="64"/>
                    </a:lnTo>
                    <a:lnTo>
                      <a:pt x="174" y="70"/>
                    </a:lnTo>
                    <a:lnTo>
                      <a:pt x="170" y="84"/>
                    </a:lnTo>
                    <a:lnTo>
                      <a:pt x="180" y="98"/>
                    </a:lnTo>
                    <a:lnTo>
                      <a:pt x="134" y="106"/>
                    </a:lnTo>
                    <a:lnTo>
                      <a:pt x="134" y="122"/>
                    </a:lnTo>
                    <a:lnTo>
                      <a:pt x="114" y="120"/>
                    </a:lnTo>
                    <a:lnTo>
                      <a:pt x="106" y="134"/>
                    </a:lnTo>
                    <a:lnTo>
                      <a:pt x="94" y="136"/>
                    </a:lnTo>
                    <a:lnTo>
                      <a:pt x="80" y="154"/>
                    </a:lnTo>
                    <a:lnTo>
                      <a:pt x="52" y="15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73" name="Freeform 166">
                <a:extLst>
                  <a:ext uri="{FF2B5EF4-FFF2-40B4-BE49-F238E27FC236}">
                    <a16:creationId xmlns:a16="http://schemas.microsoft.com/office/drawing/2014/main" id="{77C713E0-297D-4506-878B-E0CB2A1B71F7}"/>
                  </a:ext>
                </a:extLst>
              </p:cNvPr>
              <p:cNvSpPr>
                <a:spLocks/>
              </p:cNvSpPr>
              <p:nvPr/>
            </p:nvSpPr>
            <p:spPr bwMode="gray">
              <a:xfrm>
                <a:off x="6592707" y="4721233"/>
                <a:ext cx="287287" cy="282171"/>
              </a:xfrm>
              <a:custGeom>
                <a:avLst/>
                <a:gdLst>
                  <a:gd name="T0" fmla="*/ 18 w 174"/>
                  <a:gd name="T1" fmla="*/ 116 h 170"/>
                  <a:gd name="T2" fmla="*/ 16 w 174"/>
                  <a:gd name="T3" fmla="*/ 100 h 170"/>
                  <a:gd name="T4" fmla="*/ 2 w 174"/>
                  <a:gd name="T5" fmla="*/ 82 h 170"/>
                  <a:gd name="T6" fmla="*/ 0 w 174"/>
                  <a:gd name="T7" fmla="*/ 56 h 170"/>
                  <a:gd name="T8" fmla="*/ 20 w 174"/>
                  <a:gd name="T9" fmla="*/ 34 h 170"/>
                  <a:gd name="T10" fmla="*/ 16 w 174"/>
                  <a:gd name="T11" fmla="*/ 20 h 170"/>
                  <a:gd name="T12" fmla="*/ 22 w 174"/>
                  <a:gd name="T13" fmla="*/ 12 h 170"/>
                  <a:gd name="T14" fmla="*/ 16 w 174"/>
                  <a:gd name="T15" fmla="*/ 0 h 170"/>
                  <a:gd name="T16" fmla="*/ 38 w 174"/>
                  <a:gd name="T17" fmla="*/ 0 h 170"/>
                  <a:gd name="T18" fmla="*/ 76 w 174"/>
                  <a:gd name="T19" fmla="*/ 2 h 170"/>
                  <a:gd name="T20" fmla="*/ 128 w 174"/>
                  <a:gd name="T21" fmla="*/ 30 h 170"/>
                  <a:gd name="T22" fmla="*/ 132 w 174"/>
                  <a:gd name="T23" fmla="*/ 40 h 170"/>
                  <a:gd name="T24" fmla="*/ 156 w 174"/>
                  <a:gd name="T25" fmla="*/ 58 h 170"/>
                  <a:gd name="T26" fmla="*/ 150 w 174"/>
                  <a:gd name="T27" fmla="*/ 72 h 170"/>
                  <a:gd name="T28" fmla="*/ 148 w 174"/>
                  <a:gd name="T29" fmla="*/ 86 h 170"/>
                  <a:gd name="T30" fmla="*/ 156 w 174"/>
                  <a:gd name="T31" fmla="*/ 98 h 170"/>
                  <a:gd name="T32" fmla="*/ 156 w 174"/>
                  <a:gd name="T33" fmla="*/ 126 h 170"/>
                  <a:gd name="T34" fmla="*/ 174 w 174"/>
                  <a:gd name="T35" fmla="*/ 150 h 170"/>
                  <a:gd name="T36" fmla="*/ 158 w 174"/>
                  <a:gd name="T37" fmla="*/ 160 h 170"/>
                  <a:gd name="T38" fmla="*/ 132 w 174"/>
                  <a:gd name="T39" fmla="*/ 170 h 170"/>
                  <a:gd name="T40" fmla="*/ 84 w 174"/>
                  <a:gd name="T41" fmla="*/ 166 h 170"/>
                  <a:gd name="T42" fmla="*/ 82 w 174"/>
                  <a:gd name="T43" fmla="*/ 148 h 170"/>
                  <a:gd name="T44" fmla="*/ 74 w 174"/>
                  <a:gd name="T45" fmla="*/ 136 h 170"/>
                  <a:gd name="T46" fmla="*/ 60 w 174"/>
                  <a:gd name="T47" fmla="*/ 136 h 170"/>
                  <a:gd name="T48" fmla="*/ 18 w 174"/>
                  <a:gd name="T49" fmla="*/ 11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4" h="170">
                    <a:moveTo>
                      <a:pt x="18" y="116"/>
                    </a:moveTo>
                    <a:lnTo>
                      <a:pt x="16" y="100"/>
                    </a:lnTo>
                    <a:lnTo>
                      <a:pt x="2" y="82"/>
                    </a:lnTo>
                    <a:lnTo>
                      <a:pt x="0" y="56"/>
                    </a:lnTo>
                    <a:lnTo>
                      <a:pt x="20" y="34"/>
                    </a:lnTo>
                    <a:lnTo>
                      <a:pt x="16" y="20"/>
                    </a:lnTo>
                    <a:lnTo>
                      <a:pt x="22" y="12"/>
                    </a:lnTo>
                    <a:lnTo>
                      <a:pt x="16" y="0"/>
                    </a:lnTo>
                    <a:lnTo>
                      <a:pt x="38" y="0"/>
                    </a:lnTo>
                    <a:lnTo>
                      <a:pt x="76" y="2"/>
                    </a:lnTo>
                    <a:lnTo>
                      <a:pt x="128" y="30"/>
                    </a:lnTo>
                    <a:lnTo>
                      <a:pt x="132" y="40"/>
                    </a:lnTo>
                    <a:lnTo>
                      <a:pt x="156" y="58"/>
                    </a:lnTo>
                    <a:lnTo>
                      <a:pt x="150" y="72"/>
                    </a:lnTo>
                    <a:lnTo>
                      <a:pt x="148" y="86"/>
                    </a:lnTo>
                    <a:lnTo>
                      <a:pt x="156" y="98"/>
                    </a:lnTo>
                    <a:lnTo>
                      <a:pt x="156" y="126"/>
                    </a:lnTo>
                    <a:lnTo>
                      <a:pt x="174" y="150"/>
                    </a:lnTo>
                    <a:lnTo>
                      <a:pt x="158" y="160"/>
                    </a:lnTo>
                    <a:lnTo>
                      <a:pt x="132" y="170"/>
                    </a:lnTo>
                    <a:lnTo>
                      <a:pt x="84" y="166"/>
                    </a:lnTo>
                    <a:lnTo>
                      <a:pt x="82" y="148"/>
                    </a:lnTo>
                    <a:lnTo>
                      <a:pt x="74" y="136"/>
                    </a:lnTo>
                    <a:lnTo>
                      <a:pt x="60" y="136"/>
                    </a:lnTo>
                    <a:lnTo>
                      <a:pt x="18" y="11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74" name="Freeform 167">
                <a:extLst>
                  <a:ext uri="{FF2B5EF4-FFF2-40B4-BE49-F238E27FC236}">
                    <a16:creationId xmlns:a16="http://schemas.microsoft.com/office/drawing/2014/main" id="{CC53B25D-A590-408D-B22B-C994774C946E}"/>
                  </a:ext>
                </a:extLst>
              </p:cNvPr>
              <p:cNvSpPr>
                <a:spLocks/>
              </p:cNvSpPr>
              <p:nvPr/>
            </p:nvSpPr>
            <p:spPr bwMode="gray">
              <a:xfrm>
                <a:off x="6589406" y="4754428"/>
                <a:ext cx="36323" cy="59754"/>
              </a:xfrm>
              <a:custGeom>
                <a:avLst/>
                <a:gdLst>
                  <a:gd name="T0" fmla="*/ 18 w 22"/>
                  <a:gd name="T1" fmla="*/ 0 h 36"/>
                  <a:gd name="T2" fmla="*/ 10 w 22"/>
                  <a:gd name="T3" fmla="*/ 2 h 36"/>
                  <a:gd name="T4" fmla="*/ 0 w 22"/>
                  <a:gd name="T5" fmla="*/ 12 h 36"/>
                  <a:gd name="T6" fmla="*/ 2 w 22"/>
                  <a:gd name="T7" fmla="*/ 36 h 36"/>
                  <a:gd name="T8" fmla="*/ 22 w 22"/>
                  <a:gd name="T9" fmla="*/ 14 h 36"/>
                  <a:gd name="T10" fmla="*/ 18 w 22"/>
                  <a:gd name="T11" fmla="*/ 0 h 36"/>
                </a:gdLst>
                <a:ahLst/>
                <a:cxnLst>
                  <a:cxn ang="0">
                    <a:pos x="T0" y="T1"/>
                  </a:cxn>
                  <a:cxn ang="0">
                    <a:pos x="T2" y="T3"/>
                  </a:cxn>
                  <a:cxn ang="0">
                    <a:pos x="T4" y="T5"/>
                  </a:cxn>
                  <a:cxn ang="0">
                    <a:pos x="T6" y="T7"/>
                  </a:cxn>
                  <a:cxn ang="0">
                    <a:pos x="T8" y="T9"/>
                  </a:cxn>
                  <a:cxn ang="0">
                    <a:pos x="T10" y="T11"/>
                  </a:cxn>
                </a:cxnLst>
                <a:rect l="0" t="0" r="r" b="b"/>
                <a:pathLst>
                  <a:path w="22" h="36">
                    <a:moveTo>
                      <a:pt x="18" y="0"/>
                    </a:moveTo>
                    <a:lnTo>
                      <a:pt x="10" y="2"/>
                    </a:lnTo>
                    <a:lnTo>
                      <a:pt x="0" y="12"/>
                    </a:lnTo>
                    <a:lnTo>
                      <a:pt x="2" y="36"/>
                    </a:lnTo>
                    <a:lnTo>
                      <a:pt x="22" y="14"/>
                    </a:lnTo>
                    <a:lnTo>
                      <a:pt x="18"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75" name="Freeform 168">
                <a:extLst>
                  <a:ext uri="{FF2B5EF4-FFF2-40B4-BE49-F238E27FC236}">
                    <a16:creationId xmlns:a16="http://schemas.microsoft.com/office/drawing/2014/main" id="{B3641C01-4063-4814-B054-2ED1B1C0FFF2}"/>
                  </a:ext>
                </a:extLst>
              </p:cNvPr>
              <p:cNvSpPr>
                <a:spLocks/>
              </p:cNvSpPr>
              <p:nvPr/>
            </p:nvSpPr>
            <p:spPr bwMode="gray">
              <a:xfrm>
                <a:off x="6579500" y="4721233"/>
                <a:ext cx="49532" cy="53115"/>
              </a:xfrm>
              <a:custGeom>
                <a:avLst/>
                <a:gdLst>
                  <a:gd name="T0" fmla="*/ 10 w 30"/>
                  <a:gd name="T1" fmla="*/ 2 h 32"/>
                  <a:gd name="T2" fmla="*/ 24 w 30"/>
                  <a:gd name="T3" fmla="*/ 0 h 32"/>
                  <a:gd name="T4" fmla="*/ 30 w 30"/>
                  <a:gd name="T5" fmla="*/ 12 h 32"/>
                  <a:gd name="T6" fmla="*/ 24 w 30"/>
                  <a:gd name="T7" fmla="*/ 20 h 32"/>
                  <a:gd name="T8" fmla="*/ 16 w 30"/>
                  <a:gd name="T9" fmla="*/ 22 h 32"/>
                  <a:gd name="T10" fmla="*/ 6 w 30"/>
                  <a:gd name="T11" fmla="*/ 32 h 32"/>
                  <a:gd name="T12" fmla="*/ 0 w 30"/>
                  <a:gd name="T13" fmla="*/ 16 h 32"/>
                  <a:gd name="T14" fmla="*/ 10 w 30"/>
                  <a:gd name="T15" fmla="*/ 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32">
                    <a:moveTo>
                      <a:pt x="10" y="2"/>
                    </a:moveTo>
                    <a:lnTo>
                      <a:pt x="24" y="0"/>
                    </a:lnTo>
                    <a:lnTo>
                      <a:pt x="30" y="12"/>
                    </a:lnTo>
                    <a:lnTo>
                      <a:pt x="24" y="20"/>
                    </a:lnTo>
                    <a:lnTo>
                      <a:pt x="16" y="22"/>
                    </a:lnTo>
                    <a:lnTo>
                      <a:pt x="6" y="32"/>
                    </a:lnTo>
                    <a:lnTo>
                      <a:pt x="0" y="16"/>
                    </a:lnTo>
                    <a:lnTo>
                      <a:pt x="10" y="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76" name="Freeform 169">
                <a:extLst>
                  <a:ext uri="{FF2B5EF4-FFF2-40B4-BE49-F238E27FC236}">
                    <a16:creationId xmlns:a16="http://schemas.microsoft.com/office/drawing/2014/main" id="{1C42F06B-782E-4738-B892-9E8C83E89588}"/>
                  </a:ext>
                </a:extLst>
              </p:cNvPr>
              <p:cNvSpPr>
                <a:spLocks/>
              </p:cNvSpPr>
              <p:nvPr/>
            </p:nvSpPr>
            <p:spPr bwMode="gray">
              <a:xfrm>
                <a:off x="6596011" y="4585126"/>
                <a:ext cx="141992" cy="139426"/>
              </a:xfrm>
              <a:custGeom>
                <a:avLst/>
                <a:gdLst>
                  <a:gd name="T0" fmla="*/ 0 w 86"/>
                  <a:gd name="T1" fmla="*/ 84 h 84"/>
                  <a:gd name="T2" fmla="*/ 2 w 86"/>
                  <a:gd name="T3" fmla="*/ 64 h 84"/>
                  <a:gd name="T4" fmla="*/ 6 w 86"/>
                  <a:gd name="T5" fmla="*/ 52 h 84"/>
                  <a:gd name="T6" fmla="*/ 26 w 86"/>
                  <a:gd name="T7" fmla="*/ 34 h 84"/>
                  <a:gd name="T8" fmla="*/ 26 w 86"/>
                  <a:gd name="T9" fmla="*/ 30 h 84"/>
                  <a:gd name="T10" fmla="*/ 20 w 86"/>
                  <a:gd name="T11" fmla="*/ 28 h 84"/>
                  <a:gd name="T12" fmla="*/ 16 w 86"/>
                  <a:gd name="T13" fmla="*/ 4 h 84"/>
                  <a:gd name="T14" fmla="*/ 68 w 86"/>
                  <a:gd name="T15" fmla="*/ 0 h 84"/>
                  <a:gd name="T16" fmla="*/ 80 w 86"/>
                  <a:gd name="T17" fmla="*/ 20 h 84"/>
                  <a:gd name="T18" fmla="*/ 86 w 86"/>
                  <a:gd name="T19" fmla="*/ 42 h 84"/>
                  <a:gd name="T20" fmla="*/ 72 w 86"/>
                  <a:gd name="T21" fmla="*/ 58 h 84"/>
                  <a:gd name="T22" fmla="*/ 76 w 86"/>
                  <a:gd name="T23" fmla="*/ 72 h 84"/>
                  <a:gd name="T24" fmla="*/ 70 w 86"/>
                  <a:gd name="T25" fmla="*/ 84 h 84"/>
                  <a:gd name="T26" fmla="*/ 36 w 86"/>
                  <a:gd name="T27" fmla="*/ 82 h 84"/>
                  <a:gd name="T28" fmla="*/ 14 w 86"/>
                  <a:gd name="T29" fmla="*/ 82 h 84"/>
                  <a:gd name="T30" fmla="*/ 0 w 86"/>
                  <a:gd name="T3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6" h="84">
                    <a:moveTo>
                      <a:pt x="0" y="84"/>
                    </a:moveTo>
                    <a:lnTo>
                      <a:pt x="2" y="64"/>
                    </a:lnTo>
                    <a:lnTo>
                      <a:pt x="6" y="52"/>
                    </a:lnTo>
                    <a:lnTo>
                      <a:pt x="26" y="34"/>
                    </a:lnTo>
                    <a:lnTo>
                      <a:pt x="26" y="30"/>
                    </a:lnTo>
                    <a:lnTo>
                      <a:pt x="20" y="28"/>
                    </a:lnTo>
                    <a:lnTo>
                      <a:pt x="16" y="4"/>
                    </a:lnTo>
                    <a:lnTo>
                      <a:pt x="68" y="0"/>
                    </a:lnTo>
                    <a:lnTo>
                      <a:pt x="80" y="20"/>
                    </a:lnTo>
                    <a:lnTo>
                      <a:pt x="86" y="42"/>
                    </a:lnTo>
                    <a:lnTo>
                      <a:pt x="72" y="58"/>
                    </a:lnTo>
                    <a:lnTo>
                      <a:pt x="76" y="72"/>
                    </a:lnTo>
                    <a:lnTo>
                      <a:pt x="70" y="84"/>
                    </a:lnTo>
                    <a:lnTo>
                      <a:pt x="36" y="82"/>
                    </a:lnTo>
                    <a:lnTo>
                      <a:pt x="14" y="82"/>
                    </a:lnTo>
                    <a:lnTo>
                      <a:pt x="0" y="8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77" name="Freeform 170">
                <a:extLst>
                  <a:ext uri="{FF2B5EF4-FFF2-40B4-BE49-F238E27FC236}">
                    <a16:creationId xmlns:a16="http://schemas.microsoft.com/office/drawing/2014/main" id="{75CA18AA-EAAB-4279-949A-15988C167180}"/>
                  </a:ext>
                </a:extLst>
              </p:cNvPr>
              <p:cNvSpPr>
                <a:spLocks/>
              </p:cNvSpPr>
              <p:nvPr/>
            </p:nvSpPr>
            <p:spPr bwMode="gray">
              <a:xfrm>
                <a:off x="6137013" y="4847379"/>
                <a:ext cx="346724" cy="338605"/>
              </a:xfrm>
              <a:custGeom>
                <a:avLst/>
                <a:gdLst>
                  <a:gd name="T0" fmla="*/ 0 w 210"/>
                  <a:gd name="T1" fmla="*/ 186 h 204"/>
                  <a:gd name="T2" fmla="*/ 0 w 210"/>
                  <a:gd name="T3" fmla="*/ 162 h 204"/>
                  <a:gd name="T4" fmla="*/ 8 w 210"/>
                  <a:gd name="T5" fmla="*/ 126 h 204"/>
                  <a:gd name="T6" fmla="*/ 28 w 210"/>
                  <a:gd name="T7" fmla="*/ 94 h 204"/>
                  <a:gd name="T8" fmla="*/ 28 w 210"/>
                  <a:gd name="T9" fmla="*/ 78 h 204"/>
                  <a:gd name="T10" fmla="*/ 16 w 210"/>
                  <a:gd name="T11" fmla="*/ 52 h 204"/>
                  <a:gd name="T12" fmla="*/ 20 w 210"/>
                  <a:gd name="T13" fmla="*/ 38 h 204"/>
                  <a:gd name="T14" fmla="*/ 0 w 210"/>
                  <a:gd name="T15" fmla="*/ 2 h 204"/>
                  <a:gd name="T16" fmla="*/ 10 w 210"/>
                  <a:gd name="T17" fmla="*/ 0 h 204"/>
                  <a:gd name="T18" fmla="*/ 72 w 210"/>
                  <a:gd name="T19" fmla="*/ 0 h 204"/>
                  <a:gd name="T20" fmla="*/ 76 w 210"/>
                  <a:gd name="T21" fmla="*/ 14 h 204"/>
                  <a:gd name="T22" fmla="*/ 86 w 210"/>
                  <a:gd name="T23" fmla="*/ 32 h 204"/>
                  <a:gd name="T24" fmla="*/ 116 w 210"/>
                  <a:gd name="T25" fmla="*/ 34 h 204"/>
                  <a:gd name="T26" fmla="*/ 126 w 210"/>
                  <a:gd name="T27" fmla="*/ 18 h 204"/>
                  <a:gd name="T28" fmla="*/ 152 w 210"/>
                  <a:gd name="T29" fmla="*/ 24 h 204"/>
                  <a:gd name="T30" fmla="*/ 154 w 210"/>
                  <a:gd name="T31" fmla="*/ 64 h 204"/>
                  <a:gd name="T32" fmla="*/ 164 w 210"/>
                  <a:gd name="T33" fmla="*/ 70 h 204"/>
                  <a:gd name="T34" fmla="*/ 162 w 210"/>
                  <a:gd name="T35" fmla="*/ 82 h 204"/>
                  <a:gd name="T36" fmla="*/ 188 w 210"/>
                  <a:gd name="T37" fmla="*/ 82 h 204"/>
                  <a:gd name="T38" fmla="*/ 188 w 210"/>
                  <a:gd name="T39" fmla="*/ 116 h 204"/>
                  <a:gd name="T40" fmla="*/ 158 w 210"/>
                  <a:gd name="T41" fmla="*/ 116 h 204"/>
                  <a:gd name="T42" fmla="*/ 160 w 210"/>
                  <a:gd name="T43" fmla="*/ 168 h 204"/>
                  <a:gd name="T44" fmla="*/ 178 w 210"/>
                  <a:gd name="T45" fmla="*/ 188 h 204"/>
                  <a:gd name="T46" fmla="*/ 204 w 210"/>
                  <a:gd name="T47" fmla="*/ 190 h 204"/>
                  <a:gd name="T48" fmla="*/ 210 w 210"/>
                  <a:gd name="T49" fmla="*/ 196 h 204"/>
                  <a:gd name="T50" fmla="*/ 204 w 210"/>
                  <a:gd name="T51" fmla="*/ 196 h 204"/>
                  <a:gd name="T52" fmla="*/ 182 w 210"/>
                  <a:gd name="T53" fmla="*/ 204 h 204"/>
                  <a:gd name="T54" fmla="*/ 176 w 210"/>
                  <a:gd name="T55" fmla="*/ 196 h 204"/>
                  <a:gd name="T56" fmla="*/ 142 w 210"/>
                  <a:gd name="T57" fmla="*/ 200 h 204"/>
                  <a:gd name="T58" fmla="*/ 134 w 210"/>
                  <a:gd name="T59" fmla="*/ 194 h 204"/>
                  <a:gd name="T60" fmla="*/ 106 w 210"/>
                  <a:gd name="T61" fmla="*/ 192 h 204"/>
                  <a:gd name="T62" fmla="*/ 98 w 210"/>
                  <a:gd name="T63" fmla="*/ 186 h 204"/>
                  <a:gd name="T64" fmla="*/ 0 w 210"/>
                  <a:gd name="T65" fmla="*/ 186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0" h="204">
                    <a:moveTo>
                      <a:pt x="0" y="186"/>
                    </a:moveTo>
                    <a:lnTo>
                      <a:pt x="0" y="162"/>
                    </a:lnTo>
                    <a:lnTo>
                      <a:pt x="8" y="126"/>
                    </a:lnTo>
                    <a:lnTo>
                      <a:pt x="28" y="94"/>
                    </a:lnTo>
                    <a:lnTo>
                      <a:pt x="28" y="78"/>
                    </a:lnTo>
                    <a:lnTo>
                      <a:pt x="16" y="52"/>
                    </a:lnTo>
                    <a:lnTo>
                      <a:pt x="20" y="38"/>
                    </a:lnTo>
                    <a:lnTo>
                      <a:pt x="0" y="2"/>
                    </a:lnTo>
                    <a:lnTo>
                      <a:pt x="10" y="0"/>
                    </a:lnTo>
                    <a:lnTo>
                      <a:pt x="72" y="0"/>
                    </a:lnTo>
                    <a:lnTo>
                      <a:pt x="76" y="14"/>
                    </a:lnTo>
                    <a:lnTo>
                      <a:pt x="86" y="32"/>
                    </a:lnTo>
                    <a:lnTo>
                      <a:pt x="116" y="34"/>
                    </a:lnTo>
                    <a:lnTo>
                      <a:pt x="126" y="18"/>
                    </a:lnTo>
                    <a:lnTo>
                      <a:pt x="152" y="24"/>
                    </a:lnTo>
                    <a:lnTo>
                      <a:pt x="154" y="64"/>
                    </a:lnTo>
                    <a:lnTo>
                      <a:pt x="164" y="70"/>
                    </a:lnTo>
                    <a:lnTo>
                      <a:pt x="162" y="82"/>
                    </a:lnTo>
                    <a:lnTo>
                      <a:pt x="188" y="82"/>
                    </a:lnTo>
                    <a:lnTo>
                      <a:pt x="188" y="116"/>
                    </a:lnTo>
                    <a:lnTo>
                      <a:pt x="158" y="116"/>
                    </a:lnTo>
                    <a:lnTo>
                      <a:pt x="160" y="168"/>
                    </a:lnTo>
                    <a:lnTo>
                      <a:pt x="178" y="188"/>
                    </a:lnTo>
                    <a:lnTo>
                      <a:pt x="204" y="190"/>
                    </a:lnTo>
                    <a:lnTo>
                      <a:pt x="210" y="196"/>
                    </a:lnTo>
                    <a:lnTo>
                      <a:pt x="204" y="196"/>
                    </a:lnTo>
                    <a:lnTo>
                      <a:pt x="182" y="204"/>
                    </a:lnTo>
                    <a:lnTo>
                      <a:pt x="176" y="196"/>
                    </a:lnTo>
                    <a:lnTo>
                      <a:pt x="142" y="200"/>
                    </a:lnTo>
                    <a:lnTo>
                      <a:pt x="134" y="194"/>
                    </a:lnTo>
                    <a:lnTo>
                      <a:pt x="106" y="192"/>
                    </a:lnTo>
                    <a:lnTo>
                      <a:pt x="98" y="186"/>
                    </a:lnTo>
                    <a:lnTo>
                      <a:pt x="0" y="18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78" name="Freeform 171">
                <a:extLst>
                  <a:ext uri="{FF2B5EF4-FFF2-40B4-BE49-F238E27FC236}">
                    <a16:creationId xmlns:a16="http://schemas.microsoft.com/office/drawing/2014/main" id="{96BBE507-5D14-4F29-A589-0FD28F5C050E}"/>
                  </a:ext>
                </a:extLst>
              </p:cNvPr>
              <p:cNvSpPr>
                <a:spLocks/>
              </p:cNvSpPr>
              <p:nvPr/>
            </p:nvSpPr>
            <p:spPr bwMode="gray">
              <a:xfrm>
                <a:off x="6146918" y="4551930"/>
                <a:ext cx="492019" cy="497949"/>
              </a:xfrm>
              <a:custGeom>
                <a:avLst/>
                <a:gdLst>
                  <a:gd name="T0" fmla="*/ 0 w 298"/>
                  <a:gd name="T1" fmla="*/ 176 h 300"/>
                  <a:gd name="T2" fmla="*/ 6 w 298"/>
                  <a:gd name="T3" fmla="*/ 162 h 300"/>
                  <a:gd name="T4" fmla="*/ 14 w 298"/>
                  <a:gd name="T5" fmla="*/ 160 h 300"/>
                  <a:gd name="T6" fmla="*/ 34 w 298"/>
                  <a:gd name="T7" fmla="*/ 156 h 300"/>
                  <a:gd name="T8" fmla="*/ 60 w 298"/>
                  <a:gd name="T9" fmla="*/ 144 h 300"/>
                  <a:gd name="T10" fmla="*/ 64 w 298"/>
                  <a:gd name="T11" fmla="*/ 112 h 300"/>
                  <a:gd name="T12" fmla="*/ 88 w 298"/>
                  <a:gd name="T13" fmla="*/ 74 h 300"/>
                  <a:gd name="T14" fmla="*/ 94 w 298"/>
                  <a:gd name="T15" fmla="*/ 42 h 300"/>
                  <a:gd name="T16" fmla="*/ 96 w 298"/>
                  <a:gd name="T17" fmla="*/ 30 h 300"/>
                  <a:gd name="T18" fmla="*/ 98 w 298"/>
                  <a:gd name="T19" fmla="*/ 16 h 300"/>
                  <a:gd name="T20" fmla="*/ 112 w 298"/>
                  <a:gd name="T21" fmla="*/ 0 h 300"/>
                  <a:gd name="T22" fmla="*/ 126 w 298"/>
                  <a:gd name="T23" fmla="*/ 14 h 300"/>
                  <a:gd name="T24" fmla="*/ 138 w 298"/>
                  <a:gd name="T25" fmla="*/ 18 h 300"/>
                  <a:gd name="T26" fmla="*/ 160 w 298"/>
                  <a:gd name="T27" fmla="*/ 20 h 300"/>
                  <a:gd name="T28" fmla="*/ 172 w 298"/>
                  <a:gd name="T29" fmla="*/ 12 h 300"/>
                  <a:gd name="T30" fmla="*/ 206 w 298"/>
                  <a:gd name="T31" fmla="*/ 2 h 300"/>
                  <a:gd name="T32" fmla="*/ 236 w 298"/>
                  <a:gd name="T33" fmla="*/ 4 h 300"/>
                  <a:gd name="T34" fmla="*/ 244 w 298"/>
                  <a:gd name="T35" fmla="*/ 14 h 300"/>
                  <a:gd name="T36" fmla="*/ 272 w 298"/>
                  <a:gd name="T37" fmla="*/ 12 h 300"/>
                  <a:gd name="T38" fmla="*/ 288 w 298"/>
                  <a:gd name="T39" fmla="*/ 24 h 300"/>
                  <a:gd name="T40" fmla="*/ 292 w 298"/>
                  <a:gd name="T41" fmla="*/ 48 h 300"/>
                  <a:gd name="T42" fmla="*/ 298 w 298"/>
                  <a:gd name="T43" fmla="*/ 50 h 300"/>
                  <a:gd name="T44" fmla="*/ 298 w 298"/>
                  <a:gd name="T45" fmla="*/ 54 h 300"/>
                  <a:gd name="T46" fmla="*/ 278 w 298"/>
                  <a:gd name="T47" fmla="*/ 72 h 300"/>
                  <a:gd name="T48" fmla="*/ 274 w 298"/>
                  <a:gd name="T49" fmla="*/ 84 h 300"/>
                  <a:gd name="T50" fmla="*/ 272 w 298"/>
                  <a:gd name="T51" fmla="*/ 104 h 300"/>
                  <a:gd name="T52" fmla="*/ 262 w 298"/>
                  <a:gd name="T53" fmla="*/ 118 h 300"/>
                  <a:gd name="T54" fmla="*/ 268 w 298"/>
                  <a:gd name="T55" fmla="*/ 134 h 300"/>
                  <a:gd name="T56" fmla="*/ 270 w 298"/>
                  <a:gd name="T57" fmla="*/ 158 h 300"/>
                  <a:gd name="T58" fmla="*/ 270 w 298"/>
                  <a:gd name="T59" fmla="*/ 172 h 300"/>
                  <a:gd name="T60" fmla="*/ 272 w 298"/>
                  <a:gd name="T61" fmla="*/ 184 h 300"/>
                  <a:gd name="T62" fmla="*/ 286 w 298"/>
                  <a:gd name="T63" fmla="*/ 202 h 300"/>
                  <a:gd name="T64" fmla="*/ 288 w 298"/>
                  <a:gd name="T65" fmla="*/ 218 h 300"/>
                  <a:gd name="T66" fmla="*/ 270 w 298"/>
                  <a:gd name="T67" fmla="*/ 218 h 300"/>
                  <a:gd name="T68" fmla="*/ 254 w 298"/>
                  <a:gd name="T69" fmla="*/ 226 h 300"/>
                  <a:gd name="T70" fmla="*/ 256 w 298"/>
                  <a:gd name="T71" fmla="*/ 244 h 300"/>
                  <a:gd name="T72" fmla="*/ 252 w 298"/>
                  <a:gd name="T73" fmla="*/ 266 h 300"/>
                  <a:gd name="T74" fmla="*/ 262 w 298"/>
                  <a:gd name="T75" fmla="*/ 276 h 300"/>
                  <a:gd name="T76" fmla="*/ 276 w 298"/>
                  <a:gd name="T77" fmla="*/ 282 h 300"/>
                  <a:gd name="T78" fmla="*/ 276 w 298"/>
                  <a:gd name="T79" fmla="*/ 300 h 300"/>
                  <a:gd name="T80" fmla="*/ 262 w 298"/>
                  <a:gd name="T81" fmla="*/ 300 h 300"/>
                  <a:gd name="T82" fmla="*/ 254 w 298"/>
                  <a:gd name="T83" fmla="*/ 288 h 300"/>
                  <a:gd name="T84" fmla="*/ 242 w 298"/>
                  <a:gd name="T85" fmla="*/ 282 h 300"/>
                  <a:gd name="T86" fmla="*/ 234 w 298"/>
                  <a:gd name="T87" fmla="*/ 270 h 300"/>
                  <a:gd name="T88" fmla="*/ 220 w 298"/>
                  <a:gd name="T89" fmla="*/ 276 h 300"/>
                  <a:gd name="T90" fmla="*/ 182 w 298"/>
                  <a:gd name="T91" fmla="*/ 260 h 300"/>
                  <a:gd name="T92" fmla="*/ 156 w 298"/>
                  <a:gd name="T93" fmla="*/ 260 h 300"/>
                  <a:gd name="T94" fmla="*/ 158 w 298"/>
                  <a:gd name="T95" fmla="*/ 248 h 300"/>
                  <a:gd name="T96" fmla="*/ 148 w 298"/>
                  <a:gd name="T97" fmla="*/ 242 h 300"/>
                  <a:gd name="T98" fmla="*/ 146 w 298"/>
                  <a:gd name="T99" fmla="*/ 202 h 300"/>
                  <a:gd name="T100" fmla="*/ 120 w 298"/>
                  <a:gd name="T101" fmla="*/ 196 h 300"/>
                  <a:gd name="T102" fmla="*/ 110 w 298"/>
                  <a:gd name="T103" fmla="*/ 212 h 300"/>
                  <a:gd name="T104" fmla="*/ 80 w 298"/>
                  <a:gd name="T105" fmla="*/ 210 h 300"/>
                  <a:gd name="T106" fmla="*/ 70 w 298"/>
                  <a:gd name="T107" fmla="*/ 192 h 300"/>
                  <a:gd name="T108" fmla="*/ 66 w 298"/>
                  <a:gd name="T109" fmla="*/ 178 h 300"/>
                  <a:gd name="T110" fmla="*/ 6 w 298"/>
                  <a:gd name="T111" fmla="*/ 178 h 300"/>
                  <a:gd name="T112" fmla="*/ 0 w 298"/>
                  <a:gd name="T113" fmla="*/ 176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98" h="300">
                    <a:moveTo>
                      <a:pt x="0" y="176"/>
                    </a:moveTo>
                    <a:lnTo>
                      <a:pt x="6" y="162"/>
                    </a:lnTo>
                    <a:lnTo>
                      <a:pt x="14" y="160"/>
                    </a:lnTo>
                    <a:lnTo>
                      <a:pt x="34" y="156"/>
                    </a:lnTo>
                    <a:lnTo>
                      <a:pt x="60" y="144"/>
                    </a:lnTo>
                    <a:lnTo>
                      <a:pt x="64" y="112"/>
                    </a:lnTo>
                    <a:lnTo>
                      <a:pt x="88" y="74"/>
                    </a:lnTo>
                    <a:lnTo>
                      <a:pt x="94" y="42"/>
                    </a:lnTo>
                    <a:lnTo>
                      <a:pt x="96" y="30"/>
                    </a:lnTo>
                    <a:lnTo>
                      <a:pt x="98" y="16"/>
                    </a:lnTo>
                    <a:lnTo>
                      <a:pt x="112" y="0"/>
                    </a:lnTo>
                    <a:lnTo>
                      <a:pt x="126" y="14"/>
                    </a:lnTo>
                    <a:lnTo>
                      <a:pt x="138" y="18"/>
                    </a:lnTo>
                    <a:lnTo>
                      <a:pt x="160" y="20"/>
                    </a:lnTo>
                    <a:lnTo>
                      <a:pt x="172" y="12"/>
                    </a:lnTo>
                    <a:lnTo>
                      <a:pt x="206" y="2"/>
                    </a:lnTo>
                    <a:lnTo>
                      <a:pt x="236" y="4"/>
                    </a:lnTo>
                    <a:lnTo>
                      <a:pt x="244" y="14"/>
                    </a:lnTo>
                    <a:lnTo>
                      <a:pt x="272" y="12"/>
                    </a:lnTo>
                    <a:lnTo>
                      <a:pt x="288" y="24"/>
                    </a:lnTo>
                    <a:lnTo>
                      <a:pt x="292" y="48"/>
                    </a:lnTo>
                    <a:lnTo>
                      <a:pt x="298" y="50"/>
                    </a:lnTo>
                    <a:lnTo>
                      <a:pt x="298" y="54"/>
                    </a:lnTo>
                    <a:lnTo>
                      <a:pt x="278" y="72"/>
                    </a:lnTo>
                    <a:lnTo>
                      <a:pt x="274" y="84"/>
                    </a:lnTo>
                    <a:lnTo>
                      <a:pt x="272" y="104"/>
                    </a:lnTo>
                    <a:lnTo>
                      <a:pt x="262" y="118"/>
                    </a:lnTo>
                    <a:lnTo>
                      <a:pt x="268" y="134"/>
                    </a:lnTo>
                    <a:lnTo>
                      <a:pt x="270" y="158"/>
                    </a:lnTo>
                    <a:lnTo>
                      <a:pt x="270" y="172"/>
                    </a:lnTo>
                    <a:lnTo>
                      <a:pt x="272" y="184"/>
                    </a:lnTo>
                    <a:lnTo>
                      <a:pt x="286" y="202"/>
                    </a:lnTo>
                    <a:lnTo>
                      <a:pt x="288" y="218"/>
                    </a:lnTo>
                    <a:lnTo>
                      <a:pt x="270" y="218"/>
                    </a:lnTo>
                    <a:lnTo>
                      <a:pt x="254" y="226"/>
                    </a:lnTo>
                    <a:lnTo>
                      <a:pt x="256" y="244"/>
                    </a:lnTo>
                    <a:lnTo>
                      <a:pt x="252" y="266"/>
                    </a:lnTo>
                    <a:lnTo>
                      <a:pt x="262" y="276"/>
                    </a:lnTo>
                    <a:lnTo>
                      <a:pt x="276" y="282"/>
                    </a:lnTo>
                    <a:lnTo>
                      <a:pt x="276" y="300"/>
                    </a:lnTo>
                    <a:lnTo>
                      <a:pt x="262" y="300"/>
                    </a:lnTo>
                    <a:lnTo>
                      <a:pt x="254" y="288"/>
                    </a:lnTo>
                    <a:lnTo>
                      <a:pt x="242" y="282"/>
                    </a:lnTo>
                    <a:lnTo>
                      <a:pt x="234" y="270"/>
                    </a:lnTo>
                    <a:lnTo>
                      <a:pt x="220" y="276"/>
                    </a:lnTo>
                    <a:lnTo>
                      <a:pt x="182" y="260"/>
                    </a:lnTo>
                    <a:lnTo>
                      <a:pt x="156" y="260"/>
                    </a:lnTo>
                    <a:lnTo>
                      <a:pt x="158" y="248"/>
                    </a:lnTo>
                    <a:lnTo>
                      <a:pt x="148" y="242"/>
                    </a:lnTo>
                    <a:lnTo>
                      <a:pt x="146" y="202"/>
                    </a:lnTo>
                    <a:lnTo>
                      <a:pt x="120" y="196"/>
                    </a:lnTo>
                    <a:lnTo>
                      <a:pt x="110" y="212"/>
                    </a:lnTo>
                    <a:lnTo>
                      <a:pt x="80" y="210"/>
                    </a:lnTo>
                    <a:lnTo>
                      <a:pt x="70" y="192"/>
                    </a:lnTo>
                    <a:lnTo>
                      <a:pt x="66" y="178"/>
                    </a:lnTo>
                    <a:lnTo>
                      <a:pt x="6" y="178"/>
                    </a:lnTo>
                    <a:lnTo>
                      <a:pt x="0" y="17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79" name="Freeform 172">
                <a:extLst>
                  <a:ext uri="{FF2B5EF4-FFF2-40B4-BE49-F238E27FC236}">
                    <a16:creationId xmlns:a16="http://schemas.microsoft.com/office/drawing/2014/main" id="{235D61A2-F09C-4DB7-A058-C539EE9326AA}"/>
                  </a:ext>
                </a:extLst>
              </p:cNvPr>
              <p:cNvSpPr>
                <a:spLocks/>
              </p:cNvSpPr>
              <p:nvPr/>
            </p:nvSpPr>
            <p:spPr bwMode="gray">
              <a:xfrm>
                <a:off x="6137013" y="4810863"/>
                <a:ext cx="19813" cy="33197"/>
              </a:xfrm>
              <a:custGeom>
                <a:avLst/>
                <a:gdLst>
                  <a:gd name="T0" fmla="*/ 0 w 12"/>
                  <a:gd name="T1" fmla="*/ 4 h 20"/>
                  <a:gd name="T2" fmla="*/ 10 w 12"/>
                  <a:gd name="T3" fmla="*/ 0 h 20"/>
                  <a:gd name="T4" fmla="*/ 12 w 12"/>
                  <a:gd name="T5" fmla="*/ 4 h 20"/>
                  <a:gd name="T6" fmla="*/ 10 w 12"/>
                  <a:gd name="T7" fmla="*/ 12 h 20"/>
                  <a:gd name="T8" fmla="*/ 0 w 12"/>
                  <a:gd name="T9" fmla="*/ 20 h 20"/>
                  <a:gd name="T10" fmla="*/ 0 w 12"/>
                  <a:gd name="T11" fmla="*/ 4 h 20"/>
                </a:gdLst>
                <a:ahLst/>
                <a:cxnLst>
                  <a:cxn ang="0">
                    <a:pos x="T0" y="T1"/>
                  </a:cxn>
                  <a:cxn ang="0">
                    <a:pos x="T2" y="T3"/>
                  </a:cxn>
                  <a:cxn ang="0">
                    <a:pos x="T4" y="T5"/>
                  </a:cxn>
                  <a:cxn ang="0">
                    <a:pos x="T6" y="T7"/>
                  </a:cxn>
                  <a:cxn ang="0">
                    <a:pos x="T8" y="T9"/>
                  </a:cxn>
                  <a:cxn ang="0">
                    <a:pos x="T10" y="T11"/>
                  </a:cxn>
                </a:cxnLst>
                <a:rect l="0" t="0" r="r" b="b"/>
                <a:pathLst>
                  <a:path w="12" h="20">
                    <a:moveTo>
                      <a:pt x="0" y="4"/>
                    </a:moveTo>
                    <a:lnTo>
                      <a:pt x="10" y="0"/>
                    </a:lnTo>
                    <a:lnTo>
                      <a:pt x="12" y="4"/>
                    </a:lnTo>
                    <a:lnTo>
                      <a:pt x="10" y="12"/>
                    </a:lnTo>
                    <a:lnTo>
                      <a:pt x="0" y="20"/>
                    </a:lnTo>
                    <a:lnTo>
                      <a:pt x="0" y="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80" name="Freeform 173">
                <a:extLst>
                  <a:ext uri="{FF2B5EF4-FFF2-40B4-BE49-F238E27FC236}">
                    <a16:creationId xmlns:a16="http://schemas.microsoft.com/office/drawing/2014/main" id="{3738DF10-2AAE-4BB7-8DE0-DA139D5A8686}"/>
                  </a:ext>
                </a:extLst>
              </p:cNvPr>
              <p:cNvSpPr>
                <a:spLocks/>
              </p:cNvSpPr>
              <p:nvPr/>
            </p:nvSpPr>
            <p:spPr bwMode="gray">
              <a:xfrm>
                <a:off x="6112246" y="4598405"/>
                <a:ext cx="193176" cy="219097"/>
              </a:xfrm>
              <a:custGeom>
                <a:avLst/>
                <a:gdLst>
                  <a:gd name="T0" fmla="*/ 0 w 117"/>
                  <a:gd name="T1" fmla="*/ 116 h 132"/>
                  <a:gd name="T2" fmla="*/ 15 w 117"/>
                  <a:gd name="T3" fmla="*/ 116 h 132"/>
                  <a:gd name="T4" fmla="*/ 15 w 117"/>
                  <a:gd name="T5" fmla="*/ 106 h 132"/>
                  <a:gd name="T6" fmla="*/ 7 w 117"/>
                  <a:gd name="T7" fmla="*/ 106 h 132"/>
                  <a:gd name="T8" fmla="*/ 7 w 117"/>
                  <a:gd name="T9" fmla="*/ 94 h 132"/>
                  <a:gd name="T10" fmla="*/ 15 w 117"/>
                  <a:gd name="T11" fmla="*/ 94 h 132"/>
                  <a:gd name="T12" fmla="*/ 25 w 117"/>
                  <a:gd name="T13" fmla="*/ 86 h 132"/>
                  <a:gd name="T14" fmla="*/ 31 w 117"/>
                  <a:gd name="T15" fmla="*/ 94 h 132"/>
                  <a:gd name="T16" fmla="*/ 49 w 117"/>
                  <a:gd name="T17" fmla="*/ 96 h 132"/>
                  <a:gd name="T18" fmla="*/ 53 w 117"/>
                  <a:gd name="T19" fmla="*/ 88 h 132"/>
                  <a:gd name="T20" fmla="*/ 53 w 117"/>
                  <a:gd name="T21" fmla="*/ 68 h 132"/>
                  <a:gd name="T22" fmla="*/ 45 w 117"/>
                  <a:gd name="T23" fmla="*/ 62 h 132"/>
                  <a:gd name="T24" fmla="*/ 45 w 117"/>
                  <a:gd name="T25" fmla="*/ 50 h 132"/>
                  <a:gd name="T26" fmla="*/ 53 w 117"/>
                  <a:gd name="T27" fmla="*/ 44 h 132"/>
                  <a:gd name="T28" fmla="*/ 49 w 117"/>
                  <a:gd name="T29" fmla="*/ 34 h 132"/>
                  <a:gd name="T30" fmla="*/ 35 w 117"/>
                  <a:gd name="T31" fmla="*/ 36 h 132"/>
                  <a:gd name="T32" fmla="*/ 31 w 117"/>
                  <a:gd name="T33" fmla="*/ 20 h 132"/>
                  <a:gd name="T34" fmla="*/ 59 w 117"/>
                  <a:gd name="T35" fmla="*/ 20 h 132"/>
                  <a:gd name="T36" fmla="*/ 59 w 117"/>
                  <a:gd name="T37" fmla="*/ 28 h 132"/>
                  <a:gd name="T38" fmla="*/ 77 w 117"/>
                  <a:gd name="T39" fmla="*/ 26 h 132"/>
                  <a:gd name="T40" fmla="*/ 79 w 117"/>
                  <a:gd name="T41" fmla="*/ 12 h 132"/>
                  <a:gd name="T42" fmla="*/ 87 w 117"/>
                  <a:gd name="T43" fmla="*/ 0 h 132"/>
                  <a:gd name="T44" fmla="*/ 117 w 117"/>
                  <a:gd name="T45" fmla="*/ 2 h 132"/>
                  <a:gd name="T46" fmla="*/ 109 w 117"/>
                  <a:gd name="T47" fmla="*/ 46 h 132"/>
                  <a:gd name="T48" fmla="*/ 85 w 117"/>
                  <a:gd name="T49" fmla="*/ 84 h 132"/>
                  <a:gd name="T50" fmla="*/ 81 w 117"/>
                  <a:gd name="T51" fmla="*/ 116 h 132"/>
                  <a:gd name="T52" fmla="*/ 55 w 117"/>
                  <a:gd name="T53" fmla="*/ 128 h 132"/>
                  <a:gd name="T54" fmla="*/ 27 w 117"/>
                  <a:gd name="T55" fmla="*/ 132 h 132"/>
                  <a:gd name="T56" fmla="*/ 25 w 117"/>
                  <a:gd name="T57" fmla="*/ 128 h 132"/>
                  <a:gd name="T58" fmla="*/ 15 w 117"/>
                  <a:gd name="T59" fmla="*/ 132 h 132"/>
                  <a:gd name="T60" fmla="*/ 0 w 117"/>
                  <a:gd name="T61" fmla="*/ 116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7" h="132">
                    <a:moveTo>
                      <a:pt x="0" y="116"/>
                    </a:moveTo>
                    <a:lnTo>
                      <a:pt x="15" y="116"/>
                    </a:lnTo>
                    <a:lnTo>
                      <a:pt x="15" y="106"/>
                    </a:lnTo>
                    <a:lnTo>
                      <a:pt x="7" y="106"/>
                    </a:lnTo>
                    <a:lnTo>
                      <a:pt x="7" y="94"/>
                    </a:lnTo>
                    <a:lnTo>
                      <a:pt x="15" y="94"/>
                    </a:lnTo>
                    <a:lnTo>
                      <a:pt x="25" y="86"/>
                    </a:lnTo>
                    <a:lnTo>
                      <a:pt x="31" y="94"/>
                    </a:lnTo>
                    <a:lnTo>
                      <a:pt x="49" y="96"/>
                    </a:lnTo>
                    <a:lnTo>
                      <a:pt x="53" y="88"/>
                    </a:lnTo>
                    <a:lnTo>
                      <a:pt x="53" y="68"/>
                    </a:lnTo>
                    <a:lnTo>
                      <a:pt x="45" y="62"/>
                    </a:lnTo>
                    <a:lnTo>
                      <a:pt x="45" y="50"/>
                    </a:lnTo>
                    <a:lnTo>
                      <a:pt x="53" y="44"/>
                    </a:lnTo>
                    <a:lnTo>
                      <a:pt x="49" y="34"/>
                    </a:lnTo>
                    <a:lnTo>
                      <a:pt x="35" y="36"/>
                    </a:lnTo>
                    <a:lnTo>
                      <a:pt x="31" y="20"/>
                    </a:lnTo>
                    <a:lnTo>
                      <a:pt x="59" y="20"/>
                    </a:lnTo>
                    <a:lnTo>
                      <a:pt x="59" y="28"/>
                    </a:lnTo>
                    <a:lnTo>
                      <a:pt x="77" y="26"/>
                    </a:lnTo>
                    <a:lnTo>
                      <a:pt x="79" y="12"/>
                    </a:lnTo>
                    <a:lnTo>
                      <a:pt x="87" y="0"/>
                    </a:lnTo>
                    <a:lnTo>
                      <a:pt x="117" y="2"/>
                    </a:lnTo>
                    <a:lnTo>
                      <a:pt x="109" y="46"/>
                    </a:lnTo>
                    <a:lnTo>
                      <a:pt x="85" y="84"/>
                    </a:lnTo>
                    <a:lnTo>
                      <a:pt x="81" y="116"/>
                    </a:lnTo>
                    <a:lnTo>
                      <a:pt x="55" y="128"/>
                    </a:lnTo>
                    <a:lnTo>
                      <a:pt x="27" y="132"/>
                    </a:lnTo>
                    <a:lnTo>
                      <a:pt x="25" y="128"/>
                    </a:lnTo>
                    <a:lnTo>
                      <a:pt x="15" y="132"/>
                    </a:lnTo>
                    <a:lnTo>
                      <a:pt x="0" y="11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81" name="Freeform 174">
                <a:extLst>
                  <a:ext uri="{FF2B5EF4-FFF2-40B4-BE49-F238E27FC236}">
                    <a16:creationId xmlns:a16="http://schemas.microsoft.com/office/drawing/2014/main" id="{AC15D2DD-D09B-4191-92DB-DAD76AD73F01}"/>
                  </a:ext>
                </a:extLst>
              </p:cNvPr>
              <p:cNvSpPr>
                <a:spLocks/>
              </p:cNvSpPr>
              <p:nvPr/>
            </p:nvSpPr>
            <p:spPr bwMode="gray">
              <a:xfrm>
                <a:off x="6708283" y="4571848"/>
                <a:ext cx="208036" cy="245655"/>
              </a:xfrm>
              <a:custGeom>
                <a:avLst/>
                <a:gdLst>
                  <a:gd name="T0" fmla="*/ 8 w 126"/>
                  <a:gd name="T1" fmla="*/ 0 h 148"/>
                  <a:gd name="T2" fmla="*/ 28 w 126"/>
                  <a:gd name="T3" fmla="*/ 0 h 148"/>
                  <a:gd name="T4" fmla="*/ 64 w 126"/>
                  <a:gd name="T5" fmla="*/ 16 h 148"/>
                  <a:gd name="T6" fmla="*/ 88 w 126"/>
                  <a:gd name="T7" fmla="*/ 18 h 148"/>
                  <a:gd name="T8" fmla="*/ 108 w 126"/>
                  <a:gd name="T9" fmla="*/ 6 h 148"/>
                  <a:gd name="T10" fmla="*/ 114 w 126"/>
                  <a:gd name="T11" fmla="*/ 14 h 148"/>
                  <a:gd name="T12" fmla="*/ 126 w 126"/>
                  <a:gd name="T13" fmla="*/ 10 h 148"/>
                  <a:gd name="T14" fmla="*/ 126 w 126"/>
                  <a:gd name="T15" fmla="*/ 20 h 148"/>
                  <a:gd name="T16" fmla="*/ 110 w 126"/>
                  <a:gd name="T17" fmla="*/ 30 h 148"/>
                  <a:gd name="T18" fmla="*/ 112 w 126"/>
                  <a:gd name="T19" fmla="*/ 86 h 148"/>
                  <a:gd name="T20" fmla="*/ 122 w 126"/>
                  <a:gd name="T21" fmla="*/ 98 h 148"/>
                  <a:gd name="T22" fmla="*/ 112 w 126"/>
                  <a:gd name="T23" fmla="*/ 106 h 148"/>
                  <a:gd name="T24" fmla="*/ 100 w 126"/>
                  <a:gd name="T25" fmla="*/ 118 h 148"/>
                  <a:gd name="T26" fmla="*/ 92 w 126"/>
                  <a:gd name="T27" fmla="*/ 136 h 148"/>
                  <a:gd name="T28" fmla="*/ 86 w 126"/>
                  <a:gd name="T29" fmla="*/ 148 h 148"/>
                  <a:gd name="T30" fmla="*/ 62 w 126"/>
                  <a:gd name="T31" fmla="*/ 130 h 148"/>
                  <a:gd name="T32" fmla="*/ 58 w 126"/>
                  <a:gd name="T33" fmla="*/ 120 h 148"/>
                  <a:gd name="T34" fmla="*/ 6 w 126"/>
                  <a:gd name="T35" fmla="*/ 92 h 148"/>
                  <a:gd name="T36" fmla="*/ 2 w 126"/>
                  <a:gd name="T37" fmla="*/ 92 h 148"/>
                  <a:gd name="T38" fmla="*/ 6 w 126"/>
                  <a:gd name="T39" fmla="*/ 78 h 148"/>
                  <a:gd name="T40" fmla="*/ 4 w 126"/>
                  <a:gd name="T41" fmla="*/ 66 h 148"/>
                  <a:gd name="T42" fmla="*/ 18 w 126"/>
                  <a:gd name="T43" fmla="*/ 50 h 148"/>
                  <a:gd name="T44" fmla="*/ 12 w 126"/>
                  <a:gd name="T45" fmla="*/ 28 h 148"/>
                  <a:gd name="T46" fmla="*/ 0 w 126"/>
                  <a:gd name="T47" fmla="*/ 8 h 148"/>
                  <a:gd name="T48" fmla="*/ 8 w 126"/>
                  <a:gd name="T49"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6" h="148">
                    <a:moveTo>
                      <a:pt x="8" y="0"/>
                    </a:moveTo>
                    <a:lnTo>
                      <a:pt x="28" y="0"/>
                    </a:lnTo>
                    <a:lnTo>
                      <a:pt x="64" y="16"/>
                    </a:lnTo>
                    <a:lnTo>
                      <a:pt x="88" y="18"/>
                    </a:lnTo>
                    <a:lnTo>
                      <a:pt x="108" y="6"/>
                    </a:lnTo>
                    <a:lnTo>
                      <a:pt x="114" y="14"/>
                    </a:lnTo>
                    <a:lnTo>
                      <a:pt x="126" y="10"/>
                    </a:lnTo>
                    <a:lnTo>
                      <a:pt x="126" y="20"/>
                    </a:lnTo>
                    <a:lnTo>
                      <a:pt x="110" y="30"/>
                    </a:lnTo>
                    <a:lnTo>
                      <a:pt x="112" y="86"/>
                    </a:lnTo>
                    <a:lnTo>
                      <a:pt x="122" y="98"/>
                    </a:lnTo>
                    <a:lnTo>
                      <a:pt x="112" y="106"/>
                    </a:lnTo>
                    <a:lnTo>
                      <a:pt x="100" y="118"/>
                    </a:lnTo>
                    <a:lnTo>
                      <a:pt x="92" y="136"/>
                    </a:lnTo>
                    <a:lnTo>
                      <a:pt x="86" y="148"/>
                    </a:lnTo>
                    <a:lnTo>
                      <a:pt x="62" y="130"/>
                    </a:lnTo>
                    <a:lnTo>
                      <a:pt x="58" y="120"/>
                    </a:lnTo>
                    <a:lnTo>
                      <a:pt x="6" y="92"/>
                    </a:lnTo>
                    <a:lnTo>
                      <a:pt x="2" y="92"/>
                    </a:lnTo>
                    <a:lnTo>
                      <a:pt x="6" y="78"/>
                    </a:lnTo>
                    <a:lnTo>
                      <a:pt x="4" y="66"/>
                    </a:lnTo>
                    <a:lnTo>
                      <a:pt x="18" y="50"/>
                    </a:lnTo>
                    <a:lnTo>
                      <a:pt x="12" y="28"/>
                    </a:lnTo>
                    <a:lnTo>
                      <a:pt x="0" y="8"/>
                    </a:lnTo>
                    <a:lnTo>
                      <a:pt x="8"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82" name="Freeform 175">
                <a:extLst>
                  <a:ext uri="{FF2B5EF4-FFF2-40B4-BE49-F238E27FC236}">
                    <a16:creationId xmlns:a16="http://schemas.microsoft.com/office/drawing/2014/main" id="{404F451A-D8DF-493C-91E1-BBB935A53445}"/>
                  </a:ext>
                </a:extLst>
              </p:cNvPr>
              <p:cNvSpPr>
                <a:spLocks/>
              </p:cNvSpPr>
              <p:nvPr/>
            </p:nvSpPr>
            <p:spPr bwMode="gray">
              <a:xfrm>
                <a:off x="6052807" y="4631601"/>
                <a:ext cx="146946" cy="159344"/>
              </a:xfrm>
              <a:custGeom>
                <a:avLst/>
                <a:gdLst>
                  <a:gd name="T0" fmla="*/ 39 w 89"/>
                  <a:gd name="T1" fmla="*/ 0 h 96"/>
                  <a:gd name="T2" fmla="*/ 67 w 89"/>
                  <a:gd name="T3" fmla="*/ 0 h 96"/>
                  <a:gd name="T4" fmla="*/ 71 w 89"/>
                  <a:gd name="T5" fmla="*/ 16 h 96"/>
                  <a:gd name="T6" fmla="*/ 85 w 89"/>
                  <a:gd name="T7" fmla="*/ 14 h 96"/>
                  <a:gd name="T8" fmla="*/ 89 w 89"/>
                  <a:gd name="T9" fmla="*/ 24 h 96"/>
                  <a:gd name="T10" fmla="*/ 81 w 89"/>
                  <a:gd name="T11" fmla="*/ 30 h 96"/>
                  <a:gd name="T12" fmla="*/ 81 w 89"/>
                  <a:gd name="T13" fmla="*/ 42 h 96"/>
                  <a:gd name="T14" fmla="*/ 89 w 89"/>
                  <a:gd name="T15" fmla="*/ 48 h 96"/>
                  <a:gd name="T16" fmla="*/ 89 w 89"/>
                  <a:gd name="T17" fmla="*/ 68 h 96"/>
                  <a:gd name="T18" fmla="*/ 85 w 89"/>
                  <a:gd name="T19" fmla="*/ 76 h 96"/>
                  <a:gd name="T20" fmla="*/ 67 w 89"/>
                  <a:gd name="T21" fmla="*/ 74 h 96"/>
                  <a:gd name="T22" fmla="*/ 61 w 89"/>
                  <a:gd name="T23" fmla="*/ 66 h 96"/>
                  <a:gd name="T24" fmla="*/ 51 w 89"/>
                  <a:gd name="T25" fmla="*/ 74 h 96"/>
                  <a:gd name="T26" fmla="*/ 43 w 89"/>
                  <a:gd name="T27" fmla="*/ 74 h 96"/>
                  <a:gd name="T28" fmla="*/ 43 w 89"/>
                  <a:gd name="T29" fmla="*/ 86 h 96"/>
                  <a:gd name="T30" fmla="*/ 51 w 89"/>
                  <a:gd name="T31" fmla="*/ 86 h 96"/>
                  <a:gd name="T32" fmla="*/ 51 w 89"/>
                  <a:gd name="T33" fmla="*/ 96 h 96"/>
                  <a:gd name="T34" fmla="*/ 36 w 89"/>
                  <a:gd name="T35" fmla="*/ 96 h 96"/>
                  <a:gd name="T36" fmla="*/ 18 w 89"/>
                  <a:gd name="T37" fmla="*/ 82 h 96"/>
                  <a:gd name="T38" fmla="*/ 10 w 89"/>
                  <a:gd name="T39" fmla="*/ 68 h 96"/>
                  <a:gd name="T40" fmla="*/ 0 w 89"/>
                  <a:gd name="T41" fmla="*/ 48 h 96"/>
                  <a:gd name="T42" fmla="*/ 10 w 89"/>
                  <a:gd name="T43" fmla="*/ 32 h 96"/>
                  <a:gd name="T44" fmla="*/ 12 w 89"/>
                  <a:gd name="T45" fmla="*/ 24 h 96"/>
                  <a:gd name="T46" fmla="*/ 36 w 89"/>
                  <a:gd name="T47" fmla="*/ 22 h 96"/>
                  <a:gd name="T48" fmla="*/ 39 w 89"/>
                  <a:gd name="T49"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9" h="96">
                    <a:moveTo>
                      <a:pt x="39" y="0"/>
                    </a:moveTo>
                    <a:lnTo>
                      <a:pt x="67" y="0"/>
                    </a:lnTo>
                    <a:lnTo>
                      <a:pt x="71" y="16"/>
                    </a:lnTo>
                    <a:lnTo>
                      <a:pt x="85" y="14"/>
                    </a:lnTo>
                    <a:lnTo>
                      <a:pt x="89" y="24"/>
                    </a:lnTo>
                    <a:lnTo>
                      <a:pt x="81" y="30"/>
                    </a:lnTo>
                    <a:lnTo>
                      <a:pt x="81" y="42"/>
                    </a:lnTo>
                    <a:lnTo>
                      <a:pt x="89" y="48"/>
                    </a:lnTo>
                    <a:lnTo>
                      <a:pt x="89" y="68"/>
                    </a:lnTo>
                    <a:lnTo>
                      <a:pt x="85" y="76"/>
                    </a:lnTo>
                    <a:lnTo>
                      <a:pt x="67" y="74"/>
                    </a:lnTo>
                    <a:lnTo>
                      <a:pt x="61" y="66"/>
                    </a:lnTo>
                    <a:lnTo>
                      <a:pt x="51" y="74"/>
                    </a:lnTo>
                    <a:lnTo>
                      <a:pt x="43" y="74"/>
                    </a:lnTo>
                    <a:lnTo>
                      <a:pt x="43" y="86"/>
                    </a:lnTo>
                    <a:lnTo>
                      <a:pt x="51" y="86"/>
                    </a:lnTo>
                    <a:lnTo>
                      <a:pt x="51" y="96"/>
                    </a:lnTo>
                    <a:lnTo>
                      <a:pt x="36" y="96"/>
                    </a:lnTo>
                    <a:lnTo>
                      <a:pt x="18" y="82"/>
                    </a:lnTo>
                    <a:lnTo>
                      <a:pt x="10" y="68"/>
                    </a:lnTo>
                    <a:lnTo>
                      <a:pt x="0" y="48"/>
                    </a:lnTo>
                    <a:lnTo>
                      <a:pt x="10" y="32"/>
                    </a:lnTo>
                    <a:lnTo>
                      <a:pt x="12" y="24"/>
                    </a:lnTo>
                    <a:lnTo>
                      <a:pt x="36" y="22"/>
                    </a:lnTo>
                    <a:lnTo>
                      <a:pt x="39"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83" name="Freeform 176">
                <a:extLst>
                  <a:ext uri="{FF2B5EF4-FFF2-40B4-BE49-F238E27FC236}">
                    <a16:creationId xmlns:a16="http://schemas.microsoft.com/office/drawing/2014/main" id="{370636B2-122F-4A5C-B742-D2B8D5A0A4F4}"/>
                  </a:ext>
                </a:extLst>
              </p:cNvPr>
              <p:cNvSpPr>
                <a:spLocks/>
              </p:cNvSpPr>
              <p:nvPr/>
            </p:nvSpPr>
            <p:spPr bwMode="gray">
              <a:xfrm>
                <a:off x="5375869" y="4329513"/>
                <a:ext cx="82553" cy="19918"/>
              </a:xfrm>
              <a:custGeom>
                <a:avLst/>
                <a:gdLst>
                  <a:gd name="T0" fmla="*/ 8 w 50"/>
                  <a:gd name="T1" fmla="*/ 0 h 12"/>
                  <a:gd name="T2" fmla="*/ 20 w 50"/>
                  <a:gd name="T3" fmla="*/ 0 h 12"/>
                  <a:gd name="T4" fmla="*/ 32 w 50"/>
                  <a:gd name="T5" fmla="*/ 2 h 12"/>
                  <a:gd name="T6" fmla="*/ 42 w 50"/>
                  <a:gd name="T7" fmla="*/ 4 h 12"/>
                  <a:gd name="T8" fmla="*/ 50 w 50"/>
                  <a:gd name="T9" fmla="*/ 6 h 12"/>
                  <a:gd name="T10" fmla="*/ 46 w 50"/>
                  <a:gd name="T11" fmla="*/ 8 h 12"/>
                  <a:gd name="T12" fmla="*/ 34 w 50"/>
                  <a:gd name="T13" fmla="*/ 8 h 12"/>
                  <a:gd name="T14" fmla="*/ 26 w 50"/>
                  <a:gd name="T15" fmla="*/ 8 h 12"/>
                  <a:gd name="T16" fmla="*/ 16 w 50"/>
                  <a:gd name="T17" fmla="*/ 8 h 12"/>
                  <a:gd name="T18" fmla="*/ 6 w 50"/>
                  <a:gd name="T19" fmla="*/ 12 h 12"/>
                  <a:gd name="T20" fmla="*/ 0 w 50"/>
                  <a:gd name="T21" fmla="*/ 10 h 12"/>
                  <a:gd name="T22" fmla="*/ 4 w 50"/>
                  <a:gd name="T23" fmla="*/ 0 h 12"/>
                  <a:gd name="T24" fmla="*/ 8 w 5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12">
                    <a:moveTo>
                      <a:pt x="8" y="0"/>
                    </a:moveTo>
                    <a:lnTo>
                      <a:pt x="20" y="0"/>
                    </a:lnTo>
                    <a:lnTo>
                      <a:pt x="32" y="2"/>
                    </a:lnTo>
                    <a:lnTo>
                      <a:pt x="42" y="4"/>
                    </a:lnTo>
                    <a:lnTo>
                      <a:pt x="50" y="6"/>
                    </a:lnTo>
                    <a:lnTo>
                      <a:pt x="46" y="8"/>
                    </a:lnTo>
                    <a:lnTo>
                      <a:pt x="34" y="8"/>
                    </a:lnTo>
                    <a:lnTo>
                      <a:pt x="26" y="8"/>
                    </a:lnTo>
                    <a:lnTo>
                      <a:pt x="16" y="8"/>
                    </a:lnTo>
                    <a:lnTo>
                      <a:pt x="6" y="12"/>
                    </a:lnTo>
                    <a:lnTo>
                      <a:pt x="0" y="10"/>
                    </a:lnTo>
                    <a:lnTo>
                      <a:pt x="4" y="0"/>
                    </a:lnTo>
                    <a:lnTo>
                      <a:pt x="8"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84" name="Freeform 177">
                <a:extLst>
                  <a:ext uri="{FF2B5EF4-FFF2-40B4-BE49-F238E27FC236}">
                    <a16:creationId xmlns:a16="http://schemas.microsoft.com/office/drawing/2014/main" id="{3D6B15A4-93E2-4EB0-AF64-1B4BEE23F830}"/>
                  </a:ext>
                </a:extLst>
              </p:cNvPr>
              <p:cNvSpPr>
                <a:spLocks/>
              </p:cNvSpPr>
              <p:nvPr/>
            </p:nvSpPr>
            <p:spPr bwMode="gray">
              <a:xfrm>
                <a:off x="5375869" y="4329513"/>
                <a:ext cx="82553" cy="19918"/>
              </a:xfrm>
              <a:custGeom>
                <a:avLst/>
                <a:gdLst>
                  <a:gd name="T0" fmla="*/ 8 w 50"/>
                  <a:gd name="T1" fmla="*/ 0 h 12"/>
                  <a:gd name="T2" fmla="*/ 20 w 50"/>
                  <a:gd name="T3" fmla="*/ 0 h 12"/>
                  <a:gd name="T4" fmla="*/ 32 w 50"/>
                  <a:gd name="T5" fmla="*/ 2 h 12"/>
                  <a:gd name="T6" fmla="*/ 42 w 50"/>
                  <a:gd name="T7" fmla="*/ 4 h 12"/>
                  <a:gd name="T8" fmla="*/ 50 w 50"/>
                  <a:gd name="T9" fmla="*/ 6 h 12"/>
                  <a:gd name="T10" fmla="*/ 46 w 50"/>
                  <a:gd name="T11" fmla="*/ 8 h 12"/>
                  <a:gd name="T12" fmla="*/ 34 w 50"/>
                  <a:gd name="T13" fmla="*/ 8 h 12"/>
                  <a:gd name="T14" fmla="*/ 26 w 50"/>
                  <a:gd name="T15" fmla="*/ 8 h 12"/>
                  <a:gd name="T16" fmla="*/ 16 w 50"/>
                  <a:gd name="T17" fmla="*/ 8 h 12"/>
                  <a:gd name="T18" fmla="*/ 6 w 50"/>
                  <a:gd name="T19" fmla="*/ 12 h 12"/>
                  <a:gd name="T20" fmla="*/ 0 w 50"/>
                  <a:gd name="T21" fmla="*/ 10 h 12"/>
                  <a:gd name="T22" fmla="*/ 4 w 50"/>
                  <a:gd name="T23" fmla="*/ 0 h 12"/>
                  <a:gd name="T24" fmla="*/ 8 w 5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12">
                    <a:moveTo>
                      <a:pt x="8" y="0"/>
                    </a:moveTo>
                    <a:lnTo>
                      <a:pt x="20" y="0"/>
                    </a:lnTo>
                    <a:lnTo>
                      <a:pt x="32" y="2"/>
                    </a:lnTo>
                    <a:lnTo>
                      <a:pt x="42" y="4"/>
                    </a:lnTo>
                    <a:lnTo>
                      <a:pt x="50" y="6"/>
                    </a:lnTo>
                    <a:lnTo>
                      <a:pt x="46" y="8"/>
                    </a:lnTo>
                    <a:lnTo>
                      <a:pt x="34" y="8"/>
                    </a:lnTo>
                    <a:lnTo>
                      <a:pt x="26" y="8"/>
                    </a:lnTo>
                    <a:lnTo>
                      <a:pt x="16" y="8"/>
                    </a:lnTo>
                    <a:lnTo>
                      <a:pt x="6" y="12"/>
                    </a:lnTo>
                    <a:lnTo>
                      <a:pt x="0" y="10"/>
                    </a:lnTo>
                    <a:lnTo>
                      <a:pt x="4" y="0"/>
                    </a:lnTo>
                    <a:lnTo>
                      <a:pt x="8"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85" name="Freeform 178">
                <a:extLst>
                  <a:ext uri="{FF2B5EF4-FFF2-40B4-BE49-F238E27FC236}">
                    <a16:creationId xmlns:a16="http://schemas.microsoft.com/office/drawing/2014/main" id="{2D565648-A5C3-49DC-9584-CCF8AC706B09}"/>
                  </a:ext>
                </a:extLst>
              </p:cNvPr>
              <p:cNvSpPr>
                <a:spLocks/>
              </p:cNvSpPr>
              <p:nvPr/>
            </p:nvSpPr>
            <p:spPr bwMode="gray">
              <a:xfrm>
                <a:off x="5369265" y="4249841"/>
                <a:ext cx="151899" cy="116189"/>
              </a:xfrm>
              <a:custGeom>
                <a:avLst/>
                <a:gdLst>
                  <a:gd name="T0" fmla="*/ 2 w 92"/>
                  <a:gd name="T1" fmla="*/ 34 h 70"/>
                  <a:gd name="T2" fmla="*/ 0 w 92"/>
                  <a:gd name="T3" fmla="*/ 28 h 70"/>
                  <a:gd name="T4" fmla="*/ 6 w 92"/>
                  <a:gd name="T5" fmla="*/ 20 h 70"/>
                  <a:gd name="T6" fmla="*/ 12 w 92"/>
                  <a:gd name="T7" fmla="*/ 12 h 70"/>
                  <a:gd name="T8" fmla="*/ 14 w 92"/>
                  <a:gd name="T9" fmla="*/ 2 h 70"/>
                  <a:gd name="T10" fmla="*/ 28 w 92"/>
                  <a:gd name="T11" fmla="*/ 0 h 70"/>
                  <a:gd name="T12" fmla="*/ 42 w 92"/>
                  <a:gd name="T13" fmla="*/ 0 h 70"/>
                  <a:gd name="T14" fmla="*/ 54 w 92"/>
                  <a:gd name="T15" fmla="*/ 6 h 70"/>
                  <a:gd name="T16" fmla="*/ 62 w 92"/>
                  <a:gd name="T17" fmla="*/ 12 h 70"/>
                  <a:gd name="T18" fmla="*/ 70 w 92"/>
                  <a:gd name="T19" fmla="*/ 24 h 70"/>
                  <a:gd name="T20" fmla="*/ 80 w 92"/>
                  <a:gd name="T21" fmla="*/ 32 h 70"/>
                  <a:gd name="T22" fmla="*/ 82 w 92"/>
                  <a:gd name="T23" fmla="*/ 38 h 70"/>
                  <a:gd name="T24" fmla="*/ 84 w 92"/>
                  <a:gd name="T25" fmla="*/ 50 h 70"/>
                  <a:gd name="T26" fmla="*/ 90 w 92"/>
                  <a:gd name="T27" fmla="*/ 58 h 70"/>
                  <a:gd name="T28" fmla="*/ 92 w 92"/>
                  <a:gd name="T29" fmla="*/ 66 h 70"/>
                  <a:gd name="T30" fmla="*/ 92 w 92"/>
                  <a:gd name="T31" fmla="*/ 70 h 70"/>
                  <a:gd name="T32" fmla="*/ 70 w 92"/>
                  <a:gd name="T33" fmla="*/ 68 h 70"/>
                  <a:gd name="T34" fmla="*/ 64 w 92"/>
                  <a:gd name="T35" fmla="*/ 64 h 70"/>
                  <a:gd name="T36" fmla="*/ 58 w 92"/>
                  <a:gd name="T37" fmla="*/ 64 h 70"/>
                  <a:gd name="T38" fmla="*/ 50 w 92"/>
                  <a:gd name="T39" fmla="*/ 64 h 70"/>
                  <a:gd name="T40" fmla="*/ 38 w 92"/>
                  <a:gd name="T41" fmla="*/ 64 h 70"/>
                  <a:gd name="T42" fmla="*/ 32 w 92"/>
                  <a:gd name="T43" fmla="*/ 64 h 70"/>
                  <a:gd name="T44" fmla="*/ 28 w 92"/>
                  <a:gd name="T45" fmla="*/ 68 h 70"/>
                  <a:gd name="T46" fmla="*/ 10 w 92"/>
                  <a:gd name="T47" fmla="*/ 70 h 70"/>
                  <a:gd name="T48" fmla="*/ 10 w 92"/>
                  <a:gd name="T49" fmla="*/ 60 h 70"/>
                  <a:gd name="T50" fmla="*/ 20 w 92"/>
                  <a:gd name="T51" fmla="*/ 56 h 70"/>
                  <a:gd name="T52" fmla="*/ 30 w 92"/>
                  <a:gd name="T53" fmla="*/ 56 h 70"/>
                  <a:gd name="T54" fmla="*/ 38 w 92"/>
                  <a:gd name="T55" fmla="*/ 56 h 70"/>
                  <a:gd name="T56" fmla="*/ 50 w 92"/>
                  <a:gd name="T57" fmla="*/ 56 h 70"/>
                  <a:gd name="T58" fmla="*/ 54 w 92"/>
                  <a:gd name="T59" fmla="*/ 54 h 70"/>
                  <a:gd name="T60" fmla="*/ 40 w 92"/>
                  <a:gd name="T61" fmla="*/ 50 h 70"/>
                  <a:gd name="T62" fmla="*/ 36 w 92"/>
                  <a:gd name="T63" fmla="*/ 50 h 70"/>
                  <a:gd name="T64" fmla="*/ 22 w 92"/>
                  <a:gd name="T65" fmla="*/ 48 h 70"/>
                  <a:gd name="T66" fmla="*/ 12 w 92"/>
                  <a:gd name="T67" fmla="*/ 48 h 70"/>
                  <a:gd name="T68" fmla="*/ 8 w 92"/>
                  <a:gd name="T69" fmla="*/ 48 h 70"/>
                  <a:gd name="T70" fmla="*/ 4 w 92"/>
                  <a:gd name="T71" fmla="*/ 40 h 70"/>
                  <a:gd name="T72" fmla="*/ 2 w 92"/>
                  <a:gd name="T73" fmla="*/ 3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2" h="70">
                    <a:moveTo>
                      <a:pt x="2" y="34"/>
                    </a:moveTo>
                    <a:lnTo>
                      <a:pt x="0" y="28"/>
                    </a:lnTo>
                    <a:lnTo>
                      <a:pt x="6" y="20"/>
                    </a:lnTo>
                    <a:lnTo>
                      <a:pt x="12" y="12"/>
                    </a:lnTo>
                    <a:lnTo>
                      <a:pt x="14" y="2"/>
                    </a:lnTo>
                    <a:lnTo>
                      <a:pt x="28" y="0"/>
                    </a:lnTo>
                    <a:lnTo>
                      <a:pt x="42" y="0"/>
                    </a:lnTo>
                    <a:lnTo>
                      <a:pt x="54" y="6"/>
                    </a:lnTo>
                    <a:lnTo>
                      <a:pt x="62" y="12"/>
                    </a:lnTo>
                    <a:lnTo>
                      <a:pt x="70" y="24"/>
                    </a:lnTo>
                    <a:lnTo>
                      <a:pt x="80" y="32"/>
                    </a:lnTo>
                    <a:lnTo>
                      <a:pt x="82" y="38"/>
                    </a:lnTo>
                    <a:lnTo>
                      <a:pt x="84" y="50"/>
                    </a:lnTo>
                    <a:lnTo>
                      <a:pt x="90" y="58"/>
                    </a:lnTo>
                    <a:lnTo>
                      <a:pt x="92" y="66"/>
                    </a:lnTo>
                    <a:lnTo>
                      <a:pt x="92" y="70"/>
                    </a:lnTo>
                    <a:lnTo>
                      <a:pt x="70" y="68"/>
                    </a:lnTo>
                    <a:lnTo>
                      <a:pt x="64" y="64"/>
                    </a:lnTo>
                    <a:lnTo>
                      <a:pt x="58" y="64"/>
                    </a:lnTo>
                    <a:lnTo>
                      <a:pt x="50" y="64"/>
                    </a:lnTo>
                    <a:lnTo>
                      <a:pt x="38" y="64"/>
                    </a:lnTo>
                    <a:lnTo>
                      <a:pt x="32" y="64"/>
                    </a:lnTo>
                    <a:lnTo>
                      <a:pt x="28" y="68"/>
                    </a:lnTo>
                    <a:lnTo>
                      <a:pt x="10" y="70"/>
                    </a:lnTo>
                    <a:lnTo>
                      <a:pt x="10" y="60"/>
                    </a:lnTo>
                    <a:lnTo>
                      <a:pt x="20" y="56"/>
                    </a:lnTo>
                    <a:lnTo>
                      <a:pt x="30" y="56"/>
                    </a:lnTo>
                    <a:lnTo>
                      <a:pt x="38" y="56"/>
                    </a:lnTo>
                    <a:lnTo>
                      <a:pt x="50" y="56"/>
                    </a:lnTo>
                    <a:lnTo>
                      <a:pt x="54" y="54"/>
                    </a:lnTo>
                    <a:lnTo>
                      <a:pt x="40" y="50"/>
                    </a:lnTo>
                    <a:lnTo>
                      <a:pt x="36" y="50"/>
                    </a:lnTo>
                    <a:lnTo>
                      <a:pt x="22" y="48"/>
                    </a:lnTo>
                    <a:lnTo>
                      <a:pt x="12" y="48"/>
                    </a:lnTo>
                    <a:lnTo>
                      <a:pt x="8" y="48"/>
                    </a:lnTo>
                    <a:lnTo>
                      <a:pt x="4" y="40"/>
                    </a:lnTo>
                    <a:lnTo>
                      <a:pt x="2" y="3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86" name="Freeform 179">
                <a:extLst>
                  <a:ext uri="{FF2B5EF4-FFF2-40B4-BE49-F238E27FC236}">
                    <a16:creationId xmlns:a16="http://schemas.microsoft.com/office/drawing/2014/main" id="{83098635-33D4-4CD7-AD7F-4E457518FDAE}"/>
                  </a:ext>
                </a:extLst>
              </p:cNvPr>
              <p:cNvSpPr>
                <a:spLocks/>
              </p:cNvSpPr>
              <p:nvPr/>
            </p:nvSpPr>
            <p:spPr bwMode="gray">
              <a:xfrm>
                <a:off x="6614172" y="5380184"/>
                <a:ext cx="62740" cy="59754"/>
              </a:xfrm>
              <a:custGeom>
                <a:avLst/>
                <a:gdLst>
                  <a:gd name="T0" fmla="*/ 28 w 38"/>
                  <a:gd name="T1" fmla="*/ 0 h 36"/>
                  <a:gd name="T2" fmla="*/ 0 w 38"/>
                  <a:gd name="T3" fmla="*/ 10 h 36"/>
                  <a:gd name="T4" fmla="*/ 8 w 38"/>
                  <a:gd name="T5" fmla="*/ 36 h 36"/>
                  <a:gd name="T6" fmla="*/ 38 w 38"/>
                  <a:gd name="T7" fmla="*/ 26 h 36"/>
                  <a:gd name="T8" fmla="*/ 26 w 38"/>
                  <a:gd name="T9" fmla="*/ 18 h 36"/>
                  <a:gd name="T10" fmla="*/ 28 w 38"/>
                  <a:gd name="T11" fmla="*/ 0 h 36"/>
                </a:gdLst>
                <a:ahLst/>
                <a:cxnLst>
                  <a:cxn ang="0">
                    <a:pos x="T0" y="T1"/>
                  </a:cxn>
                  <a:cxn ang="0">
                    <a:pos x="T2" y="T3"/>
                  </a:cxn>
                  <a:cxn ang="0">
                    <a:pos x="T4" y="T5"/>
                  </a:cxn>
                  <a:cxn ang="0">
                    <a:pos x="T6" y="T7"/>
                  </a:cxn>
                  <a:cxn ang="0">
                    <a:pos x="T8" y="T9"/>
                  </a:cxn>
                  <a:cxn ang="0">
                    <a:pos x="T10" y="T11"/>
                  </a:cxn>
                </a:cxnLst>
                <a:rect l="0" t="0" r="r" b="b"/>
                <a:pathLst>
                  <a:path w="38" h="36">
                    <a:moveTo>
                      <a:pt x="28" y="0"/>
                    </a:moveTo>
                    <a:lnTo>
                      <a:pt x="0" y="10"/>
                    </a:lnTo>
                    <a:lnTo>
                      <a:pt x="8" y="36"/>
                    </a:lnTo>
                    <a:lnTo>
                      <a:pt x="38" y="26"/>
                    </a:lnTo>
                    <a:lnTo>
                      <a:pt x="26" y="18"/>
                    </a:lnTo>
                    <a:lnTo>
                      <a:pt x="28" y="0"/>
                    </a:lnTo>
                    <a:close/>
                  </a:path>
                </a:pathLst>
              </a:custGeom>
              <a:grpFill/>
              <a:ln w="3175" cap="flat">
                <a:solidFill>
                  <a:srgbClr val="1A1D24"/>
                </a:solidFill>
                <a:prstDash val="solid"/>
                <a:miter lim="800000"/>
                <a:headEnd/>
                <a:tailEnd/>
              </a:ln>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algn="ctr"/>
                <a:endParaRPr lang="en-GB" sz="1000" dirty="0"/>
              </a:p>
            </p:txBody>
          </p:sp>
          <p:sp>
            <p:nvSpPr>
              <p:cNvPr id="987" name="Freeform 180">
                <a:extLst>
                  <a:ext uri="{FF2B5EF4-FFF2-40B4-BE49-F238E27FC236}">
                    <a16:creationId xmlns:a16="http://schemas.microsoft.com/office/drawing/2014/main" id="{EB93D67E-B09D-43BE-B51A-8C6C3E9851B0}"/>
                  </a:ext>
                </a:extLst>
              </p:cNvPr>
              <p:cNvSpPr>
                <a:spLocks/>
              </p:cNvSpPr>
              <p:nvPr/>
            </p:nvSpPr>
            <p:spPr bwMode="gray">
              <a:xfrm>
                <a:off x="6528316" y="5439938"/>
                <a:ext cx="52834" cy="73033"/>
              </a:xfrm>
              <a:custGeom>
                <a:avLst/>
                <a:gdLst>
                  <a:gd name="T0" fmla="*/ 32 w 32"/>
                  <a:gd name="T1" fmla="*/ 28 h 44"/>
                  <a:gd name="T2" fmla="*/ 16 w 32"/>
                  <a:gd name="T3" fmla="*/ 0 h 44"/>
                  <a:gd name="T4" fmla="*/ 0 w 32"/>
                  <a:gd name="T5" fmla="*/ 22 h 44"/>
                  <a:gd name="T6" fmla="*/ 10 w 32"/>
                  <a:gd name="T7" fmla="*/ 44 h 44"/>
                  <a:gd name="T8" fmla="*/ 18 w 32"/>
                  <a:gd name="T9" fmla="*/ 32 h 44"/>
                  <a:gd name="T10" fmla="*/ 32 w 32"/>
                  <a:gd name="T11" fmla="*/ 28 h 44"/>
                </a:gdLst>
                <a:ahLst/>
                <a:cxnLst>
                  <a:cxn ang="0">
                    <a:pos x="T0" y="T1"/>
                  </a:cxn>
                  <a:cxn ang="0">
                    <a:pos x="T2" y="T3"/>
                  </a:cxn>
                  <a:cxn ang="0">
                    <a:pos x="T4" y="T5"/>
                  </a:cxn>
                  <a:cxn ang="0">
                    <a:pos x="T6" y="T7"/>
                  </a:cxn>
                  <a:cxn ang="0">
                    <a:pos x="T8" y="T9"/>
                  </a:cxn>
                  <a:cxn ang="0">
                    <a:pos x="T10" y="T11"/>
                  </a:cxn>
                </a:cxnLst>
                <a:rect l="0" t="0" r="r" b="b"/>
                <a:pathLst>
                  <a:path w="32" h="44">
                    <a:moveTo>
                      <a:pt x="32" y="28"/>
                    </a:moveTo>
                    <a:lnTo>
                      <a:pt x="16" y="0"/>
                    </a:lnTo>
                    <a:lnTo>
                      <a:pt x="0" y="22"/>
                    </a:lnTo>
                    <a:lnTo>
                      <a:pt x="10" y="44"/>
                    </a:lnTo>
                    <a:lnTo>
                      <a:pt x="18" y="32"/>
                    </a:lnTo>
                    <a:lnTo>
                      <a:pt x="32" y="28"/>
                    </a:lnTo>
                    <a:close/>
                  </a:path>
                </a:pathLst>
              </a:custGeom>
              <a:grpFill/>
              <a:ln w="3175" cap="flat">
                <a:solidFill>
                  <a:srgbClr val="1A1D24"/>
                </a:solidFill>
                <a:prstDash val="solid"/>
                <a:miter lim="800000"/>
                <a:headEnd/>
                <a:tailEnd/>
              </a:ln>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algn="ctr"/>
                <a:endParaRPr lang="en-GB" sz="1000" dirty="0"/>
              </a:p>
            </p:txBody>
          </p:sp>
        </p:grpSp>
        <p:sp>
          <p:nvSpPr>
            <p:cNvPr id="1032" name="Freeform 225">
              <a:extLst>
                <a:ext uri="{FF2B5EF4-FFF2-40B4-BE49-F238E27FC236}">
                  <a16:creationId xmlns:a16="http://schemas.microsoft.com/office/drawing/2014/main" id="{A8E262B9-721B-4822-A3FC-4D19F16DB33F}"/>
                </a:ext>
              </a:extLst>
            </p:cNvPr>
            <p:cNvSpPr>
              <a:spLocks/>
            </p:cNvSpPr>
            <p:nvPr/>
          </p:nvSpPr>
          <p:spPr bwMode="gray">
            <a:xfrm>
              <a:off x="8504649" y="4306275"/>
              <a:ext cx="132087" cy="112868"/>
            </a:xfrm>
            <a:custGeom>
              <a:avLst/>
              <a:gdLst>
                <a:gd name="T0" fmla="*/ 40 w 80"/>
                <a:gd name="T1" fmla="*/ 66 h 68"/>
                <a:gd name="T2" fmla="*/ 34 w 80"/>
                <a:gd name="T3" fmla="*/ 66 h 68"/>
                <a:gd name="T4" fmla="*/ 32 w 80"/>
                <a:gd name="T5" fmla="*/ 68 h 68"/>
                <a:gd name="T6" fmla="*/ 18 w 80"/>
                <a:gd name="T7" fmla="*/ 64 h 68"/>
                <a:gd name="T8" fmla="*/ 12 w 80"/>
                <a:gd name="T9" fmla="*/ 54 h 68"/>
                <a:gd name="T10" fmla="*/ 8 w 80"/>
                <a:gd name="T11" fmla="*/ 44 h 68"/>
                <a:gd name="T12" fmla="*/ 0 w 80"/>
                <a:gd name="T13" fmla="*/ 24 h 68"/>
                <a:gd name="T14" fmla="*/ 0 w 80"/>
                <a:gd name="T15" fmla="*/ 18 h 68"/>
                <a:gd name="T16" fmla="*/ 8 w 80"/>
                <a:gd name="T17" fmla="*/ 4 h 68"/>
                <a:gd name="T18" fmla="*/ 48 w 80"/>
                <a:gd name="T19" fmla="*/ 2 h 68"/>
                <a:gd name="T20" fmla="*/ 48 w 80"/>
                <a:gd name="T21" fmla="*/ 8 h 68"/>
                <a:gd name="T22" fmla="*/ 58 w 80"/>
                <a:gd name="T23" fmla="*/ 8 h 68"/>
                <a:gd name="T24" fmla="*/ 62 w 80"/>
                <a:gd name="T25" fmla="*/ 0 h 68"/>
                <a:gd name="T26" fmla="*/ 66 w 80"/>
                <a:gd name="T27" fmla="*/ 2 h 68"/>
                <a:gd name="T28" fmla="*/ 68 w 80"/>
                <a:gd name="T29" fmla="*/ 6 h 68"/>
                <a:gd name="T30" fmla="*/ 80 w 80"/>
                <a:gd name="T31" fmla="*/ 6 h 68"/>
                <a:gd name="T32" fmla="*/ 80 w 80"/>
                <a:gd name="T33" fmla="*/ 16 h 68"/>
                <a:gd name="T34" fmla="*/ 76 w 80"/>
                <a:gd name="T35" fmla="*/ 26 h 68"/>
                <a:gd name="T36" fmla="*/ 70 w 80"/>
                <a:gd name="T37" fmla="*/ 38 h 68"/>
                <a:gd name="T38" fmla="*/ 64 w 80"/>
                <a:gd name="T39" fmla="*/ 46 h 68"/>
                <a:gd name="T40" fmla="*/ 54 w 80"/>
                <a:gd name="T41" fmla="*/ 50 h 68"/>
                <a:gd name="T42" fmla="*/ 54 w 80"/>
                <a:gd name="T43" fmla="*/ 58 h 68"/>
                <a:gd name="T44" fmla="*/ 44 w 80"/>
                <a:gd name="T45" fmla="*/ 62 h 68"/>
                <a:gd name="T46" fmla="*/ 40 w 80"/>
                <a:gd name="T47" fmla="*/ 6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0" h="68">
                  <a:moveTo>
                    <a:pt x="40" y="66"/>
                  </a:moveTo>
                  <a:lnTo>
                    <a:pt x="34" y="66"/>
                  </a:lnTo>
                  <a:lnTo>
                    <a:pt x="32" y="68"/>
                  </a:lnTo>
                  <a:lnTo>
                    <a:pt x="18" y="64"/>
                  </a:lnTo>
                  <a:lnTo>
                    <a:pt x="12" y="54"/>
                  </a:lnTo>
                  <a:lnTo>
                    <a:pt x="8" y="44"/>
                  </a:lnTo>
                  <a:lnTo>
                    <a:pt x="0" y="24"/>
                  </a:lnTo>
                  <a:lnTo>
                    <a:pt x="0" y="18"/>
                  </a:lnTo>
                  <a:lnTo>
                    <a:pt x="8" y="4"/>
                  </a:lnTo>
                  <a:lnTo>
                    <a:pt x="48" y="2"/>
                  </a:lnTo>
                  <a:lnTo>
                    <a:pt x="48" y="8"/>
                  </a:lnTo>
                  <a:lnTo>
                    <a:pt x="58" y="8"/>
                  </a:lnTo>
                  <a:lnTo>
                    <a:pt x="62" y="0"/>
                  </a:lnTo>
                  <a:lnTo>
                    <a:pt x="66" y="2"/>
                  </a:lnTo>
                  <a:lnTo>
                    <a:pt x="68" y="6"/>
                  </a:lnTo>
                  <a:lnTo>
                    <a:pt x="80" y="6"/>
                  </a:lnTo>
                  <a:lnTo>
                    <a:pt x="80" y="16"/>
                  </a:lnTo>
                  <a:lnTo>
                    <a:pt x="76" y="26"/>
                  </a:lnTo>
                  <a:lnTo>
                    <a:pt x="70" y="38"/>
                  </a:lnTo>
                  <a:lnTo>
                    <a:pt x="64" y="46"/>
                  </a:lnTo>
                  <a:lnTo>
                    <a:pt x="54" y="50"/>
                  </a:lnTo>
                  <a:lnTo>
                    <a:pt x="54" y="58"/>
                  </a:lnTo>
                  <a:lnTo>
                    <a:pt x="44" y="62"/>
                  </a:lnTo>
                  <a:lnTo>
                    <a:pt x="40" y="6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33" name="Freeform 226">
              <a:extLst>
                <a:ext uri="{FF2B5EF4-FFF2-40B4-BE49-F238E27FC236}">
                  <a16:creationId xmlns:a16="http://schemas.microsoft.com/office/drawing/2014/main" id="{C07A756C-0307-4340-A3CC-81002FC3FD3E}"/>
                </a:ext>
              </a:extLst>
            </p:cNvPr>
            <p:cNvSpPr>
              <a:spLocks/>
            </p:cNvSpPr>
            <p:nvPr/>
          </p:nvSpPr>
          <p:spPr bwMode="gray">
            <a:xfrm>
              <a:off x="8501347" y="4077218"/>
              <a:ext cx="184920" cy="388400"/>
            </a:xfrm>
            <a:custGeom>
              <a:avLst/>
              <a:gdLst>
                <a:gd name="T0" fmla="*/ 42 w 112"/>
                <a:gd name="T1" fmla="*/ 204 h 234"/>
                <a:gd name="T2" fmla="*/ 44 w 112"/>
                <a:gd name="T3" fmla="*/ 206 h 234"/>
                <a:gd name="T4" fmla="*/ 44 w 112"/>
                <a:gd name="T5" fmla="*/ 208 h 234"/>
                <a:gd name="T6" fmla="*/ 44 w 112"/>
                <a:gd name="T7" fmla="*/ 214 h 234"/>
                <a:gd name="T8" fmla="*/ 42 w 112"/>
                <a:gd name="T9" fmla="*/ 214 h 234"/>
                <a:gd name="T10" fmla="*/ 40 w 112"/>
                <a:gd name="T11" fmla="*/ 234 h 234"/>
                <a:gd name="T12" fmla="*/ 52 w 112"/>
                <a:gd name="T13" fmla="*/ 226 h 234"/>
                <a:gd name="T14" fmla="*/ 66 w 112"/>
                <a:gd name="T15" fmla="*/ 218 h 234"/>
                <a:gd name="T16" fmla="*/ 66 w 112"/>
                <a:gd name="T17" fmla="*/ 210 h 234"/>
                <a:gd name="T18" fmla="*/ 70 w 112"/>
                <a:gd name="T19" fmla="*/ 204 h 234"/>
                <a:gd name="T20" fmla="*/ 82 w 112"/>
                <a:gd name="T21" fmla="*/ 206 h 234"/>
                <a:gd name="T22" fmla="*/ 94 w 112"/>
                <a:gd name="T23" fmla="*/ 202 h 234"/>
                <a:gd name="T24" fmla="*/ 108 w 112"/>
                <a:gd name="T25" fmla="*/ 190 h 234"/>
                <a:gd name="T26" fmla="*/ 112 w 112"/>
                <a:gd name="T27" fmla="*/ 172 h 234"/>
                <a:gd name="T28" fmla="*/ 108 w 112"/>
                <a:gd name="T29" fmla="*/ 152 h 234"/>
                <a:gd name="T30" fmla="*/ 104 w 112"/>
                <a:gd name="T31" fmla="*/ 138 h 234"/>
                <a:gd name="T32" fmla="*/ 100 w 112"/>
                <a:gd name="T33" fmla="*/ 122 h 234"/>
                <a:gd name="T34" fmla="*/ 60 w 112"/>
                <a:gd name="T35" fmla="*/ 78 h 234"/>
                <a:gd name="T36" fmla="*/ 54 w 112"/>
                <a:gd name="T37" fmla="*/ 70 h 234"/>
                <a:gd name="T38" fmla="*/ 62 w 112"/>
                <a:gd name="T39" fmla="*/ 50 h 234"/>
                <a:gd name="T40" fmla="*/ 74 w 112"/>
                <a:gd name="T41" fmla="*/ 34 h 234"/>
                <a:gd name="T42" fmla="*/ 82 w 112"/>
                <a:gd name="T43" fmla="*/ 32 h 234"/>
                <a:gd name="T44" fmla="*/ 80 w 112"/>
                <a:gd name="T45" fmla="*/ 24 h 234"/>
                <a:gd name="T46" fmla="*/ 70 w 112"/>
                <a:gd name="T47" fmla="*/ 20 h 234"/>
                <a:gd name="T48" fmla="*/ 68 w 112"/>
                <a:gd name="T49" fmla="*/ 6 h 234"/>
                <a:gd name="T50" fmla="*/ 58 w 112"/>
                <a:gd name="T51" fmla="*/ 4 h 234"/>
                <a:gd name="T52" fmla="*/ 50 w 112"/>
                <a:gd name="T53" fmla="*/ 0 h 234"/>
                <a:gd name="T54" fmla="*/ 44 w 112"/>
                <a:gd name="T55" fmla="*/ 0 h 234"/>
                <a:gd name="T56" fmla="*/ 34 w 112"/>
                <a:gd name="T57" fmla="*/ 6 h 234"/>
                <a:gd name="T58" fmla="*/ 2 w 112"/>
                <a:gd name="T59" fmla="*/ 8 h 234"/>
                <a:gd name="T60" fmla="*/ 0 w 112"/>
                <a:gd name="T61" fmla="*/ 14 h 234"/>
                <a:gd name="T62" fmla="*/ 10 w 112"/>
                <a:gd name="T63" fmla="*/ 24 h 234"/>
                <a:gd name="T64" fmla="*/ 12 w 112"/>
                <a:gd name="T65" fmla="*/ 38 h 234"/>
                <a:gd name="T66" fmla="*/ 34 w 112"/>
                <a:gd name="T67" fmla="*/ 36 h 234"/>
                <a:gd name="T68" fmla="*/ 40 w 112"/>
                <a:gd name="T69" fmla="*/ 46 h 234"/>
                <a:gd name="T70" fmla="*/ 42 w 112"/>
                <a:gd name="T71" fmla="*/ 56 h 234"/>
                <a:gd name="T72" fmla="*/ 28 w 112"/>
                <a:gd name="T73" fmla="*/ 56 h 234"/>
                <a:gd name="T74" fmla="*/ 26 w 112"/>
                <a:gd name="T75" fmla="*/ 66 h 234"/>
                <a:gd name="T76" fmla="*/ 34 w 112"/>
                <a:gd name="T77" fmla="*/ 70 h 234"/>
                <a:gd name="T78" fmla="*/ 62 w 112"/>
                <a:gd name="T79" fmla="*/ 96 h 234"/>
                <a:gd name="T80" fmla="*/ 80 w 112"/>
                <a:gd name="T81" fmla="*/ 116 h 234"/>
                <a:gd name="T82" fmla="*/ 84 w 112"/>
                <a:gd name="T83" fmla="*/ 130 h 234"/>
                <a:gd name="T84" fmla="*/ 82 w 112"/>
                <a:gd name="T85" fmla="*/ 144 h 234"/>
                <a:gd name="T86" fmla="*/ 82 w 112"/>
                <a:gd name="T87" fmla="*/ 152 h 234"/>
                <a:gd name="T88" fmla="*/ 78 w 112"/>
                <a:gd name="T89" fmla="*/ 164 h 234"/>
                <a:gd name="T90" fmla="*/ 72 w 112"/>
                <a:gd name="T91" fmla="*/ 176 h 234"/>
                <a:gd name="T92" fmla="*/ 66 w 112"/>
                <a:gd name="T93" fmla="*/ 184 h 234"/>
                <a:gd name="T94" fmla="*/ 56 w 112"/>
                <a:gd name="T95" fmla="*/ 188 h 234"/>
                <a:gd name="T96" fmla="*/ 56 w 112"/>
                <a:gd name="T97" fmla="*/ 196 h 234"/>
                <a:gd name="T98" fmla="*/ 46 w 112"/>
                <a:gd name="T99" fmla="*/ 200 h 234"/>
                <a:gd name="T100" fmla="*/ 42 w 112"/>
                <a:gd name="T101" fmla="*/ 20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12" h="234">
                  <a:moveTo>
                    <a:pt x="42" y="204"/>
                  </a:moveTo>
                  <a:lnTo>
                    <a:pt x="44" y="206"/>
                  </a:lnTo>
                  <a:lnTo>
                    <a:pt x="44" y="208"/>
                  </a:lnTo>
                  <a:lnTo>
                    <a:pt x="44" y="214"/>
                  </a:lnTo>
                  <a:lnTo>
                    <a:pt x="42" y="214"/>
                  </a:lnTo>
                  <a:lnTo>
                    <a:pt x="40" y="234"/>
                  </a:lnTo>
                  <a:lnTo>
                    <a:pt x="52" y="226"/>
                  </a:lnTo>
                  <a:lnTo>
                    <a:pt x="66" y="218"/>
                  </a:lnTo>
                  <a:lnTo>
                    <a:pt x="66" y="210"/>
                  </a:lnTo>
                  <a:lnTo>
                    <a:pt x="70" y="204"/>
                  </a:lnTo>
                  <a:lnTo>
                    <a:pt x="82" y="206"/>
                  </a:lnTo>
                  <a:lnTo>
                    <a:pt x="94" y="202"/>
                  </a:lnTo>
                  <a:lnTo>
                    <a:pt x="108" y="190"/>
                  </a:lnTo>
                  <a:lnTo>
                    <a:pt x="112" y="172"/>
                  </a:lnTo>
                  <a:lnTo>
                    <a:pt x="108" y="152"/>
                  </a:lnTo>
                  <a:lnTo>
                    <a:pt x="104" y="138"/>
                  </a:lnTo>
                  <a:lnTo>
                    <a:pt x="100" y="122"/>
                  </a:lnTo>
                  <a:lnTo>
                    <a:pt x="60" y="78"/>
                  </a:lnTo>
                  <a:lnTo>
                    <a:pt x="54" y="70"/>
                  </a:lnTo>
                  <a:lnTo>
                    <a:pt x="62" y="50"/>
                  </a:lnTo>
                  <a:lnTo>
                    <a:pt x="74" y="34"/>
                  </a:lnTo>
                  <a:lnTo>
                    <a:pt x="82" y="32"/>
                  </a:lnTo>
                  <a:lnTo>
                    <a:pt x="80" y="24"/>
                  </a:lnTo>
                  <a:lnTo>
                    <a:pt x="70" y="20"/>
                  </a:lnTo>
                  <a:lnTo>
                    <a:pt x="68" y="6"/>
                  </a:lnTo>
                  <a:lnTo>
                    <a:pt x="58" y="4"/>
                  </a:lnTo>
                  <a:lnTo>
                    <a:pt x="50" y="0"/>
                  </a:lnTo>
                  <a:lnTo>
                    <a:pt x="44" y="0"/>
                  </a:lnTo>
                  <a:lnTo>
                    <a:pt x="34" y="6"/>
                  </a:lnTo>
                  <a:lnTo>
                    <a:pt x="2" y="8"/>
                  </a:lnTo>
                  <a:lnTo>
                    <a:pt x="0" y="14"/>
                  </a:lnTo>
                  <a:lnTo>
                    <a:pt x="10" y="24"/>
                  </a:lnTo>
                  <a:lnTo>
                    <a:pt x="12" y="38"/>
                  </a:lnTo>
                  <a:lnTo>
                    <a:pt x="34" y="36"/>
                  </a:lnTo>
                  <a:lnTo>
                    <a:pt x="40" y="46"/>
                  </a:lnTo>
                  <a:lnTo>
                    <a:pt x="42" y="56"/>
                  </a:lnTo>
                  <a:lnTo>
                    <a:pt x="28" y="56"/>
                  </a:lnTo>
                  <a:lnTo>
                    <a:pt x="26" y="66"/>
                  </a:lnTo>
                  <a:lnTo>
                    <a:pt x="34" y="70"/>
                  </a:lnTo>
                  <a:lnTo>
                    <a:pt x="62" y="96"/>
                  </a:lnTo>
                  <a:lnTo>
                    <a:pt x="80" y="116"/>
                  </a:lnTo>
                  <a:lnTo>
                    <a:pt x="84" y="130"/>
                  </a:lnTo>
                  <a:lnTo>
                    <a:pt x="82" y="144"/>
                  </a:lnTo>
                  <a:lnTo>
                    <a:pt x="82" y="152"/>
                  </a:lnTo>
                  <a:lnTo>
                    <a:pt x="78" y="164"/>
                  </a:lnTo>
                  <a:lnTo>
                    <a:pt x="72" y="176"/>
                  </a:lnTo>
                  <a:lnTo>
                    <a:pt x="66" y="184"/>
                  </a:lnTo>
                  <a:lnTo>
                    <a:pt x="56" y="188"/>
                  </a:lnTo>
                  <a:lnTo>
                    <a:pt x="56" y="196"/>
                  </a:lnTo>
                  <a:lnTo>
                    <a:pt x="46" y="200"/>
                  </a:lnTo>
                  <a:lnTo>
                    <a:pt x="42" y="20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34" name="Freeform 229">
              <a:extLst>
                <a:ext uri="{FF2B5EF4-FFF2-40B4-BE49-F238E27FC236}">
                  <a16:creationId xmlns:a16="http://schemas.microsoft.com/office/drawing/2014/main" id="{5FBDE967-8D37-4C17-8FCE-0EC5EAD4BAC6}"/>
                </a:ext>
              </a:extLst>
            </p:cNvPr>
            <p:cNvSpPr>
              <a:spLocks/>
            </p:cNvSpPr>
            <p:nvPr/>
          </p:nvSpPr>
          <p:spPr bwMode="gray">
            <a:xfrm>
              <a:off x="8154621" y="3931153"/>
              <a:ext cx="82553" cy="43155"/>
            </a:xfrm>
            <a:custGeom>
              <a:avLst/>
              <a:gdLst>
                <a:gd name="T0" fmla="*/ 10 w 50"/>
                <a:gd name="T1" fmla="*/ 0 h 26"/>
                <a:gd name="T2" fmla="*/ 4 w 50"/>
                <a:gd name="T3" fmla="*/ 6 h 26"/>
                <a:gd name="T4" fmla="*/ 2 w 50"/>
                <a:gd name="T5" fmla="*/ 6 h 26"/>
                <a:gd name="T6" fmla="*/ 0 w 50"/>
                <a:gd name="T7" fmla="*/ 14 h 26"/>
                <a:gd name="T8" fmla="*/ 2 w 50"/>
                <a:gd name="T9" fmla="*/ 20 h 26"/>
                <a:gd name="T10" fmla="*/ 8 w 50"/>
                <a:gd name="T11" fmla="*/ 24 h 26"/>
                <a:gd name="T12" fmla="*/ 16 w 50"/>
                <a:gd name="T13" fmla="*/ 26 h 26"/>
                <a:gd name="T14" fmla="*/ 32 w 50"/>
                <a:gd name="T15" fmla="*/ 24 h 26"/>
                <a:gd name="T16" fmla="*/ 46 w 50"/>
                <a:gd name="T17" fmla="*/ 22 h 26"/>
                <a:gd name="T18" fmla="*/ 50 w 50"/>
                <a:gd name="T19" fmla="*/ 16 h 26"/>
                <a:gd name="T20" fmla="*/ 46 w 50"/>
                <a:gd name="T21" fmla="*/ 6 h 26"/>
                <a:gd name="T22" fmla="*/ 32 w 50"/>
                <a:gd name="T23" fmla="*/ 4 h 26"/>
                <a:gd name="T24" fmla="*/ 20 w 50"/>
                <a:gd name="T25" fmla="*/ 0 h 26"/>
                <a:gd name="T26" fmla="*/ 10 w 50"/>
                <a:gd name="T2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0" h="26">
                  <a:moveTo>
                    <a:pt x="10" y="0"/>
                  </a:moveTo>
                  <a:lnTo>
                    <a:pt x="4" y="6"/>
                  </a:lnTo>
                  <a:lnTo>
                    <a:pt x="2" y="6"/>
                  </a:lnTo>
                  <a:lnTo>
                    <a:pt x="0" y="14"/>
                  </a:lnTo>
                  <a:lnTo>
                    <a:pt x="2" y="20"/>
                  </a:lnTo>
                  <a:lnTo>
                    <a:pt x="8" y="24"/>
                  </a:lnTo>
                  <a:lnTo>
                    <a:pt x="16" y="26"/>
                  </a:lnTo>
                  <a:lnTo>
                    <a:pt x="32" y="24"/>
                  </a:lnTo>
                  <a:lnTo>
                    <a:pt x="46" y="22"/>
                  </a:lnTo>
                  <a:lnTo>
                    <a:pt x="50" y="16"/>
                  </a:lnTo>
                  <a:lnTo>
                    <a:pt x="46" y="6"/>
                  </a:lnTo>
                  <a:lnTo>
                    <a:pt x="32" y="4"/>
                  </a:lnTo>
                  <a:lnTo>
                    <a:pt x="20" y="0"/>
                  </a:lnTo>
                  <a:lnTo>
                    <a:pt x="1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35" name="Freeform 230">
              <a:extLst>
                <a:ext uri="{FF2B5EF4-FFF2-40B4-BE49-F238E27FC236}">
                  <a16:creationId xmlns:a16="http://schemas.microsoft.com/office/drawing/2014/main" id="{AA188D99-6CA9-4737-A45C-7F8B25A53E24}"/>
                </a:ext>
              </a:extLst>
            </p:cNvPr>
            <p:cNvSpPr>
              <a:spLocks/>
            </p:cNvSpPr>
            <p:nvPr/>
          </p:nvSpPr>
          <p:spPr bwMode="gray">
            <a:xfrm>
              <a:off x="8131507" y="3980949"/>
              <a:ext cx="115574" cy="149384"/>
            </a:xfrm>
            <a:custGeom>
              <a:avLst/>
              <a:gdLst>
                <a:gd name="T0" fmla="*/ 14 w 70"/>
                <a:gd name="T1" fmla="*/ 74 h 90"/>
                <a:gd name="T2" fmla="*/ 10 w 70"/>
                <a:gd name="T3" fmla="*/ 50 h 90"/>
                <a:gd name="T4" fmla="*/ 8 w 70"/>
                <a:gd name="T5" fmla="*/ 38 h 90"/>
                <a:gd name="T6" fmla="*/ 2 w 70"/>
                <a:gd name="T7" fmla="*/ 34 h 90"/>
                <a:gd name="T8" fmla="*/ 0 w 70"/>
                <a:gd name="T9" fmla="*/ 26 h 90"/>
                <a:gd name="T10" fmla="*/ 12 w 70"/>
                <a:gd name="T11" fmla="*/ 20 h 90"/>
                <a:gd name="T12" fmla="*/ 4 w 70"/>
                <a:gd name="T13" fmla="*/ 12 h 90"/>
                <a:gd name="T14" fmla="*/ 4 w 70"/>
                <a:gd name="T15" fmla="*/ 6 h 90"/>
                <a:gd name="T16" fmla="*/ 10 w 70"/>
                <a:gd name="T17" fmla="*/ 0 h 90"/>
                <a:gd name="T18" fmla="*/ 14 w 70"/>
                <a:gd name="T19" fmla="*/ 6 h 90"/>
                <a:gd name="T20" fmla="*/ 24 w 70"/>
                <a:gd name="T21" fmla="*/ 10 h 90"/>
                <a:gd name="T22" fmla="*/ 30 w 70"/>
                <a:gd name="T23" fmla="*/ 22 h 90"/>
                <a:gd name="T24" fmla="*/ 64 w 70"/>
                <a:gd name="T25" fmla="*/ 22 h 90"/>
                <a:gd name="T26" fmla="*/ 64 w 70"/>
                <a:gd name="T27" fmla="*/ 34 h 90"/>
                <a:gd name="T28" fmla="*/ 56 w 70"/>
                <a:gd name="T29" fmla="*/ 38 h 90"/>
                <a:gd name="T30" fmla="*/ 52 w 70"/>
                <a:gd name="T31" fmla="*/ 40 h 90"/>
                <a:gd name="T32" fmla="*/ 48 w 70"/>
                <a:gd name="T33" fmla="*/ 46 h 90"/>
                <a:gd name="T34" fmla="*/ 48 w 70"/>
                <a:gd name="T35" fmla="*/ 50 h 90"/>
                <a:gd name="T36" fmla="*/ 48 w 70"/>
                <a:gd name="T37" fmla="*/ 54 h 90"/>
                <a:gd name="T38" fmla="*/ 56 w 70"/>
                <a:gd name="T39" fmla="*/ 58 h 90"/>
                <a:gd name="T40" fmla="*/ 60 w 70"/>
                <a:gd name="T41" fmla="*/ 46 h 90"/>
                <a:gd name="T42" fmla="*/ 70 w 70"/>
                <a:gd name="T43" fmla="*/ 48 h 90"/>
                <a:gd name="T44" fmla="*/ 68 w 70"/>
                <a:gd name="T45" fmla="*/ 60 h 90"/>
                <a:gd name="T46" fmla="*/ 68 w 70"/>
                <a:gd name="T47" fmla="*/ 70 h 90"/>
                <a:gd name="T48" fmla="*/ 70 w 70"/>
                <a:gd name="T49" fmla="*/ 76 h 90"/>
                <a:gd name="T50" fmla="*/ 70 w 70"/>
                <a:gd name="T51" fmla="*/ 86 h 90"/>
                <a:gd name="T52" fmla="*/ 64 w 70"/>
                <a:gd name="T53" fmla="*/ 90 h 90"/>
                <a:gd name="T54" fmla="*/ 60 w 70"/>
                <a:gd name="T55" fmla="*/ 82 h 90"/>
                <a:gd name="T56" fmla="*/ 58 w 70"/>
                <a:gd name="T57" fmla="*/ 68 h 90"/>
                <a:gd name="T58" fmla="*/ 54 w 70"/>
                <a:gd name="T59" fmla="*/ 64 h 90"/>
                <a:gd name="T60" fmla="*/ 48 w 70"/>
                <a:gd name="T61" fmla="*/ 62 h 90"/>
                <a:gd name="T62" fmla="*/ 40 w 70"/>
                <a:gd name="T63" fmla="*/ 56 h 90"/>
                <a:gd name="T64" fmla="*/ 36 w 70"/>
                <a:gd name="T65" fmla="*/ 62 h 90"/>
                <a:gd name="T66" fmla="*/ 36 w 70"/>
                <a:gd name="T67" fmla="*/ 74 h 90"/>
                <a:gd name="T68" fmla="*/ 26 w 70"/>
                <a:gd name="T69" fmla="*/ 74 h 90"/>
                <a:gd name="T70" fmla="*/ 14 w 70"/>
                <a:gd name="T71" fmla="*/ 7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0" h="90">
                  <a:moveTo>
                    <a:pt x="14" y="74"/>
                  </a:moveTo>
                  <a:lnTo>
                    <a:pt x="10" y="50"/>
                  </a:lnTo>
                  <a:lnTo>
                    <a:pt x="8" y="38"/>
                  </a:lnTo>
                  <a:lnTo>
                    <a:pt x="2" y="34"/>
                  </a:lnTo>
                  <a:lnTo>
                    <a:pt x="0" y="26"/>
                  </a:lnTo>
                  <a:lnTo>
                    <a:pt x="12" y="20"/>
                  </a:lnTo>
                  <a:lnTo>
                    <a:pt x="4" y="12"/>
                  </a:lnTo>
                  <a:lnTo>
                    <a:pt x="4" y="6"/>
                  </a:lnTo>
                  <a:lnTo>
                    <a:pt x="10" y="0"/>
                  </a:lnTo>
                  <a:lnTo>
                    <a:pt x="14" y="6"/>
                  </a:lnTo>
                  <a:lnTo>
                    <a:pt x="24" y="10"/>
                  </a:lnTo>
                  <a:lnTo>
                    <a:pt x="30" y="22"/>
                  </a:lnTo>
                  <a:lnTo>
                    <a:pt x="64" y="22"/>
                  </a:lnTo>
                  <a:lnTo>
                    <a:pt x="64" y="34"/>
                  </a:lnTo>
                  <a:lnTo>
                    <a:pt x="56" y="38"/>
                  </a:lnTo>
                  <a:lnTo>
                    <a:pt x="52" y="40"/>
                  </a:lnTo>
                  <a:lnTo>
                    <a:pt x="48" y="46"/>
                  </a:lnTo>
                  <a:lnTo>
                    <a:pt x="48" y="50"/>
                  </a:lnTo>
                  <a:lnTo>
                    <a:pt x="48" y="54"/>
                  </a:lnTo>
                  <a:lnTo>
                    <a:pt x="56" y="58"/>
                  </a:lnTo>
                  <a:lnTo>
                    <a:pt x="60" y="46"/>
                  </a:lnTo>
                  <a:lnTo>
                    <a:pt x="70" y="48"/>
                  </a:lnTo>
                  <a:lnTo>
                    <a:pt x="68" y="60"/>
                  </a:lnTo>
                  <a:lnTo>
                    <a:pt x="68" y="70"/>
                  </a:lnTo>
                  <a:lnTo>
                    <a:pt x="70" y="76"/>
                  </a:lnTo>
                  <a:lnTo>
                    <a:pt x="70" y="86"/>
                  </a:lnTo>
                  <a:lnTo>
                    <a:pt x="64" y="90"/>
                  </a:lnTo>
                  <a:lnTo>
                    <a:pt x="60" y="82"/>
                  </a:lnTo>
                  <a:lnTo>
                    <a:pt x="58" y="68"/>
                  </a:lnTo>
                  <a:lnTo>
                    <a:pt x="54" y="64"/>
                  </a:lnTo>
                  <a:lnTo>
                    <a:pt x="48" y="62"/>
                  </a:lnTo>
                  <a:lnTo>
                    <a:pt x="40" y="56"/>
                  </a:lnTo>
                  <a:lnTo>
                    <a:pt x="36" y="62"/>
                  </a:lnTo>
                  <a:lnTo>
                    <a:pt x="36" y="74"/>
                  </a:lnTo>
                  <a:lnTo>
                    <a:pt x="26" y="74"/>
                  </a:lnTo>
                  <a:lnTo>
                    <a:pt x="14" y="7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36" name="Freeform 231">
              <a:extLst>
                <a:ext uri="{FF2B5EF4-FFF2-40B4-BE49-F238E27FC236}">
                  <a16:creationId xmlns:a16="http://schemas.microsoft.com/office/drawing/2014/main" id="{A377F30D-A27F-4FB4-A85C-5005611C5993}"/>
                </a:ext>
              </a:extLst>
            </p:cNvPr>
            <p:cNvSpPr>
              <a:spLocks/>
            </p:cNvSpPr>
            <p:nvPr/>
          </p:nvSpPr>
          <p:spPr bwMode="gray">
            <a:xfrm>
              <a:off x="7913564" y="4435741"/>
              <a:ext cx="52834" cy="96271"/>
            </a:xfrm>
            <a:custGeom>
              <a:avLst/>
              <a:gdLst>
                <a:gd name="T0" fmla="*/ 6 w 32"/>
                <a:gd name="T1" fmla="*/ 0 h 58"/>
                <a:gd name="T2" fmla="*/ 16 w 32"/>
                <a:gd name="T3" fmla="*/ 12 h 58"/>
                <a:gd name="T4" fmla="*/ 26 w 32"/>
                <a:gd name="T5" fmla="*/ 26 h 58"/>
                <a:gd name="T6" fmla="*/ 32 w 32"/>
                <a:gd name="T7" fmla="*/ 40 h 58"/>
                <a:gd name="T8" fmla="*/ 26 w 32"/>
                <a:gd name="T9" fmla="*/ 56 h 58"/>
                <a:gd name="T10" fmla="*/ 16 w 32"/>
                <a:gd name="T11" fmla="*/ 58 h 58"/>
                <a:gd name="T12" fmla="*/ 6 w 32"/>
                <a:gd name="T13" fmla="*/ 56 h 58"/>
                <a:gd name="T14" fmla="*/ 0 w 32"/>
                <a:gd name="T15" fmla="*/ 44 h 58"/>
                <a:gd name="T16" fmla="*/ 0 w 32"/>
                <a:gd name="T17" fmla="*/ 26 h 58"/>
                <a:gd name="T18" fmla="*/ 4 w 32"/>
                <a:gd name="T19" fmla="*/ 12 h 58"/>
                <a:gd name="T20" fmla="*/ 6 w 32"/>
                <a:gd name="T2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58">
                  <a:moveTo>
                    <a:pt x="6" y="0"/>
                  </a:moveTo>
                  <a:lnTo>
                    <a:pt x="16" y="12"/>
                  </a:lnTo>
                  <a:lnTo>
                    <a:pt x="26" y="26"/>
                  </a:lnTo>
                  <a:lnTo>
                    <a:pt x="32" y="40"/>
                  </a:lnTo>
                  <a:lnTo>
                    <a:pt x="26" y="56"/>
                  </a:lnTo>
                  <a:lnTo>
                    <a:pt x="16" y="58"/>
                  </a:lnTo>
                  <a:lnTo>
                    <a:pt x="6" y="56"/>
                  </a:lnTo>
                  <a:lnTo>
                    <a:pt x="0" y="44"/>
                  </a:lnTo>
                  <a:lnTo>
                    <a:pt x="0" y="26"/>
                  </a:lnTo>
                  <a:lnTo>
                    <a:pt x="4" y="12"/>
                  </a:lnTo>
                  <a:lnTo>
                    <a:pt x="6"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37" name="Freeform 233">
              <a:extLst>
                <a:ext uri="{FF2B5EF4-FFF2-40B4-BE49-F238E27FC236}">
                  <a16:creationId xmlns:a16="http://schemas.microsoft.com/office/drawing/2014/main" id="{44F20A16-2B77-41A8-B6F6-BED80F1DED36}"/>
                </a:ext>
              </a:extLst>
            </p:cNvPr>
            <p:cNvSpPr>
              <a:spLocks/>
            </p:cNvSpPr>
            <p:nvPr/>
          </p:nvSpPr>
          <p:spPr bwMode="gray">
            <a:xfrm>
              <a:off x="8237174" y="3924514"/>
              <a:ext cx="221243" cy="491309"/>
            </a:xfrm>
            <a:custGeom>
              <a:avLst/>
              <a:gdLst>
                <a:gd name="T0" fmla="*/ 6 w 134"/>
                <a:gd name="T1" fmla="*/ 120 h 296"/>
                <a:gd name="T2" fmla="*/ 12 w 134"/>
                <a:gd name="T3" fmla="*/ 104 h 296"/>
                <a:gd name="T4" fmla="*/ 32 w 134"/>
                <a:gd name="T5" fmla="*/ 74 h 296"/>
                <a:gd name="T6" fmla="*/ 44 w 134"/>
                <a:gd name="T7" fmla="*/ 46 h 296"/>
                <a:gd name="T8" fmla="*/ 62 w 134"/>
                <a:gd name="T9" fmla="*/ 20 h 296"/>
                <a:gd name="T10" fmla="*/ 76 w 134"/>
                <a:gd name="T11" fmla="*/ 10 h 296"/>
                <a:gd name="T12" fmla="*/ 90 w 134"/>
                <a:gd name="T13" fmla="*/ 2 h 296"/>
                <a:gd name="T14" fmla="*/ 104 w 134"/>
                <a:gd name="T15" fmla="*/ 18 h 296"/>
                <a:gd name="T16" fmla="*/ 94 w 134"/>
                <a:gd name="T17" fmla="*/ 52 h 296"/>
                <a:gd name="T18" fmla="*/ 86 w 134"/>
                <a:gd name="T19" fmla="*/ 68 h 296"/>
                <a:gd name="T20" fmla="*/ 106 w 134"/>
                <a:gd name="T21" fmla="*/ 88 h 296"/>
                <a:gd name="T22" fmla="*/ 116 w 134"/>
                <a:gd name="T23" fmla="*/ 108 h 296"/>
                <a:gd name="T24" fmla="*/ 124 w 134"/>
                <a:gd name="T25" fmla="*/ 116 h 296"/>
                <a:gd name="T26" fmla="*/ 134 w 134"/>
                <a:gd name="T27" fmla="*/ 126 h 296"/>
                <a:gd name="T28" fmla="*/ 106 w 134"/>
                <a:gd name="T29" fmla="*/ 144 h 296"/>
                <a:gd name="T30" fmla="*/ 88 w 134"/>
                <a:gd name="T31" fmla="*/ 158 h 296"/>
                <a:gd name="T32" fmla="*/ 84 w 134"/>
                <a:gd name="T33" fmla="*/ 168 h 296"/>
                <a:gd name="T34" fmla="*/ 88 w 134"/>
                <a:gd name="T35" fmla="*/ 184 h 296"/>
                <a:gd name="T36" fmla="*/ 104 w 134"/>
                <a:gd name="T37" fmla="*/ 208 h 296"/>
                <a:gd name="T38" fmla="*/ 96 w 134"/>
                <a:gd name="T39" fmla="*/ 228 h 296"/>
                <a:gd name="T40" fmla="*/ 110 w 134"/>
                <a:gd name="T41" fmla="*/ 248 h 296"/>
                <a:gd name="T42" fmla="*/ 116 w 134"/>
                <a:gd name="T43" fmla="*/ 274 h 296"/>
                <a:gd name="T44" fmla="*/ 100 w 134"/>
                <a:gd name="T45" fmla="*/ 296 h 296"/>
                <a:gd name="T46" fmla="*/ 100 w 134"/>
                <a:gd name="T47" fmla="*/ 280 h 296"/>
                <a:gd name="T48" fmla="*/ 100 w 134"/>
                <a:gd name="T49" fmla="*/ 256 h 296"/>
                <a:gd name="T50" fmla="*/ 90 w 134"/>
                <a:gd name="T51" fmla="*/ 230 h 296"/>
                <a:gd name="T52" fmla="*/ 84 w 134"/>
                <a:gd name="T53" fmla="*/ 200 h 296"/>
                <a:gd name="T54" fmla="*/ 68 w 134"/>
                <a:gd name="T55" fmla="*/ 200 h 296"/>
                <a:gd name="T56" fmla="*/ 54 w 134"/>
                <a:gd name="T57" fmla="*/ 212 h 296"/>
                <a:gd name="T58" fmla="*/ 36 w 134"/>
                <a:gd name="T59" fmla="*/ 204 h 296"/>
                <a:gd name="T60" fmla="*/ 38 w 134"/>
                <a:gd name="T61" fmla="*/ 176 h 296"/>
                <a:gd name="T62" fmla="*/ 26 w 134"/>
                <a:gd name="T63" fmla="*/ 158 h 296"/>
                <a:gd name="T64" fmla="*/ 0 w 134"/>
                <a:gd name="T65" fmla="*/ 124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4" h="296">
                  <a:moveTo>
                    <a:pt x="0" y="124"/>
                  </a:moveTo>
                  <a:lnTo>
                    <a:pt x="6" y="120"/>
                  </a:lnTo>
                  <a:lnTo>
                    <a:pt x="6" y="110"/>
                  </a:lnTo>
                  <a:lnTo>
                    <a:pt x="12" y="104"/>
                  </a:lnTo>
                  <a:lnTo>
                    <a:pt x="18" y="76"/>
                  </a:lnTo>
                  <a:lnTo>
                    <a:pt x="32" y="74"/>
                  </a:lnTo>
                  <a:lnTo>
                    <a:pt x="36" y="54"/>
                  </a:lnTo>
                  <a:lnTo>
                    <a:pt x="44" y="46"/>
                  </a:lnTo>
                  <a:lnTo>
                    <a:pt x="46" y="34"/>
                  </a:lnTo>
                  <a:lnTo>
                    <a:pt x="62" y="20"/>
                  </a:lnTo>
                  <a:lnTo>
                    <a:pt x="76" y="20"/>
                  </a:lnTo>
                  <a:lnTo>
                    <a:pt x="76" y="10"/>
                  </a:lnTo>
                  <a:lnTo>
                    <a:pt x="82" y="0"/>
                  </a:lnTo>
                  <a:lnTo>
                    <a:pt x="90" y="2"/>
                  </a:lnTo>
                  <a:lnTo>
                    <a:pt x="96" y="12"/>
                  </a:lnTo>
                  <a:lnTo>
                    <a:pt x="104" y="18"/>
                  </a:lnTo>
                  <a:lnTo>
                    <a:pt x="102" y="42"/>
                  </a:lnTo>
                  <a:lnTo>
                    <a:pt x="94" y="52"/>
                  </a:lnTo>
                  <a:lnTo>
                    <a:pt x="86" y="64"/>
                  </a:lnTo>
                  <a:lnTo>
                    <a:pt x="86" y="68"/>
                  </a:lnTo>
                  <a:lnTo>
                    <a:pt x="106" y="74"/>
                  </a:lnTo>
                  <a:lnTo>
                    <a:pt x="106" y="88"/>
                  </a:lnTo>
                  <a:lnTo>
                    <a:pt x="116" y="92"/>
                  </a:lnTo>
                  <a:lnTo>
                    <a:pt x="116" y="108"/>
                  </a:lnTo>
                  <a:lnTo>
                    <a:pt x="124" y="110"/>
                  </a:lnTo>
                  <a:lnTo>
                    <a:pt x="124" y="116"/>
                  </a:lnTo>
                  <a:lnTo>
                    <a:pt x="132" y="116"/>
                  </a:lnTo>
                  <a:lnTo>
                    <a:pt x="134" y="126"/>
                  </a:lnTo>
                  <a:lnTo>
                    <a:pt x="116" y="136"/>
                  </a:lnTo>
                  <a:lnTo>
                    <a:pt x="106" y="144"/>
                  </a:lnTo>
                  <a:lnTo>
                    <a:pt x="88" y="146"/>
                  </a:lnTo>
                  <a:lnTo>
                    <a:pt x="88" y="158"/>
                  </a:lnTo>
                  <a:lnTo>
                    <a:pt x="86" y="162"/>
                  </a:lnTo>
                  <a:lnTo>
                    <a:pt x="84" y="168"/>
                  </a:lnTo>
                  <a:lnTo>
                    <a:pt x="86" y="178"/>
                  </a:lnTo>
                  <a:lnTo>
                    <a:pt x="88" y="184"/>
                  </a:lnTo>
                  <a:lnTo>
                    <a:pt x="98" y="192"/>
                  </a:lnTo>
                  <a:lnTo>
                    <a:pt x="104" y="208"/>
                  </a:lnTo>
                  <a:lnTo>
                    <a:pt x="100" y="218"/>
                  </a:lnTo>
                  <a:lnTo>
                    <a:pt x="96" y="228"/>
                  </a:lnTo>
                  <a:lnTo>
                    <a:pt x="102" y="236"/>
                  </a:lnTo>
                  <a:lnTo>
                    <a:pt x="110" y="248"/>
                  </a:lnTo>
                  <a:lnTo>
                    <a:pt x="110" y="264"/>
                  </a:lnTo>
                  <a:lnTo>
                    <a:pt x="116" y="274"/>
                  </a:lnTo>
                  <a:lnTo>
                    <a:pt x="112" y="286"/>
                  </a:lnTo>
                  <a:lnTo>
                    <a:pt x="100" y="296"/>
                  </a:lnTo>
                  <a:lnTo>
                    <a:pt x="98" y="288"/>
                  </a:lnTo>
                  <a:lnTo>
                    <a:pt x="100" y="280"/>
                  </a:lnTo>
                  <a:lnTo>
                    <a:pt x="100" y="270"/>
                  </a:lnTo>
                  <a:lnTo>
                    <a:pt x="100" y="256"/>
                  </a:lnTo>
                  <a:lnTo>
                    <a:pt x="98" y="250"/>
                  </a:lnTo>
                  <a:lnTo>
                    <a:pt x="90" y="230"/>
                  </a:lnTo>
                  <a:lnTo>
                    <a:pt x="90" y="214"/>
                  </a:lnTo>
                  <a:lnTo>
                    <a:pt x="84" y="200"/>
                  </a:lnTo>
                  <a:lnTo>
                    <a:pt x="74" y="188"/>
                  </a:lnTo>
                  <a:lnTo>
                    <a:pt x="68" y="200"/>
                  </a:lnTo>
                  <a:lnTo>
                    <a:pt x="56" y="204"/>
                  </a:lnTo>
                  <a:lnTo>
                    <a:pt x="54" y="212"/>
                  </a:lnTo>
                  <a:lnTo>
                    <a:pt x="42" y="212"/>
                  </a:lnTo>
                  <a:lnTo>
                    <a:pt x="36" y="204"/>
                  </a:lnTo>
                  <a:lnTo>
                    <a:pt x="36" y="190"/>
                  </a:lnTo>
                  <a:lnTo>
                    <a:pt x="38" y="176"/>
                  </a:lnTo>
                  <a:lnTo>
                    <a:pt x="34" y="166"/>
                  </a:lnTo>
                  <a:lnTo>
                    <a:pt x="26" y="158"/>
                  </a:lnTo>
                  <a:lnTo>
                    <a:pt x="14" y="138"/>
                  </a:lnTo>
                  <a:lnTo>
                    <a:pt x="0" y="12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38" name="Freeform 234">
              <a:extLst>
                <a:ext uri="{FF2B5EF4-FFF2-40B4-BE49-F238E27FC236}">
                  <a16:creationId xmlns:a16="http://schemas.microsoft.com/office/drawing/2014/main" id="{D84B26F8-0180-4F99-B274-5CE3C7145ADF}"/>
                </a:ext>
              </a:extLst>
            </p:cNvPr>
            <p:cNvSpPr>
              <a:spLocks/>
            </p:cNvSpPr>
            <p:nvPr/>
          </p:nvSpPr>
          <p:spPr bwMode="gray">
            <a:xfrm>
              <a:off x="8375865" y="4146932"/>
              <a:ext cx="214639" cy="398359"/>
            </a:xfrm>
            <a:custGeom>
              <a:avLst/>
              <a:gdLst>
                <a:gd name="T0" fmla="*/ 20 w 130"/>
                <a:gd name="T1" fmla="*/ 198 h 240"/>
                <a:gd name="T2" fmla="*/ 14 w 130"/>
                <a:gd name="T3" fmla="*/ 174 h 240"/>
                <a:gd name="T4" fmla="*/ 28 w 130"/>
                <a:gd name="T5" fmla="*/ 152 h 240"/>
                <a:gd name="T6" fmla="*/ 26 w 130"/>
                <a:gd name="T7" fmla="*/ 130 h 240"/>
                <a:gd name="T8" fmla="*/ 18 w 130"/>
                <a:gd name="T9" fmla="*/ 102 h 240"/>
                <a:gd name="T10" fmla="*/ 20 w 130"/>
                <a:gd name="T11" fmla="*/ 74 h 240"/>
                <a:gd name="T12" fmla="*/ 4 w 130"/>
                <a:gd name="T13" fmla="*/ 50 h 240"/>
                <a:gd name="T14" fmla="*/ 4 w 130"/>
                <a:gd name="T15" fmla="*/ 24 h 240"/>
                <a:gd name="T16" fmla="*/ 22 w 130"/>
                <a:gd name="T17" fmla="*/ 10 h 240"/>
                <a:gd name="T18" fmla="*/ 48 w 130"/>
                <a:gd name="T19" fmla="*/ 6 h 240"/>
                <a:gd name="T20" fmla="*/ 56 w 130"/>
                <a:gd name="T21" fmla="*/ 16 h 240"/>
                <a:gd name="T22" fmla="*/ 56 w 130"/>
                <a:gd name="T23" fmla="*/ 34 h 240"/>
                <a:gd name="T24" fmla="*/ 68 w 130"/>
                <a:gd name="T25" fmla="*/ 42 h 240"/>
                <a:gd name="T26" fmla="*/ 88 w 130"/>
                <a:gd name="T27" fmla="*/ 40 h 240"/>
                <a:gd name="T28" fmla="*/ 116 w 130"/>
                <a:gd name="T29" fmla="*/ 50 h 240"/>
                <a:gd name="T30" fmla="*/ 130 w 130"/>
                <a:gd name="T31" fmla="*/ 76 h 240"/>
                <a:gd name="T32" fmla="*/ 126 w 130"/>
                <a:gd name="T33" fmla="*/ 98 h 240"/>
                <a:gd name="T34" fmla="*/ 78 w 130"/>
                <a:gd name="T35" fmla="*/ 112 h 240"/>
                <a:gd name="T36" fmla="*/ 82 w 130"/>
                <a:gd name="T37" fmla="*/ 130 h 240"/>
                <a:gd name="T38" fmla="*/ 84 w 130"/>
                <a:gd name="T39" fmla="*/ 144 h 240"/>
                <a:gd name="T40" fmla="*/ 56 w 130"/>
                <a:gd name="T41" fmla="*/ 126 h 240"/>
                <a:gd name="T42" fmla="*/ 44 w 130"/>
                <a:gd name="T43" fmla="*/ 116 h 240"/>
                <a:gd name="T44" fmla="*/ 40 w 130"/>
                <a:gd name="T45" fmla="*/ 132 h 240"/>
                <a:gd name="T46" fmla="*/ 32 w 130"/>
                <a:gd name="T47" fmla="*/ 154 h 240"/>
                <a:gd name="T48" fmla="*/ 24 w 130"/>
                <a:gd name="T49" fmla="*/ 178 h 240"/>
                <a:gd name="T50" fmla="*/ 40 w 130"/>
                <a:gd name="T51" fmla="*/ 186 h 240"/>
                <a:gd name="T52" fmla="*/ 46 w 130"/>
                <a:gd name="T53" fmla="*/ 210 h 240"/>
                <a:gd name="T54" fmla="*/ 64 w 130"/>
                <a:gd name="T55" fmla="*/ 222 h 240"/>
                <a:gd name="T56" fmla="*/ 68 w 130"/>
                <a:gd name="T57" fmla="*/ 234 h 240"/>
                <a:gd name="T58" fmla="*/ 56 w 130"/>
                <a:gd name="T59" fmla="*/ 238 h 240"/>
                <a:gd name="T60" fmla="*/ 52 w 130"/>
                <a:gd name="T61" fmla="*/ 226 h 240"/>
                <a:gd name="T62" fmla="*/ 34 w 130"/>
                <a:gd name="T63" fmla="*/ 214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0" h="240">
                  <a:moveTo>
                    <a:pt x="34" y="214"/>
                  </a:moveTo>
                  <a:lnTo>
                    <a:pt x="20" y="198"/>
                  </a:lnTo>
                  <a:lnTo>
                    <a:pt x="12" y="194"/>
                  </a:lnTo>
                  <a:lnTo>
                    <a:pt x="14" y="174"/>
                  </a:lnTo>
                  <a:lnTo>
                    <a:pt x="16" y="162"/>
                  </a:lnTo>
                  <a:lnTo>
                    <a:pt x="28" y="152"/>
                  </a:lnTo>
                  <a:lnTo>
                    <a:pt x="32" y="140"/>
                  </a:lnTo>
                  <a:lnTo>
                    <a:pt x="26" y="130"/>
                  </a:lnTo>
                  <a:lnTo>
                    <a:pt x="26" y="114"/>
                  </a:lnTo>
                  <a:lnTo>
                    <a:pt x="18" y="102"/>
                  </a:lnTo>
                  <a:lnTo>
                    <a:pt x="12" y="94"/>
                  </a:lnTo>
                  <a:lnTo>
                    <a:pt x="20" y="74"/>
                  </a:lnTo>
                  <a:lnTo>
                    <a:pt x="14" y="58"/>
                  </a:lnTo>
                  <a:lnTo>
                    <a:pt x="4" y="50"/>
                  </a:lnTo>
                  <a:lnTo>
                    <a:pt x="0" y="30"/>
                  </a:lnTo>
                  <a:lnTo>
                    <a:pt x="4" y="24"/>
                  </a:lnTo>
                  <a:lnTo>
                    <a:pt x="4" y="12"/>
                  </a:lnTo>
                  <a:lnTo>
                    <a:pt x="22" y="10"/>
                  </a:lnTo>
                  <a:lnTo>
                    <a:pt x="36" y="0"/>
                  </a:lnTo>
                  <a:lnTo>
                    <a:pt x="48" y="6"/>
                  </a:lnTo>
                  <a:lnTo>
                    <a:pt x="48" y="14"/>
                  </a:lnTo>
                  <a:lnTo>
                    <a:pt x="56" y="16"/>
                  </a:lnTo>
                  <a:lnTo>
                    <a:pt x="60" y="30"/>
                  </a:lnTo>
                  <a:lnTo>
                    <a:pt x="56" y="34"/>
                  </a:lnTo>
                  <a:lnTo>
                    <a:pt x="56" y="48"/>
                  </a:lnTo>
                  <a:lnTo>
                    <a:pt x="68" y="42"/>
                  </a:lnTo>
                  <a:lnTo>
                    <a:pt x="76" y="36"/>
                  </a:lnTo>
                  <a:lnTo>
                    <a:pt x="88" y="40"/>
                  </a:lnTo>
                  <a:lnTo>
                    <a:pt x="100" y="32"/>
                  </a:lnTo>
                  <a:lnTo>
                    <a:pt x="116" y="50"/>
                  </a:lnTo>
                  <a:lnTo>
                    <a:pt x="120" y="66"/>
                  </a:lnTo>
                  <a:lnTo>
                    <a:pt x="130" y="76"/>
                  </a:lnTo>
                  <a:lnTo>
                    <a:pt x="130" y="86"/>
                  </a:lnTo>
                  <a:lnTo>
                    <a:pt x="126" y="98"/>
                  </a:lnTo>
                  <a:lnTo>
                    <a:pt x="86" y="100"/>
                  </a:lnTo>
                  <a:lnTo>
                    <a:pt x="78" y="112"/>
                  </a:lnTo>
                  <a:lnTo>
                    <a:pt x="78" y="120"/>
                  </a:lnTo>
                  <a:lnTo>
                    <a:pt x="82" y="130"/>
                  </a:lnTo>
                  <a:lnTo>
                    <a:pt x="86" y="140"/>
                  </a:lnTo>
                  <a:lnTo>
                    <a:pt x="84" y="144"/>
                  </a:lnTo>
                  <a:lnTo>
                    <a:pt x="72" y="128"/>
                  </a:lnTo>
                  <a:lnTo>
                    <a:pt x="56" y="126"/>
                  </a:lnTo>
                  <a:lnTo>
                    <a:pt x="56" y="116"/>
                  </a:lnTo>
                  <a:lnTo>
                    <a:pt x="44" y="116"/>
                  </a:lnTo>
                  <a:lnTo>
                    <a:pt x="40" y="120"/>
                  </a:lnTo>
                  <a:lnTo>
                    <a:pt x="40" y="132"/>
                  </a:lnTo>
                  <a:lnTo>
                    <a:pt x="38" y="140"/>
                  </a:lnTo>
                  <a:lnTo>
                    <a:pt x="32" y="154"/>
                  </a:lnTo>
                  <a:lnTo>
                    <a:pt x="28" y="162"/>
                  </a:lnTo>
                  <a:lnTo>
                    <a:pt x="24" y="178"/>
                  </a:lnTo>
                  <a:lnTo>
                    <a:pt x="30" y="182"/>
                  </a:lnTo>
                  <a:lnTo>
                    <a:pt x="40" y="186"/>
                  </a:lnTo>
                  <a:lnTo>
                    <a:pt x="42" y="192"/>
                  </a:lnTo>
                  <a:lnTo>
                    <a:pt x="46" y="210"/>
                  </a:lnTo>
                  <a:lnTo>
                    <a:pt x="52" y="218"/>
                  </a:lnTo>
                  <a:lnTo>
                    <a:pt x="64" y="222"/>
                  </a:lnTo>
                  <a:lnTo>
                    <a:pt x="72" y="230"/>
                  </a:lnTo>
                  <a:lnTo>
                    <a:pt x="68" y="234"/>
                  </a:lnTo>
                  <a:lnTo>
                    <a:pt x="66" y="240"/>
                  </a:lnTo>
                  <a:lnTo>
                    <a:pt x="56" y="238"/>
                  </a:lnTo>
                  <a:lnTo>
                    <a:pt x="58" y="230"/>
                  </a:lnTo>
                  <a:lnTo>
                    <a:pt x="52" y="226"/>
                  </a:lnTo>
                  <a:lnTo>
                    <a:pt x="42" y="224"/>
                  </a:lnTo>
                  <a:lnTo>
                    <a:pt x="34" y="21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39" name="Freeform 235">
              <a:extLst>
                <a:ext uri="{FF2B5EF4-FFF2-40B4-BE49-F238E27FC236}">
                  <a16:creationId xmlns:a16="http://schemas.microsoft.com/office/drawing/2014/main" id="{795A2B88-C08F-4E4B-B343-EC51D597C977}"/>
                </a:ext>
              </a:extLst>
            </p:cNvPr>
            <p:cNvSpPr>
              <a:spLocks/>
            </p:cNvSpPr>
            <p:nvPr/>
          </p:nvSpPr>
          <p:spPr bwMode="gray">
            <a:xfrm>
              <a:off x="8445210" y="4518733"/>
              <a:ext cx="105669" cy="136106"/>
            </a:xfrm>
            <a:custGeom>
              <a:avLst/>
              <a:gdLst>
                <a:gd name="T0" fmla="*/ 0 w 64"/>
                <a:gd name="T1" fmla="*/ 0 h 82"/>
                <a:gd name="T2" fmla="*/ 10 w 64"/>
                <a:gd name="T3" fmla="*/ 2 h 82"/>
                <a:gd name="T4" fmla="*/ 16 w 64"/>
                <a:gd name="T5" fmla="*/ 6 h 82"/>
                <a:gd name="T6" fmla="*/ 14 w 64"/>
                <a:gd name="T7" fmla="*/ 14 h 82"/>
                <a:gd name="T8" fmla="*/ 24 w 64"/>
                <a:gd name="T9" fmla="*/ 16 h 82"/>
                <a:gd name="T10" fmla="*/ 26 w 64"/>
                <a:gd name="T11" fmla="*/ 10 h 82"/>
                <a:gd name="T12" fmla="*/ 30 w 64"/>
                <a:gd name="T13" fmla="*/ 6 h 82"/>
                <a:gd name="T14" fmla="*/ 40 w 64"/>
                <a:gd name="T15" fmla="*/ 14 h 82"/>
                <a:gd name="T16" fmla="*/ 52 w 64"/>
                <a:gd name="T17" fmla="*/ 30 h 82"/>
                <a:gd name="T18" fmla="*/ 52 w 64"/>
                <a:gd name="T19" fmla="*/ 40 h 82"/>
                <a:gd name="T20" fmla="*/ 54 w 64"/>
                <a:gd name="T21" fmla="*/ 62 h 82"/>
                <a:gd name="T22" fmla="*/ 60 w 64"/>
                <a:gd name="T23" fmla="*/ 70 h 82"/>
                <a:gd name="T24" fmla="*/ 64 w 64"/>
                <a:gd name="T25" fmla="*/ 78 h 82"/>
                <a:gd name="T26" fmla="*/ 64 w 64"/>
                <a:gd name="T27" fmla="*/ 82 h 82"/>
                <a:gd name="T28" fmla="*/ 54 w 64"/>
                <a:gd name="T29" fmla="*/ 82 h 82"/>
                <a:gd name="T30" fmla="*/ 36 w 64"/>
                <a:gd name="T31" fmla="*/ 72 h 82"/>
                <a:gd name="T32" fmla="*/ 16 w 64"/>
                <a:gd name="T33" fmla="*/ 60 h 82"/>
                <a:gd name="T34" fmla="*/ 18 w 64"/>
                <a:gd name="T35" fmla="*/ 52 h 82"/>
                <a:gd name="T36" fmla="*/ 10 w 64"/>
                <a:gd name="T37" fmla="*/ 42 h 82"/>
                <a:gd name="T38" fmla="*/ 4 w 64"/>
                <a:gd name="T39" fmla="*/ 26 h 82"/>
                <a:gd name="T40" fmla="*/ 4 w 64"/>
                <a:gd name="T41" fmla="*/ 10 h 82"/>
                <a:gd name="T42" fmla="*/ 0 w 64"/>
                <a:gd name="T43"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4" h="82">
                  <a:moveTo>
                    <a:pt x="0" y="0"/>
                  </a:moveTo>
                  <a:lnTo>
                    <a:pt x="10" y="2"/>
                  </a:lnTo>
                  <a:lnTo>
                    <a:pt x="16" y="6"/>
                  </a:lnTo>
                  <a:lnTo>
                    <a:pt x="14" y="14"/>
                  </a:lnTo>
                  <a:lnTo>
                    <a:pt x="24" y="16"/>
                  </a:lnTo>
                  <a:lnTo>
                    <a:pt x="26" y="10"/>
                  </a:lnTo>
                  <a:lnTo>
                    <a:pt x="30" y="6"/>
                  </a:lnTo>
                  <a:lnTo>
                    <a:pt x="40" y="14"/>
                  </a:lnTo>
                  <a:lnTo>
                    <a:pt x="52" y="30"/>
                  </a:lnTo>
                  <a:lnTo>
                    <a:pt x="52" y="40"/>
                  </a:lnTo>
                  <a:lnTo>
                    <a:pt x="54" y="62"/>
                  </a:lnTo>
                  <a:lnTo>
                    <a:pt x="60" y="70"/>
                  </a:lnTo>
                  <a:lnTo>
                    <a:pt x="64" y="78"/>
                  </a:lnTo>
                  <a:lnTo>
                    <a:pt x="64" y="82"/>
                  </a:lnTo>
                  <a:lnTo>
                    <a:pt x="54" y="82"/>
                  </a:lnTo>
                  <a:lnTo>
                    <a:pt x="36" y="72"/>
                  </a:lnTo>
                  <a:lnTo>
                    <a:pt x="16" y="60"/>
                  </a:lnTo>
                  <a:lnTo>
                    <a:pt x="18" y="52"/>
                  </a:lnTo>
                  <a:lnTo>
                    <a:pt x="10" y="42"/>
                  </a:lnTo>
                  <a:lnTo>
                    <a:pt x="4" y="26"/>
                  </a:lnTo>
                  <a:lnTo>
                    <a:pt x="4" y="10"/>
                  </a:lnTo>
                  <a:lnTo>
                    <a:pt x="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40" name="Freeform 236">
              <a:extLst>
                <a:ext uri="{FF2B5EF4-FFF2-40B4-BE49-F238E27FC236}">
                  <a16:creationId xmlns:a16="http://schemas.microsoft.com/office/drawing/2014/main" id="{09ED6093-94B8-4462-93DC-C3715D36D057}"/>
                </a:ext>
              </a:extLst>
            </p:cNvPr>
            <p:cNvSpPr>
              <a:spLocks/>
            </p:cNvSpPr>
            <p:nvPr/>
          </p:nvSpPr>
          <p:spPr bwMode="gray">
            <a:xfrm>
              <a:off x="8696173" y="4512094"/>
              <a:ext cx="254266" cy="156024"/>
            </a:xfrm>
            <a:custGeom>
              <a:avLst/>
              <a:gdLst>
                <a:gd name="T0" fmla="*/ 0 w 154"/>
                <a:gd name="T1" fmla="*/ 84 h 94"/>
                <a:gd name="T2" fmla="*/ 10 w 154"/>
                <a:gd name="T3" fmla="*/ 94 h 94"/>
                <a:gd name="T4" fmla="*/ 22 w 154"/>
                <a:gd name="T5" fmla="*/ 94 h 94"/>
                <a:gd name="T6" fmla="*/ 30 w 154"/>
                <a:gd name="T7" fmla="*/ 92 h 94"/>
                <a:gd name="T8" fmla="*/ 44 w 154"/>
                <a:gd name="T9" fmla="*/ 86 h 94"/>
                <a:gd name="T10" fmla="*/ 52 w 154"/>
                <a:gd name="T11" fmla="*/ 84 h 94"/>
                <a:gd name="T12" fmla="*/ 60 w 154"/>
                <a:gd name="T13" fmla="*/ 92 h 94"/>
                <a:gd name="T14" fmla="*/ 72 w 154"/>
                <a:gd name="T15" fmla="*/ 86 h 94"/>
                <a:gd name="T16" fmla="*/ 84 w 154"/>
                <a:gd name="T17" fmla="*/ 74 h 94"/>
                <a:gd name="T18" fmla="*/ 94 w 154"/>
                <a:gd name="T19" fmla="*/ 56 h 94"/>
                <a:gd name="T20" fmla="*/ 96 w 154"/>
                <a:gd name="T21" fmla="*/ 44 h 94"/>
                <a:gd name="T22" fmla="*/ 102 w 154"/>
                <a:gd name="T23" fmla="*/ 40 h 94"/>
                <a:gd name="T24" fmla="*/ 118 w 154"/>
                <a:gd name="T25" fmla="*/ 38 h 94"/>
                <a:gd name="T26" fmla="*/ 126 w 154"/>
                <a:gd name="T27" fmla="*/ 44 h 94"/>
                <a:gd name="T28" fmla="*/ 138 w 154"/>
                <a:gd name="T29" fmla="*/ 44 h 94"/>
                <a:gd name="T30" fmla="*/ 142 w 154"/>
                <a:gd name="T31" fmla="*/ 40 h 94"/>
                <a:gd name="T32" fmla="*/ 134 w 154"/>
                <a:gd name="T33" fmla="*/ 34 h 94"/>
                <a:gd name="T34" fmla="*/ 140 w 154"/>
                <a:gd name="T35" fmla="*/ 30 h 94"/>
                <a:gd name="T36" fmla="*/ 148 w 154"/>
                <a:gd name="T37" fmla="*/ 30 h 94"/>
                <a:gd name="T38" fmla="*/ 154 w 154"/>
                <a:gd name="T39" fmla="*/ 28 h 94"/>
                <a:gd name="T40" fmla="*/ 140 w 154"/>
                <a:gd name="T41" fmla="*/ 20 h 94"/>
                <a:gd name="T42" fmla="*/ 132 w 154"/>
                <a:gd name="T43" fmla="*/ 16 h 94"/>
                <a:gd name="T44" fmla="*/ 124 w 154"/>
                <a:gd name="T45" fmla="*/ 8 h 94"/>
                <a:gd name="T46" fmla="*/ 120 w 154"/>
                <a:gd name="T47" fmla="*/ 2 h 94"/>
                <a:gd name="T48" fmla="*/ 110 w 154"/>
                <a:gd name="T49" fmla="*/ 0 h 94"/>
                <a:gd name="T50" fmla="*/ 102 w 154"/>
                <a:gd name="T51" fmla="*/ 10 h 94"/>
                <a:gd name="T52" fmla="*/ 96 w 154"/>
                <a:gd name="T53" fmla="*/ 18 h 94"/>
                <a:gd name="T54" fmla="*/ 92 w 154"/>
                <a:gd name="T55" fmla="*/ 22 h 94"/>
                <a:gd name="T56" fmla="*/ 88 w 154"/>
                <a:gd name="T57" fmla="*/ 28 h 94"/>
                <a:gd name="T58" fmla="*/ 98 w 154"/>
                <a:gd name="T59" fmla="*/ 36 h 94"/>
                <a:gd name="T60" fmla="*/ 94 w 154"/>
                <a:gd name="T61" fmla="*/ 40 h 94"/>
                <a:gd name="T62" fmla="*/ 88 w 154"/>
                <a:gd name="T63" fmla="*/ 36 h 94"/>
                <a:gd name="T64" fmla="*/ 84 w 154"/>
                <a:gd name="T65" fmla="*/ 38 h 94"/>
                <a:gd name="T66" fmla="*/ 82 w 154"/>
                <a:gd name="T67" fmla="*/ 46 h 94"/>
                <a:gd name="T68" fmla="*/ 76 w 154"/>
                <a:gd name="T69" fmla="*/ 46 h 94"/>
                <a:gd name="T70" fmla="*/ 68 w 154"/>
                <a:gd name="T71" fmla="*/ 40 h 94"/>
                <a:gd name="T72" fmla="*/ 60 w 154"/>
                <a:gd name="T73" fmla="*/ 54 h 94"/>
                <a:gd name="T74" fmla="*/ 52 w 154"/>
                <a:gd name="T75" fmla="*/ 64 h 94"/>
                <a:gd name="T76" fmla="*/ 40 w 154"/>
                <a:gd name="T77" fmla="*/ 62 h 94"/>
                <a:gd name="T78" fmla="*/ 28 w 154"/>
                <a:gd name="T79" fmla="*/ 66 h 94"/>
                <a:gd name="T80" fmla="*/ 22 w 154"/>
                <a:gd name="T81" fmla="*/ 78 h 94"/>
                <a:gd name="T82" fmla="*/ 26 w 154"/>
                <a:gd name="T83" fmla="*/ 84 h 94"/>
                <a:gd name="T84" fmla="*/ 28 w 154"/>
                <a:gd name="T85" fmla="*/ 88 h 94"/>
                <a:gd name="T86" fmla="*/ 20 w 154"/>
                <a:gd name="T87" fmla="*/ 92 h 94"/>
                <a:gd name="T88" fmla="*/ 14 w 154"/>
                <a:gd name="T89" fmla="*/ 84 h 94"/>
                <a:gd name="T90" fmla="*/ 10 w 154"/>
                <a:gd name="T91" fmla="*/ 80 h 94"/>
                <a:gd name="T92" fmla="*/ 0 w 154"/>
                <a:gd name="T93" fmla="*/ 8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4" h="94">
                  <a:moveTo>
                    <a:pt x="0" y="84"/>
                  </a:moveTo>
                  <a:lnTo>
                    <a:pt x="10" y="94"/>
                  </a:lnTo>
                  <a:lnTo>
                    <a:pt x="22" y="94"/>
                  </a:lnTo>
                  <a:lnTo>
                    <a:pt x="30" y="92"/>
                  </a:lnTo>
                  <a:lnTo>
                    <a:pt x="44" y="86"/>
                  </a:lnTo>
                  <a:lnTo>
                    <a:pt x="52" y="84"/>
                  </a:lnTo>
                  <a:lnTo>
                    <a:pt x="60" y="92"/>
                  </a:lnTo>
                  <a:lnTo>
                    <a:pt x="72" y="86"/>
                  </a:lnTo>
                  <a:lnTo>
                    <a:pt x="84" y="74"/>
                  </a:lnTo>
                  <a:lnTo>
                    <a:pt x="94" y="56"/>
                  </a:lnTo>
                  <a:lnTo>
                    <a:pt x="96" y="44"/>
                  </a:lnTo>
                  <a:lnTo>
                    <a:pt x="102" y="40"/>
                  </a:lnTo>
                  <a:lnTo>
                    <a:pt x="118" y="38"/>
                  </a:lnTo>
                  <a:lnTo>
                    <a:pt x="126" y="44"/>
                  </a:lnTo>
                  <a:lnTo>
                    <a:pt x="138" y="44"/>
                  </a:lnTo>
                  <a:lnTo>
                    <a:pt x="142" y="40"/>
                  </a:lnTo>
                  <a:lnTo>
                    <a:pt x="134" y="34"/>
                  </a:lnTo>
                  <a:lnTo>
                    <a:pt x="140" y="30"/>
                  </a:lnTo>
                  <a:lnTo>
                    <a:pt x="148" y="30"/>
                  </a:lnTo>
                  <a:lnTo>
                    <a:pt x="154" y="28"/>
                  </a:lnTo>
                  <a:lnTo>
                    <a:pt x="140" y="20"/>
                  </a:lnTo>
                  <a:lnTo>
                    <a:pt x="132" y="16"/>
                  </a:lnTo>
                  <a:lnTo>
                    <a:pt x="124" y="8"/>
                  </a:lnTo>
                  <a:lnTo>
                    <a:pt x="120" y="2"/>
                  </a:lnTo>
                  <a:lnTo>
                    <a:pt x="110" y="0"/>
                  </a:lnTo>
                  <a:lnTo>
                    <a:pt x="102" y="10"/>
                  </a:lnTo>
                  <a:lnTo>
                    <a:pt x="96" y="18"/>
                  </a:lnTo>
                  <a:lnTo>
                    <a:pt x="92" y="22"/>
                  </a:lnTo>
                  <a:lnTo>
                    <a:pt x="88" y="28"/>
                  </a:lnTo>
                  <a:lnTo>
                    <a:pt x="98" y="36"/>
                  </a:lnTo>
                  <a:lnTo>
                    <a:pt x="94" y="40"/>
                  </a:lnTo>
                  <a:lnTo>
                    <a:pt x="88" y="36"/>
                  </a:lnTo>
                  <a:lnTo>
                    <a:pt x="84" y="38"/>
                  </a:lnTo>
                  <a:lnTo>
                    <a:pt x="82" y="46"/>
                  </a:lnTo>
                  <a:lnTo>
                    <a:pt x="76" y="46"/>
                  </a:lnTo>
                  <a:lnTo>
                    <a:pt x="68" y="40"/>
                  </a:lnTo>
                  <a:lnTo>
                    <a:pt x="60" y="54"/>
                  </a:lnTo>
                  <a:lnTo>
                    <a:pt x="52" y="64"/>
                  </a:lnTo>
                  <a:lnTo>
                    <a:pt x="40" y="62"/>
                  </a:lnTo>
                  <a:lnTo>
                    <a:pt x="28" y="66"/>
                  </a:lnTo>
                  <a:lnTo>
                    <a:pt x="22" y="78"/>
                  </a:lnTo>
                  <a:lnTo>
                    <a:pt x="26" y="84"/>
                  </a:lnTo>
                  <a:lnTo>
                    <a:pt x="28" y="88"/>
                  </a:lnTo>
                  <a:lnTo>
                    <a:pt x="20" y="92"/>
                  </a:lnTo>
                  <a:lnTo>
                    <a:pt x="14" y="84"/>
                  </a:lnTo>
                  <a:lnTo>
                    <a:pt x="10" y="80"/>
                  </a:lnTo>
                  <a:lnTo>
                    <a:pt x="0" y="8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41" name="Freeform 237">
              <a:extLst>
                <a:ext uri="{FF2B5EF4-FFF2-40B4-BE49-F238E27FC236}">
                  <a16:creationId xmlns:a16="http://schemas.microsoft.com/office/drawing/2014/main" id="{B767C1F7-7DAB-42B2-AD34-21D25075128B}"/>
                </a:ext>
              </a:extLst>
            </p:cNvPr>
            <p:cNvSpPr>
              <a:spLocks/>
            </p:cNvSpPr>
            <p:nvPr/>
          </p:nvSpPr>
          <p:spPr bwMode="gray">
            <a:xfrm>
              <a:off x="8673058" y="4575168"/>
              <a:ext cx="264171" cy="222418"/>
            </a:xfrm>
            <a:custGeom>
              <a:avLst/>
              <a:gdLst>
                <a:gd name="T0" fmla="*/ 14 w 160"/>
                <a:gd name="T1" fmla="*/ 46 h 134"/>
                <a:gd name="T2" fmla="*/ 24 w 160"/>
                <a:gd name="T3" fmla="*/ 56 h 134"/>
                <a:gd name="T4" fmla="*/ 36 w 160"/>
                <a:gd name="T5" fmla="*/ 56 h 134"/>
                <a:gd name="T6" fmla="*/ 44 w 160"/>
                <a:gd name="T7" fmla="*/ 54 h 134"/>
                <a:gd name="T8" fmla="*/ 66 w 160"/>
                <a:gd name="T9" fmla="*/ 46 h 134"/>
                <a:gd name="T10" fmla="*/ 74 w 160"/>
                <a:gd name="T11" fmla="*/ 54 h 134"/>
                <a:gd name="T12" fmla="*/ 86 w 160"/>
                <a:gd name="T13" fmla="*/ 48 h 134"/>
                <a:gd name="T14" fmla="*/ 98 w 160"/>
                <a:gd name="T15" fmla="*/ 36 h 134"/>
                <a:gd name="T16" fmla="*/ 108 w 160"/>
                <a:gd name="T17" fmla="*/ 18 h 134"/>
                <a:gd name="T18" fmla="*/ 110 w 160"/>
                <a:gd name="T19" fmla="*/ 6 h 134"/>
                <a:gd name="T20" fmla="*/ 116 w 160"/>
                <a:gd name="T21" fmla="*/ 2 h 134"/>
                <a:gd name="T22" fmla="*/ 132 w 160"/>
                <a:gd name="T23" fmla="*/ 0 h 134"/>
                <a:gd name="T24" fmla="*/ 140 w 160"/>
                <a:gd name="T25" fmla="*/ 6 h 134"/>
                <a:gd name="T26" fmla="*/ 138 w 160"/>
                <a:gd name="T27" fmla="*/ 14 h 134"/>
                <a:gd name="T28" fmla="*/ 132 w 160"/>
                <a:gd name="T29" fmla="*/ 16 h 134"/>
                <a:gd name="T30" fmla="*/ 140 w 160"/>
                <a:gd name="T31" fmla="*/ 26 h 134"/>
                <a:gd name="T32" fmla="*/ 146 w 160"/>
                <a:gd name="T33" fmla="*/ 42 h 134"/>
                <a:gd name="T34" fmla="*/ 150 w 160"/>
                <a:gd name="T35" fmla="*/ 48 h 134"/>
                <a:gd name="T36" fmla="*/ 160 w 160"/>
                <a:gd name="T37" fmla="*/ 56 h 134"/>
                <a:gd name="T38" fmla="*/ 156 w 160"/>
                <a:gd name="T39" fmla="*/ 60 h 134"/>
                <a:gd name="T40" fmla="*/ 144 w 160"/>
                <a:gd name="T41" fmla="*/ 58 h 134"/>
                <a:gd name="T42" fmla="*/ 138 w 160"/>
                <a:gd name="T43" fmla="*/ 64 h 134"/>
                <a:gd name="T44" fmla="*/ 136 w 160"/>
                <a:gd name="T45" fmla="*/ 84 h 134"/>
                <a:gd name="T46" fmla="*/ 120 w 160"/>
                <a:gd name="T47" fmla="*/ 96 h 134"/>
                <a:gd name="T48" fmla="*/ 122 w 160"/>
                <a:gd name="T49" fmla="*/ 112 h 134"/>
                <a:gd name="T50" fmla="*/ 120 w 160"/>
                <a:gd name="T51" fmla="*/ 118 h 134"/>
                <a:gd name="T52" fmla="*/ 118 w 160"/>
                <a:gd name="T53" fmla="*/ 134 h 134"/>
                <a:gd name="T54" fmla="*/ 94 w 160"/>
                <a:gd name="T55" fmla="*/ 132 h 134"/>
                <a:gd name="T56" fmla="*/ 92 w 160"/>
                <a:gd name="T57" fmla="*/ 124 h 134"/>
                <a:gd name="T58" fmla="*/ 64 w 160"/>
                <a:gd name="T59" fmla="*/ 120 h 134"/>
                <a:gd name="T60" fmla="*/ 60 w 160"/>
                <a:gd name="T61" fmla="*/ 126 h 134"/>
                <a:gd name="T62" fmla="*/ 46 w 160"/>
                <a:gd name="T63" fmla="*/ 124 h 134"/>
                <a:gd name="T64" fmla="*/ 44 w 160"/>
                <a:gd name="T65" fmla="*/ 116 h 134"/>
                <a:gd name="T66" fmla="*/ 24 w 160"/>
                <a:gd name="T67" fmla="*/ 116 h 134"/>
                <a:gd name="T68" fmla="*/ 20 w 160"/>
                <a:gd name="T69" fmla="*/ 96 h 134"/>
                <a:gd name="T70" fmla="*/ 12 w 160"/>
                <a:gd name="T71" fmla="*/ 86 h 134"/>
                <a:gd name="T72" fmla="*/ 2 w 160"/>
                <a:gd name="T73" fmla="*/ 66 h 134"/>
                <a:gd name="T74" fmla="*/ 0 w 160"/>
                <a:gd name="T75" fmla="*/ 54 h 134"/>
                <a:gd name="T76" fmla="*/ 6 w 160"/>
                <a:gd name="T77" fmla="*/ 46 h 134"/>
                <a:gd name="T78" fmla="*/ 14 w 160"/>
                <a:gd name="T79" fmla="*/ 46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0" h="134">
                  <a:moveTo>
                    <a:pt x="14" y="46"/>
                  </a:moveTo>
                  <a:lnTo>
                    <a:pt x="24" y="56"/>
                  </a:lnTo>
                  <a:lnTo>
                    <a:pt x="36" y="56"/>
                  </a:lnTo>
                  <a:lnTo>
                    <a:pt x="44" y="54"/>
                  </a:lnTo>
                  <a:lnTo>
                    <a:pt x="66" y="46"/>
                  </a:lnTo>
                  <a:lnTo>
                    <a:pt x="74" y="54"/>
                  </a:lnTo>
                  <a:lnTo>
                    <a:pt x="86" y="48"/>
                  </a:lnTo>
                  <a:lnTo>
                    <a:pt x="98" y="36"/>
                  </a:lnTo>
                  <a:lnTo>
                    <a:pt x="108" y="18"/>
                  </a:lnTo>
                  <a:lnTo>
                    <a:pt x="110" y="6"/>
                  </a:lnTo>
                  <a:lnTo>
                    <a:pt x="116" y="2"/>
                  </a:lnTo>
                  <a:lnTo>
                    <a:pt x="132" y="0"/>
                  </a:lnTo>
                  <a:lnTo>
                    <a:pt x="140" y="6"/>
                  </a:lnTo>
                  <a:lnTo>
                    <a:pt x="138" y="14"/>
                  </a:lnTo>
                  <a:lnTo>
                    <a:pt x="132" y="16"/>
                  </a:lnTo>
                  <a:lnTo>
                    <a:pt x="140" y="26"/>
                  </a:lnTo>
                  <a:lnTo>
                    <a:pt x="146" y="42"/>
                  </a:lnTo>
                  <a:lnTo>
                    <a:pt x="150" y="48"/>
                  </a:lnTo>
                  <a:lnTo>
                    <a:pt x="160" y="56"/>
                  </a:lnTo>
                  <a:lnTo>
                    <a:pt x="156" y="60"/>
                  </a:lnTo>
                  <a:lnTo>
                    <a:pt x="144" y="58"/>
                  </a:lnTo>
                  <a:lnTo>
                    <a:pt x="138" y="64"/>
                  </a:lnTo>
                  <a:lnTo>
                    <a:pt x="136" y="84"/>
                  </a:lnTo>
                  <a:lnTo>
                    <a:pt x="120" y="96"/>
                  </a:lnTo>
                  <a:lnTo>
                    <a:pt x="122" y="112"/>
                  </a:lnTo>
                  <a:lnTo>
                    <a:pt x="120" y="118"/>
                  </a:lnTo>
                  <a:lnTo>
                    <a:pt x="118" y="134"/>
                  </a:lnTo>
                  <a:lnTo>
                    <a:pt x="94" y="132"/>
                  </a:lnTo>
                  <a:lnTo>
                    <a:pt x="92" y="124"/>
                  </a:lnTo>
                  <a:lnTo>
                    <a:pt x="64" y="120"/>
                  </a:lnTo>
                  <a:lnTo>
                    <a:pt x="60" y="126"/>
                  </a:lnTo>
                  <a:lnTo>
                    <a:pt x="46" y="124"/>
                  </a:lnTo>
                  <a:lnTo>
                    <a:pt x="44" y="116"/>
                  </a:lnTo>
                  <a:lnTo>
                    <a:pt x="24" y="116"/>
                  </a:lnTo>
                  <a:lnTo>
                    <a:pt x="20" y="96"/>
                  </a:lnTo>
                  <a:lnTo>
                    <a:pt x="12" y="86"/>
                  </a:lnTo>
                  <a:lnTo>
                    <a:pt x="2" y="66"/>
                  </a:lnTo>
                  <a:lnTo>
                    <a:pt x="0" y="54"/>
                  </a:lnTo>
                  <a:lnTo>
                    <a:pt x="6" y="46"/>
                  </a:lnTo>
                  <a:lnTo>
                    <a:pt x="14" y="4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42" name="Freeform 238">
              <a:extLst>
                <a:ext uri="{FF2B5EF4-FFF2-40B4-BE49-F238E27FC236}">
                  <a16:creationId xmlns:a16="http://schemas.microsoft.com/office/drawing/2014/main" id="{A7B9CD52-04B8-4B82-A5CE-8424A453AAB3}"/>
                </a:ext>
              </a:extLst>
            </p:cNvPr>
            <p:cNvSpPr>
              <a:spLocks/>
            </p:cNvSpPr>
            <p:nvPr/>
          </p:nvSpPr>
          <p:spPr bwMode="gray">
            <a:xfrm>
              <a:off x="8313124" y="4551930"/>
              <a:ext cx="283984" cy="292130"/>
            </a:xfrm>
            <a:custGeom>
              <a:avLst/>
              <a:gdLst>
                <a:gd name="T0" fmla="*/ 0 w 172"/>
                <a:gd name="T1" fmla="*/ 0 h 176"/>
                <a:gd name="T2" fmla="*/ 20 w 172"/>
                <a:gd name="T3" fmla="*/ 2 h 176"/>
                <a:gd name="T4" fmla="*/ 38 w 172"/>
                <a:gd name="T5" fmla="*/ 4 h 176"/>
                <a:gd name="T6" fmla="*/ 48 w 172"/>
                <a:gd name="T7" fmla="*/ 18 h 176"/>
                <a:gd name="T8" fmla="*/ 60 w 172"/>
                <a:gd name="T9" fmla="*/ 28 h 176"/>
                <a:gd name="T10" fmla="*/ 72 w 172"/>
                <a:gd name="T11" fmla="*/ 36 h 176"/>
                <a:gd name="T12" fmla="*/ 84 w 172"/>
                <a:gd name="T13" fmla="*/ 50 h 176"/>
                <a:gd name="T14" fmla="*/ 96 w 172"/>
                <a:gd name="T15" fmla="*/ 54 h 176"/>
                <a:gd name="T16" fmla="*/ 108 w 172"/>
                <a:gd name="T17" fmla="*/ 64 h 176"/>
                <a:gd name="T18" fmla="*/ 122 w 172"/>
                <a:gd name="T19" fmla="*/ 78 h 176"/>
                <a:gd name="T20" fmla="*/ 134 w 172"/>
                <a:gd name="T21" fmla="*/ 84 h 176"/>
                <a:gd name="T22" fmla="*/ 134 w 172"/>
                <a:gd name="T23" fmla="*/ 96 h 176"/>
                <a:gd name="T24" fmla="*/ 136 w 172"/>
                <a:gd name="T25" fmla="*/ 102 h 176"/>
                <a:gd name="T26" fmla="*/ 144 w 172"/>
                <a:gd name="T27" fmla="*/ 104 h 176"/>
                <a:gd name="T28" fmla="*/ 152 w 172"/>
                <a:gd name="T29" fmla="*/ 116 h 176"/>
                <a:gd name="T30" fmla="*/ 152 w 172"/>
                <a:gd name="T31" fmla="*/ 124 h 176"/>
                <a:gd name="T32" fmla="*/ 150 w 172"/>
                <a:gd name="T33" fmla="*/ 130 h 176"/>
                <a:gd name="T34" fmla="*/ 160 w 172"/>
                <a:gd name="T35" fmla="*/ 124 h 176"/>
                <a:gd name="T36" fmla="*/ 172 w 172"/>
                <a:gd name="T37" fmla="*/ 130 h 176"/>
                <a:gd name="T38" fmla="*/ 172 w 172"/>
                <a:gd name="T39" fmla="*/ 156 h 176"/>
                <a:gd name="T40" fmla="*/ 170 w 172"/>
                <a:gd name="T41" fmla="*/ 176 h 176"/>
                <a:gd name="T42" fmla="*/ 160 w 172"/>
                <a:gd name="T43" fmla="*/ 174 h 176"/>
                <a:gd name="T44" fmla="*/ 152 w 172"/>
                <a:gd name="T45" fmla="*/ 176 h 176"/>
                <a:gd name="T46" fmla="*/ 142 w 172"/>
                <a:gd name="T47" fmla="*/ 174 h 176"/>
                <a:gd name="T48" fmla="*/ 96 w 172"/>
                <a:gd name="T49" fmla="*/ 128 h 176"/>
                <a:gd name="T50" fmla="*/ 90 w 172"/>
                <a:gd name="T51" fmla="*/ 120 h 176"/>
                <a:gd name="T52" fmla="*/ 86 w 172"/>
                <a:gd name="T53" fmla="*/ 106 h 176"/>
                <a:gd name="T54" fmla="*/ 64 w 172"/>
                <a:gd name="T55" fmla="*/ 80 h 176"/>
                <a:gd name="T56" fmla="*/ 60 w 172"/>
                <a:gd name="T57" fmla="*/ 70 h 176"/>
                <a:gd name="T58" fmla="*/ 60 w 172"/>
                <a:gd name="T59" fmla="*/ 62 h 176"/>
                <a:gd name="T60" fmla="*/ 46 w 172"/>
                <a:gd name="T61" fmla="*/ 50 h 176"/>
                <a:gd name="T62" fmla="*/ 38 w 172"/>
                <a:gd name="T63" fmla="*/ 50 h 176"/>
                <a:gd name="T64" fmla="*/ 38 w 172"/>
                <a:gd name="T65" fmla="*/ 42 h 176"/>
                <a:gd name="T66" fmla="*/ 20 w 172"/>
                <a:gd name="T67" fmla="*/ 22 h 176"/>
                <a:gd name="T68" fmla="*/ 4 w 172"/>
                <a:gd name="T69" fmla="*/ 10 h 176"/>
                <a:gd name="T70" fmla="*/ 0 w 172"/>
                <a:gd name="T71" fmla="*/ 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2" h="176">
                  <a:moveTo>
                    <a:pt x="0" y="0"/>
                  </a:moveTo>
                  <a:lnTo>
                    <a:pt x="20" y="2"/>
                  </a:lnTo>
                  <a:lnTo>
                    <a:pt x="38" y="4"/>
                  </a:lnTo>
                  <a:lnTo>
                    <a:pt x="48" y="18"/>
                  </a:lnTo>
                  <a:lnTo>
                    <a:pt x="60" y="28"/>
                  </a:lnTo>
                  <a:lnTo>
                    <a:pt x="72" y="36"/>
                  </a:lnTo>
                  <a:lnTo>
                    <a:pt x="84" y="50"/>
                  </a:lnTo>
                  <a:lnTo>
                    <a:pt x="96" y="54"/>
                  </a:lnTo>
                  <a:lnTo>
                    <a:pt x="108" y="64"/>
                  </a:lnTo>
                  <a:lnTo>
                    <a:pt x="122" y="78"/>
                  </a:lnTo>
                  <a:lnTo>
                    <a:pt x="134" y="84"/>
                  </a:lnTo>
                  <a:lnTo>
                    <a:pt x="134" y="96"/>
                  </a:lnTo>
                  <a:lnTo>
                    <a:pt x="136" y="102"/>
                  </a:lnTo>
                  <a:lnTo>
                    <a:pt x="144" y="104"/>
                  </a:lnTo>
                  <a:lnTo>
                    <a:pt x="152" y="116"/>
                  </a:lnTo>
                  <a:lnTo>
                    <a:pt x="152" y="124"/>
                  </a:lnTo>
                  <a:lnTo>
                    <a:pt x="150" y="130"/>
                  </a:lnTo>
                  <a:lnTo>
                    <a:pt x="160" y="124"/>
                  </a:lnTo>
                  <a:lnTo>
                    <a:pt x="172" y="130"/>
                  </a:lnTo>
                  <a:lnTo>
                    <a:pt x="172" y="156"/>
                  </a:lnTo>
                  <a:lnTo>
                    <a:pt x="170" y="176"/>
                  </a:lnTo>
                  <a:lnTo>
                    <a:pt x="160" y="174"/>
                  </a:lnTo>
                  <a:lnTo>
                    <a:pt x="152" y="176"/>
                  </a:lnTo>
                  <a:lnTo>
                    <a:pt x="142" y="174"/>
                  </a:lnTo>
                  <a:lnTo>
                    <a:pt x="96" y="128"/>
                  </a:lnTo>
                  <a:lnTo>
                    <a:pt x="90" y="120"/>
                  </a:lnTo>
                  <a:lnTo>
                    <a:pt x="86" y="106"/>
                  </a:lnTo>
                  <a:lnTo>
                    <a:pt x="64" y="80"/>
                  </a:lnTo>
                  <a:lnTo>
                    <a:pt x="60" y="70"/>
                  </a:lnTo>
                  <a:lnTo>
                    <a:pt x="60" y="62"/>
                  </a:lnTo>
                  <a:lnTo>
                    <a:pt x="46" y="50"/>
                  </a:lnTo>
                  <a:lnTo>
                    <a:pt x="38" y="50"/>
                  </a:lnTo>
                  <a:lnTo>
                    <a:pt x="38" y="42"/>
                  </a:lnTo>
                  <a:lnTo>
                    <a:pt x="20" y="22"/>
                  </a:lnTo>
                  <a:lnTo>
                    <a:pt x="4" y="10"/>
                  </a:lnTo>
                  <a:lnTo>
                    <a:pt x="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43" name="Freeform 239">
              <a:extLst>
                <a:ext uri="{FF2B5EF4-FFF2-40B4-BE49-F238E27FC236}">
                  <a16:creationId xmlns:a16="http://schemas.microsoft.com/office/drawing/2014/main" id="{A761F2E8-2BE5-420C-ADF5-1437C1764801}"/>
                </a:ext>
              </a:extLst>
            </p:cNvPr>
            <p:cNvSpPr>
              <a:spLocks/>
            </p:cNvSpPr>
            <p:nvPr/>
          </p:nvSpPr>
          <p:spPr bwMode="gray">
            <a:xfrm>
              <a:off x="8636734" y="4761069"/>
              <a:ext cx="26417" cy="23237"/>
            </a:xfrm>
            <a:custGeom>
              <a:avLst/>
              <a:gdLst>
                <a:gd name="T0" fmla="*/ 0 w 16"/>
                <a:gd name="T1" fmla="*/ 6 h 14"/>
                <a:gd name="T2" fmla="*/ 6 w 16"/>
                <a:gd name="T3" fmla="*/ 0 h 14"/>
                <a:gd name="T4" fmla="*/ 16 w 16"/>
                <a:gd name="T5" fmla="*/ 4 h 14"/>
                <a:gd name="T6" fmla="*/ 14 w 16"/>
                <a:gd name="T7" fmla="*/ 12 h 14"/>
                <a:gd name="T8" fmla="*/ 6 w 16"/>
                <a:gd name="T9" fmla="*/ 14 h 14"/>
                <a:gd name="T10" fmla="*/ 0 w 16"/>
                <a:gd name="T11" fmla="*/ 6 h 14"/>
              </a:gdLst>
              <a:ahLst/>
              <a:cxnLst>
                <a:cxn ang="0">
                  <a:pos x="T0" y="T1"/>
                </a:cxn>
                <a:cxn ang="0">
                  <a:pos x="T2" y="T3"/>
                </a:cxn>
                <a:cxn ang="0">
                  <a:pos x="T4" y="T5"/>
                </a:cxn>
                <a:cxn ang="0">
                  <a:pos x="T6" y="T7"/>
                </a:cxn>
                <a:cxn ang="0">
                  <a:pos x="T8" y="T9"/>
                </a:cxn>
                <a:cxn ang="0">
                  <a:pos x="T10" y="T11"/>
                </a:cxn>
              </a:cxnLst>
              <a:rect l="0" t="0" r="r" b="b"/>
              <a:pathLst>
                <a:path w="16" h="14">
                  <a:moveTo>
                    <a:pt x="0" y="6"/>
                  </a:moveTo>
                  <a:lnTo>
                    <a:pt x="6" y="0"/>
                  </a:lnTo>
                  <a:lnTo>
                    <a:pt x="16" y="4"/>
                  </a:lnTo>
                  <a:lnTo>
                    <a:pt x="14" y="12"/>
                  </a:lnTo>
                  <a:lnTo>
                    <a:pt x="6" y="14"/>
                  </a:lnTo>
                  <a:lnTo>
                    <a:pt x="0" y="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44" name="Freeform 240">
              <a:extLst>
                <a:ext uri="{FF2B5EF4-FFF2-40B4-BE49-F238E27FC236}">
                  <a16:creationId xmlns:a16="http://schemas.microsoft.com/office/drawing/2014/main" id="{5BE99C42-6EA5-4867-806E-C576B6BBEEC8}"/>
                </a:ext>
              </a:extLst>
            </p:cNvPr>
            <p:cNvSpPr>
              <a:spLocks/>
            </p:cNvSpPr>
            <p:nvPr/>
          </p:nvSpPr>
          <p:spPr bwMode="gray">
            <a:xfrm>
              <a:off x="8580598" y="4734510"/>
              <a:ext cx="42928" cy="46475"/>
            </a:xfrm>
            <a:custGeom>
              <a:avLst/>
              <a:gdLst>
                <a:gd name="T0" fmla="*/ 0 w 26"/>
                <a:gd name="T1" fmla="*/ 0 h 28"/>
                <a:gd name="T2" fmla="*/ 12 w 26"/>
                <a:gd name="T3" fmla="*/ 0 h 28"/>
                <a:gd name="T4" fmla="*/ 14 w 26"/>
                <a:gd name="T5" fmla="*/ 10 h 28"/>
                <a:gd name="T6" fmla="*/ 18 w 26"/>
                <a:gd name="T7" fmla="*/ 16 h 28"/>
                <a:gd name="T8" fmla="*/ 24 w 26"/>
                <a:gd name="T9" fmla="*/ 18 h 28"/>
                <a:gd name="T10" fmla="*/ 26 w 26"/>
                <a:gd name="T11" fmla="*/ 26 h 28"/>
                <a:gd name="T12" fmla="*/ 20 w 26"/>
                <a:gd name="T13" fmla="*/ 28 h 28"/>
                <a:gd name="T14" fmla="*/ 14 w 26"/>
                <a:gd name="T15" fmla="*/ 24 h 28"/>
                <a:gd name="T16" fmla="*/ 12 w 26"/>
                <a:gd name="T17" fmla="*/ 16 h 28"/>
                <a:gd name="T18" fmla="*/ 6 w 26"/>
                <a:gd name="T19" fmla="*/ 10 h 28"/>
                <a:gd name="T20" fmla="*/ 0 w 26"/>
                <a:gd name="T21" fmla="*/ 8 h 28"/>
                <a:gd name="T22" fmla="*/ 0 w 26"/>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28">
                  <a:moveTo>
                    <a:pt x="0" y="0"/>
                  </a:moveTo>
                  <a:lnTo>
                    <a:pt x="12" y="0"/>
                  </a:lnTo>
                  <a:lnTo>
                    <a:pt x="14" y="10"/>
                  </a:lnTo>
                  <a:lnTo>
                    <a:pt x="18" y="16"/>
                  </a:lnTo>
                  <a:lnTo>
                    <a:pt x="24" y="18"/>
                  </a:lnTo>
                  <a:lnTo>
                    <a:pt x="26" y="26"/>
                  </a:lnTo>
                  <a:lnTo>
                    <a:pt x="20" y="28"/>
                  </a:lnTo>
                  <a:lnTo>
                    <a:pt x="14" y="24"/>
                  </a:lnTo>
                  <a:lnTo>
                    <a:pt x="12" y="16"/>
                  </a:lnTo>
                  <a:lnTo>
                    <a:pt x="6" y="10"/>
                  </a:lnTo>
                  <a:lnTo>
                    <a:pt x="0" y="8"/>
                  </a:lnTo>
                  <a:lnTo>
                    <a:pt x="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45" name="Freeform 241">
              <a:extLst>
                <a:ext uri="{FF2B5EF4-FFF2-40B4-BE49-F238E27FC236}">
                  <a16:creationId xmlns:a16="http://schemas.microsoft.com/office/drawing/2014/main" id="{8961FA04-1EFC-46B1-A4F8-49CD117B45EF}"/>
                </a:ext>
              </a:extLst>
            </p:cNvPr>
            <p:cNvSpPr>
              <a:spLocks/>
            </p:cNvSpPr>
            <p:nvPr/>
          </p:nvSpPr>
          <p:spPr bwMode="gray">
            <a:xfrm>
              <a:off x="8587202" y="4854018"/>
              <a:ext cx="260870" cy="73033"/>
            </a:xfrm>
            <a:custGeom>
              <a:avLst/>
              <a:gdLst>
                <a:gd name="T0" fmla="*/ 8 w 158"/>
                <a:gd name="T1" fmla="*/ 2 h 44"/>
                <a:gd name="T2" fmla="*/ 28 w 158"/>
                <a:gd name="T3" fmla="*/ 0 h 44"/>
                <a:gd name="T4" fmla="*/ 46 w 158"/>
                <a:gd name="T5" fmla="*/ 10 h 44"/>
                <a:gd name="T6" fmla="*/ 56 w 158"/>
                <a:gd name="T7" fmla="*/ 14 h 44"/>
                <a:gd name="T8" fmla="*/ 74 w 158"/>
                <a:gd name="T9" fmla="*/ 14 h 44"/>
                <a:gd name="T10" fmla="*/ 84 w 158"/>
                <a:gd name="T11" fmla="*/ 10 h 44"/>
                <a:gd name="T12" fmla="*/ 100 w 158"/>
                <a:gd name="T13" fmla="*/ 10 h 44"/>
                <a:gd name="T14" fmla="*/ 112 w 158"/>
                <a:gd name="T15" fmla="*/ 18 h 44"/>
                <a:gd name="T16" fmla="*/ 114 w 158"/>
                <a:gd name="T17" fmla="*/ 24 h 44"/>
                <a:gd name="T18" fmla="*/ 134 w 158"/>
                <a:gd name="T19" fmla="*/ 26 h 44"/>
                <a:gd name="T20" fmla="*/ 142 w 158"/>
                <a:gd name="T21" fmla="*/ 26 h 44"/>
                <a:gd name="T22" fmla="*/ 144 w 158"/>
                <a:gd name="T23" fmla="*/ 32 h 44"/>
                <a:gd name="T24" fmla="*/ 154 w 158"/>
                <a:gd name="T25" fmla="*/ 36 h 44"/>
                <a:gd name="T26" fmla="*/ 158 w 158"/>
                <a:gd name="T27" fmla="*/ 42 h 44"/>
                <a:gd name="T28" fmla="*/ 144 w 158"/>
                <a:gd name="T29" fmla="*/ 44 h 44"/>
                <a:gd name="T30" fmla="*/ 126 w 158"/>
                <a:gd name="T31" fmla="*/ 40 h 44"/>
                <a:gd name="T32" fmla="*/ 116 w 158"/>
                <a:gd name="T33" fmla="*/ 38 h 44"/>
                <a:gd name="T34" fmla="*/ 108 w 158"/>
                <a:gd name="T35" fmla="*/ 38 h 44"/>
                <a:gd name="T36" fmla="*/ 78 w 158"/>
                <a:gd name="T37" fmla="*/ 36 h 44"/>
                <a:gd name="T38" fmla="*/ 68 w 158"/>
                <a:gd name="T39" fmla="*/ 28 h 44"/>
                <a:gd name="T40" fmla="*/ 36 w 158"/>
                <a:gd name="T41" fmla="*/ 28 h 44"/>
                <a:gd name="T42" fmla="*/ 26 w 158"/>
                <a:gd name="T43" fmla="*/ 24 h 44"/>
                <a:gd name="T44" fmla="*/ 14 w 158"/>
                <a:gd name="T45" fmla="*/ 20 h 44"/>
                <a:gd name="T46" fmla="*/ 10 w 158"/>
                <a:gd name="T47" fmla="*/ 16 h 44"/>
                <a:gd name="T48" fmla="*/ 0 w 158"/>
                <a:gd name="T49" fmla="*/ 10 h 44"/>
                <a:gd name="T50" fmla="*/ 8 w 158"/>
                <a:gd name="T51" fmla="*/ 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8" h="44">
                  <a:moveTo>
                    <a:pt x="8" y="2"/>
                  </a:moveTo>
                  <a:lnTo>
                    <a:pt x="28" y="0"/>
                  </a:lnTo>
                  <a:lnTo>
                    <a:pt x="46" y="10"/>
                  </a:lnTo>
                  <a:lnTo>
                    <a:pt x="56" y="14"/>
                  </a:lnTo>
                  <a:lnTo>
                    <a:pt x="74" y="14"/>
                  </a:lnTo>
                  <a:lnTo>
                    <a:pt x="84" y="10"/>
                  </a:lnTo>
                  <a:lnTo>
                    <a:pt x="100" y="10"/>
                  </a:lnTo>
                  <a:lnTo>
                    <a:pt x="112" y="18"/>
                  </a:lnTo>
                  <a:lnTo>
                    <a:pt x="114" y="24"/>
                  </a:lnTo>
                  <a:lnTo>
                    <a:pt x="134" y="26"/>
                  </a:lnTo>
                  <a:lnTo>
                    <a:pt x="142" y="26"/>
                  </a:lnTo>
                  <a:lnTo>
                    <a:pt x="144" y="32"/>
                  </a:lnTo>
                  <a:lnTo>
                    <a:pt x="154" y="36"/>
                  </a:lnTo>
                  <a:lnTo>
                    <a:pt x="158" y="42"/>
                  </a:lnTo>
                  <a:lnTo>
                    <a:pt x="144" y="44"/>
                  </a:lnTo>
                  <a:lnTo>
                    <a:pt x="126" y="40"/>
                  </a:lnTo>
                  <a:lnTo>
                    <a:pt x="116" y="38"/>
                  </a:lnTo>
                  <a:lnTo>
                    <a:pt x="108" y="38"/>
                  </a:lnTo>
                  <a:lnTo>
                    <a:pt x="78" y="36"/>
                  </a:lnTo>
                  <a:lnTo>
                    <a:pt x="68" y="28"/>
                  </a:lnTo>
                  <a:lnTo>
                    <a:pt x="36" y="28"/>
                  </a:lnTo>
                  <a:lnTo>
                    <a:pt x="26" y="24"/>
                  </a:lnTo>
                  <a:lnTo>
                    <a:pt x="14" y="20"/>
                  </a:lnTo>
                  <a:lnTo>
                    <a:pt x="10" y="16"/>
                  </a:lnTo>
                  <a:lnTo>
                    <a:pt x="0" y="10"/>
                  </a:lnTo>
                  <a:lnTo>
                    <a:pt x="8" y="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46" name="Freeform 242">
              <a:extLst>
                <a:ext uri="{FF2B5EF4-FFF2-40B4-BE49-F238E27FC236}">
                  <a16:creationId xmlns:a16="http://schemas.microsoft.com/office/drawing/2014/main" id="{B4A2F19A-32C8-4EEE-9701-A583C1DF2D34}"/>
                </a:ext>
              </a:extLst>
            </p:cNvPr>
            <p:cNvSpPr>
              <a:spLocks/>
            </p:cNvSpPr>
            <p:nvPr/>
          </p:nvSpPr>
          <p:spPr bwMode="gray">
            <a:xfrm>
              <a:off x="9062711" y="4910453"/>
              <a:ext cx="92460" cy="59754"/>
            </a:xfrm>
            <a:custGeom>
              <a:avLst/>
              <a:gdLst>
                <a:gd name="T0" fmla="*/ 0 w 56"/>
                <a:gd name="T1" fmla="*/ 36 h 36"/>
                <a:gd name="T2" fmla="*/ 18 w 56"/>
                <a:gd name="T3" fmla="*/ 28 h 36"/>
                <a:gd name="T4" fmla="*/ 30 w 56"/>
                <a:gd name="T5" fmla="*/ 18 h 36"/>
                <a:gd name="T6" fmla="*/ 54 w 56"/>
                <a:gd name="T7" fmla="*/ 8 h 36"/>
                <a:gd name="T8" fmla="*/ 56 w 56"/>
                <a:gd name="T9" fmla="*/ 2 h 36"/>
                <a:gd name="T10" fmla="*/ 38 w 56"/>
                <a:gd name="T11" fmla="*/ 0 h 36"/>
                <a:gd name="T12" fmla="*/ 24 w 56"/>
                <a:gd name="T13" fmla="*/ 8 h 36"/>
                <a:gd name="T14" fmla="*/ 14 w 56"/>
                <a:gd name="T15" fmla="*/ 16 h 36"/>
                <a:gd name="T16" fmla="*/ 8 w 56"/>
                <a:gd name="T17" fmla="*/ 18 h 36"/>
                <a:gd name="T18" fmla="*/ 2 w 56"/>
                <a:gd name="T19" fmla="*/ 22 h 36"/>
                <a:gd name="T20" fmla="*/ 0 w 56"/>
                <a:gd name="T2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36">
                  <a:moveTo>
                    <a:pt x="0" y="36"/>
                  </a:moveTo>
                  <a:lnTo>
                    <a:pt x="18" y="28"/>
                  </a:lnTo>
                  <a:lnTo>
                    <a:pt x="30" y="18"/>
                  </a:lnTo>
                  <a:lnTo>
                    <a:pt x="54" y="8"/>
                  </a:lnTo>
                  <a:lnTo>
                    <a:pt x="56" y="2"/>
                  </a:lnTo>
                  <a:lnTo>
                    <a:pt x="38" y="0"/>
                  </a:lnTo>
                  <a:lnTo>
                    <a:pt x="24" y="8"/>
                  </a:lnTo>
                  <a:lnTo>
                    <a:pt x="14" y="16"/>
                  </a:lnTo>
                  <a:lnTo>
                    <a:pt x="8" y="18"/>
                  </a:lnTo>
                  <a:lnTo>
                    <a:pt x="2" y="22"/>
                  </a:lnTo>
                  <a:lnTo>
                    <a:pt x="0" y="3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47" name="Freeform 243">
              <a:extLst>
                <a:ext uri="{FF2B5EF4-FFF2-40B4-BE49-F238E27FC236}">
                  <a16:creationId xmlns:a16="http://schemas.microsoft.com/office/drawing/2014/main" id="{56E587D7-D453-4BB6-BC8A-75D34EF9904B}"/>
                </a:ext>
              </a:extLst>
            </p:cNvPr>
            <p:cNvSpPr>
              <a:spLocks/>
            </p:cNvSpPr>
            <p:nvPr/>
          </p:nvSpPr>
          <p:spPr bwMode="gray">
            <a:xfrm>
              <a:off x="8940532" y="4940329"/>
              <a:ext cx="49532" cy="26557"/>
            </a:xfrm>
            <a:custGeom>
              <a:avLst/>
              <a:gdLst>
                <a:gd name="T0" fmla="*/ 2 w 30"/>
                <a:gd name="T1" fmla="*/ 0 h 16"/>
                <a:gd name="T2" fmla="*/ 14 w 30"/>
                <a:gd name="T3" fmla="*/ 0 h 16"/>
                <a:gd name="T4" fmla="*/ 24 w 30"/>
                <a:gd name="T5" fmla="*/ 6 h 16"/>
                <a:gd name="T6" fmla="*/ 30 w 30"/>
                <a:gd name="T7" fmla="*/ 12 h 16"/>
                <a:gd name="T8" fmla="*/ 26 w 30"/>
                <a:gd name="T9" fmla="*/ 16 h 16"/>
                <a:gd name="T10" fmla="*/ 14 w 30"/>
                <a:gd name="T11" fmla="*/ 14 h 16"/>
                <a:gd name="T12" fmla="*/ 4 w 30"/>
                <a:gd name="T13" fmla="*/ 8 h 16"/>
                <a:gd name="T14" fmla="*/ 0 w 30"/>
                <a:gd name="T15" fmla="*/ 4 h 16"/>
                <a:gd name="T16" fmla="*/ 2 w 30"/>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16">
                  <a:moveTo>
                    <a:pt x="2" y="0"/>
                  </a:moveTo>
                  <a:lnTo>
                    <a:pt x="14" y="0"/>
                  </a:lnTo>
                  <a:lnTo>
                    <a:pt x="24" y="6"/>
                  </a:lnTo>
                  <a:lnTo>
                    <a:pt x="30" y="12"/>
                  </a:lnTo>
                  <a:lnTo>
                    <a:pt x="26" y="16"/>
                  </a:lnTo>
                  <a:lnTo>
                    <a:pt x="14" y="14"/>
                  </a:lnTo>
                  <a:lnTo>
                    <a:pt x="4" y="8"/>
                  </a:lnTo>
                  <a:lnTo>
                    <a:pt x="0" y="4"/>
                  </a:lnTo>
                  <a:lnTo>
                    <a:pt x="2"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48" name="Freeform 244">
              <a:extLst>
                <a:ext uri="{FF2B5EF4-FFF2-40B4-BE49-F238E27FC236}">
                  <a16:creationId xmlns:a16="http://schemas.microsoft.com/office/drawing/2014/main" id="{94F42C81-9674-47DC-BC92-C4D0E53D9E96}"/>
                </a:ext>
              </a:extLst>
            </p:cNvPr>
            <p:cNvSpPr>
              <a:spLocks/>
            </p:cNvSpPr>
            <p:nvPr/>
          </p:nvSpPr>
          <p:spPr bwMode="gray">
            <a:xfrm>
              <a:off x="8963647" y="4910453"/>
              <a:ext cx="62740" cy="16599"/>
            </a:xfrm>
            <a:custGeom>
              <a:avLst/>
              <a:gdLst>
                <a:gd name="T0" fmla="*/ 0 w 38"/>
                <a:gd name="T1" fmla="*/ 10 h 10"/>
                <a:gd name="T2" fmla="*/ 18 w 38"/>
                <a:gd name="T3" fmla="*/ 10 h 10"/>
                <a:gd name="T4" fmla="*/ 38 w 38"/>
                <a:gd name="T5" fmla="*/ 10 h 10"/>
                <a:gd name="T6" fmla="*/ 38 w 38"/>
                <a:gd name="T7" fmla="*/ 4 h 10"/>
                <a:gd name="T8" fmla="*/ 24 w 38"/>
                <a:gd name="T9" fmla="*/ 4 h 10"/>
                <a:gd name="T10" fmla="*/ 18 w 38"/>
                <a:gd name="T11" fmla="*/ 2 h 10"/>
                <a:gd name="T12" fmla="*/ 8 w 38"/>
                <a:gd name="T13" fmla="*/ 0 h 10"/>
                <a:gd name="T14" fmla="*/ 4 w 38"/>
                <a:gd name="T15" fmla="*/ 2 h 10"/>
                <a:gd name="T16" fmla="*/ 0 w 38"/>
                <a:gd name="T1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10">
                  <a:moveTo>
                    <a:pt x="0" y="10"/>
                  </a:moveTo>
                  <a:lnTo>
                    <a:pt x="18" y="10"/>
                  </a:lnTo>
                  <a:lnTo>
                    <a:pt x="38" y="10"/>
                  </a:lnTo>
                  <a:lnTo>
                    <a:pt x="38" y="4"/>
                  </a:lnTo>
                  <a:lnTo>
                    <a:pt x="24" y="4"/>
                  </a:lnTo>
                  <a:lnTo>
                    <a:pt x="18" y="2"/>
                  </a:lnTo>
                  <a:lnTo>
                    <a:pt x="8" y="0"/>
                  </a:lnTo>
                  <a:lnTo>
                    <a:pt x="4" y="2"/>
                  </a:lnTo>
                  <a:lnTo>
                    <a:pt x="0" y="1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49" name="Freeform 245">
              <a:extLst>
                <a:ext uri="{FF2B5EF4-FFF2-40B4-BE49-F238E27FC236}">
                  <a16:creationId xmlns:a16="http://schemas.microsoft.com/office/drawing/2014/main" id="{9BC2F4BA-BA16-41EF-92F6-A3617A27805A}"/>
                </a:ext>
              </a:extLst>
            </p:cNvPr>
            <p:cNvSpPr>
              <a:spLocks/>
            </p:cNvSpPr>
            <p:nvPr/>
          </p:nvSpPr>
          <p:spPr bwMode="gray">
            <a:xfrm>
              <a:off x="8914114" y="4910453"/>
              <a:ext cx="33021" cy="16599"/>
            </a:xfrm>
            <a:custGeom>
              <a:avLst/>
              <a:gdLst>
                <a:gd name="T0" fmla="*/ 0 w 20"/>
                <a:gd name="T1" fmla="*/ 2 h 10"/>
                <a:gd name="T2" fmla="*/ 0 w 20"/>
                <a:gd name="T3" fmla="*/ 10 h 10"/>
                <a:gd name="T4" fmla="*/ 20 w 20"/>
                <a:gd name="T5" fmla="*/ 10 h 10"/>
                <a:gd name="T6" fmla="*/ 18 w 20"/>
                <a:gd name="T7" fmla="*/ 2 h 10"/>
                <a:gd name="T8" fmla="*/ 8 w 20"/>
                <a:gd name="T9" fmla="*/ 0 h 10"/>
                <a:gd name="T10" fmla="*/ 0 w 20"/>
                <a:gd name="T11" fmla="*/ 2 h 10"/>
              </a:gdLst>
              <a:ahLst/>
              <a:cxnLst>
                <a:cxn ang="0">
                  <a:pos x="T0" y="T1"/>
                </a:cxn>
                <a:cxn ang="0">
                  <a:pos x="T2" y="T3"/>
                </a:cxn>
                <a:cxn ang="0">
                  <a:pos x="T4" y="T5"/>
                </a:cxn>
                <a:cxn ang="0">
                  <a:pos x="T6" y="T7"/>
                </a:cxn>
                <a:cxn ang="0">
                  <a:pos x="T8" y="T9"/>
                </a:cxn>
                <a:cxn ang="0">
                  <a:pos x="T10" y="T11"/>
                </a:cxn>
              </a:cxnLst>
              <a:rect l="0" t="0" r="r" b="b"/>
              <a:pathLst>
                <a:path w="20" h="10">
                  <a:moveTo>
                    <a:pt x="0" y="2"/>
                  </a:moveTo>
                  <a:lnTo>
                    <a:pt x="0" y="10"/>
                  </a:lnTo>
                  <a:lnTo>
                    <a:pt x="20" y="10"/>
                  </a:lnTo>
                  <a:lnTo>
                    <a:pt x="18" y="2"/>
                  </a:lnTo>
                  <a:lnTo>
                    <a:pt x="8" y="0"/>
                  </a:lnTo>
                  <a:lnTo>
                    <a:pt x="0" y="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50" name="Freeform 246">
              <a:extLst>
                <a:ext uri="{FF2B5EF4-FFF2-40B4-BE49-F238E27FC236}">
                  <a16:creationId xmlns:a16="http://schemas.microsoft.com/office/drawing/2014/main" id="{0F0ACA33-EC51-4165-9504-37BA4BD46B12}"/>
                </a:ext>
              </a:extLst>
            </p:cNvPr>
            <p:cNvSpPr>
              <a:spLocks/>
            </p:cNvSpPr>
            <p:nvPr/>
          </p:nvSpPr>
          <p:spPr bwMode="gray">
            <a:xfrm>
              <a:off x="8861280" y="4910453"/>
              <a:ext cx="42928" cy="29876"/>
            </a:xfrm>
            <a:custGeom>
              <a:avLst/>
              <a:gdLst>
                <a:gd name="T0" fmla="*/ 2 w 26"/>
                <a:gd name="T1" fmla="*/ 0 h 18"/>
                <a:gd name="T2" fmla="*/ 14 w 26"/>
                <a:gd name="T3" fmla="*/ 2 h 18"/>
                <a:gd name="T4" fmla="*/ 26 w 26"/>
                <a:gd name="T5" fmla="*/ 4 h 18"/>
                <a:gd name="T6" fmla="*/ 26 w 26"/>
                <a:gd name="T7" fmla="*/ 10 h 18"/>
                <a:gd name="T8" fmla="*/ 24 w 26"/>
                <a:gd name="T9" fmla="*/ 18 h 18"/>
                <a:gd name="T10" fmla="*/ 12 w 26"/>
                <a:gd name="T11" fmla="*/ 14 h 18"/>
                <a:gd name="T12" fmla="*/ 0 w 26"/>
                <a:gd name="T13" fmla="*/ 10 h 18"/>
                <a:gd name="T14" fmla="*/ 2 w 26"/>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18">
                  <a:moveTo>
                    <a:pt x="2" y="0"/>
                  </a:moveTo>
                  <a:lnTo>
                    <a:pt x="14" y="2"/>
                  </a:lnTo>
                  <a:lnTo>
                    <a:pt x="26" y="4"/>
                  </a:lnTo>
                  <a:lnTo>
                    <a:pt x="26" y="10"/>
                  </a:lnTo>
                  <a:lnTo>
                    <a:pt x="24" y="18"/>
                  </a:lnTo>
                  <a:lnTo>
                    <a:pt x="12" y="14"/>
                  </a:lnTo>
                  <a:lnTo>
                    <a:pt x="0" y="10"/>
                  </a:lnTo>
                  <a:lnTo>
                    <a:pt x="2"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51" name="Freeform 247">
              <a:extLst>
                <a:ext uri="{FF2B5EF4-FFF2-40B4-BE49-F238E27FC236}">
                  <a16:creationId xmlns:a16="http://schemas.microsoft.com/office/drawing/2014/main" id="{8C8D9CB4-EFB9-4F87-9C76-8390E747C335}"/>
                </a:ext>
              </a:extLst>
            </p:cNvPr>
            <p:cNvSpPr>
              <a:spLocks/>
            </p:cNvSpPr>
            <p:nvPr/>
          </p:nvSpPr>
          <p:spPr bwMode="gray">
            <a:xfrm>
              <a:off x="8937229" y="4648199"/>
              <a:ext cx="161805" cy="195860"/>
            </a:xfrm>
            <a:custGeom>
              <a:avLst/>
              <a:gdLst>
                <a:gd name="T0" fmla="*/ 12 w 98"/>
                <a:gd name="T1" fmla="*/ 36 h 118"/>
                <a:gd name="T2" fmla="*/ 12 w 98"/>
                <a:gd name="T3" fmla="*/ 26 h 118"/>
                <a:gd name="T4" fmla="*/ 20 w 98"/>
                <a:gd name="T5" fmla="*/ 14 h 118"/>
                <a:gd name="T6" fmla="*/ 32 w 98"/>
                <a:gd name="T7" fmla="*/ 8 h 118"/>
                <a:gd name="T8" fmla="*/ 48 w 98"/>
                <a:gd name="T9" fmla="*/ 10 h 118"/>
                <a:gd name="T10" fmla="*/ 58 w 98"/>
                <a:gd name="T11" fmla="*/ 14 h 118"/>
                <a:gd name="T12" fmla="*/ 74 w 98"/>
                <a:gd name="T13" fmla="*/ 14 h 118"/>
                <a:gd name="T14" fmla="*/ 84 w 98"/>
                <a:gd name="T15" fmla="*/ 12 h 118"/>
                <a:gd name="T16" fmla="*/ 90 w 98"/>
                <a:gd name="T17" fmla="*/ 8 h 118"/>
                <a:gd name="T18" fmla="*/ 98 w 98"/>
                <a:gd name="T19" fmla="*/ 0 h 118"/>
                <a:gd name="T20" fmla="*/ 98 w 98"/>
                <a:gd name="T21" fmla="*/ 8 h 118"/>
                <a:gd name="T22" fmla="*/ 88 w 98"/>
                <a:gd name="T23" fmla="*/ 20 h 118"/>
                <a:gd name="T24" fmla="*/ 80 w 98"/>
                <a:gd name="T25" fmla="*/ 26 h 118"/>
                <a:gd name="T26" fmla="*/ 56 w 98"/>
                <a:gd name="T27" fmla="*/ 22 h 118"/>
                <a:gd name="T28" fmla="*/ 42 w 98"/>
                <a:gd name="T29" fmla="*/ 20 h 118"/>
                <a:gd name="T30" fmla="*/ 30 w 98"/>
                <a:gd name="T31" fmla="*/ 20 h 118"/>
                <a:gd name="T32" fmla="*/ 24 w 98"/>
                <a:gd name="T33" fmla="*/ 20 h 118"/>
                <a:gd name="T34" fmla="*/ 18 w 98"/>
                <a:gd name="T35" fmla="*/ 26 h 118"/>
                <a:gd name="T36" fmla="*/ 18 w 98"/>
                <a:gd name="T37" fmla="*/ 36 h 118"/>
                <a:gd name="T38" fmla="*/ 22 w 98"/>
                <a:gd name="T39" fmla="*/ 42 h 118"/>
                <a:gd name="T40" fmla="*/ 26 w 98"/>
                <a:gd name="T41" fmla="*/ 46 h 118"/>
                <a:gd name="T42" fmla="*/ 28 w 98"/>
                <a:gd name="T43" fmla="*/ 50 h 118"/>
                <a:gd name="T44" fmla="*/ 32 w 98"/>
                <a:gd name="T45" fmla="*/ 52 h 118"/>
                <a:gd name="T46" fmla="*/ 38 w 98"/>
                <a:gd name="T47" fmla="*/ 44 h 118"/>
                <a:gd name="T48" fmla="*/ 42 w 98"/>
                <a:gd name="T49" fmla="*/ 42 h 118"/>
                <a:gd name="T50" fmla="*/ 52 w 98"/>
                <a:gd name="T51" fmla="*/ 44 h 118"/>
                <a:gd name="T52" fmla="*/ 60 w 98"/>
                <a:gd name="T53" fmla="*/ 40 h 118"/>
                <a:gd name="T54" fmla="*/ 70 w 98"/>
                <a:gd name="T55" fmla="*/ 40 h 118"/>
                <a:gd name="T56" fmla="*/ 68 w 98"/>
                <a:gd name="T57" fmla="*/ 46 h 118"/>
                <a:gd name="T58" fmla="*/ 56 w 98"/>
                <a:gd name="T59" fmla="*/ 48 h 118"/>
                <a:gd name="T60" fmla="*/ 50 w 98"/>
                <a:gd name="T61" fmla="*/ 54 h 118"/>
                <a:gd name="T62" fmla="*/ 44 w 98"/>
                <a:gd name="T63" fmla="*/ 60 h 118"/>
                <a:gd name="T64" fmla="*/ 44 w 98"/>
                <a:gd name="T65" fmla="*/ 62 h 118"/>
                <a:gd name="T66" fmla="*/ 48 w 98"/>
                <a:gd name="T67" fmla="*/ 68 h 118"/>
                <a:gd name="T68" fmla="*/ 54 w 98"/>
                <a:gd name="T69" fmla="*/ 80 h 118"/>
                <a:gd name="T70" fmla="*/ 54 w 98"/>
                <a:gd name="T71" fmla="*/ 84 h 118"/>
                <a:gd name="T72" fmla="*/ 56 w 98"/>
                <a:gd name="T73" fmla="*/ 92 h 118"/>
                <a:gd name="T74" fmla="*/ 62 w 98"/>
                <a:gd name="T75" fmla="*/ 96 h 118"/>
                <a:gd name="T76" fmla="*/ 54 w 98"/>
                <a:gd name="T77" fmla="*/ 100 h 118"/>
                <a:gd name="T78" fmla="*/ 46 w 98"/>
                <a:gd name="T79" fmla="*/ 98 h 118"/>
                <a:gd name="T80" fmla="*/ 44 w 98"/>
                <a:gd name="T81" fmla="*/ 104 h 118"/>
                <a:gd name="T82" fmla="*/ 38 w 98"/>
                <a:gd name="T83" fmla="*/ 94 h 118"/>
                <a:gd name="T84" fmla="*/ 34 w 98"/>
                <a:gd name="T85" fmla="*/ 84 h 118"/>
                <a:gd name="T86" fmla="*/ 32 w 98"/>
                <a:gd name="T87" fmla="*/ 70 h 118"/>
                <a:gd name="T88" fmla="*/ 24 w 98"/>
                <a:gd name="T89" fmla="*/ 70 h 118"/>
                <a:gd name="T90" fmla="*/ 22 w 98"/>
                <a:gd name="T91" fmla="*/ 76 h 118"/>
                <a:gd name="T92" fmla="*/ 24 w 98"/>
                <a:gd name="T93" fmla="*/ 92 h 118"/>
                <a:gd name="T94" fmla="*/ 24 w 98"/>
                <a:gd name="T95" fmla="*/ 98 h 118"/>
                <a:gd name="T96" fmla="*/ 24 w 98"/>
                <a:gd name="T97" fmla="*/ 112 h 118"/>
                <a:gd name="T98" fmla="*/ 22 w 98"/>
                <a:gd name="T99" fmla="*/ 118 h 118"/>
                <a:gd name="T100" fmla="*/ 10 w 98"/>
                <a:gd name="T101" fmla="*/ 116 h 118"/>
                <a:gd name="T102" fmla="*/ 10 w 98"/>
                <a:gd name="T103" fmla="*/ 102 h 118"/>
                <a:gd name="T104" fmla="*/ 12 w 98"/>
                <a:gd name="T105" fmla="*/ 90 h 118"/>
                <a:gd name="T106" fmla="*/ 10 w 98"/>
                <a:gd name="T107" fmla="*/ 84 h 118"/>
                <a:gd name="T108" fmla="*/ 0 w 98"/>
                <a:gd name="T109" fmla="*/ 80 h 118"/>
                <a:gd name="T110" fmla="*/ 0 w 98"/>
                <a:gd name="T111" fmla="*/ 68 h 118"/>
                <a:gd name="T112" fmla="*/ 4 w 98"/>
                <a:gd name="T113" fmla="*/ 58 h 118"/>
                <a:gd name="T114" fmla="*/ 8 w 98"/>
                <a:gd name="T115" fmla="*/ 42 h 118"/>
                <a:gd name="T116" fmla="*/ 12 w 98"/>
                <a:gd name="T117" fmla="*/ 36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8" h="118">
                  <a:moveTo>
                    <a:pt x="12" y="36"/>
                  </a:moveTo>
                  <a:lnTo>
                    <a:pt x="12" y="26"/>
                  </a:lnTo>
                  <a:lnTo>
                    <a:pt x="20" y="14"/>
                  </a:lnTo>
                  <a:lnTo>
                    <a:pt x="32" y="8"/>
                  </a:lnTo>
                  <a:lnTo>
                    <a:pt x="48" y="10"/>
                  </a:lnTo>
                  <a:lnTo>
                    <a:pt x="58" y="14"/>
                  </a:lnTo>
                  <a:lnTo>
                    <a:pt x="74" y="14"/>
                  </a:lnTo>
                  <a:lnTo>
                    <a:pt x="84" y="12"/>
                  </a:lnTo>
                  <a:lnTo>
                    <a:pt x="90" y="8"/>
                  </a:lnTo>
                  <a:lnTo>
                    <a:pt x="98" y="0"/>
                  </a:lnTo>
                  <a:lnTo>
                    <a:pt x="98" y="8"/>
                  </a:lnTo>
                  <a:lnTo>
                    <a:pt x="88" y="20"/>
                  </a:lnTo>
                  <a:lnTo>
                    <a:pt x="80" y="26"/>
                  </a:lnTo>
                  <a:lnTo>
                    <a:pt x="56" y="22"/>
                  </a:lnTo>
                  <a:lnTo>
                    <a:pt x="42" y="20"/>
                  </a:lnTo>
                  <a:lnTo>
                    <a:pt x="30" y="20"/>
                  </a:lnTo>
                  <a:lnTo>
                    <a:pt x="24" y="20"/>
                  </a:lnTo>
                  <a:lnTo>
                    <a:pt x="18" y="26"/>
                  </a:lnTo>
                  <a:lnTo>
                    <a:pt x="18" y="36"/>
                  </a:lnTo>
                  <a:lnTo>
                    <a:pt x="22" y="42"/>
                  </a:lnTo>
                  <a:lnTo>
                    <a:pt x="26" y="46"/>
                  </a:lnTo>
                  <a:lnTo>
                    <a:pt x="28" y="50"/>
                  </a:lnTo>
                  <a:lnTo>
                    <a:pt x="32" y="52"/>
                  </a:lnTo>
                  <a:lnTo>
                    <a:pt x="38" y="44"/>
                  </a:lnTo>
                  <a:lnTo>
                    <a:pt x="42" y="42"/>
                  </a:lnTo>
                  <a:lnTo>
                    <a:pt x="52" y="44"/>
                  </a:lnTo>
                  <a:lnTo>
                    <a:pt x="60" y="40"/>
                  </a:lnTo>
                  <a:lnTo>
                    <a:pt x="70" y="40"/>
                  </a:lnTo>
                  <a:lnTo>
                    <a:pt x="68" y="46"/>
                  </a:lnTo>
                  <a:lnTo>
                    <a:pt x="56" y="48"/>
                  </a:lnTo>
                  <a:lnTo>
                    <a:pt x="50" y="54"/>
                  </a:lnTo>
                  <a:lnTo>
                    <a:pt x="44" y="60"/>
                  </a:lnTo>
                  <a:lnTo>
                    <a:pt x="44" y="62"/>
                  </a:lnTo>
                  <a:lnTo>
                    <a:pt x="48" y="68"/>
                  </a:lnTo>
                  <a:lnTo>
                    <a:pt x="54" y="80"/>
                  </a:lnTo>
                  <a:lnTo>
                    <a:pt x="54" y="84"/>
                  </a:lnTo>
                  <a:lnTo>
                    <a:pt x="56" y="92"/>
                  </a:lnTo>
                  <a:lnTo>
                    <a:pt x="62" y="96"/>
                  </a:lnTo>
                  <a:lnTo>
                    <a:pt x="54" y="100"/>
                  </a:lnTo>
                  <a:lnTo>
                    <a:pt x="46" y="98"/>
                  </a:lnTo>
                  <a:lnTo>
                    <a:pt x="44" y="104"/>
                  </a:lnTo>
                  <a:lnTo>
                    <a:pt x="38" y="94"/>
                  </a:lnTo>
                  <a:lnTo>
                    <a:pt x="34" y="84"/>
                  </a:lnTo>
                  <a:lnTo>
                    <a:pt x="32" y="70"/>
                  </a:lnTo>
                  <a:lnTo>
                    <a:pt x="24" y="70"/>
                  </a:lnTo>
                  <a:lnTo>
                    <a:pt x="22" y="76"/>
                  </a:lnTo>
                  <a:lnTo>
                    <a:pt x="24" y="92"/>
                  </a:lnTo>
                  <a:lnTo>
                    <a:pt x="24" y="98"/>
                  </a:lnTo>
                  <a:lnTo>
                    <a:pt x="24" y="112"/>
                  </a:lnTo>
                  <a:lnTo>
                    <a:pt x="22" y="118"/>
                  </a:lnTo>
                  <a:lnTo>
                    <a:pt x="10" y="116"/>
                  </a:lnTo>
                  <a:lnTo>
                    <a:pt x="10" y="102"/>
                  </a:lnTo>
                  <a:lnTo>
                    <a:pt x="12" y="90"/>
                  </a:lnTo>
                  <a:lnTo>
                    <a:pt x="10" y="84"/>
                  </a:lnTo>
                  <a:lnTo>
                    <a:pt x="0" y="80"/>
                  </a:lnTo>
                  <a:lnTo>
                    <a:pt x="0" y="68"/>
                  </a:lnTo>
                  <a:lnTo>
                    <a:pt x="4" y="58"/>
                  </a:lnTo>
                  <a:lnTo>
                    <a:pt x="8" y="42"/>
                  </a:lnTo>
                  <a:lnTo>
                    <a:pt x="12" y="3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52" name="Freeform 248">
              <a:extLst>
                <a:ext uri="{FF2B5EF4-FFF2-40B4-BE49-F238E27FC236}">
                  <a16:creationId xmlns:a16="http://schemas.microsoft.com/office/drawing/2014/main" id="{DE6EA49B-1B94-46E7-870D-54A292B4AED0}"/>
                </a:ext>
              </a:extLst>
            </p:cNvPr>
            <p:cNvSpPr>
              <a:spLocks/>
            </p:cNvSpPr>
            <p:nvPr/>
          </p:nvSpPr>
          <p:spPr bwMode="gray">
            <a:xfrm>
              <a:off x="9247631" y="4707953"/>
              <a:ext cx="267473" cy="225737"/>
            </a:xfrm>
            <a:custGeom>
              <a:avLst/>
              <a:gdLst>
                <a:gd name="T0" fmla="*/ 2 w 162"/>
                <a:gd name="T1" fmla="*/ 8 h 136"/>
                <a:gd name="T2" fmla="*/ 20 w 162"/>
                <a:gd name="T3" fmla="*/ 2 h 136"/>
                <a:gd name="T4" fmla="*/ 30 w 162"/>
                <a:gd name="T5" fmla="*/ 0 h 136"/>
                <a:gd name="T6" fmla="*/ 48 w 162"/>
                <a:gd name="T7" fmla="*/ 2 h 136"/>
                <a:gd name="T8" fmla="*/ 56 w 162"/>
                <a:gd name="T9" fmla="*/ 10 h 136"/>
                <a:gd name="T10" fmla="*/ 54 w 162"/>
                <a:gd name="T11" fmla="*/ 22 h 136"/>
                <a:gd name="T12" fmla="*/ 54 w 162"/>
                <a:gd name="T13" fmla="*/ 30 h 136"/>
                <a:gd name="T14" fmla="*/ 60 w 162"/>
                <a:gd name="T15" fmla="*/ 34 h 136"/>
                <a:gd name="T16" fmla="*/ 62 w 162"/>
                <a:gd name="T17" fmla="*/ 42 h 136"/>
                <a:gd name="T18" fmla="*/ 70 w 162"/>
                <a:gd name="T19" fmla="*/ 44 h 136"/>
                <a:gd name="T20" fmla="*/ 80 w 162"/>
                <a:gd name="T21" fmla="*/ 42 h 136"/>
                <a:gd name="T22" fmla="*/ 86 w 162"/>
                <a:gd name="T23" fmla="*/ 32 h 136"/>
                <a:gd name="T24" fmla="*/ 94 w 162"/>
                <a:gd name="T25" fmla="*/ 26 h 136"/>
                <a:gd name="T26" fmla="*/ 104 w 162"/>
                <a:gd name="T27" fmla="*/ 22 h 136"/>
                <a:gd name="T28" fmla="*/ 110 w 162"/>
                <a:gd name="T29" fmla="*/ 16 h 136"/>
                <a:gd name="T30" fmla="*/ 128 w 162"/>
                <a:gd name="T31" fmla="*/ 22 h 136"/>
                <a:gd name="T32" fmla="*/ 142 w 162"/>
                <a:gd name="T33" fmla="*/ 26 h 136"/>
                <a:gd name="T34" fmla="*/ 158 w 162"/>
                <a:gd name="T35" fmla="*/ 32 h 136"/>
                <a:gd name="T36" fmla="*/ 162 w 162"/>
                <a:gd name="T37" fmla="*/ 34 h 136"/>
                <a:gd name="T38" fmla="*/ 162 w 162"/>
                <a:gd name="T39" fmla="*/ 136 h 136"/>
                <a:gd name="T40" fmla="*/ 148 w 162"/>
                <a:gd name="T41" fmla="*/ 124 h 136"/>
                <a:gd name="T42" fmla="*/ 138 w 162"/>
                <a:gd name="T43" fmla="*/ 120 h 136"/>
                <a:gd name="T44" fmla="*/ 130 w 162"/>
                <a:gd name="T45" fmla="*/ 120 h 136"/>
                <a:gd name="T46" fmla="*/ 124 w 162"/>
                <a:gd name="T47" fmla="*/ 124 h 136"/>
                <a:gd name="T48" fmla="*/ 110 w 162"/>
                <a:gd name="T49" fmla="*/ 126 h 136"/>
                <a:gd name="T50" fmla="*/ 108 w 162"/>
                <a:gd name="T51" fmla="*/ 118 h 136"/>
                <a:gd name="T52" fmla="*/ 110 w 162"/>
                <a:gd name="T53" fmla="*/ 114 h 136"/>
                <a:gd name="T54" fmla="*/ 116 w 162"/>
                <a:gd name="T55" fmla="*/ 112 h 136"/>
                <a:gd name="T56" fmla="*/ 124 w 162"/>
                <a:gd name="T57" fmla="*/ 110 h 136"/>
                <a:gd name="T58" fmla="*/ 126 w 162"/>
                <a:gd name="T59" fmla="*/ 98 h 136"/>
                <a:gd name="T60" fmla="*/ 122 w 162"/>
                <a:gd name="T61" fmla="*/ 90 h 136"/>
                <a:gd name="T62" fmla="*/ 112 w 162"/>
                <a:gd name="T63" fmla="*/ 80 h 136"/>
                <a:gd name="T64" fmla="*/ 90 w 162"/>
                <a:gd name="T65" fmla="*/ 68 h 136"/>
                <a:gd name="T66" fmla="*/ 66 w 162"/>
                <a:gd name="T67" fmla="*/ 62 h 136"/>
                <a:gd name="T68" fmla="*/ 60 w 162"/>
                <a:gd name="T69" fmla="*/ 56 h 136"/>
                <a:gd name="T70" fmla="*/ 54 w 162"/>
                <a:gd name="T71" fmla="*/ 54 h 136"/>
                <a:gd name="T72" fmla="*/ 48 w 162"/>
                <a:gd name="T73" fmla="*/ 40 h 136"/>
                <a:gd name="T74" fmla="*/ 42 w 162"/>
                <a:gd name="T75" fmla="*/ 42 h 136"/>
                <a:gd name="T76" fmla="*/ 42 w 162"/>
                <a:gd name="T77" fmla="*/ 48 h 136"/>
                <a:gd name="T78" fmla="*/ 42 w 162"/>
                <a:gd name="T79" fmla="*/ 58 h 136"/>
                <a:gd name="T80" fmla="*/ 32 w 162"/>
                <a:gd name="T81" fmla="*/ 56 h 136"/>
                <a:gd name="T82" fmla="*/ 32 w 162"/>
                <a:gd name="T83" fmla="*/ 46 h 136"/>
                <a:gd name="T84" fmla="*/ 30 w 162"/>
                <a:gd name="T85" fmla="*/ 40 h 136"/>
                <a:gd name="T86" fmla="*/ 20 w 162"/>
                <a:gd name="T87" fmla="*/ 38 h 136"/>
                <a:gd name="T88" fmla="*/ 30 w 162"/>
                <a:gd name="T89" fmla="*/ 32 h 136"/>
                <a:gd name="T90" fmla="*/ 42 w 162"/>
                <a:gd name="T91" fmla="*/ 34 h 136"/>
                <a:gd name="T92" fmla="*/ 50 w 162"/>
                <a:gd name="T93" fmla="*/ 32 h 136"/>
                <a:gd name="T94" fmla="*/ 46 w 162"/>
                <a:gd name="T95" fmla="*/ 24 h 136"/>
                <a:gd name="T96" fmla="*/ 30 w 162"/>
                <a:gd name="T97" fmla="*/ 24 h 136"/>
                <a:gd name="T98" fmla="*/ 20 w 162"/>
                <a:gd name="T99" fmla="*/ 26 h 136"/>
                <a:gd name="T100" fmla="*/ 16 w 162"/>
                <a:gd name="T101" fmla="*/ 16 h 136"/>
                <a:gd name="T102" fmla="*/ 6 w 162"/>
                <a:gd name="T103" fmla="*/ 16 h 136"/>
                <a:gd name="T104" fmla="*/ 0 w 162"/>
                <a:gd name="T105" fmla="*/ 14 h 136"/>
                <a:gd name="T106" fmla="*/ 2 w 162"/>
                <a:gd name="T107" fmla="*/ 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2" h="136">
                  <a:moveTo>
                    <a:pt x="2" y="8"/>
                  </a:moveTo>
                  <a:lnTo>
                    <a:pt x="20" y="2"/>
                  </a:lnTo>
                  <a:lnTo>
                    <a:pt x="30" y="0"/>
                  </a:lnTo>
                  <a:lnTo>
                    <a:pt x="48" y="2"/>
                  </a:lnTo>
                  <a:lnTo>
                    <a:pt x="56" y="10"/>
                  </a:lnTo>
                  <a:lnTo>
                    <a:pt x="54" y="22"/>
                  </a:lnTo>
                  <a:lnTo>
                    <a:pt x="54" y="30"/>
                  </a:lnTo>
                  <a:lnTo>
                    <a:pt x="60" y="34"/>
                  </a:lnTo>
                  <a:lnTo>
                    <a:pt x="62" y="42"/>
                  </a:lnTo>
                  <a:lnTo>
                    <a:pt x="70" y="44"/>
                  </a:lnTo>
                  <a:lnTo>
                    <a:pt x="80" y="42"/>
                  </a:lnTo>
                  <a:lnTo>
                    <a:pt x="86" y="32"/>
                  </a:lnTo>
                  <a:lnTo>
                    <a:pt x="94" y="26"/>
                  </a:lnTo>
                  <a:lnTo>
                    <a:pt x="104" y="22"/>
                  </a:lnTo>
                  <a:lnTo>
                    <a:pt x="110" y="16"/>
                  </a:lnTo>
                  <a:lnTo>
                    <a:pt x="128" y="22"/>
                  </a:lnTo>
                  <a:lnTo>
                    <a:pt x="142" y="26"/>
                  </a:lnTo>
                  <a:lnTo>
                    <a:pt x="158" y="32"/>
                  </a:lnTo>
                  <a:lnTo>
                    <a:pt x="162" y="34"/>
                  </a:lnTo>
                  <a:lnTo>
                    <a:pt x="162" y="136"/>
                  </a:lnTo>
                  <a:lnTo>
                    <a:pt x="148" y="124"/>
                  </a:lnTo>
                  <a:lnTo>
                    <a:pt x="138" y="120"/>
                  </a:lnTo>
                  <a:lnTo>
                    <a:pt x="130" y="120"/>
                  </a:lnTo>
                  <a:lnTo>
                    <a:pt x="124" y="124"/>
                  </a:lnTo>
                  <a:lnTo>
                    <a:pt x="110" y="126"/>
                  </a:lnTo>
                  <a:lnTo>
                    <a:pt x="108" y="118"/>
                  </a:lnTo>
                  <a:lnTo>
                    <a:pt x="110" y="114"/>
                  </a:lnTo>
                  <a:lnTo>
                    <a:pt x="116" y="112"/>
                  </a:lnTo>
                  <a:lnTo>
                    <a:pt x="124" y="110"/>
                  </a:lnTo>
                  <a:lnTo>
                    <a:pt x="126" y="98"/>
                  </a:lnTo>
                  <a:lnTo>
                    <a:pt x="122" y="90"/>
                  </a:lnTo>
                  <a:lnTo>
                    <a:pt x="112" y="80"/>
                  </a:lnTo>
                  <a:lnTo>
                    <a:pt x="90" y="68"/>
                  </a:lnTo>
                  <a:lnTo>
                    <a:pt x="66" y="62"/>
                  </a:lnTo>
                  <a:lnTo>
                    <a:pt x="60" y="56"/>
                  </a:lnTo>
                  <a:lnTo>
                    <a:pt x="54" y="54"/>
                  </a:lnTo>
                  <a:lnTo>
                    <a:pt x="48" y="40"/>
                  </a:lnTo>
                  <a:lnTo>
                    <a:pt x="42" y="42"/>
                  </a:lnTo>
                  <a:lnTo>
                    <a:pt x="42" y="48"/>
                  </a:lnTo>
                  <a:lnTo>
                    <a:pt x="42" y="58"/>
                  </a:lnTo>
                  <a:lnTo>
                    <a:pt x="32" y="56"/>
                  </a:lnTo>
                  <a:lnTo>
                    <a:pt x="32" y="46"/>
                  </a:lnTo>
                  <a:lnTo>
                    <a:pt x="30" y="40"/>
                  </a:lnTo>
                  <a:lnTo>
                    <a:pt x="20" y="38"/>
                  </a:lnTo>
                  <a:lnTo>
                    <a:pt x="30" y="32"/>
                  </a:lnTo>
                  <a:lnTo>
                    <a:pt x="42" y="34"/>
                  </a:lnTo>
                  <a:lnTo>
                    <a:pt x="50" y="32"/>
                  </a:lnTo>
                  <a:lnTo>
                    <a:pt x="46" y="24"/>
                  </a:lnTo>
                  <a:lnTo>
                    <a:pt x="30" y="24"/>
                  </a:lnTo>
                  <a:lnTo>
                    <a:pt x="20" y="26"/>
                  </a:lnTo>
                  <a:lnTo>
                    <a:pt x="16" y="16"/>
                  </a:lnTo>
                  <a:lnTo>
                    <a:pt x="6" y="16"/>
                  </a:lnTo>
                  <a:lnTo>
                    <a:pt x="0" y="14"/>
                  </a:lnTo>
                  <a:lnTo>
                    <a:pt x="2" y="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53" name="Freeform 249">
              <a:extLst>
                <a:ext uri="{FF2B5EF4-FFF2-40B4-BE49-F238E27FC236}">
                  <a16:creationId xmlns:a16="http://schemas.microsoft.com/office/drawing/2014/main" id="{1554F59E-8DA8-4190-A25F-BAA514A73400}"/>
                </a:ext>
              </a:extLst>
            </p:cNvPr>
            <p:cNvSpPr>
              <a:spLocks/>
            </p:cNvSpPr>
            <p:nvPr/>
          </p:nvSpPr>
          <p:spPr bwMode="gray">
            <a:xfrm>
              <a:off x="9171681" y="4767707"/>
              <a:ext cx="79252" cy="26557"/>
            </a:xfrm>
            <a:custGeom>
              <a:avLst/>
              <a:gdLst>
                <a:gd name="T0" fmla="*/ 4 w 48"/>
                <a:gd name="T1" fmla="*/ 2 h 16"/>
                <a:gd name="T2" fmla="*/ 20 w 48"/>
                <a:gd name="T3" fmla="*/ 0 h 16"/>
                <a:gd name="T4" fmla="*/ 38 w 48"/>
                <a:gd name="T5" fmla="*/ 2 h 16"/>
                <a:gd name="T6" fmla="*/ 48 w 48"/>
                <a:gd name="T7" fmla="*/ 10 h 16"/>
                <a:gd name="T8" fmla="*/ 46 w 48"/>
                <a:gd name="T9" fmla="*/ 16 h 16"/>
                <a:gd name="T10" fmla="*/ 34 w 48"/>
                <a:gd name="T11" fmla="*/ 12 h 16"/>
                <a:gd name="T12" fmla="*/ 24 w 48"/>
                <a:gd name="T13" fmla="*/ 10 h 16"/>
                <a:gd name="T14" fmla="*/ 12 w 48"/>
                <a:gd name="T15" fmla="*/ 10 h 16"/>
                <a:gd name="T16" fmla="*/ 8 w 48"/>
                <a:gd name="T17" fmla="*/ 14 h 16"/>
                <a:gd name="T18" fmla="*/ 2 w 48"/>
                <a:gd name="T19" fmla="*/ 14 h 16"/>
                <a:gd name="T20" fmla="*/ 0 w 48"/>
                <a:gd name="T21" fmla="*/ 6 h 16"/>
                <a:gd name="T22" fmla="*/ 4 w 48"/>
                <a:gd name="T2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16">
                  <a:moveTo>
                    <a:pt x="4" y="2"/>
                  </a:moveTo>
                  <a:lnTo>
                    <a:pt x="20" y="0"/>
                  </a:lnTo>
                  <a:lnTo>
                    <a:pt x="38" y="2"/>
                  </a:lnTo>
                  <a:lnTo>
                    <a:pt x="48" y="10"/>
                  </a:lnTo>
                  <a:lnTo>
                    <a:pt x="46" y="16"/>
                  </a:lnTo>
                  <a:lnTo>
                    <a:pt x="34" y="12"/>
                  </a:lnTo>
                  <a:lnTo>
                    <a:pt x="24" y="10"/>
                  </a:lnTo>
                  <a:lnTo>
                    <a:pt x="12" y="10"/>
                  </a:lnTo>
                  <a:lnTo>
                    <a:pt x="8" y="14"/>
                  </a:lnTo>
                  <a:lnTo>
                    <a:pt x="2" y="14"/>
                  </a:lnTo>
                  <a:lnTo>
                    <a:pt x="0" y="6"/>
                  </a:lnTo>
                  <a:lnTo>
                    <a:pt x="4" y="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54" name="Freeform 250">
              <a:extLst>
                <a:ext uri="{FF2B5EF4-FFF2-40B4-BE49-F238E27FC236}">
                  <a16:creationId xmlns:a16="http://schemas.microsoft.com/office/drawing/2014/main" id="{BC94B13A-C8BC-414B-93E1-CA376B68D165}"/>
                </a:ext>
              </a:extLst>
            </p:cNvPr>
            <p:cNvSpPr>
              <a:spLocks/>
            </p:cNvSpPr>
            <p:nvPr/>
          </p:nvSpPr>
          <p:spPr bwMode="gray">
            <a:xfrm>
              <a:off x="9128754" y="4777667"/>
              <a:ext cx="29719" cy="16599"/>
            </a:xfrm>
            <a:custGeom>
              <a:avLst/>
              <a:gdLst>
                <a:gd name="T0" fmla="*/ 2 w 18"/>
                <a:gd name="T1" fmla="*/ 0 h 10"/>
                <a:gd name="T2" fmla="*/ 12 w 18"/>
                <a:gd name="T3" fmla="*/ 0 h 10"/>
                <a:gd name="T4" fmla="*/ 18 w 18"/>
                <a:gd name="T5" fmla="*/ 4 h 10"/>
                <a:gd name="T6" fmla="*/ 14 w 18"/>
                <a:gd name="T7" fmla="*/ 10 h 10"/>
                <a:gd name="T8" fmla="*/ 4 w 18"/>
                <a:gd name="T9" fmla="*/ 10 h 10"/>
                <a:gd name="T10" fmla="*/ 0 w 18"/>
                <a:gd name="T11" fmla="*/ 6 h 10"/>
                <a:gd name="T12" fmla="*/ 2 w 18"/>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8" h="10">
                  <a:moveTo>
                    <a:pt x="2" y="0"/>
                  </a:moveTo>
                  <a:lnTo>
                    <a:pt x="12" y="0"/>
                  </a:lnTo>
                  <a:lnTo>
                    <a:pt x="18" y="4"/>
                  </a:lnTo>
                  <a:lnTo>
                    <a:pt x="14" y="10"/>
                  </a:lnTo>
                  <a:lnTo>
                    <a:pt x="4" y="10"/>
                  </a:lnTo>
                  <a:lnTo>
                    <a:pt x="0" y="6"/>
                  </a:lnTo>
                  <a:lnTo>
                    <a:pt x="2"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55" name="Freeform 251">
              <a:extLst>
                <a:ext uri="{FF2B5EF4-FFF2-40B4-BE49-F238E27FC236}">
                  <a16:creationId xmlns:a16="http://schemas.microsoft.com/office/drawing/2014/main" id="{6A1F6E0B-24A8-4FDB-A55D-4F2745AE1EA9}"/>
                </a:ext>
              </a:extLst>
            </p:cNvPr>
            <p:cNvSpPr>
              <a:spLocks/>
            </p:cNvSpPr>
            <p:nvPr/>
          </p:nvSpPr>
          <p:spPr bwMode="gray">
            <a:xfrm>
              <a:off x="9161776" y="4641560"/>
              <a:ext cx="36323" cy="82991"/>
            </a:xfrm>
            <a:custGeom>
              <a:avLst/>
              <a:gdLst>
                <a:gd name="T0" fmla="*/ 0 w 22"/>
                <a:gd name="T1" fmla="*/ 0 h 50"/>
                <a:gd name="T2" fmla="*/ 6 w 22"/>
                <a:gd name="T3" fmla="*/ 2 h 50"/>
                <a:gd name="T4" fmla="*/ 8 w 22"/>
                <a:gd name="T5" fmla="*/ 10 h 50"/>
                <a:gd name="T6" fmla="*/ 8 w 22"/>
                <a:gd name="T7" fmla="*/ 14 h 50"/>
                <a:gd name="T8" fmla="*/ 14 w 22"/>
                <a:gd name="T9" fmla="*/ 6 h 50"/>
                <a:gd name="T10" fmla="*/ 20 w 22"/>
                <a:gd name="T11" fmla="*/ 4 h 50"/>
                <a:gd name="T12" fmla="*/ 22 w 22"/>
                <a:gd name="T13" fmla="*/ 14 h 50"/>
                <a:gd name="T14" fmla="*/ 16 w 22"/>
                <a:gd name="T15" fmla="*/ 16 h 50"/>
                <a:gd name="T16" fmla="*/ 14 w 22"/>
                <a:gd name="T17" fmla="*/ 20 h 50"/>
                <a:gd name="T18" fmla="*/ 18 w 22"/>
                <a:gd name="T19" fmla="*/ 22 h 50"/>
                <a:gd name="T20" fmla="*/ 20 w 22"/>
                <a:gd name="T21" fmla="*/ 26 h 50"/>
                <a:gd name="T22" fmla="*/ 8 w 22"/>
                <a:gd name="T23" fmla="*/ 26 h 50"/>
                <a:gd name="T24" fmla="*/ 8 w 22"/>
                <a:gd name="T25" fmla="*/ 30 h 50"/>
                <a:gd name="T26" fmla="*/ 10 w 22"/>
                <a:gd name="T27" fmla="*/ 38 h 50"/>
                <a:gd name="T28" fmla="*/ 16 w 22"/>
                <a:gd name="T29" fmla="*/ 44 h 50"/>
                <a:gd name="T30" fmla="*/ 18 w 22"/>
                <a:gd name="T31" fmla="*/ 46 h 50"/>
                <a:gd name="T32" fmla="*/ 18 w 22"/>
                <a:gd name="T33" fmla="*/ 48 h 50"/>
                <a:gd name="T34" fmla="*/ 16 w 22"/>
                <a:gd name="T35" fmla="*/ 50 h 50"/>
                <a:gd name="T36" fmla="*/ 12 w 22"/>
                <a:gd name="T37" fmla="*/ 50 h 50"/>
                <a:gd name="T38" fmla="*/ 8 w 22"/>
                <a:gd name="T39" fmla="*/ 48 h 50"/>
                <a:gd name="T40" fmla="*/ 6 w 22"/>
                <a:gd name="T41" fmla="*/ 46 h 50"/>
                <a:gd name="T42" fmla="*/ 2 w 22"/>
                <a:gd name="T43" fmla="*/ 32 h 50"/>
                <a:gd name="T44" fmla="*/ 0 w 22"/>
                <a:gd name="T45" fmla="*/ 22 h 50"/>
                <a:gd name="T46" fmla="*/ 2 w 22"/>
                <a:gd name="T47" fmla="*/ 12 h 50"/>
                <a:gd name="T48" fmla="*/ 0 w 22"/>
                <a:gd name="T4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0">
                  <a:moveTo>
                    <a:pt x="0" y="0"/>
                  </a:moveTo>
                  <a:lnTo>
                    <a:pt x="6" y="2"/>
                  </a:lnTo>
                  <a:lnTo>
                    <a:pt x="8" y="10"/>
                  </a:lnTo>
                  <a:lnTo>
                    <a:pt x="8" y="14"/>
                  </a:lnTo>
                  <a:lnTo>
                    <a:pt x="14" y="6"/>
                  </a:lnTo>
                  <a:lnTo>
                    <a:pt x="20" y="4"/>
                  </a:lnTo>
                  <a:lnTo>
                    <a:pt x="22" y="14"/>
                  </a:lnTo>
                  <a:lnTo>
                    <a:pt x="16" y="16"/>
                  </a:lnTo>
                  <a:lnTo>
                    <a:pt x="14" y="20"/>
                  </a:lnTo>
                  <a:lnTo>
                    <a:pt x="18" y="22"/>
                  </a:lnTo>
                  <a:lnTo>
                    <a:pt x="20" y="26"/>
                  </a:lnTo>
                  <a:lnTo>
                    <a:pt x="8" y="26"/>
                  </a:lnTo>
                  <a:lnTo>
                    <a:pt x="8" y="30"/>
                  </a:lnTo>
                  <a:lnTo>
                    <a:pt x="10" y="38"/>
                  </a:lnTo>
                  <a:lnTo>
                    <a:pt x="16" y="44"/>
                  </a:lnTo>
                  <a:lnTo>
                    <a:pt x="18" y="46"/>
                  </a:lnTo>
                  <a:lnTo>
                    <a:pt x="18" y="48"/>
                  </a:lnTo>
                  <a:lnTo>
                    <a:pt x="16" y="50"/>
                  </a:lnTo>
                  <a:lnTo>
                    <a:pt x="12" y="50"/>
                  </a:lnTo>
                  <a:lnTo>
                    <a:pt x="8" y="48"/>
                  </a:lnTo>
                  <a:lnTo>
                    <a:pt x="6" y="46"/>
                  </a:lnTo>
                  <a:lnTo>
                    <a:pt x="2" y="32"/>
                  </a:lnTo>
                  <a:lnTo>
                    <a:pt x="0" y="22"/>
                  </a:lnTo>
                  <a:lnTo>
                    <a:pt x="2" y="12"/>
                  </a:lnTo>
                  <a:lnTo>
                    <a:pt x="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56" name="Freeform 252">
              <a:extLst>
                <a:ext uri="{FF2B5EF4-FFF2-40B4-BE49-F238E27FC236}">
                  <a16:creationId xmlns:a16="http://schemas.microsoft.com/office/drawing/2014/main" id="{2F90B3A9-638C-4879-8F4A-A84E22B03522}"/>
                </a:ext>
              </a:extLst>
            </p:cNvPr>
            <p:cNvSpPr>
              <a:spLocks/>
            </p:cNvSpPr>
            <p:nvPr/>
          </p:nvSpPr>
          <p:spPr bwMode="gray">
            <a:xfrm>
              <a:off x="9515104" y="4764388"/>
              <a:ext cx="254266" cy="215777"/>
            </a:xfrm>
            <a:custGeom>
              <a:avLst/>
              <a:gdLst>
                <a:gd name="T0" fmla="*/ 0 w 154"/>
                <a:gd name="T1" fmla="*/ 0 h 130"/>
                <a:gd name="T2" fmla="*/ 14 w 154"/>
                <a:gd name="T3" fmla="*/ 4 h 130"/>
                <a:gd name="T4" fmla="*/ 32 w 154"/>
                <a:gd name="T5" fmla="*/ 10 h 130"/>
                <a:gd name="T6" fmla="*/ 50 w 154"/>
                <a:gd name="T7" fmla="*/ 18 h 130"/>
                <a:gd name="T8" fmla="*/ 66 w 154"/>
                <a:gd name="T9" fmla="*/ 28 h 130"/>
                <a:gd name="T10" fmla="*/ 74 w 154"/>
                <a:gd name="T11" fmla="*/ 38 h 130"/>
                <a:gd name="T12" fmla="*/ 84 w 154"/>
                <a:gd name="T13" fmla="*/ 44 h 130"/>
                <a:gd name="T14" fmla="*/ 100 w 154"/>
                <a:gd name="T15" fmla="*/ 52 h 130"/>
                <a:gd name="T16" fmla="*/ 108 w 154"/>
                <a:gd name="T17" fmla="*/ 58 h 130"/>
                <a:gd name="T18" fmla="*/ 108 w 154"/>
                <a:gd name="T19" fmla="*/ 62 h 130"/>
                <a:gd name="T20" fmla="*/ 110 w 154"/>
                <a:gd name="T21" fmla="*/ 64 h 130"/>
                <a:gd name="T22" fmla="*/ 108 w 154"/>
                <a:gd name="T23" fmla="*/ 66 h 130"/>
                <a:gd name="T24" fmla="*/ 94 w 154"/>
                <a:gd name="T25" fmla="*/ 66 h 130"/>
                <a:gd name="T26" fmla="*/ 100 w 154"/>
                <a:gd name="T27" fmla="*/ 72 h 130"/>
                <a:gd name="T28" fmla="*/ 110 w 154"/>
                <a:gd name="T29" fmla="*/ 86 h 130"/>
                <a:gd name="T30" fmla="*/ 124 w 154"/>
                <a:gd name="T31" fmla="*/ 102 h 130"/>
                <a:gd name="T32" fmla="*/ 130 w 154"/>
                <a:gd name="T33" fmla="*/ 106 h 130"/>
                <a:gd name="T34" fmla="*/ 138 w 154"/>
                <a:gd name="T35" fmla="*/ 114 h 130"/>
                <a:gd name="T36" fmla="*/ 154 w 154"/>
                <a:gd name="T37" fmla="*/ 124 h 130"/>
                <a:gd name="T38" fmla="*/ 152 w 154"/>
                <a:gd name="T39" fmla="*/ 130 h 130"/>
                <a:gd name="T40" fmla="*/ 136 w 154"/>
                <a:gd name="T41" fmla="*/ 122 h 130"/>
                <a:gd name="T42" fmla="*/ 124 w 154"/>
                <a:gd name="T43" fmla="*/ 120 h 130"/>
                <a:gd name="T44" fmla="*/ 104 w 154"/>
                <a:gd name="T45" fmla="*/ 118 h 130"/>
                <a:gd name="T46" fmla="*/ 94 w 154"/>
                <a:gd name="T47" fmla="*/ 106 h 130"/>
                <a:gd name="T48" fmla="*/ 84 w 154"/>
                <a:gd name="T49" fmla="*/ 92 h 130"/>
                <a:gd name="T50" fmla="*/ 72 w 154"/>
                <a:gd name="T51" fmla="*/ 84 h 130"/>
                <a:gd name="T52" fmla="*/ 60 w 154"/>
                <a:gd name="T53" fmla="*/ 76 h 130"/>
                <a:gd name="T54" fmla="*/ 46 w 154"/>
                <a:gd name="T55" fmla="*/ 70 h 130"/>
                <a:gd name="T56" fmla="*/ 46 w 154"/>
                <a:gd name="T57" fmla="*/ 80 h 130"/>
                <a:gd name="T58" fmla="*/ 42 w 154"/>
                <a:gd name="T59" fmla="*/ 86 h 130"/>
                <a:gd name="T60" fmla="*/ 28 w 154"/>
                <a:gd name="T61" fmla="*/ 88 h 130"/>
                <a:gd name="T62" fmla="*/ 30 w 154"/>
                <a:gd name="T63" fmla="*/ 96 h 130"/>
                <a:gd name="T64" fmla="*/ 38 w 154"/>
                <a:gd name="T65" fmla="*/ 100 h 130"/>
                <a:gd name="T66" fmla="*/ 32 w 154"/>
                <a:gd name="T67" fmla="*/ 106 h 130"/>
                <a:gd name="T68" fmla="*/ 18 w 154"/>
                <a:gd name="T69" fmla="*/ 102 h 130"/>
                <a:gd name="T70" fmla="*/ 8 w 154"/>
                <a:gd name="T71" fmla="*/ 102 h 130"/>
                <a:gd name="T72" fmla="*/ 0 w 154"/>
                <a:gd name="T73" fmla="*/ 102 h 130"/>
                <a:gd name="T74" fmla="*/ 0 w 154"/>
                <a:gd name="T75"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4" h="130">
                  <a:moveTo>
                    <a:pt x="0" y="0"/>
                  </a:moveTo>
                  <a:lnTo>
                    <a:pt x="14" y="4"/>
                  </a:lnTo>
                  <a:lnTo>
                    <a:pt x="32" y="10"/>
                  </a:lnTo>
                  <a:lnTo>
                    <a:pt x="50" y="18"/>
                  </a:lnTo>
                  <a:lnTo>
                    <a:pt x="66" y="28"/>
                  </a:lnTo>
                  <a:lnTo>
                    <a:pt x="74" y="38"/>
                  </a:lnTo>
                  <a:lnTo>
                    <a:pt x="84" y="44"/>
                  </a:lnTo>
                  <a:lnTo>
                    <a:pt x="100" y="52"/>
                  </a:lnTo>
                  <a:lnTo>
                    <a:pt x="108" y="58"/>
                  </a:lnTo>
                  <a:lnTo>
                    <a:pt x="108" y="62"/>
                  </a:lnTo>
                  <a:lnTo>
                    <a:pt x="110" y="64"/>
                  </a:lnTo>
                  <a:lnTo>
                    <a:pt x="108" y="66"/>
                  </a:lnTo>
                  <a:lnTo>
                    <a:pt x="94" y="66"/>
                  </a:lnTo>
                  <a:lnTo>
                    <a:pt x="100" y="72"/>
                  </a:lnTo>
                  <a:lnTo>
                    <a:pt x="110" y="86"/>
                  </a:lnTo>
                  <a:lnTo>
                    <a:pt x="124" y="102"/>
                  </a:lnTo>
                  <a:lnTo>
                    <a:pt x="130" y="106"/>
                  </a:lnTo>
                  <a:lnTo>
                    <a:pt x="138" y="114"/>
                  </a:lnTo>
                  <a:lnTo>
                    <a:pt x="154" y="124"/>
                  </a:lnTo>
                  <a:lnTo>
                    <a:pt x="152" y="130"/>
                  </a:lnTo>
                  <a:lnTo>
                    <a:pt x="136" y="122"/>
                  </a:lnTo>
                  <a:lnTo>
                    <a:pt x="124" y="120"/>
                  </a:lnTo>
                  <a:lnTo>
                    <a:pt x="104" y="118"/>
                  </a:lnTo>
                  <a:lnTo>
                    <a:pt x="94" y="106"/>
                  </a:lnTo>
                  <a:lnTo>
                    <a:pt x="84" y="92"/>
                  </a:lnTo>
                  <a:lnTo>
                    <a:pt x="72" y="84"/>
                  </a:lnTo>
                  <a:lnTo>
                    <a:pt x="60" y="76"/>
                  </a:lnTo>
                  <a:lnTo>
                    <a:pt x="46" y="70"/>
                  </a:lnTo>
                  <a:lnTo>
                    <a:pt x="46" y="80"/>
                  </a:lnTo>
                  <a:lnTo>
                    <a:pt x="42" y="86"/>
                  </a:lnTo>
                  <a:lnTo>
                    <a:pt x="28" y="88"/>
                  </a:lnTo>
                  <a:lnTo>
                    <a:pt x="30" y="96"/>
                  </a:lnTo>
                  <a:lnTo>
                    <a:pt x="38" y="100"/>
                  </a:lnTo>
                  <a:lnTo>
                    <a:pt x="32" y="106"/>
                  </a:lnTo>
                  <a:lnTo>
                    <a:pt x="18" y="102"/>
                  </a:lnTo>
                  <a:lnTo>
                    <a:pt x="8" y="102"/>
                  </a:lnTo>
                  <a:lnTo>
                    <a:pt x="0" y="102"/>
                  </a:lnTo>
                  <a:lnTo>
                    <a:pt x="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57" name="Freeform 253">
              <a:extLst>
                <a:ext uri="{FF2B5EF4-FFF2-40B4-BE49-F238E27FC236}">
                  <a16:creationId xmlns:a16="http://schemas.microsoft.com/office/drawing/2014/main" id="{E0410A98-C4FB-418B-B08E-114922B5C475}"/>
                </a:ext>
              </a:extLst>
            </p:cNvPr>
            <p:cNvSpPr>
              <a:spLocks/>
            </p:cNvSpPr>
            <p:nvPr/>
          </p:nvSpPr>
          <p:spPr bwMode="gray">
            <a:xfrm>
              <a:off x="9719838" y="4804224"/>
              <a:ext cx="95762" cy="59754"/>
            </a:xfrm>
            <a:custGeom>
              <a:avLst/>
              <a:gdLst>
                <a:gd name="T0" fmla="*/ 0 w 58"/>
                <a:gd name="T1" fmla="*/ 22 h 36"/>
                <a:gd name="T2" fmla="*/ 14 w 58"/>
                <a:gd name="T3" fmla="*/ 22 h 36"/>
                <a:gd name="T4" fmla="*/ 34 w 58"/>
                <a:gd name="T5" fmla="*/ 22 h 36"/>
                <a:gd name="T6" fmla="*/ 40 w 58"/>
                <a:gd name="T7" fmla="*/ 16 h 36"/>
                <a:gd name="T8" fmla="*/ 50 w 58"/>
                <a:gd name="T9" fmla="*/ 6 h 36"/>
                <a:gd name="T10" fmla="*/ 56 w 58"/>
                <a:gd name="T11" fmla="*/ 0 h 36"/>
                <a:gd name="T12" fmla="*/ 58 w 58"/>
                <a:gd name="T13" fmla="*/ 10 h 36"/>
                <a:gd name="T14" fmla="*/ 54 w 58"/>
                <a:gd name="T15" fmla="*/ 18 h 36"/>
                <a:gd name="T16" fmla="*/ 46 w 58"/>
                <a:gd name="T17" fmla="*/ 22 h 36"/>
                <a:gd name="T18" fmla="*/ 38 w 58"/>
                <a:gd name="T19" fmla="*/ 28 h 36"/>
                <a:gd name="T20" fmla="*/ 32 w 58"/>
                <a:gd name="T21" fmla="*/ 34 h 36"/>
                <a:gd name="T22" fmla="*/ 20 w 58"/>
                <a:gd name="T23" fmla="*/ 36 h 36"/>
                <a:gd name="T24" fmla="*/ 6 w 58"/>
                <a:gd name="T25" fmla="*/ 32 h 36"/>
                <a:gd name="T26" fmla="*/ 0 w 58"/>
                <a:gd name="T27" fmla="*/ 28 h 36"/>
                <a:gd name="T28" fmla="*/ 0 w 58"/>
                <a:gd name="T29" fmla="*/ 2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8" h="36">
                  <a:moveTo>
                    <a:pt x="0" y="22"/>
                  </a:moveTo>
                  <a:lnTo>
                    <a:pt x="14" y="22"/>
                  </a:lnTo>
                  <a:lnTo>
                    <a:pt x="34" y="22"/>
                  </a:lnTo>
                  <a:lnTo>
                    <a:pt x="40" y="16"/>
                  </a:lnTo>
                  <a:lnTo>
                    <a:pt x="50" y="6"/>
                  </a:lnTo>
                  <a:lnTo>
                    <a:pt x="56" y="0"/>
                  </a:lnTo>
                  <a:lnTo>
                    <a:pt x="58" y="10"/>
                  </a:lnTo>
                  <a:lnTo>
                    <a:pt x="54" y="18"/>
                  </a:lnTo>
                  <a:lnTo>
                    <a:pt x="46" y="22"/>
                  </a:lnTo>
                  <a:lnTo>
                    <a:pt x="38" y="28"/>
                  </a:lnTo>
                  <a:lnTo>
                    <a:pt x="32" y="34"/>
                  </a:lnTo>
                  <a:lnTo>
                    <a:pt x="20" y="36"/>
                  </a:lnTo>
                  <a:lnTo>
                    <a:pt x="6" y="32"/>
                  </a:lnTo>
                  <a:lnTo>
                    <a:pt x="0" y="28"/>
                  </a:lnTo>
                  <a:lnTo>
                    <a:pt x="0" y="2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58" name="Freeform 254">
              <a:extLst>
                <a:ext uri="{FF2B5EF4-FFF2-40B4-BE49-F238E27FC236}">
                  <a16:creationId xmlns:a16="http://schemas.microsoft.com/office/drawing/2014/main" id="{F1A840CC-8702-46DC-8A27-F4805B7D7FFE}"/>
                </a:ext>
              </a:extLst>
            </p:cNvPr>
            <p:cNvSpPr>
              <a:spLocks/>
            </p:cNvSpPr>
            <p:nvPr/>
          </p:nvSpPr>
          <p:spPr bwMode="gray">
            <a:xfrm>
              <a:off x="9871736" y="4834100"/>
              <a:ext cx="36323" cy="46475"/>
            </a:xfrm>
            <a:custGeom>
              <a:avLst/>
              <a:gdLst>
                <a:gd name="T0" fmla="*/ 0 w 22"/>
                <a:gd name="T1" fmla="*/ 0 h 28"/>
                <a:gd name="T2" fmla="*/ 10 w 22"/>
                <a:gd name="T3" fmla="*/ 6 h 28"/>
                <a:gd name="T4" fmla="*/ 20 w 22"/>
                <a:gd name="T5" fmla="*/ 16 h 28"/>
                <a:gd name="T6" fmla="*/ 22 w 22"/>
                <a:gd name="T7" fmla="*/ 28 h 28"/>
                <a:gd name="T8" fmla="*/ 12 w 22"/>
                <a:gd name="T9" fmla="*/ 22 h 28"/>
                <a:gd name="T10" fmla="*/ 8 w 22"/>
                <a:gd name="T11" fmla="*/ 14 h 28"/>
                <a:gd name="T12" fmla="*/ 2 w 22"/>
                <a:gd name="T13" fmla="*/ 8 h 28"/>
                <a:gd name="T14" fmla="*/ 0 w 22"/>
                <a:gd name="T15" fmla="*/ 0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8">
                  <a:moveTo>
                    <a:pt x="0" y="0"/>
                  </a:moveTo>
                  <a:lnTo>
                    <a:pt x="10" y="6"/>
                  </a:lnTo>
                  <a:lnTo>
                    <a:pt x="20" y="16"/>
                  </a:lnTo>
                  <a:lnTo>
                    <a:pt x="22" y="28"/>
                  </a:lnTo>
                  <a:lnTo>
                    <a:pt x="12" y="22"/>
                  </a:lnTo>
                  <a:lnTo>
                    <a:pt x="8" y="14"/>
                  </a:lnTo>
                  <a:lnTo>
                    <a:pt x="2" y="8"/>
                  </a:lnTo>
                  <a:lnTo>
                    <a:pt x="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59" name="Freeform 255">
              <a:extLst>
                <a:ext uri="{FF2B5EF4-FFF2-40B4-BE49-F238E27FC236}">
                  <a16:creationId xmlns:a16="http://schemas.microsoft.com/office/drawing/2014/main" id="{52CB19D8-E065-4313-9C90-D18370C6B71E}"/>
                </a:ext>
              </a:extLst>
            </p:cNvPr>
            <p:cNvSpPr>
              <a:spLocks/>
            </p:cNvSpPr>
            <p:nvPr/>
          </p:nvSpPr>
          <p:spPr bwMode="gray">
            <a:xfrm>
              <a:off x="10000519" y="4940329"/>
              <a:ext cx="33021" cy="19918"/>
            </a:xfrm>
            <a:custGeom>
              <a:avLst/>
              <a:gdLst>
                <a:gd name="T0" fmla="*/ 4 w 20"/>
                <a:gd name="T1" fmla="*/ 0 h 12"/>
                <a:gd name="T2" fmla="*/ 10 w 20"/>
                <a:gd name="T3" fmla="*/ 0 h 12"/>
                <a:gd name="T4" fmla="*/ 20 w 20"/>
                <a:gd name="T5" fmla="*/ 8 h 12"/>
                <a:gd name="T6" fmla="*/ 20 w 20"/>
                <a:gd name="T7" fmla="*/ 10 h 12"/>
                <a:gd name="T8" fmla="*/ 20 w 20"/>
                <a:gd name="T9" fmla="*/ 12 h 12"/>
                <a:gd name="T10" fmla="*/ 18 w 20"/>
                <a:gd name="T11" fmla="*/ 12 h 12"/>
                <a:gd name="T12" fmla="*/ 4 w 20"/>
                <a:gd name="T13" fmla="*/ 10 h 12"/>
                <a:gd name="T14" fmla="*/ 0 w 20"/>
                <a:gd name="T15" fmla="*/ 4 h 12"/>
                <a:gd name="T16" fmla="*/ 4 w 20"/>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12">
                  <a:moveTo>
                    <a:pt x="4" y="0"/>
                  </a:moveTo>
                  <a:lnTo>
                    <a:pt x="10" y="0"/>
                  </a:lnTo>
                  <a:lnTo>
                    <a:pt x="20" y="8"/>
                  </a:lnTo>
                  <a:lnTo>
                    <a:pt x="20" y="10"/>
                  </a:lnTo>
                  <a:lnTo>
                    <a:pt x="20" y="12"/>
                  </a:lnTo>
                  <a:lnTo>
                    <a:pt x="18" y="12"/>
                  </a:lnTo>
                  <a:lnTo>
                    <a:pt x="4" y="10"/>
                  </a:lnTo>
                  <a:lnTo>
                    <a:pt x="0" y="4"/>
                  </a:lnTo>
                  <a:lnTo>
                    <a:pt x="4"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60" name="Freeform 256">
              <a:extLst>
                <a:ext uri="{FF2B5EF4-FFF2-40B4-BE49-F238E27FC236}">
                  <a16:creationId xmlns:a16="http://schemas.microsoft.com/office/drawing/2014/main" id="{F57E21A9-3F15-4499-8AC4-70F0F2DA0441}"/>
                </a:ext>
              </a:extLst>
            </p:cNvPr>
            <p:cNvSpPr>
              <a:spLocks/>
            </p:cNvSpPr>
            <p:nvPr/>
          </p:nvSpPr>
          <p:spPr bwMode="gray">
            <a:xfrm>
              <a:off x="10026937" y="4913772"/>
              <a:ext cx="26417" cy="33197"/>
            </a:xfrm>
            <a:custGeom>
              <a:avLst/>
              <a:gdLst>
                <a:gd name="T0" fmla="*/ 0 w 16"/>
                <a:gd name="T1" fmla="*/ 0 h 20"/>
                <a:gd name="T2" fmla="*/ 2 w 16"/>
                <a:gd name="T3" fmla="*/ 8 h 20"/>
                <a:gd name="T4" fmla="*/ 6 w 16"/>
                <a:gd name="T5" fmla="*/ 18 h 20"/>
                <a:gd name="T6" fmla="*/ 16 w 16"/>
                <a:gd name="T7" fmla="*/ 20 h 20"/>
                <a:gd name="T8" fmla="*/ 14 w 16"/>
                <a:gd name="T9" fmla="*/ 8 h 20"/>
                <a:gd name="T10" fmla="*/ 8 w 16"/>
                <a:gd name="T11" fmla="*/ 4 h 20"/>
                <a:gd name="T12" fmla="*/ 0 w 16"/>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6" h="20">
                  <a:moveTo>
                    <a:pt x="0" y="0"/>
                  </a:moveTo>
                  <a:lnTo>
                    <a:pt x="2" y="8"/>
                  </a:lnTo>
                  <a:lnTo>
                    <a:pt x="6" y="18"/>
                  </a:lnTo>
                  <a:lnTo>
                    <a:pt x="16" y="20"/>
                  </a:lnTo>
                  <a:lnTo>
                    <a:pt x="14" y="8"/>
                  </a:lnTo>
                  <a:lnTo>
                    <a:pt x="8" y="4"/>
                  </a:lnTo>
                  <a:lnTo>
                    <a:pt x="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61" name="Freeform 257">
              <a:extLst>
                <a:ext uri="{FF2B5EF4-FFF2-40B4-BE49-F238E27FC236}">
                  <a16:creationId xmlns:a16="http://schemas.microsoft.com/office/drawing/2014/main" id="{97A717C9-52AC-4116-B546-EFD2669D8B98}"/>
                </a:ext>
              </a:extLst>
            </p:cNvPr>
            <p:cNvSpPr>
              <a:spLocks/>
            </p:cNvSpPr>
            <p:nvPr/>
          </p:nvSpPr>
          <p:spPr bwMode="gray">
            <a:xfrm>
              <a:off x="10050052" y="4966888"/>
              <a:ext cx="23114" cy="16599"/>
            </a:xfrm>
            <a:custGeom>
              <a:avLst/>
              <a:gdLst>
                <a:gd name="T0" fmla="*/ 0 w 14"/>
                <a:gd name="T1" fmla="*/ 2 h 10"/>
                <a:gd name="T2" fmla="*/ 6 w 14"/>
                <a:gd name="T3" fmla="*/ 0 h 10"/>
                <a:gd name="T4" fmla="*/ 14 w 14"/>
                <a:gd name="T5" fmla="*/ 4 h 10"/>
                <a:gd name="T6" fmla="*/ 14 w 14"/>
                <a:gd name="T7" fmla="*/ 10 h 10"/>
                <a:gd name="T8" fmla="*/ 6 w 14"/>
                <a:gd name="T9" fmla="*/ 8 h 10"/>
                <a:gd name="T10" fmla="*/ 0 w 14"/>
                <a:gd name="T11" fmla="*/ 2 h 10"/>
              </a:gdLst>
              <a:ahLst/>
              <a:cxnLst>
                <a:cxn ang="0">
                  <a:pos x="T0" y="T1"/>
                </a:cxn>
                <a:cxn ang="0">
                  <a:pos x="T2" y="T3"/>
                </a:cxn>
                <a:cxn ang="0">
                  <a:pos x="T4" y="T5"/>
                </a:cxn>
                <a:cxn ang="0">
                  <a:pos x="T6" y="T7"/>
                </a:cxn>
                <a:cxn ang="0">
                  <a:pos x="T8" y="T9"/>
                </a:cxn>
                <a:cxn ang="0">
                  <a:pos x="T10" y="T11"/>
                </a:cxn>
              </a:cxnLst>
              <a:rect l="0" t="0" r="r" b="b"/>
              <a:pathLst>
                <a:path w="14" h="10">
                  <a:moveTo>
                    <a:pt x="0" y="2"/>
                  </a:moveTo>
                  <a:lnTo>
                    <a:pt x="6" y="0"/>
                  </a:lnTo>
                  <a:lnTo>
                    <a:pt x="14" y="4"/>
                  </a:lnTo>
                  <a:lnTo>
                    <a:pt x="14" y="10"/>
                  </a:lnTo>
                  <a:lnTo>
                    <a:pt x="6" y="8"/>
                  </a:lnTo>
                  <a:lnTo>
                    <a:pt x="0" y="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62" name="Freeform 258">
              <a:extLst>
                <a:ext uri="{FF2B5EF4-FFF2-40B4-BE49-F238E27FC236}">
                  <a16:creationId xmlns:a16="http://schemas.microsoft.com/office/drawing/2014/main" id="{BBCAA4E1-3A88-4EF5-8497-CF7DF9DC42BD}"/>
                </a:ext>
              </a:extLst>
            </p:cNvPr>
            <p:cNvSpPr>
              <a:spLocks/>
            </p:cNvSpPr>
            <p:nvPr/>
          </p:nvSpPr>
          <p:spPr bwMode="gray">
            <a:xfrm>
              <a:off x="10122698" y="5235779"/>
              <a:ext cx="72648" cy="59754"/>
            </a:xfrm>
            <a:custGeom>
              <a:avLst/>
              <a:gdLst>
                <a:gd name="T0" fmla="*/ 0 w 44"/>
                <a:gd name="T1" fmla="*/ 0 h 36"/>
                <a:gd name="T2" fmla="*/ 14 w 44"/>
                <a:gd name="T3" fmla="*/ 6 h 36"/>
                <a:gd name="T4" fmla="*/ 24 w 44"/>
                <a:gd name="T5" fmla="*/ 18 h 36"/>
                <a:gd name="T6" fmla="*/ 34 w 44"/>
                <a:gd name="T7" fmla="*/ 24 h 36"/>
                <a:gd name="T8" fmla="*/ 44 w 44"/>
                <a:gd name="T9" fmla="*/ 32 h 36"/>
                <a:gd name="T10" fmla="*/ 42 w 44"/>
                <a:gd name="T11" fmla="*/ 36 h 36"/>
                <a:gd name="T12" fmla="*/ 30 w 44"/>
                <a:gd name="T13" fmla="*/ 28 h 36"/>
                <a:gd name="T14" fmla="*/ 20 w 44"/>
                <a:gd name="T15" fmla="*/ 20 h 36"/>
                <a:gd name="T16" fmla="*/ 10 w 44"/>
                <a:gd name="T17" fmla="*/ 12 h 36"/>
                <a:gd name="T18" fmla="*/ 2 w 44"/>
                <a:gd name="T19" fmla="*/ 8 h 36"/>
                <a:gd name="T20" fmla="*/ 0 w 44"/>
                <a:gd name="T2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36">
                  <a:moveTo>
                    <a:pt x="0" y="0"/>
                  </a:moveTo>
                  <a:lnTo>
                    <a:pt x="14" y="6"/>
                  </a:lnTo>
                  <a:lnTo>
                    <a:pt x="24" y="18"/>
                  </a:lnTo>
                  <a:lnTo>
                    <a:pt x="34" y="24"/>
                  </a:lnTo>
                  <a:lnTo>
                    <a:pt x="44" y="32"/>
                  </a:lnTo>
                  <a:lnTo>
                    <a:pt x="42" y="36"/>
                  </a:lnTo>
                  <a:lnTo>
                    <a:pt x="30" y="28"/>
                  </a:lnTo>
                  <a:lnTo>
                    <a:pt x="20" y="20"/>
                  </a:lnTo>
                  <a:lnTo>
                    <a:pt x="10" y="12"/>
                  </a:lnTo>
                  <a:lnTo>
                    <a:pt x="2" y="8"/>
                  </a:lnTo>
                  <a:lnTo>
                    <a:pt x="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63" name="Freeform 259">
              <a:extLst>
                <a:ext uri="{FF2B5EF4-FFF2-40B4-BE49-F238E27FC236}">
                  <a16:creationId xmlns:a16="http://schemas.microsoft.com/office/drawing/2014/main" id="{ED958DC3-8FEE-436D-ACFB-1D4910777340}"/>
                </a:ext>
              </a:extLst>
            </p:cNvPr>
            <p:cNvSpPr>
              <a:spLocks/>
            </p:cNvSpPr>
            <p:nvPr/>
          </p:nvSpPr>
          <p:spPr bwMode="gray">
            <a:xfrm>
              <a:off x="10350546" y="5634138"/>
              <a:ext cx="145294" cy="225737"/>
            </a:xfrm>
            <a:custGeom>
              <a:avLst/>
              <a:gdLst>
                <a:gd name="T0" fmla="*/ 20 w 88"/>
                <a:gd name="T1" fmla="*/ 98 h 136"/>
                <a:gd name="T2" fmla="*/ 14 w 88"/>
                <a:gd name="T3" fmla="*/ 90 h 136"/>
                <a:gd name="T4" fmla="*/ 22 w 88"/>
                <a:gd name="T5" fmla="*/ 84 h 136"/>
                <a:gd name="T6" fmla="*/ 28 w 88"/>
                <a:gd name="T7" fmla="*/ 80 h 136"/>
                <a:gd name="T8" fmla="*/ 28 w 88"/>
                <a:gd name="T9" fmla="*/ 62 h 136"/>
                <a:gd name="T10" fmla="*/ 30 w 88"/>
                <a:gd name="T11" fmla="*/ 46 h 136"/>
                <a:gd name="T12" fmla="*/ 20 w 88"/>
                <a:gd name="T13" fmla="*/ 34 h 136"/>
                <a:gd name="T14" fmla="*/ 8 w 88"/>
                <a:gd name="T15" fmla="*/ 26 h 136"/>
                <a:gd name="T16" fmla="*/ 2 w 88"/>
                <a:gd name="T17" fmla="*/ 10 h 136"/>
                <a:gd name="T18" fmla="*/ 0 w 88"/>
                <a:gd name="T19" fmla="*/ 0 h 136"/>
                <a:gd name="T20" fmla="*/ 10 w 88"/>
                <a:gd name="T21" fmla="*/ 10 h 136"/>
                <a:gd name="T22" fmla="*/ 22 w 88"/>
                <a:gd name="T23" fmla="*/ 18 h 136"/>
                <a:gd name="T24" fmla="*/ 30 w 88"/>
                <a:gd name="T25" fmla="*/ 26 h 136"/>
                <a:gd name="T26" fmla="*/ 28 w 88"/>
                <a:gd name="T27" fmla="*/ 34 h 136"/>
                <a:gd name="T28" fmla="*/ 34 w 88"/>
                <a:gd name="T29" fmla="*/ 44 h 136"/>
                <a:gd name="T30" fmla="*/ 38 w 88"/>
                <a:gd name="T31" fmla="*/ 52 h 136"/>
                <a:gd name="T32" fmla="*/ 44 w 88"/>
                <a:gd name="T33" fmla="*/ 46 h 136"/>
                <a:gd name="T34" fmla="*/ 46 w 88"/>
                <a:gd name="T35" fmla="*/ 52 h 136"/>
                <a:gd name="T36" fmla="*/ 52 w 88"/>
                <a:gd name="T37" fmla="*/ 60 h 136"/>
                <a:gd name="T38" fmla="*/ 64 w 88"/>
                <a:gd name="T39" fmla="*/ 68 h 136"/>
                <a:gd name="T40" fmla="*/ 76 w 88"/>
                <a:gd name="T41" fmla="*/ 66 h 136"/>
                <a:gd name="T42" fmla="*/ 82 w 88"/>
                <a:gd name="T43" fmla="*/ 60 h 136"/>
                <a:gd name="T44" fmla="*/ 88 w 88"/>
                <a:gd name="T45" fmla="*/ 62 h 136"/>
                <a:gd name="T46" fmla="*/ 88 w 88"/>
                <a:gd name="T47" fmla="*/ 74 h 136"/>
                <a:gd name="T48" fmla="*/ 80 w 88"/>
                <a:gd name="T49" fmla="*/ 80 h 136"/>
                <a:gd name="T50" fmla="*/ 80 w 88"/>
                <a:gd name="T51" fmla="*/ 88 h 136"/>
                <a:gd name="T52" fmla="*/ 64 w 88"/>
                <a:gd name="T53" fmla="*/ 90 h 136"/>
                <a:gd name="T54" fmla="*/ 64 w 88"/>
                <a:gd name="T55" fmla="*/ 98 h 136"/>
                <a:gd name="T56" fmla="*/ 64 w 88"/>
                <a:gd name="T57" fmla="*/ 106 h 136"/>
                <a:gd name="T58" fmla="*/ 58 w 88"/>
                <a:gd name="T59" fmla="*/ 114 h 136"/>
                <a:gd name="T60" fmla="*/ 50 w 88"/>
                <a:gd name="T61" fmla="*/ 126 h 136"/>
                <a:gd name="T62" fmla="*/ 40 w 88"/>
                <a:gd name="T63" fmla="*/ 136 h 136"/>
                <a:gd name="T64" fmla="*/ 32 w 88"/>
                <a:gd name="T65" fmla="*/ 134 h 136"/>
                <a:gd name="T66" fmla="*/ 30 w 88"/>
                <a:gd name="T67" fmla="*/ 122 h 136"/>
                <a:gd name="T68" fmla="*/ 36 w 88"/>
                <a:gd name="T69" fmla="*/ 116 h 136"/>
                <a:gd name="T70" fmla="*/ 36 w 88"/>
                <a:gd name="T71" fmla="*/ 108 h 136"/>
                <a:gd name="T72" fmla="*/ 30 w 88"/>
                <a:gd name="T73" fmla="*/ 100 h 136"/>
                <a:gd name="T74" fmla="*/ 20 w 88"/>
                <a:gd name="T75" fmla="*/ 9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8" h="136">
                  <a:moveTo>
                    <a:pt x="20" y="98"/>
                  </a:moveTo>
                  <a:lnTo>
                    <a:pt x="14" y="90"/>
                  </a:lnTo>
                  <a:lnTo>
                    <a:pt x="22" y="84"/>
                  </a:lnTo>
                  <a:lnTo>
                    <a:pt x="28" y="80"/>
                  </a:lnTo>
                  <a:lnTo>
                    <a:pt x="28" y="62"/>
                  </a:lnTo>
                  <a:lnTo>
                    <a:pt x="30" y="46"/>
                  </a:lnTo>
                  <a:lnTo>
                    <a:pt x="20" y="34"/>
                  </a:lnTo>
                  <a:lnTo>
                    <a:pt x="8" y="26"/>
                  </a:lnTo>
                  <a:lnTo>
                    <a:pt x="2" y="10"/>
                  </a:lnTo>
                  <a:lnTo>
                    <a:pt x="0" y="0"/>
                  </a:lnTo>
                  <a:lnTo>
                    <a:pt x="10" y="10"/>
                  </a:lnTo>
                  <a:lnTo>
                    <a:pt x="22" y="18"/>
                  </a:lnTo>
                  <a:lnTo>
                    <a:pt x="30" y="26"/>
                  </a:lnTo>
                  <a:lnTo>
                    <a:pt x="28" y="34"/>
                  </a:lnTo>
                  <a:lnTo>
                    <a:pt x="34" y="44"/>
                  </a:lnTo>
                  <a:lnTo>
                    <a:pt x="38" y="52"/>
                  </a:lnTo>
                  <a:lnTo>
                    <a:pt x="44" y="46"/>
                  </a:lnTo>
                  <a:lnTo>
                    <a:pt x="46" y="52"/>
                  </a:lnTo>
                  <a:lnTo>
                    <a:pt x="52" y="60"/>
                  </a:lnTo>
                  <a:lnTo>
                    <a:pt x="64" y="68"/>
                  </a:lnTo>
                  <a:lnTo>
                    <a:pt x="76" y="66"/>
                  </a:lnTo>
                  <a:lnTo>
                    <a:pt x="82" y="60"/>
                  </a:lnTo>
                  <a:lnTo>
                    <a:pt x="88" y="62"/>
                  </a:lnTo>
                  <a:lnTo>
                    <a:pt x="88" y="74"/>
                  </a:lnTo>
                  <a:lnTo>
                    <a:pt x="80" y="80"/>
                  </a:lnTo>
                  <a:lnTo>
                    <a:pt x="80" y="88"/>
                  </a:lnTo>
                  <a:lnTo>
                    <a:pt x="64" y="90"/>
                  </a:lnTo>
                  <a:lnTo>
                    <a:pt x="64" y="98"/>
                  </a:lnTo>
                  <a:lnTo>
                    <a:pt x="64" y="106"/>
                  </a:lnTo>
                  <a:lnTo>
                    <a:pt x="58" y="114"/>
                  </a:lnTo>
                  <a:lnTo>
                    <a:pt x="50" y="126"/>
                  </a:lnTo>
                  <a:lnTo>
                    <a:pt x="40" y="136"/>
                  </a:lnTo>
                  <a:lnTo>
                    <a:pt x="32" y="134"/>
                  </a:lnTo>
                  <a:lnTo>
                    <a:pt x="30" y="122"/>
                  </a:lnTo>
                  <a:lnTo>
                    <a:pt x="36" y="116"/>
                  </a:lnTo>
                  <a:lnTo>
                    <a:pt x="36" y="108"/>
                  </a:lnTo>
                  <a:lnTo>
                    <a:pt x="30" y="100"/>
                  </a:lnTo>
                  <a:lnTo>
                    <a:pt x="20" y="9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64" name="Freeform 260">
              <a:extLst>
                <a:ext uri="{FF2B5EF4-FFF2-40B4-BE49-F238E27FC236}">
                  <a16:creationId xmlns:a16="http://schemas.microsoft.com/office/drawing/2014/main" id="{479C8C8B-F836-445B-9768-81304840FCE2}"/>
                </a:ext>
              </a:extLst>
            </p:cNvPr>
            <p:cNvSpPr>
              <a:spLocks/>
            </p:cNvSpPr>
            <p:nvPr/>
          </p:nvSpPr>
          <p:spPr bwMode="gray">
            <a:xfrm>
              <a:off x="10185440" y="5826677"/>
              <a:ext cx="201431" cy="192540"/>
            </a:xfrm>
            <a:custGeom>
              <a:avLst/>
              <a:gdLst>
                <a:gd name="T0" fmla="*/ 92 w 122"/>
                <a:gd name="T1" fmla="*/ 0 h 116"/>
                <a:gd name="T2" fmla="*/ 100 w 122"/>
                <a:gd name="T3" fmla="*/ 2 h 116"/>
                <a:gd name="T4" fmla="*/ 106 w 122"/>
                <a:gd name="T5" fmla="*/ 10 h 116"/>
                <a:gd name="T6" fmla="*/ 116 w 122"/>
                <a:gd name="T7" fmla="*/ 10 h 116"/>
                <a:gd name="T8" fmla="*/ 122 w 122"/>
                <a:gd name="T9" fmla="*/ 10 h 116"/>
                <a:gd name="T10" fmla="*/ 122 w 122"/>
                <a:gd name="T11" fmla="*/ 20 h 116"/>
                <a:gd name="T12" fmla="*/ 116 w 122"/>
                <a:gd name="T13" fmla="*/ 30 h 116"/>
                <a:gd name="T14" fmla="*/ 110 w 122"/>
                <a:gd name="T15" fmla="*/ 38 h 116"/>
                <a:gd name="T16" fmla="*/ 100 w 122"/>
                <a:gd name="T17" fmla="*/ 46 h 116"/>
                <a:gd name="T18" fmla="*/ 100 w 122"/>
                <a:gd name="T19" fmla="*/ 60 h 116"/>
                <a:gd name="T20" fmla="*/ 90 w 122"/>
                <a:gd name="T21" fmla="*/ 62 h 116"/>
                <a:gd name="T22" fmla="*/ 80 w 122"/>
                <a:gd name="T23" fmla="*/ 66 h 116"/>
                <a:gd name="T24" fmla="*/ 74 w 122"/>
                <a:gd name="T25" fmla="*/ 74 h 116"/>
                <a:gd name="T26" fmla="*/ 70 w 122"/>
                <a:gd name="T27" fmla="*/ 90 h 116"/>
                <a:gd name="T28" fmla="*/ 58 w 122"/>
                <a:gd name="T29" fmla="*/ 104 h 116"/>
                <a:gd name="T30" fmla="*/ 48 w 122"/>
                <a:gd name="T31" fmla="*/ 114 h 116"/>
                <a:gd name="T32" fmla="*/ 30 w 122"/>
                <a:gd name="T33" fmla="*/ 116 h 116"/>
                <a:gd name="T34" fmla="*/ 22 w 122"/>
                <a:gd name="T35" fmla="*/ 110 h 116"/>
                <a:gd name="T36" fmla="*/ 16 w 122"/>
                <a:gd name="T37" fmla="*/ 108 h 116"/>
                <a:gd name="T38" fmla="*/ 0 w 122"/>
                <a:gd name="T39" fmla="*/ 106 h 116"/>
                <a:gd name="T40" fmla="*/ 4 w 122"/>
                <a:gd name="T41" fmla="*/ 92 h 116"/>
                <a:gd name="T42" fmla="*/ 14 w 122"/>
                <a:gd name="T43" fmla="*/ 80 h 116"/>
                <a:gd name="T44" fmla="*/ 30 w 122"/>
                <a:gd name="T45" fmla="*/ 64 h 116"/>
                <a:gd name="T46" fmla="*/ 38 w 122"/>
                <a:gd name="T47" fmla="*/ 64 h 116"/>
                <a:gd name="T48" fmla="*/ 48 w 122"/>
                <a:gd name="T49" fmla="*/ 52 h 116"/>
                <a:gd name="T50" fmla="*/ 60 w 122"/>
                <a:gd name="T51" fmla="*/ 52 h 116"/>
                <a:gd name="T52" fmla="*/ 72 w 122"/>
                <a:gd name="T53" fmla="*/ 36 h 116"/>
                <a:gd name="T54" fmla="*/ 78 w 122"/>
                <a:gd name="T55" fmla="*/ 26 h 116"/>
                <a:gd name="T56" fmla="*/ 88 w 122"/>
                <a:gd name="T57" fmla="*/ 20 h 116"/>
                <a:gd name="T58" fmla="*/ 88 w 122"/>
                <a:gd name="T59" fmla="*/ 10 h 116"/>
                <a:gd name="T60" fmla="*/ 92 w 122"/>
                <a:gd name="T6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2" h="116">
                  <a:moveTo>
                    <a:pt x="92" y="0"/>
                  </a:moveTo>
                  <a:lnTo>
                    <a:pt x="100" y="2"/>
                  </a:lnTo>
                  <a:lnTo>
                    <a:pt x="106" y="10"/>
                  </a:lnTo>
                  <a:lnTo>
                    <a:pt x="116" y="10"/>
                  </a:lnTo>
                  <a:lnTo>
                    <a:pt x="122" y="10"/>
                  </a:lnTo>
                  <a:lnTo>
                    <a:pt x="122" y="20"/>
                  </a:lnTo>
                  <a:lnTo>
                    <a:pt x="116" y="30"/>
                  </a:lnTo>
                  <a:lnTo>
                    <a:pt x="110" y="38"/>
                  </a:lnTo>
                  <a:lnTo>
                    <a:pt x="100" y="46"/>
                  </a:lnTo>
                  <a:lnTo>
                    <a:pt x="100" y="60"/>
                  </a:lnTo>
                  <a:lnTo>
                    <a:pt x="90" y="62"/>
                  </a:lnTo>
                  <a:lnTo>
                    <a:pt x="80" y="66"/>
                  </a:lnTo>
                  <a:lnTo>
                    <a:pt x="74" y="74"/>
                  </a:lnTo>
                  <a:lnTo>
                    <a:pt x="70" y="90"/>
                  </a:lnTo>
                  <a:lnTo>
                    <a:pt x="58" y="104"/>
                  </a:lnTo>
                  <a:lnTo>
                    <a:pt x="48" y="114"/>
                  </a:lnTo>
                  <a:lnTo>
                    <a:pt x="30" y="116"/>
                  </a:lnTo>
                  <a:lnTo>
                    <a:pt x="22" y="110"/>
                  </a:lnTo>
                  <a:lnTo>
                    <a:pt x="16" y="108"/>
                  </a:lnTo>
                  <a:lnTo>
                    <a:pt x="0" y="106"/>
                  </a:lnTo>
                  <a:lnTo>
                    <a:pt x="4" y="92"/>
                  </a:lnTo>
                  <a:lnTo>
                    <a:pt x="14" y="80"/>
                  </a:lnTo>
                  <a:lnTo>
                    <a:pt x="30" y="64"/>
                  </a:lnTo>
                  <a:lnTo>
                    <a:pt x="38" y="64"/>
                  </a:lnTo>
                  <a:lnTo>
                    <a:pt x="48" y="52"/>
                  </a:lnTo>
                  <a:lnTo>
                    <a:pt x="60" y="52"/>
                  </a:lnTo>
                  <a:lnTo>
                    <a:pt x="72" y="36"/>
                  </a:lnTo>
                  <a:lnTo>
                    <a:pt x="78" y="26"/>
                  </a:lnTo>
                  <a:lnTo>
                    <a:pt x="88" y="20"/>
                  </a:lnTo>
                  <a:lnTo>
                    <a:pt x="88" y="10"/>
                  </a:lnTo>
                  <a:lnTo>
                    <a:pt x="92"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65" name="Freeform 261">
              <a:extLst>
                <a:ext uri="{FF2B5EF4-FFF2-40B4-BE49-F238E27FC236}">
                  <a16:creationId xmlns:a16="http://schemas.microsoft.com/office/drawing/2014/main" id="{25FC5D20-3CB4-4CF8-8F87-E3305836130A}"/>
                </a:ext>
              </a:extLst>
            </p:cNvPr>
            <p:cNvSpPr>
              <a:spLocks/>
            </p:cNvSpPr>
            <p:nvPr/>
          </p:nvSpPr>
          <p:spPr bwMode="gray">
            <a:xfrm>
              <a:off x="9610866" y="5826677"/>
              <a:ext cx="95762" cy="96271"/>
            </a:xfrm>
            <a:custGeom>
              <a:avLst/>
              <a:gdLst>
                <a:gd name="T0" fmla="*/ 2 w 58"/>
                <a:gd name="T1" fmla="*/ 0 h 58"/>
                <a:gd name="T2" fmla="*/ 12 w 58"/>
                <a:gd name="T3" fmla="*/ 6 h 58"/>
                <a:gd name="T4" fmla="*/ 26 w 58"/>
                <a:gd name="T5" fmla="*/ 12 h 58"/>
                <a:gd name="T6" fmla="*/ 40 w 58"/>
                <a:gd name="T7" fmla="*/ 10 h 58"/>
                <a:gd name="T8" fmla="*/ 52 w 58"/>
                <a:gd name="T9" fmla="*/ 8 h 58"/>
                <a:gd name="T10" fmla="*/ 58 w 58"/>
                <a:gd name="T11" fmla="*/ 10 h 58"/>
                <a:gd name="T12" fmla="*/ 58 w 58"/>
                <a:gd name="T13" fmla="*/ 26 h 58"/>
                <a:gd name="T14" fmla="*/ 54 w 58"/>
                <a:gd name="T15" fmla="*/ 34 h 58"/>
                <a:gd name="T16" fmla="*/ 52 w 58"/>
                <a:gd name="T17" fmla="*/ 42 h 58"/>
                <a:gd name="T18" fmla="*/ 48 w 58"/>
                <a:gd name="T19" fmla="*/ 46 h 58"/>
                <a:gd name="T20" fmla="*/ 42 w 58"/>
                <a:gd name="T21" fmla="*/ 46 h 58"/>
                <a:gd name="T22" fmla="*/ 40 w 58"/>
                <a:gd name="T23" fmla="*/ 50 h 58"/>
                <a:gd name="T24" fmla="*/ 32 w 58"/>
                <a:gd name="T25" fmla="*/ 58 h 58"/>
                <a:gd name="T26" fmla="*/ 24 w 58"/>
                <a:gd name="T27" fmla="*/ 56 h 58"/>
                <a:gd name="T28" fmla="*/ 16 w 58"/>
                <a:gd name="T29" fmla="*/ 48 h 58"/>
                <a:gd name="T30" fmla="*/ 10 w 58"/>
                <a:gd name="T31" fmla="*/ 40 h 58"/>
                <a:gd name="T32" fmla="*/ 12 w 58"/>
                <a:gd name="T33" fmla="*/ 26 h 58"/>
                <a:gd name="T34" fmla="*/ 8 w 58"/>
                <a:gd name="T35" fmla="*/ 18 h 58"/>
                <a:gd name="T36" fmla="*/ 0 w 58"/>
                <a:gd name="T37" fmla="*/ 12 h 58"/>
                <a:gd name="T38" fmla="*/ 2 w 58"/>
                <a:gd name="T3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8" h="58">
                  <a:moveTo>
                    <a:pt x="2" y="0"/>
                  </a:moveTo>
                  <a:lnTo>
                    <a:pt x="12" y="6"/>
                  </a:lnTo>
                  <a:lnTo>
                    <a:pt x="26" y="12"/>
                  </a:lnTo>
                  <a:lnTo>
                    <a:pt x="40" y="10"/>
                  </a:lnTo>
                  <a:lnTo>
                    <a:pt x="52" y="8"/>
                  </a:lnTo>
                  <a:lnTo>
                    <a:pt x="58" y="10"/>
                  </a:lnTo>
                  <a:lnTo>
                    <a:pt x="58" y="26"/>
                  </a:lnTo>
                  <a:lnTo>
                    <a:pt x="54" y="34"/>
                  </a:lnTo>
                  <a:lnTo>
                    <a:pt x="52" y="42"/>
                  </a:lnTo>
                  <a:lnTo>
                    <a:pt x="48" y="46"/>
                  </a:lnTo>
                  <a:lnTo>
                    <a:pt x="42" y="46"/>
                  </a:lnTo>
                  <a:lnTo>
                    <a:pt x="40" y="50"/>
                  </a:lnTo>
                  <a:lnTo>
                    <a:pt x="32" y="58"/>
                  </a:lnTo>
                  <a:lnTo>
                    <a:pt x="24" y="56"/>
                  </a:lnTo>
                  <a:lnTo>
                    <a:pt x="16" y="48"/>
                  </a:lnTo>
                  <a:lnTo>
                    <a:pt x="10" y="40"/>
                  </a:lnTo>
                  <a:lnTo>
                    <a:pt x="12" y="26"/>
                  </a:lnTo>
                  <a:lnTo>
                    <a:pt x="8" y="18"/>
                  </a:lnTo>
                  <a:lnTo>
                    <a:pt x="0" y="12"/>
                  </a:lnTo>
                  <a:lnTo>
                    <a:pt x="2"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66" name="Freeform 262">
              <a:extLst>
                <a:ext uri="{FF2B5EF4-FFF2-40B4-BE49-F238E27FC236}">
                  <a16:creationId xmlns:a16="http://schemas.microsoft.com/office/drawing/2014/main" id="{9A5F8F53-E341-41F6-A222-DEA152F88DDF}"/>
                </a:ext>
              </a:extLst>
            </p:cNvPr>
            <p:cNvSpPr>
              <a:spLocks/>
            </p:cNvSpPr>
            <p:nvPr/>
          </p:nvSpPr>
          <p:spPr bwMode="gray">
            <a:xfrm>
              <a:off x="8785331" y="4983485"/>
              <a:ext cx="1056686" cy="790078"/>
            </a:xfrm>
            <a:custGeom>
              <a:avLst/>
              <a:gdLst>
                <a:gd name="T0" fmla="*/ 308 w 640"/>
                <a:gd name="T1" fmla="*/ 18 h 476"/>
                <a:gd name="T2" fmla="*/ 308 w 640"/>
                <a:gd name="T3" fmla="*/ 4 h 476"/>
                <a:gd name="T4" fmla="*/ 340 w 640"/>
                <a:gd name="T5" fmla="*/ 18 h 476"/>
                <a:gd name="T6" fmla="*/ 362 w 640"/>
                <a:gd name="T7" fmla="*/ 22 h 476"/>
                <a:gd name="T8" fmla="*/ 372 w 640"/>
                <a:gd name="T9" fmla="*/ 30 h 476"/>
                <a:gd name="T10" fmla="*/ 352 w 640"/>
                <a:gd name="T11" fmla="*/ 54 h 476"/>
                <a:gd name="T12" fmla="*/ 372 w 640"/>
                <a:gd name="T13" fmla="*/ 78 h 476"/>
                <a:gd name="T14" fmla="*/ 416 w 640"/>
                <a:gd name="T15" fmla="*/ 102 h 476"/>
                <a:gd name="T16" fmla="*/ 450 w 640"/>
                <a:gd name="T17" fmla="*/ 84 h 476"/>
                <a:gd name="T18" fmla="*/ 456 w 640"/>
                <a:gd name="T19" fmla="*/ 22 h 476"/>
                <a:gd name="T20" fmla="*/ 470 w 640"/>
                <a:gd name="T21" fmla="*/ 6 h 476"/>
                <a:gd name="T22" fmla="*/ 484 w 640"/>
                <a:gd name="T23" fmla="*/ 54 h 476"/>
                <a:gd name="T24" fmla="*/ 510 w 640"/>
                <a:gd name="T25" fmla="*/ 72 h 476"/>
                <a:gd name="T26" fmla="*/ 522 w 640"/>
                <a:gd name="T27" fmla="*/ 102 h 476"/>
                <a:gd name="T28" fmla="*/ 532 w 640"/>
                <a:gd name="T29" fmla="*/ 134 h 476"/>
                <a:gd name="T30" fmla="*/ 568 w 640"/>
                <a:gd name="T31" fmla="*/ 162 h 476"/>
                <a:gd name="T32" fmla="*/ 582 w 640"/>
                <a:gd name="T33" fmla="*/ 188 h 476"/>
                <a:gd name="T34" fmla="*/ 612 w 640"/>
                <a:gd name="T35" fmla="*/ 214 h 476"/>
                <a:gd name="T36" fmla="*/ 634 w 640"/>
                <a:gd name="T37" fmla="*/ 254 h 476"/>
                <a:gd name="T38" fmla="*/ 640 w 640"/>
                <a:gd name="T39" fmla="*/ 300 h 476"/>
                <a:gd name="T40" fmla="*/ 624 w 640"/>
                <a:gd name="T41" fmla="*/ 358 h 476"/>
                <a:gd name="T42" fmla="*/ 596 w 640"/>
                <a:gd name="T43" fmla="*/ 402 h 476"/>
                <a:gd name="T44" fmla="*/ 582 w 640"/>
                <a:gd name="T45" fmla="*/ 450 h 476"/>
                <a:gd name="T46" fmla="*/ 550 w 640"/>
                <a:gd name="T47" fmla="*/ 452 h 476"/>
                <a:gd name="T48" fmla="*/ 532 w 640"/>
                <a:gd name="T49" fmla="*/ 474 h 476"/>
                <a:gd name="T50" fmla="*/ 516 w 640"/>
                <a:gd name="T51" fmla="*/ 468 h 476"/>
                <a:gd name="T52" fmla="*/ 500 w 640"/>
                <a:gd name="T53" fmla="*/ 460 h 476"/>
                <a:gd name="T54" fmla="*/ 462 w 640"/>
                <a:gd name="T55" fmla="*/ 464 h 476"/>
                <a:gd name="T56" fmla="*/ 430 w 640"/>
                <a:gd name="T57" fmla="*/ 452 h 476"/>
                <a:gd name="T58" fmla="*/ 418 w 640"/>
                <a:gd name="T59" fmla="*/ 424 h 476"/>
                <a:gd name="T60" fmla="*/ 400 w 640"/>
                <a:gd name="T61" fmla="*/ 408 h 476"/>
                <a:gd name="T62" fmla="*/ 390 w 640"/>
                <a:gd name="T63" fmla="*/ 402 h 476"/>
                <a:gd name="T64" fmla="*/ 392 w 640"/>
                <a:gd name="T65" fmla="*/ 382 h 476"/>
                <a:gd name="T66" fmla="*/ 382 w 640"/>
                <a:gd name="T67" fmla="*/ 376 h 476"/>
                <a:gd name="T68" fmla="*/ 360 w 640"/>
                <a:gd name="T69" fmla="*/ 402 h 476"/>
                <a:gd name="T70" fmla="*/ 340 w 640"/>
                <a:gd name="T71" fmla="*/ 372 h 476"/>
                <a:gd name="T72" fmla="*/ 298 w 640"/>
                <a:gd name="T73" fmla="*/ 350 h 476"/>
                <a:gd name="T74" fmla="*/ 228 w 640"/>
                <a:gd name="T75" fmla="*/ 356 h 476"/>
                <a:gd name="T76" fmla="*/ 172 w 640"/>
                <a:gd name="T77" fmla="*/ 372 h 476"/>
                <a:gd name="T78" fmla="*/ 108 w 640"/>
                <a:gd name="T79" fmla="*/ 386 h 476"/>
                <a:gd name="T80" fmla="*/ 80 w 640"/>
                <a:gd name="T81" fmla="*/ 406 h 476"/>
                <a:gd name="T82" fmla="*/ 30 w 640"/>
                <a:gd name="T83" fmla="*/ 394 h 476"/>
                <a:gd name="T84" fmla="*/ 40 w 640"/>
                <a:gd name="T85" fmla="*/ 356 h 476"/>
                <a:gd name="T86" fmla="*/ 30 w 640"/>
                <a:gd name="T87" fmla="*/ 310 h 476"/>
                <a:gd name="T88" fmla="*/ 4 w 640"/>
                <a:gd name="T89" fmla="*/ 254 h 476"/>
                <a:gd name="T90" fmla="*/ 10 w 640"/>
                <a:gd name="T91" fmla="*/ 254 h 476"/>
                <a:gd name="T92" fmla="*/ 12 w 640"/>
                <a:gd name="T93" fmla="*/ 238 h 476"/>
                <a:gd name="T94" fmla="*/ 12 w 640"/>
                <a:gd name="T95" fmla="*/ 188 h 476"/>
                <a:gd name="T96" fmla="*/ 24 w 640"/>
                <a:gd name="T97" fmla="*/ 178 h 476"/>
                <a:gd name="T98" fmla="*/ 62 w 640"/>
                <a:gd name="T99" fmla="*/ 158 h 476"/>
                <a:gd name="T100" fmla="*/ 122 w 640"/>
                <a:gd name="T101" fmla="*/ 144 h 476"/>
                <a:gd name="T102" fmla="*/ 146 w 640"/>
                <a:gd name="T103" fmla="*/ 98 h 476"/>
                <a:gd name="T104" fmla="*/ 164 w 640"/>
                <a:gd name="T105" fmla="*/ 102 h 476"/>
                <a:gd name="T106" fmla="*/ 176 w 640"/>
                <a:gd name="T107" fmla="*/ 88 h 476"/>
                <a:gd name="T108" fmla="*/ 192 w 640"/>
                <a:gd name="T109" fmla="*/ 66 h 476"/>
                <a:gd name="T110" fmla="*/ 220 w 640"/>
                <a:gd name="T111" fmla="*/ 48 h 476"/>
                <a:gd name="T112" fmla="*/ 242 w 640"/>
                <a:gd name="T113" fmla="*/ 66 h 476"/>
                <a:gd name="T114" fmla="*/ 256 w 640"/>
                <a:gd name="T115" fmla="*/ 52 h 476"/>
                <a:gd name="T116" fmla="*/ 282 w 640"/>
                <a:gd name="T117" fmla="*/ 24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40" h="476">
                  <a:moveTo>
                    <a:pt x="286" y="20"/>
                  </a:moveTo>
                  <a:lnTo>
                    <a:pt x="296" y="22"/>
                  </a:lnTo>
                  <a:lnTo>
                    <a:pt x="308" y="18"/>
                  </a:lnTo>
                  <a:lnTo>
                    <a:pt x="310" y="12"/>
                  </a:lnTo>
                  <a:lnTo>
                    <a:pt x="302" y="6"/>
                  </a:lnTo>
                  <a:lnTo>
                    <a:pt x="308" y="4"/>
                  </a:lnTo>
                  <a:lnTo>
                    <a:pt x="322" y="10"/>
                  </a:lnTo>
                  <a:lnTo>
                    <a:pt x="330" y="14"/>
                  </a:lnTo>
                  <a:lnTo>
                    <a:pt x="340" y="18"/>
                  </a:lnTo>
                  <a:lnTo>
                    <a:pt x="348" y="20"/>
                  </a:lnTo>
                  <a:lnTo>
                    <a:pt x="354" y="22"/>
                  </a:lnTo>
                  <a:lnTo>
                    <a:pt x="362" y="22"/>
                  </a:lnTo>
                  <a:lnTo>
                    <a:pt x="372" y="18"/>
                  </a:lnTo>
                  <a:lnTo>
                    <a:pt x="380" y="22"/>
                  </a:lnTo>
                  <a:lnTo>
                    <a:pt x="372" y="30"/>
                  </a:lnTo>
                  <a:lnTo>
                    <a:pt x="366" y="40"/>
                  </a:lnTo>
                  <a:lnTo>
                    <a:pt x="360" y="48"/>
                  </a:lnTo>
                  <a:lnTo>
                    <a:pt x="352" y="54"/>
                  </a:lnTo>
                  <a:lnTo>
                    <a:pt x="352" y="62"/>
                  </a:lnTo>
                  <a:lnTo>
                    <a:pt x="358" y="68"/>
                  </a:lnTo>
                  <a:lnTo>
                    <a:pt x="372" y="78"/>
                  </a:lnTo>
                  <a:lnTo>
                    <a:pt x="388" y="84"/>
                  </a:lnTo>
                  <a:lnTo>
                    <a:pt x="404" y="96"/>
                  </a:lnTo>
                  <a:lnTo>
                    <a:pt x="416" y="102"/>
                  </a:lnTo>
                  <a:lnTo>
                    <a:pt x="432" y="112"/>
                  </a:lnTo>
                  <a:lnTo>
                    <a:pt x="442" y="100"/>
                  </a:lnTo>
                  <a:lnTo>
                    <a:pt x="450" y="84"/>
                  </a:lnTo>
                  <a:lnTo>
                    <a:pt x="452" y="66"/>
                  </a:lnTo>
                  <a:lnTo>
                    <a:pt x="450" y="40"/>
                  </a:lnTo>
                  <a:lnTo>
                    <a:pt x="456" y="22"/>
                  </a:lnTo>
                  <a:lnTo>
                    <a:pt x="460" y="10"/>
                  </a:lnTo>
                  <a:lnTo>
                    <a:pt x="464" y="0"/>
                  </a:lnTo>
                  <a:lnTo>
                    <a:pt x="470" y="6"/>
                  </a:lnTo>
                  <a:lnTo>
                    <a:pt x="478" y="20"/>
                  </a:lnTo>
                  <a:lnTo>
                    <a:pt x="482" y="32"/>
                  </a:lnTo>
                  <a:lnTo>
                    <a:pt x="484" y="54"/>
                  </a:lnTo>
                  <a:lnTo>
                    <a:pt x="494" y="58"/>
                  </a:lnTo>
                  <a:lnTo>
                    <a:pt x="506" y="62"/>
                  </a:lnTo>
                  <a:lnTo>
                    <a:pt x="510" y="72"/>
                  </a:lnTo>
                  <a:lnTo>
                    <a:pt x="512" y="82"/>
                  </a:lnTo>
                  <a:lnTo>
                    <a:pt x="512" y="96"/>
                  </a:lnTo>
                  <a:lnTo>
                    <a:pt x="522" y="102"/>
                  </a:lnTo>
                  <a:lnTo>
                    <a:pt x="526" y="112"/>
                  </a:lnTo>
                  <a:lnTo>
                    <a:pt x="526" y="124"/>
                  </a:lnTo>
                  <a:lnTo>
                    <a:pt x="532" y="134"/>
                  </a:lnTo>
                  <a:lnTo>
                    <a:pt x="544" y="138"/>
                  </a:lnTo>
                  <a:lnTo>
                    <a:pt x="558" y="148"/>
                  </a:lnTo>
                  <a:lnTo>
                    <a:pt x="568" y="162"/>
                  </a:lnTo>
                  <a:lnTo>
                    <a:pt x="578" y="172"/>
                  </a:lnTo>
                  <a:lnTo>
                    <a:pt x="578" y="182"/>
                  </a:lnTo>
                  <a:lnTo>
                    <a:pt x="582" y="188"/>
                  </a:lnTo>
                  <a:lnTo>
                    <a:pt x="594" y="188"/>
                  </a:lnTo>
                  <a:lnTo>
                    <a:pt x="598" y="204"/>
                  </a:lnTo>
                  <a:lnTo>
                    <a:pt x="612" y="214"/>
                  </a:lnTo>
                  <a:lnTo>
                    <a:pt x="624" y="228"/>
                  </a:lnTo>
                  <a:lnTo>
                    <a:pt x="630" y="242"/>
                  </a:lnTo>
                  <a:lnTo>
                    <a:pt x="634" y="254"/>
                  </a:lnTo>
                  <a:lnTo>
                    <a:pt x="636" y="270"/>
                  </a:lnTo>
                  <a:lnTo>
                    <a:pt x="638" y="282"/>
                  </a:lnTo>
                  <a:lnTo>
                    <a:pt x="640" y="300"/>
                  </a:lnTo>
                  <a:lnTo>
                    <a:pt x="634" y="322"/>
                  </a:lnTo>
                  <a:lnTo>
                    <a:pt x="632" y="340"/>
                  </a:lnTo>
                  <a:lnTo>
                    <a:pt x="624" y="358"/>
                  </a:lnTo>
                  <a:lnTo>
                    <a:pt x="612" y="368"/>
                  </a:lnTo>
                  <a:lnTo>
                    <a:pt x="606" y="380"/>
                  </a:lnTo>
                  <a:lnTo>
                    <a:pt x="596" y="402"/>
                  </a:lnTo>
                  <a:lnTo>
                    <a:pt x="590" y="418"/>
                  </a:lnTo>
                  <a:lnTo>
                    <a:pt x="582" y="432"/>
                  </a:lnTo>
                  <a:lnTo>
                    <a:pt x="582" y="450"/>
                  </a:lnTo>
                  <a:lnTo>
                    <a:pt x="576" y="454"/>
                  </a:lnTo>
                  <a:lnTo>
                    <a:pt x="566" y="454"/>
                  </a:lnTo>
                  <a:lnTo>
                    <a:pt x="550" y="452"/>
                  </a:lnTo>
                  <a:lnTo>
                    <a:pt x="546" y="464"/>
                  </a:lnTo>
                  <a:lnTo>
                    <a:pt x="534" y="472"/>
                  </a:lnTo>
                  <a:lnTo>
                    <a:pt x="532" y="474"/>
                  </a:lnTo>
                  <a:lnTo>
                    <a:pt x="526" y="476"/>
                  </a:lnTo>
                  <a:lnTo>
                    <a:pt x="520" y="472"/>
                  </a:lnTo>
                  <a:lnTo>
                    <a:pt x="516" y="468"/>
                  </a:lnTo>
                  <a:lnTo>
                    <a:pt x="510" y="462"/>
                  </a:lnTo>
                  <a:lnTo>
                    <a:pt x="506" y="458"/>
                  </a:lnTo>
                  <a:lnTo>
                    <a:pt x="500" y="460"/>
                  </a:lnTo>
                  <a:lnTo>
                    <a:pt x="486" y="474"/>
                  </a:lnTo>
                  <a:lnTo>
                    <a:pt x="474" y="470"/>
                  </a:lnTo>
                  <a:lnTo>
                    <a:pt x="462" y="464"/>
                  </a:lnTo>
                  <a:lnTo>
                    <a:pt x="450" y="464"/>
                  </a:lnTo>
                  <a:lnTo>
                    <a:pt x="438" y="462"/>
                  </a:lnTo>
                  <a:lnTo>
                    <a:pt x="430" y="452"/>
                  </a:lnTo>
                  <a:lnTo>
                    <a:pt x="424" y="444"/>
                  </a:lnTo>
                  <a:lnTo>
                    <a:pt x="426" y="434"/>
                  </a:lnTo>
                  <a:lnTo>
                    <a:pt x="418" y="424"/>
                  </a:lnTo>
                  <a:lnTo>
                    <a:pt x="410" y="416"/>
                  </a:lnTo>
                  <a:lnTo>
                    <a:pt x="402" y="416"/>
                  </a:lnTo>
                  <a:lnTo>
                    <a:pt x="400" y="408"/>
                  </a:lnTo>
                  <a:lnTo>
                    <a:pt x="406" y="398"/>
                  </a:lnTo>
                  <a:lnTo>
                    <a:pt x="398" y="394"/>
                  </a:lnTo>
                  <a:lnTo>
                    <a:pt x="390" y="402"/>
                  </a:lnTo>
                  <a:lnTo>
                    <a:pt x="380" y="408"/>
                  </a:lnTo>
                  <a:lnTo>
                    <a:pt x="386" y="388"/>
                  </a:lnTo>
                  <a:lnTo>
                    <a:pt x="392" y="382"/>
                  </a:lnTo>
                  <a:lnTo>
                    <a:pt x="394" y="376"/>
                  </a:lnTo>
                  <a:lnTo>
                    <a:pt x="390" y="366"/>
                  </a:lnTo>
                  <a:lnTo>
                    <a:pt x="382" y="376"/>
                  </a:lnTo>
                  <a:lnTo>
                    <a:pt x="376" y="386"/>
                  </a:lnTo>
                  <a:lnTo>
                    <a:pt x="366" y="394"/>
                  </a:lnTo>
                  <a:lnTo>
                    <a:pt x="360" y="402"/>
                  </a:lnTo>
                  <a:lnTo>
                    <a:pt x="352" y="398"/>
                  </a:lnTo>
                  <a:lnTo>
                    <a:pt x="350" y="386"/>
                  </a:lnTo>
                  <a:lnTo>
                    <a:pt x="340" y="372"/>
                  </a:lnTo>
                  <a:lnTo>
                    <a:pt x="334" y="364"/>
                  </a:lnTo>
                  <a:lnTo>
                    <a:pt x="328" y="358"/>
                  </a:lnTo>
                  <a:lnTo>
                    <a:pt x="298" y="350"/>
                  </a:lnTo>
                  <a:lnTo>
                    <a:pt x="258" y="344"/>
                  </a:lnTo>
                  <a:lnTo>
                    <a:pt x="246" y="348"/>
                  </a:lnTo>
                  <a:lnTo>
                    <a:pt x="228" y="356"/>
                  </a:lnTo>
                  <a:lnTo>
                    <a:pt x="200" y="358"/>
                  </a:lnTo>
                  <a:lnTo>
                    <a:pt x="184" y="368"/>
                  </a:lnTo>
                  <a:lnTo>
                    <a:pt x="172" y="372"/>
                  </a:lnTo>
                  <a:lnTo>
                    <a:pt x="170" y="380"/>
                  </a:lnTo>
                  <a:lnTo>
                    <a:pt x="164" y="386"/>
                  </a:lnTo>
                  <a:lnTo>
                    <a:pt x="108" y="386"/>
                  </a:lnTo>
                  <a:lnTo>
                    <a:pt x="100" y="394"/>
                  </a:lnTo>
                  <a:lnTo>
                    <a:pt x="90" y="394"/>
                  </a:lnTo>
                  <a:lnTo>
                    <a:pt x="80" y="406"/>
                  </a:lnTo>
                  <a:lnTo>
                    <a:pt x="54" y="408"/>
                  </a:lnTo>
                  <a:lnTo>
                    <a:pt x="42" y="400"/>
                  </a:lnTo>
                  <a:lnTo>
                    <a:pt x="30" y="394"/>
                  </a:lnTo>
                  <a:lnTo>
                    <a:pt x="28" y="384"/>
                  </a:lnTo>
                  <a:lnTo>
                    <a:pt x="40" y="378"/>
                  </a:lnTo>
                  <a:lnTo>
                    <a:pt x="40" y="356"/>
                  </a:lnTo>
                  <a:lnTo>
                    <a:pt x="40" y="342"/>
                  </a:lnTo>
                  <a:lnTo>
                    <a:pt x="30" y="328"/>
                  </a:lnTo>
                  <a:lnTo>
                    <a:pt x="30" y="310"/>
                  </a:lnTo>
                  <a:lnTo>
                    <a:pt x="18" y="280"/>
                  </a:lnTo>
                  <a:lnTo>
                    <a:pt x="10" y="264"/>
                  </a:lnTo>
                  <a:lnTo>
                    <a:pt x="4" y="254"/>
                  </a:lnTo>
                  <a:lnTo>
                    <a:pt x="0" y="246"/>
                  </a:lnTo>
                  <a:lnTo>
                    <a:pt x="6" y="248"/>
                  </a:lnTo>
                  <a:lnTo>
                    <a:pt x="10" y="254"/>
                  </a:lnTo>
                  <a:lnTo>
                    <a:pt x="18" y="254"/>
                  </a:lnTo>
                  <a:lnTo>
                    <a:pt x="20" y="244"/>
                  </a:lnTo>
                  <a:lnTo>
                    <a:pt x="12" y="238"/>
                  </a:lnTo>
                  <a:lnTo>
                    <a:pt x="6" y="218"/>
                  </a:lnTo>
                  <a:lnTo>
                    <a:pt x="6" y="204"/>
                  </a:lnTo>
                  <a:lnTo>
                    <a:pt x="12" y="188"/>
                  </a:lnTo>
                  <a:lnTo>
                    <a:pt x="14" y="180"/>
                  </a:lnTo>
                  <a:lnTo>
                    <a:pt x="20" y="186"/>
                  </a:lnTo>
                  <a:lnTo>
                    <a:pt x="24" y="178"/>
                  </a:lnTo>
                  <a:lnTo>
                    <a:pt x="34" y="178"/>
                  </a:lnTo>
                  <a:lnTo>
                    <a:pt x="48" y="162"/>
                  </a:lnTo>
                  <a:lnTo>
                    <a:pt x="62" y="158"/>
                  </a:lnTo>
                  <a:lnTo>
                    <a:pt x="86" y="154"/>
                  </a:lnTo>
                  <a:lnTo>
                    <a:pt x="110" y="146"/>
                  </a:lnTo>
                  <a:lnTo>
                    <a:pt x="122" y="144"/>
                  </a:lnTo>
                  <a:lnTo>
                    <a:pt x="144" y="118"/>
                  </a:lnTo>
                  <a:lnTo>
                    <a:pt x="142" y="106"/>
                  </a:lnTo>
                  <a:lnTo>
                    <a:pt x="146" y="98"/>
                  </a:lnTo>
                  <a:lnTo>
                    <a:pt x="156" y="92"/>
                  </a:lnTo>
                  <a:lnTo>
                    <a:pt x="160" y="98"/>
                  </a:lnTo>
                  <a:lnTo>
                    <a:pt x="164" y="102"/>
                  </a:lnTo>
                  <a:lnTo>
                    <a:pt x="168" y="96"/>
                  </a:lnTo>
                  <a:lnTo>
                    <a:pt x="168" y="84"/>
                  </a:lnTo>
                  <a:lnTo>
                    <a:pt x="176" y="88"/>
                  </a:lnTo>
                  <a:lnTo>
                    <a:pt x="180" y="84"/>
                  </a:lnTo>
                  <a:lnTo>
                    <a:pt x="182" y="72"/>
                  </a:lnTo>
                  <a:lnTo>
                    <a:pt x="192" y="66"/>
                  </a:lnTo>
                  <a:lnTo>
                    <a:pt x="198" y="60"/>
                  </a:lnTo>
                  <a:lnTo>
                    <a:pt x="204" y="60"/>
                  </a:lnTo>
                  <a:lnTo>
                    <a:pt x="220" y="48"/>
                  </a:lnTo>
                  <a:lnTo>
                    <a:pt x="230" y="54"/>
                  </a:lnTo>
                  <a:lnTo>
                    <a:pt x="236" y="60"/>
                  </a:lnTo>
                  <a:lnTo>
                    <a:pt x="242" y="66"/>
                  </a:lnTo>
                  <a:lnTo>
                    <a:pt x="254" y="64"/>
                  </a:lnTo>
                  <a:lnTo>
                    <a:pt x="262" y="62"/>
                  </a:lnTo>
                  <a:lnTo>
                    <a:pt x="256" y="52"/>
                  </a:lnTo>
                  <a:lnTo>
                    <a:pt x="268" y="40"/>
                  </a:lnTo>
                  <a:lnTo>
                    <a:pt x="274" y="28"/>
                  </a:lnTo>
                  <a:lnTo>
                    <a:pt x="282" y="24"/>
                  </a:lnTo>
                  <a:lnTo>
                    <a:pt x="286" y="2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67" name="Freeform 263">
              <a:extLst>
                <a:ext uri="{FF2B5EF4-FFF2-40B4-BE49-F238E27FC236}">
                  <a16:creationId xmlns:a16="http://schemas.microsoft.com/office/drawing/2014/main" id="{3A9CBD27-833F-48A2-8DAB-C1E960AC9CE0}"/>
                </a:ext>
              </a:extLst>
            </p:cNvPr>
            <p:cNvSpPr>
              <a:spLocks/>
            </p:cNvSpPr>
            <p:nvPr/>
          </p:nvSpPr>
          <p:spPr bwMode="gray">
            <a:xfrm>
              <a:off x="8960344" y="4203366"/>
              <a:ext cx="115574" cy="159344"/>
            </a:xfrm>
            <a:custGeom>
              <a:avLst/>
              <a:gdLst>
                <a:gd name="T0" fmla="*/ 4 w 70"/>
                <a:gd name="T1" fmla="*/ 58 h 96"/>
                <a:gd name="T2" fmla="*/ 14 w 70"/>
                <a:gd name="T3" fmla="*/ 64 h 96"/>
                <a:gd name="T4" fmla="*/ 16 w 70"/>
                <a:gd name="T5" fmla="*/ 76 h 96"/>
                <a:gd name="T6" fmla="*/ 24 w 70"/>
                <a:gd name="T7" fmla="*/ 78 h 96"/>
                <a:gd name="T8" fmla="*/ 30 w 70"/>
                <a:gd name="T9" fmla="*/ 72 h 96"/>
                <a:gd name="T10" fmla="*/ 38 w 70"/>
                <a:gd name="T11" fmla="*/ 74 h 96"/>
                <a:gd name="T12" fmla="*/ 40 w 70"/>
                <a:gd name="T13" fmla="*/ 82 h 96"/>
                <a:gd name="T14" fmla="*/ 48 w 70"/>
                <a:gd name="T15" fmla="*/ 80 h 96"/>
                <a:gd name="T16" fmla="*/ 52 w 70"/>
                <a:gd name="T17" fmla="*/ 84 h 96"/>
                <a:gd name="T18" fmla="*/ 62 w 70"/>
                <a:gd name="T19" fmla="*/ 90 h 96"/>
                <a:gd name="T20" fmla="*/ 66 w 70"/>
                <a:gd name="T21" fmla="*/ 96 h 96"/>
                <a:gd name="T22" fmla="*/ 70 w 70"/>
                <a:gd name="T23" fmla="*/ 90 h 96"/>
                <a:gd name="T24" fmla="*/ 62 w 70"/>
                <a:gd name="T25" fmla="*/ 84 h 96"/>
                <a:gd name="T26" fmla="*/ 62 w 70"/>
                <a:gd name="T27" fmla="*/ 78 h 96"/>
                <a:gd name="T28" fmla="*/ 58 w 70"/>
                <a:gd name="T29" fmla="*/ 72 h 96"/>
                <a:gd name="T30" fmla="*/ 50 w 70"/>
                <a:gd name="T31" fmla="*/ 72 h 96"/>
                <a:gd name="T32" fmla="*/ 46 w 70"/>
                <a:gd name="T33" fmla="*/ 68 h 96"/>
                <a:gd name="T34" fmla="*/ 40 w 70"/>
                <a:gd name="T35" fmla="*/ 70 h 96"/>
                <a:gd name="T36" fmla="*/ 32 w 70"/>
                <a:gd name="T37" fmla="*/ 66 h 96"/>
                <a:gd name="T38" fmla="*/ 28 w 70"/>
                <a:gd name="T39" fmla="*/ 62 h 96"/>
                <a:gd name="T40" fmla="*/ 26 w 70"/>
                <a:gd name="T41" fmla="*/ 54 h 96"/>
                <a:gd name="T42" fmla="*/ 28 w 70"/>
                <a:gd name="T43" fmla="*/ 42 h 96"/>
                <a:gd name="T44" fmla="*/ 34 w 70"/>
                <a:gd name="T45" fmla="*/ 40 h 96"/>
                <a:gd name="T46" fmla="*/ 40 w 70"/>
                <a:gd name="T47" fmla="*/ 26 h 96"/>
                <a:gd name="T48" fmla="*/ 38 w 70"/>
                <a:gd name="T49" fmla="*/ 14 h 96"/>
                <a:gd name="T50" fmla="*/ 38 w 70"/>
                <a:gd name="T51" fmla="*/ 4 h 96"/>
                <a:gd name="T52" fmla="*/ 28 w 70"/>
                <a:gd name="T53" fmla="*/ 2 h 96"/>
                <a:gd name="T54" fmla="*/ 12 w 70"/>
                <a:gd name="T55" fmla="*/ 0 h 96"/>
                <a:gd name="T56" fmla="*/ 10 w 70"/>
                <a:gd name="T57" fmla="*/ 16 h 96"/>
                <a:gd name="T58" fmla="*/ 10 w 70"/>
                <a:gd name="T59" fmla="*/ 28 h 96"/>
                <a:gd name="T60" fmla="*/ 12 w 70"/>
                <a:gd name="T61" fmla="*/ 36 h 96"/>
                <a:gd name="T62" fmla="*/ 0 w 70"/>
                <a:gd name="T63" fmla="*/ 38 h 96"/>
                <a:gd name="T64" fmla="*/ 2 w 70"/>
                <a:gd name="T65" fmla="*/ 44 h 96"/>
                <a:gd name="T66" fmla="*/ 4 w 70"/>
                <a:gd name="T67" fmla="*/ 48 h 96"/>
                <a:gd name="T68" fmla="*/ 4 w 70"/>
                <a:gd name="T69"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 h="96">
                  <a:moveTo>
                    <a:pt x="4" y="58"/>
                  </a:moveTo>
                  <a:lnTo>
                    <a:pt x="14" y="64"/>
                  </a:lnTo>
                  <a:lnTo>
                    <a:pt x="16" y="76"/>
                  </a:lnTo>
                  <a:lnTo>
                    <a:pt x="24" y="78"/>
                  </a:lnTo>
                  <a:lnTo>
                    <a:pt x="30" y="72"/>
                  </a:lnTo>
                  <a:lnTo>
                    <a:pt x="38" y="74"/>
                  </a:lnTo>
                  <a:lnTo>
                    <a:pt x="40" y="82"/>
                  </a:lnTo>
                  <a:lnTo>
                    <a:pt x="48" y="80"/>
                  </a:lnTo>
                  <a:lnTo>
                    <a:pt x="52" y="84"/>
                  </a:lnTo>
                  <a:lnTo>
                    <a:pt x="62" y="90"/>
                  </a:lnTo>
                  <a:lnTo>
                    <a:pt x="66" y="96"/>
                  </a:lnTo>
                  <a:lnTo>
                    <a:pt x="70" y="90"/>
                  </a:lnTo>
                  <a:lnTo>
                    <a:pt x="62" y="84"/>
                  </a:lnTo>
                  <a:lnTo>
                    <a:pt x="62" y="78"/>
                  </a:lnTo>
                  <a:lnTo>
                    <a:pt x="58" y="72"/>
                  </a:lnTo>
                  <a:lnTo>
                    <a:pt x="50" y="72"/>
                  </a:lnTo>
                  <a:lnTo>
                    <a:pt x="46" y="68"/>
                  </a:lnTo>
                  <a:lnTo>
                    <a:pt x="40" y="70"/>
                  </a:lnTo>
                  <a:lnTo>
                    <a:pt x="32" y="66"/>
                  </a:lnTo>
                  <a:lnTo>
                    <a:pt x="28" y="62"/>
                  </a:lnTo>
                  <a:lnTo>
                    <a:pt x="26" y="54"/>
                  </a:lnTo>
                  <a:lnTo>
                    <a:pt x="28" y="42"/>
                  </a:lnTo>
                  <a:lnTo>
                    <a:pt x="34" y="40"/>
                  </a:lnTo>
                  <a:lnTo>
                    <a:pt x="40" y="26"/>
                  </a:lnTo>
                  <a:lnTo>
                    <a:pt x="38" y="14"/>
                  </a:lnTo>
                  <a:lnTo>
                    <a:pt x="38" y="4"/>
                  </a:lnTo>
                  <a:lnTo>
                    <a:pt x="28" y="2"/>
                  </a:lnTo>
                  <a:lnTo>
                    <a:pt x="12" y="0"/>
                  </a:lnTo>
                  <a:lnTo>
                    <a:pt x="10" y="16"/>
                  </a:lnTo>
                  <a:lnTo>
                    <a:pt x="10" y="28"/>
                  </a:lnTo>
                  <a:lnTo>
                    <a:pt x="12" y="36"/>
                  </a:lnTo>
                  <a:lnTo>
                    <a:pt x="0" y="38"/>
                  </a:lnTo>
                  <a:lnTo>
                    <a:pt x="2" y="44"/>
                  </a:lnTo>
                  <a:lnTo>
                    <a:pt x="4" y="48"/>
                  </a:lnTo>
                  <a:lnTo>
                    <a:pt x="4" y="5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68" name="Freeform 264">
              <a:extLst>
                <a:ext uri="{FF2B5EF4-FFF2-40B4-BE49-F238E27FC236}">
                  <a16:creationId xmlns:a16="http://schemas.microsoft.com/office/drawing/2014/main" id="{3C508CF2-6D86-46B4-9496-458E89C8A651}"/>
                </a:ext>
              </a:extLst>
            </p:cNvPr>
            <p:cNvSpPr>
              <a:spLocks/>
            </p:cNvSpPr>
            <p:nvPr/>
          </p:nvSpPr>
          <p:spPr bwMode="gray">
            <a:xfrm>
              <a:off x="8891000" y="4399226"/>
              <a:ext cx="69344" cy="76353"/>
            </a:xfrm>
            <a:custGeom>
              <a:avLst/>
              <a:gdLst>
                <a:gd name="T0" fmla="*/ 0 w 42"/>
                <a:gd name="T1" fmla="*/ 46 h 46"/>
                <a:gd name="T2" fmla="*/ 8 w 42"/>
                <a:gd name="T3" fmla="*/ 34 h 46"/>
                <a:gd name="T4" fmla="*/ 20 w 42"/>
                <a:gd name="T5" fmla="*/ 20 h 46"/>
                <a:gd name="T6" fmla="*/ 32 w 42"/>
                <a:gd name="T7" fmla="*/ 10 h 46"/>
                <a:gd name="T8" fmla="*/ 36 w 42"/>
                <a:gd name="T9" fmla="*/ 0 h 46"/>
                <a:gd name="T10" fmla="*/ 38 w 42"/>
                <a:gd name="T11" fmla="*/ 6 h 46"/>
                <a:gd name="T12" fmla="*/ 42 w 42"/>
                <a:gd name="T13" fmla="*/ 12 h 46"/>
                <a:gd name="T14" fmla="*/ 32 w 42"/>
                <a:gd name="T15" fmla="*/ 16 h 46"/>
                <a:gd name="T16" fmla="*/ 20 w 42"/>
                <a:gd name="T17" fmla="*/ 30 h 46"/>
                <a:gd name="T18" fmla="*/ 14 w 42"/>
                <a:gd name="T19" fmla="*/ 38 h 46"/>
                <a:gd name="T20" fmla="*/ 0 w 42"/>
                <a:gd name="T21"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 h="46">
                  <a:moveTo>
                    <a:pt x="0" y="46"/>
                  </a:moveTo>
                  <a:lnTo>
                    <a:pt x="8" y="34"/>
                  </a:lnTo>
                  <a:lnTo>
                    <a:pt x="20" y="20"/>
                  </a:lnTo>
                  <a:lnTo>
                    <a:pt x="32" y="10"/>
                  </a:lnTo>
                  <a:lnTo>
                    <a:pt x="36" y="0"/>
                  </a:lnTo>
                  <a:lnTo>
                    <a:pt x="38" y="6"/>
                  </a:lnTo>
                  <a:lnTo>
                    <a:pt x="42" y="12"/>
                  </a:lnTo>
                  <a:lnTo>
                    <a:pt x="32" y="16"/>
                  </a:lnTo>
                  <a:lnTo>
                    <a:pt x="20" y="30"/>
                  </a:lnTo>
                  <a:lnTo>
                    <a:pt x="14" y="38"/>
                  </a:lnTo>
                  <a:lnTo>
                    <a:pt x="0" y="4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69" name="Freeform 265">
              <a:extLst>
                <a:ext uri="{FF2B5EF4-FFF2-40B4-BE49-F238E27FC236}">
                  <a16:creationId xmlns:a16="http://schemas.microsoft.com/office/drawing/2014/main" id="{9E54D144-E973-43CC-971E-3BBEA67B02ED}"/>
                </a:ext>
              </a:extLst>
            </p:cNvPr>
            <p:cNvSpPr>
              <a:spLocks/>
            </p:cNvSpPr>
            <p:nvPr/>
          </p:nvSpPr>
          <p:spPr bwMode="gray">
            <a:xfrm>
              <a:off x="9013179" y="4439062"/>
              <a:ext cx="122179" cy="99590"/>
            </a:xfrm>
            <a:custGeom>
              <a:avLst/>
              <a:gdLst>
                <a:gd name="T0" fmla="*/ 58 w 74"/>
                <a:gd name="T1" fmla="*/ 58 h 60"/>
                <a:gd name="T2" fmla="*/ 40 w 74"/>
                <a:gd name="T3" fmla="*/ 60 h 60"/>
                <a:gd name="T4" fmla="*/ 34 w 74"/>
                <a:gd name="T5" fmla="*/ 48 h 60"/>
                <a:gd name="T6" fmla="*/ 34 w 74"/>
                <a:gd name="T7" fmla="*/ 38 h 60"/>
                <a:gd name="T8" fmla="*/ 40 w 74"/>
                <a:gd name="T9" fmla="*/ 36 h 60"/>
                <a:gd name="T10" fmla="*/ 32 w 74"/>
                <a:gd name="T11" fmla="*/ 30 h 60"/>
                <a:gd name="T12" fmla="*/ 24 w 74"/>
                <a:gd name="T13" fmla="*/ 32 h 60"/>
                <a:gd name="T14" fmla="*/ 18 w 74"/>
                <a:gd name="T15" fmla="*/ 34 h 60"/>
                <a:gd name="T16" fmla="*/ 12 w 74"/>
                <a:gd name="T17" fmla="*/ 36 h 60"/>
                <a:gd name="T18" fmla="*/ 8 w 74"/>
                <a:gd name="T19" fmla="*/ 44 h 60"/>
                <a:gd name="T20" fmla="*/ 4 w 74"/>
                <a:gd name="T21" fmla="*/ 50 h 60"/>
                <a:gd name="T22" fmla="*/ 0 w 74"/>
                <a:gd name="T23" fmla="*/ 38 h 60"/>
                <a:gd name="T24" fmla="*/ 4 w 74"/>
                <a:gd name="T25" fmla="*/ 28 h 60"/>
                <a:gd name="T26" fmla="*/ 14 w 74"/>
                <a:gd name="T27" fmla="*/ 24 h 60"/>
                <a:gd name="T28" fmla="*/ 22 w 74"/>
                <a:gd name="T29" fmla="*/ 20 h 60"/>
                <a:gd name="T30" fmla="*/ 26 w 74"/>
                <a:gd name="T31" fmla="*/ 14 h 60"/>
                <a:gd name="T32" fmla="*/ 32 w 74"/>
                <a:gd name="T33" fmla="*/ 22 h 60"/>
                <a:gd name="T34" fmla="*/ 36 w 74"/>
                <a:gd name="T35" fmla="*/ 24 h 60"/>
                <a:gd name="T36" fmla="*/ 42 w 74"/>
                <a:gd name="T37" fmla="*/ 18 h 60"/>
                <a:gd name="T38" fmla="*/ 50 w 74"/>
                <a:gd name="T39" fmla="*/ 8 h 60"/>
                <a:gd name="T40" fmla="*/ 54 w 74"/>
                <a:gd name="T41" fmla="*/ 10 h 60"/>
                <a:gd name="T42" fmla="*/ 58 w 74"/>
                <a:gd name="T43" fmla="*/ 10 h 60"/>
                <a:gd name="T44" fmla="*/ 58 w 74"/>
                <a:gd name="T45" fmla="*/ 4 h 60"/>
                <a:gd name="T46" fmla="*/ 62 w 74"/>
                <a:gd name="T47" fmla="*/ 0 h 60"/>
                <a:gd name="T48" fmla="*/ 68 w 74"/>
                <a:gd name="T49" fmla="*/ 6 h 60"/>
                <a:gd name="T50" fmla="*/ 72 w 74"/>
                <a:gd name="T51" fmla="*/ 14 h 60"/>
                <a:gd name="T52" fmla="*/ 74 w 74"/>
                <a:gd name="T53" fmla="*/ 28 h 60"/>
                <a:gd name="T54" fmla="*/ 74 w 74"/>
                <a:gd name="T55" fmla="*/ 42 h 60"/>
                <a:gd name="T56" fmla="*/ 66 w 74"/>
                <a:gd name="T57" fmla="*/ 44 h 60"/>
                <a:gd name="T58" fmla="*/ 64 w 74"/>
                <a:gd name="T59" fmla="*/ 36 h 60"/>
                <a:gd name="T60" fmla="*/ 58 w 74"/>
                <a:gd name="T61" fmla="*/ 42 h 60"/>
                <a:gd name="T62" fmla="*/ 54 w 74"/>
                <a:gd name="T63" fmla="*/ 46 h 60"/>
                <a:gd name="T64" fmla="*/ 58 w 74"/>
                <a:gd name="T65" fmla="*/ 5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4" h="60">
                  <a:moveTo>
                    <a:pt x="58" y="58"/>
                  </a:moveTo>
                  <a:lnTo>
                    <a:pt x="40" y="60"/>
                  </a:lnTo>
                  <a:lnTo>
                    <a:pt x="34" y="48"/>
                  </a:lnTo>
                  <a:lnTo>
                    <a:pt x="34" y="38"/>
                  </a:lnTo>
                  <a:lnTo>
                    <a:pt x="40" y="36"/>
                  </a:lnTo>
                  <a:lnTo>
                    <a:pt x="32" y="30"/>
                  </a:lnTo>
                  <a:lnTo>
                    <a:pt x="24" y="32"/>
                  </a:lnTo>
                  <a:lnTo>
                    <a:pt x="18" y="34"/>
                  </a:lnTo>
                  <a:lnTo>
                    <a:pt x="12" y="36"/>
                  </a:lnTo>
                  <a:lnTo>
                    <a:pt x="8" y="44"/>
                  </a:lnTo>
                  <a:lnTo>
                    <a:pt x="4" y="50"/>
                  </a:lnTo>
                  <a:lnTo>
                    <a:pt x="0" y="38"/>
                  </a:lnTo>
                  <a:lnTo>
                    <a:pt x="4" y="28"/>
                  </a:lnTo>
                  <a:lnTo>
                    <a:pt x="14" y="24"/>
                  </a:lnTo>
                  <a:lnTo>
                    <a:pt x="22" y="20"/>
                  </a:lnTo>
                  <a:lnTo>
                    <a:pt x="26" y="14"/>
                  </a:lnTo>
                  <a:lnTo>
                    <a:pt x="32" y="22"/>
                  </a:lnTo>
                  <a:lnTo>
                    <a:pt x="36" y="24"/>
                  </a:lnTo>
                  <a:lnTo>
                    <a:pt x="42" y="18"/>
                  </a:lnTo>
                  <a:lnTo>
                    <a:pt x="50" y="8"/>
                  </a:lnTo>
                  <a:lnTo>
                    <a:pt x="54" y="10"/>
                  </a:lnTo>
                  <a:lnTo>
                    <a:pt x="58" y="10"/>
                  </a:lnTo>
                  <a:lnTo>
                    <a:pt x="58" y="4"/>
                  </a:lnTo>
                  <a:lnTo>
                    <a:pt x="62" y="0"/>
                  </a:lnTo>
                  <a:lnTo>
                    <a:pt x="68" y="6"/>
                  </a:lnTo>
                  <a:lnTo>
                    <a:pt x="72" y="14"/>
                  </a:lnTo>
                  <a:lnTo>
                    <a:pt x="74" y="28"/>
                  </a:lnTo>
                  <a:lnTo>
                    <a:pt x="74" y="42"/>
                  </a:lnTo>
                  <a:lnTo>
                    <a:pt x="66" y="44"/>
                  </a:lnTo>
                  <a:lnTo>
                    <a:pt x="64" y="36"/>
                  </a:lnTo>
                  <a:lnTo>
                    <a:pt x="58" y="42"/>
                  </a:lnTo>
                  <a:lnTo>
                    <a:pt x="54" y="46"/>
                  </a:lnTo>
                  <a:lnTo>
                    <a:pt x="58" y="5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70" name="Freeform 266">
              <a:extLst>
                <a:ext uri="{FF2B5EF4-FFF2-40B4-BE49-F238E27FC236}">
                  <a16:creationId xmlns:a16="http://schemas.microsoft.com/office/drawing/2014/main" id="{00E2E0B0-1CEF-4A97-BC0F-D2E1476C4051}"/>
                </a:ext>
              </a:extLst>
            </p:cNvPr>
            <p:cNvSpPr>
              <a:spLocks/>
            </p:cNvSpPr>
            <p:nvPr/>
          </p:nvSpPr>
          <p:spPr bwMode="gray">
            <a:xfrm>
              <a:off x="9079222" y="4362709"/>
              <a:ext cx="29719" cy="36517"/>
            </a:xfrm>
            <a:custGeom>
              <a:avLst/>
              <a:gdLst>
                <a:gd name="T0" fmla="*/ 0 w 18"/>
                <a:gd name="T1" fmla="*/ 4 h 22"/>
                <a:gd name="T2" fmla="*/ 12 w 18"/>
                <a:gd name="T3" fmla="*/ 0 h 22"/>
                <a:gd name="T4" fmla="*/ 18 w 18"/>
                <a:gd name="T5" fmla="*/ 2 h 22"/>
                <a:gd name="T6" fmla="*/ 18 w 18"/>
                <a:gd name="T7" fmla="*/ 16 h 22"/>
                <a:gd name="T8" fmla="*/ 18 w 18"/>
                <a:gd name="T9" fmla="*/ 22 h 22"/>
                <a:gd name="T10" fmla="*/ 10 w 18"/>
                <a:gd name="T11" fmla="*/ 18 h 22"/>
                <a:gd name="T12" fmla="*/ 4 w 18"/>
                <a:gd name="T13" fmla="*/ 12 h 22"/>
                <a:gd name="T14" fmla="*/ 0 w 18"/>
                <a:gd name="T15" fmla="*/ 4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22">
                  <a:moveTo>
                    <a:pt x="0" y="4"/>
                  </a:moveTo>
                  <a:lnTo>
                    <a:pt x="12" y="0"/>
                  </a:lnTo>
                  <a:lnTo>
                    <a:pt x="18" y="2"/>
                  </a:lnTo>
                  <a:lnTo>
                    <a:pt x="18" y="16"/>
                  </a:lnTo>
                  <a:lnTo>
                    <a:pt x="18" y="22"/>
                  </a:lnTo>
                  <a:lnTo>
                    <a:pt x="10" y="18"/>
                  </a:lnTo>
                  <a:lnTo>
                    <a:pt x="4" y="12"/>
                  </a:lnTo>
                  <a:lnTo>
                    <a:pt x="0" y="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71" name="Freeform 267">
              <a:extLst>
                <a:ext uri="{FF2B5EF4-FFF2-40B4-BE49-F238E27FC236}">
                  <a16:creationId xmlns:a16="http://schemas.microsoft.com/office/drawing/2014/main" id="{1B9A24AF-23D2-4C71-A534-DD94E7AA384D}"/>
                </a:ext>
              </a:extLst>
            </p:cNvPr>
            <p:cNvSpPr>
              <a:spLocks/>
            </p:cNvSpPr>
            <p:nvPr/>
          </p:nvSpPr>
          <p:spPr bwMode="gray">
            <a:xfrm>
              <a:off x="8973553" y="4336152"/>
              <a:ext cx="33021" cy="39836"/>
            </a:xfrm>
            <a:custGeom>
              <a:avLst/>
              <a:gdLst>
                <a:gd name="T0" fmla="*/ 0 w 20"/>
                <a:gd name="T1" fmla="*/ 0 h 24"/>
                <a:gd name="T2" fmla="*/ 10 w 20"/>
                <a:gd name="T3" fmla="*/ 2 h 24"/>
                <a:gd name="T4" fmla="*/ 20 w 20"/>
                <a:gd name="T5" fmla="*/ 10 h 24"/>
                <a:gd name="T6" fmla="*/ 18 w 20"/>
                <a:gd name="T7" fmla="*/ 22 h 24"/>
                <a:gd name="T8" fmla="*/ 12 w 20"/>
                <a:gd name="T9" fmla="*/ 24 h 24"/>
                <a:gd name="T10" fmla="*/ 6 w 20"/>
                <a:gd name="T11" fmla="*/ 10 h 24"/>
                <a:gd name="T12" fmla="*/ 2 w 20"/>
                <a:gd name="T13" fmla="*/ 6 h 24"/>
                <a:gd name="T14" fmla="*/ 0 w 20"/>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24">
                  <a:moveTo>
                    <a:pt x="0" y="0"/>
                  </a:moveTo>
                  <a:lnTo>
                    <a:pt x="10" y="2"/>
                  </a:lnTo>
                  <a:lnTo>
                    <a:pt x="20" y="10"/>
                  </a:lnTo>
                  <a:lnTo>
                    <a:pt x="18" y="22"/>
                  </a:lnTo>
                  <a:lnTo>
                    <a:pt x="12" y="24"/>
                  </a:lnTo>
                  <a:lnTo>
                    <a:pt x="6" y="10"/>
                  </a:lnTo>
                  <a:lnTo>
                    <a:pt x="2" y="6"/>
                  </a:lnTo>
                  <a:lnTo>
                    <a:pt x="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72" name="Freeform 268">
              <a:extLst>
                <a:ext uri="{FF2B5EF4-FFF2-40B4-BE49-F238E27FC236}">
                  <a16:creationId xmlns:a16="http://schemas.microsoft.com/office/drawing/2014/main" id="{7825ADB8-FDDB-4E5D-A356-7F0CA05B6318}"/>
                </a:ext>
              </a:extLst>
            </p:cNvPr>
            <p:cNvSpPr>
              <a:spLocks/>
            </p:cNvSpPr>
            <p:nvPr/>
          </p:nvSpPr>
          <p:spPr bwMode="gray">
            <a:xfrm>
              <a:off x="9016481" y="4385946"/>
              <a:ext cx="36323" cy="33197"/>
            </a:xfrm>
            <a:custGeom>
              <a:avLst/>
              <a:gdLst>
                <a:gd name="T0" fmla="*/ 0 w 22"/>
                <a:gd name="T1" fmla="*/ 0 h 20"/>
                <a:gd name="T2" fmla="*/ 0 w 22"/>
                <a:gd name="T3" fmla="*/ 10 h 20"/>
                <a:gd name="T4" fmla="*/ 0 w 22"/>
                <a:gd name="T5" fmla="*/ 20 h 20"/>
                <a:gd name="T6" fmla="*/ 6 w 22"/>
                <a:gd name="T7" fmla="*/ 16 h 20"/>
                <a:gd name="T8" fmla="*/ 18 w 22"/>
                <a:gd name="T9" fmla="*/ 8 h 20"/>
                <a:gd name="T10" fmla="*/ 22 w 22"/>
                <a:gd name="T11" fmla="*/ 2 h 20"/>
                <a:gd name="T12" fmla="*/ 14 w 22"/>
                <a:gd name="T13" fmla="*/ 0 h 20"/>
                <a:gd name="T14" fmla="*/ 8 w 22"/>
                <a:gd name="T15" fmla="*/ 2 h 20"/>
                <a:gd name="T16" fmla="*/ 0 w 22"/>
                <a:gd name="T1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20">
                  <a:moveTo>
                    <a:pt x="0" y="0"/>
                  </a:moveTo>
                  <a:lnTo>
                    <a:pt x="0" y="10"/>
                  </a:lnTo>
                  <a:lnTo>
                    <a:pt x="0" y="20"/>
                  </a:lnTo>
                  <a:lnTo>
                    <a:pt x="6" y="16"/>
                  </a:lnTo>
                  <a:lnTo>
                    <a:pt x="18" y="8"/>
                  </a:lnTo>
                  <a:lnTo>
                    <a:pt x="22" y="2"/>
                  </a:lnTo>
                  <a:lnTo>
                    <a:pt x="14" y="0"/>
                  </a:lnTo>
                  <a:lnTo>
                    <a:pt x="8" y="2"/>
                  </a:lnTo>
                  <a:lnTo>
                    <a:pt x="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73" name="Freeform 269">
              <a:extLst>
                <a:ext uri="{FF2B5EF4-FFF2-40B4-BE49-F238E27FC236}">
                  <a16:creationId xmlns:a16="http://schemas.microsoft.com/office/drawing/2014/main" id="{0BA46C19-70B7-4172-8864-980A400F63AF}"/>
                </a:ext>
              </a:extLst>
            </p:cNvPr>
            <p:cNvSpPr>
              <a:spLocks/>
            </p:cNvSpPr>
            <p:nvPr/>
          </p:nvSpPr>
          <p:spPr bwMode="gray">
            <a:xfrm>
              <a:off x="9026388" y="4405864"/>
              <a:ext cx="39626" cy="46475"/>
            </a:xfrm>
            <a:custGeom>
              <a:avLst/>
              <a:gdLst>
                <a:gd name="T0" fmla="*/ 0 w 24"/>
                <a:gd name="T1" fmla="*/ 18 h 28"/>
                <a:gd name="T2" fmla="*/ 6 w 24"/>
                <a:gd name="T3" fmla="*/ 26 h 28"/>
                <a:gd name="T4" fmla="*/ 14 w 24"/>
                <a:gd name="T5" fmla="*/ 28 h 28"/>
                <a:gd name="T6" fmla="*/ 14 w 24"/>
                <a:gd name="T7" fmla="*/ 16 h 28"/>
                <a:gd name="T8" fmla="*/ 18 w 24"/>
                <a:gd name="T9" fmla="*/ 12 h 28"/>
                <a:gd name="T10" fmla="*/ 24 w 24"/>
                <a:gd name="T11" fmla="*/ 8 h 28"/>
                <a:gd name="T12" fmla="*/ 22 w 24"/>
                <a:gd name="T13" fmla="*/ 4 h 28"/>
                <a:gd name="T14" fmla="*/ 16 w 24"/>
                <a:gd name="T15" fmla="*/ 0 h 28"/>
                <a:gd name="T16" fmla="*/ 10 w 24"/>
                <a:gd name="T17" fmla="*/ 2 h 28"/>
                <a:gd name="T18" fmla="*/ 8 w 24"/>
                <a:gd name="T19" fmla="*/ 10 h 28"/>
                <a:gd name="T20" fmla="*/ 4 w 24"/>
                <a:gd name="T21" fmla="*/ 16 h 28"/>
                <a:gd name="T22" fmla="*/ 0 w 24"/>
                <a:gd name="T23"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28">
                  <a:moveTo>
                    <a:pt x="0" y="18"/>
                  </a:moveTo>
                  <a:lnTo>
                    <a:pt x="6" y="26"/>
                  </a:lnTo>
                  <a:lnTo>
                    <a:pt x="14" y="28"/>
                  </a:lnTo>
                  <a:lnTo>
                    <a:pt x="14" y="16"/>
                  </a:lnTo>
                  <a:lnTo>
                    <a:pt x="18" y="12"/>
                  </a:lnTo>
                  <a:lnTo>
                    <a:pt x="24" y="8"/>
                  </a:lnTo>
                  <a:lnTo>
                    <a:pt x="22" y="4"/>
                  </a:lnTo>
                  <a:lnTo>
                    <a:pt x="16" y="0"/>
                  </a:lnTo>
                  <a:lnTo>
                    <a:pt x="10" y="2"/>
                  </a:lnTo>
                  <a:lnTo>
                    <a:pt x="8" y="10"/>
                  </a:lnTo>
                  <a:lnTo>
                    <a:pt x="4" y="16"/>
                  </a:lnTo>
                  <a:lnTo>
                    <a:pt x="0" y="1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74" name="Freeform 270">
              <a:extLst>
                <a:ext uri="{FF2B5EF4-FFF2-40B4-BE49-F238E27FC236}">
                  <a16:creationId xmlns:a16="http://schemas.microsoft.com/office/drawing/2014/main" id="{9FEF3060-3C44-42A5-B4E9-AFFCA6884AD2}"/>
                </a:ext>
              </a:extLst>
            </p:cNvPr>
            <p:cNvSpPr>
              <a:spLocks/>
            </p:cNvSpPr>
            <p:nvPr/>
          </p:nvSpPr>
          <p:spPr bwMode="gray">
            <a:xfrm>
              <a:off x="8966949" y="4017466"/>
              <a:ext cx="49532" cy="89630"/>
            </a:xfrm>
            <a:custGeom>
              <a:avLst/>
              <a:gdLst>
                <a:gd name="T0" fmla="*/ 30 w 30"/>
                <a:gd name="T1" fmla="*/ 4 h 54"/>
                <a:gd name="T2" fmla="*/ 26 w 30"/>
                <a:gd name="T3" fmla="*/ 18 h 54"/>
                <a:gd name="T4" fmla="*/ 22 w 30"/>
                <a:gd name="T5" fmla="*/ 28 h 54"/>
                <a:gd name="T6" fmla="*/ 20 w 30"/>
                <a:gd name="T7" fmla="*/ 36 h 54"/>
                <a:gd name="T8" fmla="*/ 16 w 30"/>
                <a:gd name="T9" fmla="*/ 48 h 54"/>
                <a:gd name="T10" fmla="*/ 10 w 30"/>
                <a:gd name="T11" fmla="*/ 54 h 54"/>
                <a:gd name="T12" fmla="*/ 4 w 30"/>
                <a:gd name="T13" fmla="*/ 42 h 54"/>
                <a:gd name="T14" fmla="*/ 0 w 30"/>
                <a:gd name="T15" fmla="*/ 26 h 54"/>
                <a:gd name="T16" fmla="*/ 8 w 30"/>
                <a:gd name="T17" fmla="*/ 12 h 54"/>
                <a:gd name="T18" fmla="*/ 18 w 30"/>
                <a:gd name="T19" fmla="*/ 4 h 54"/>
                <a:gd name="T20" fmla="*/ 22 w 30"/>
                <a:gd name="T21" fmla="*/ 0 h 54"/>
                <a:gd name="T22" fmla="*/ 30 w 30"/>
                <a:gd name="T23" fmla="*/ 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0" h="54">
                  <a:moveTo>
                    <a:pt x="30" y="4"/>
                  </a:moveTo>
                  <a:lnTo>
                    <a:pt x="26" y="18"/>
                  </a:lnTo>
                  <a:lnTo>
                    <a:pt x="22" y="28"/>
                  </a:lnTo>
                  <a:lnTo>
                    <a:pt x="20" y="36"/>
                  </a:lnTo>
                  <a:lnTo>
                    <a:pt x="16" y="48"/>
                  </a:lnTo>
                  <a:lnTo>
                    <a:pt x="10" y="54"/>
                  </a:lnTo>
                  <a:lnTo>
                    <a:pt x="4" y="42"/>
                  </a:lnTo>
                  <a:lnTo>
                    <a:pt x="0" y="26"/>
                  </a:lnTo>
                  <a:lnTo>
                    <a:pt x="8" y="12"/>
                  </a:lnTo>
                  <a:lnTo>
                    <a:pt x="18" y="4"/>
                  </a:lnTo>
                  <a:lnTo>
                    <a:pt x="22" y="0"/>
                  </a:lnTo>
                  <a:lnTo>
                    <a:pt x="30" y="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75" name="Freeform 271">
              <a:extLst>
                <a:ext uri="{FF2B5EF4-FFF2-40B4-BE49-F238E27FC236}">
                  <a16:creationId xmlns:a16="http://schemas.microsoft.com/office/drawing/2014/main" id="{4AC7AA7F-0A29-4B6B-8CEE-B359B52333F1}"/>
                </a:ext>
              </a:extLst>
            </p:cNvPr>
            <p:cNvSpPr>
              <a:spLocks/>
            </p:cNvSpPr>
            <p:nvPr/>
          </p:nvSpPr>
          <p:spPr bwMode="gray">
            <a:xfrm>
              <a:off x="8666453" y="4160210"/>
              <a:ext cx="62740" cy="49794"/>
            </a:xfrm>
            <a:custGeom>
              <a:avLst/>
              <a:gdLst>
                <a:gd name="T0" fmla="*/ 10 w 38"/>
                <a:gd name="T1" fmla="*/ 6 h 30"/>
                <a:gd name="T2" fmla="*/ 20 w 38"/>
                <a:gd name="T3" fmla="*/ 0 h 30"/>
                <a:gd name="T4" fmla="*/ 30 w 38"/>
                <a:gd name="T5" fmla="*/ 0 h 30"/>
                <a:gd name="T6" fmla="*/ 38 w 38"/>
                <a:gd name="T7" fmla="*/ 2 h 30"/>
                <a:gd name="T8" fmla="*/ 34 w 38"/>
                <a:gd name="T9" fmla="*/ 8 h 30"/>
                <a:gd name="T10" fmla="*/ 30 w 38"/>
                <a:gd name="T11" fmla="*/ 14 h 30"/>
                <a:gd name="T12" fmla="*/ 30 w 38"/>
                <a:gd name="T13" fmla="*/ 24 h 30"/>
                <a:gd name="T14" fmla="*/ 22 w 38"/>
                <a:gd name="T15" fmla="*/ 26 h 30"/>
                <a:gd name="T16" fmla="*/ 16 w 38"/>
                <a:gd name="T17" fmla="*/ 30 h 30"/>
                <a:gd name="T18" fmla="*/ 6 w 38"/>
                <a:gd name="T19" fmla="*/ 28 h 30"/>
                <a:gd name="T20" fmla="*/ 0 w 38"/>
                <a:gd name="T21" fmla="*/ 20 h 30"/>
                <a:gd name="T22" fmla="*/ 0 w 38"/>
                <a:gd name="T23" fmla="*/ 10 h 30"/>
                <a:gd name="T24" fmla="*/ 10 w 38"/>
                <a:gd name="T25"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30">
                  <a:moveTo>
                    <a:pt x="10" y="6"/>
                  </a:moveTo>
                  <a:lnTo>
                    <a:pt x="20" y="0"/>
                  </a:lnTo>
                  <a:lnTo>
                    <a:pt x="30" y="0"/>
                  </a:lnTo>
                  <a:lnTo>
                    <a:pt x="38" y="2"/>
                  </a:lnTo>
                  <a:lnTo>
                    <a:pt x="34" y="8"/>
                  </a:lnTo>
                  <a:lnTo>
                    <a:pt x="30" y="14"/>
                  </a:lnTo>
                  <a:lnTo>
                    <a:pt x="30" y="24"/>
                  </a:lnTo>
                  <a:lnTo>
                    <a:pt x="22" y="26"/>
                  </a:lnTo>
                  <a:lnTo>
                    <a:pt x="16" y="30"/>
                  </a:lnTo>
                  <a:lnTo>
                    <a:pt x="6" y="28"/>
                  </a:lnTo>
                  <a:lnTo>
                    <a:pt x="0" y="20"/>
                  </a:lnTo>
                  <a:lnTo>
                    <a:pt x="0" y="10"/>
                  </a:lnTo>
                  <a:lnTo>
                    <a:pt x="10" y="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76" name="Freeform 272">
              <a:extLst>
                <a:ext uri="{FF2B5EF4-FFF2-40B4-BE49-F238E27FC236}">
                  <a16:creationId xmlns:a16="http://schemas.microsoft.com/office/drawing/2014/main" id="{5F40695D-93CA-4CA5-9BDF-E3407E19C233}"/>
                </a:ext>
              </a:extLst>
            </p:cNvPr>
            <p:cNvSpPr>
              <a:spLocks/>
            </p:cNvSpPr>
            <p:nvPr/>
          </p:nvSpPr>
          <p:spPr bwMode="gray">
            <a:xfrm>
              <a:off x="9485386" y="3409968"/>
              <a:ext cx="151899" cy="129466"/>
            </a:xfrm>
            <a:custGeom>
              <a:avLst/>
              <a:gdLst>
                <a:gd name="T0" fmla="*/ 30 w 92"/>
                <a:gd name="T1" fmla="*/ 0 h 78"/>
                <a:gd name="T2" fmla="*/ 38 w 92"/>
                <a:gd name="T3" fmla="*/ 6 h 78"/>
                <a:gd name="T4" fmla="*/ 48 w 92"/>
                <a:gd name="T5" fmla="*/ 16 h 78"/>
                <a:gd name="T6" fmla="*/ 66 w 92"/>
                <a:gd name="T7" fmla="*/ 26 h 78"/>
                <a:gd name="T8" fmla="*/ 76 w 92"/>
                <a:gd name="T9" fmla="*/ 30 h 78"/>
                <a:gd name="T10" fmla="*/ 84 w 92"/>
                <a:gd name="T11" fmla="*/ 24 h 78"/>
                <a:gd name="T12" fmla="*/ 90 w 92"/>
                <a:gd name="T13" fmla="*/ 24 h 78"/>
                <a:gd name="T14" fmla="*/ 84 w 92"/>
                <a:gd name="T15" fmla="*/ 30 h 78"/>
                <a:gd name="T16" fmla="*/ 88 w 92"/>
                <a:gd name="T17" fmla="*/ 36 h 78"/>
                <a:gd name="T18" fmla="*/ 92 w 92"/>
                <a:gd name="T19" fmla="*/ 40 h 78"/>
                <a:gd name="T20" fmla="*/ 84 w 92"/>
                <a:gd name="T21" fmla="*/ 46 h 78"/>
                <a:gd name="T22" fmla="*/ 80 w 92"/>
                <a:gd name="T23" fmla="*/ 48 h 78"/>
                <a:gd name="T24" fmla="*/ 74 w 92"/>
                <a:gd name="T25" fmla="*/ 46 h 78"/>
                <a:gd name="T26" fmla="*/ 68 w 92"/>
                <a:gd name="T27" fmla="*/ 48 h 78"/>
                <a:gd name="T28" fmla="*/ 58 w 92"/>
                <a:gd name="T29" fmla="*/ 52 h 78"/>
                <a:gd name="T30" fmla="*/ 52 w 92"/>
                <a:gd name="T31" fmla="*/ 60 h 78"/>
                <a:gd name="T32" fmla="*/ 52 w 92"/>
                <a:gd name="T33" fmla="*/ 66 h 78"/>
                <a:gd name="T34" fmla="*/ 44 w 92"/>
                <a:gd name="T35" fmla="*/ 62 h 78"/>
                <a:gd name="T36" fmla="*/ 36 w 92"/>
                <a:gd name="T37" fmla="*/ 56 h 78"/>
                <a:gd name="T38" fmla="*/ 28 w 92"/>
                <a:gd name="T39" fmla="*/ 54 h 78"/>
                <a:gd name="T40" fmla="*/ 24 w 92"/>
                <a:gd name="T41" fmla="*/ 56 h 78"/>
                <a:gd name="T42" fmla="*/ 22 w 92"/>
                <a:gd name="T43" fmla="*/ 60 h 78"/>
                <a:gd name="T44" fmla="*/ 16 w 92"/>
                <a:gd name="T45" fmla="*/ 56 h 78"/>
                <a:gd name="T46" fmla="*/ 10 w 92"/>
                <a:gd name="T47" fmla="*/ 54 h 78"/>
                <a:gd name="T48" fmla="*/ 8 w 92"/>
                <a:gd name="T49" fmla="*/ 58 h 78"/>
                <a:gd name="T50" fmla="*/ 10 w 92"/>
                <a:gd name="T51" fmla="*/ 64 h 78"/>
                <a:gd name="T52" fmla="*/ 16 w 92"/>
                <a:gd name="T53" fmla="*/ 66 h 78"/>
                <a:gd name="T54" fmla="*/ 14 w 92"/>
                <a:gd name="T55" fmla="*/ 72 h 78"/>
                <a:gd name="T56" fmla="*/ 8 w 92"/>
                <a:gd name="T57" fmla="*/ 74 h 78"/>
                <a:gd name="T58" fmla="*/ 2 w 92"/>
                <a:gd name="T59" fmla="*/ 78 h 78"/>
                <a:gd name="T60" fmla="*/ 2 w 92"/>
                <a:gd name="T61" fmla="*/ 68 h 78"/>
                <a:gd name="T62" fmla="*/ 0 w 92"/>
                <a:gd name="T63" fmla="*/ 60 h 78"/>
                <a:gd name="T64" fmla="*/ 0 w 92"/>
                <a:gd name="T65" fmla="*/ 52 h 78"/>
                <a:gd name="T66" fmla="*/ 6 w 92"/>
                <a:gd name="T67" fmla="*/ 50 h 78"/>
                <a:gd name="T68" fmla="*/ 10 w 92"/>
                <a:gd name="T69" fmla="*/ 44 h 78"/>
                <a:gd name="T70" fmla="*/ 10 w 92"/>
                <a:gd name="T71" fmla="*/ 38 h 78"/>
                <a:gd name="T72" fmla="*/ 16 w 92"/>
                <a:gd name="T73" fmla="*/ 38 h 78"/>
                <a:gd name="T74" fmla="*/ 22 w 92"/>
                <a:gd name="T75" fmla="*/ 42 h 78"/>
                <a:gd name="T76" fmla="*/ 28 w 92"/>
                <a:gd name="T77" fmla="*/ 40 h 78"/>
                <a:gd name="T78" fmla="*/ 30 w 92"/>
                <a:gd name="T79" fmla="*/ 16 h 78"/>
                <a:gd name="T80" fmla="*/ 30 w 92"/>
                <a:gd name="T81"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2" h="78">
                  <a:moveTo>
                    <a:pt x="30" y="0"/>
                  </a:moveTo>
                  <a:lnTo>
                    <a:pt x="38" y="6"/>
                  </a:lnTo>
                  <a:lnTo>
                    <a:pt x="48" y="16"/>
                  </a:lnTo>
                  <a:lnTo>
                    <a:pt x="66" y="26"/>
                  </a:lnTo>
                  <a:lnTo>
                    <a:pt x="76" y="30"/>
                  </a:lnTo>
                  <a:lnTo>
                    <a:pt x="84" y="24"/>
                  </a:lnTo>
                  <a:lnTo>
                    <a:pt x="90" y="24"/>
                  </a:lnTo>
                  <a:lnTo>
                    <a:pt x="84" y="30"/>
                  </a:lnTo>
                  <a:lnTo>
                    <a:pt x="88" y="36"/>
                  </a:lnTo>
                  <a:lnTo>
                    <a:pt x="92" y="40"/>
                  </a:lnTo>
                  <a:lnTo>
                    <a:pt x="84" y="46"/>
                  </a:lnTo>
                  <a:lnTo>
                    <a:pt x="80" y="48"/>
                  </a:lnTo>
                  <a:lnTo>
                    <a:pt x="74" y="46"/>
                  </a:lnTo>
                  <a:lnTo>
                    <a:pt x="68" y="48"/>
                  </a:lnTo>
                  <a:lnTo>
                    <a:pt x="58" y="52"/>
                  </a:lnTo>
                  <a:lnTo>
                    <a:pt x="52" y="60"/>
                  </a:lnTo>
                  <a:lnTo>
                    <a:pt x="52" y="66"/>
                  </a:lnTo>
                  <a:lnTo>
                    <a:pt x="44" y="62"/>
                  </a:lnTo>
                  <a:lnTo>
                    <a:pt x="36" y="56"/>
                  </a:lnTo>
                  <a:lnTo>
                    <a:pt x="28" y="54"/>
                  </a:lnTo>
                  <a:lnTo>
                    <a:pt x="24" y="56"/>
                  </a:lnTo>
                  <a:lnTo>
                    <a:pt x="22" y="60"/>
                  </a:lnTo>
                  <a:lnTo>
                    <a:pt x="16" y="56"/>
                  </a:lnTo>
                  <a:lnTo>
                    <a:pt x="10" y="54"/>
                  </a:lnTo>
                  <a:lnTo>
                    <a:pt x="8" y="58"/>
                  </a:lnTo>
                  <a:lnTo>
                    <a:pt x="10" y="64"/>
                  </a:lnTo>
                  <a:lnTo>
                    <a:pt x="16" y="66"/>
                  </a:lnTo>
                  <a:lnTo>
                    <a:pt x="14" y="72"/>
                  </a:lnTo>
                  <a:lnTo>
                    <a:pt x="8" y="74"/>
                  </a:lnTo>
                  <a:lnTo>
                    <a:pt x="2" y="78"/>
                  </a:lnTo>
                  <a:lnTo>
                    <a:pt x="2" y="68"/>
                  </a:lnTo>
                  <a:lnTo>
                    <a:pt x="0" y="60"/>
                  </a:lnTo>
                  <a:lnTo>
                    <a:pt x="0" y="52"/>
                  </a:lnTo>
                  <a:lnTo>
                    <a:pt x="6" y="50"/>
                  </a:lnTo>
                  <a:lnTo>
                    <a:pt x="10" y="44"/>
                  </a:lnTo>
                  <a:lnTo>
                    <a:pt x="10" y="38"/>
                  </a:lnTo>
                  <a:lnTo>
                    <a:pt x="16" y="38"/>
                  </a:lnTo>
                  <a:lnTo>
                    <a:pt x="22" y="42"/>
                  </a:lnTo>
                  <a:lnTo>
                    <a:pt x="28" y="40"/>
                  </a:lnTo>
                  <a:lnTo>
                    <a:pt x="30" y="16"/>
                  </a:lnTo>
                  <a:lnTo>
                    <a:pt x="3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77" name="Freeform 273">
              <a:extLst>
                <a:ext uri="{FF2B5EF4-FFF2-40B4-BE49-F238E27FC236}">
                  <a16:creationId xmlns:a16="http://schemas.microsoft.com/office/drawing/2014/main" id="{26DBAA84-17F3-4E07-9F61-013C92F32322}"/>
                </a:ext>
              </a:extLst>
            </p:cNvPr>
            <p:cNvSpPr>
              <a:spLocks/>
            </p:cNvSpPr>
            <p:nvPr/>
          </p:nvSpPr>
          <p:spPr bwMode="gray">
            <a:xfrm>
              <a:off x="9283954" y="3755212"/>
              <a:ext cx="66043" cy="43155"/>
            </a:xfrm>
            <a:custGeom>
              <a:avLst/>
              <a:gdLst>
                <a:gd name="T0" fmla="*/ 30 w 40"/>
                <a:gd name="T1" fmla="*/ 16 h 26"/>
                <a:gd name="T2" fmla="*/ 24 w 40"/>
                <a:gd name="T3" fmla="*/ 14 h 26"/>
                <a:gd name="T4" fmla="*/ 18 w 40"/>
                <a:gd name="T5" fmla="*/ 18 h 26"/>
                <a:gd name="T6" fmla="*/ 14 w 40"/>
                <a:gd name="T7" fmla="*/ 26 h 26"/>
                <a:gd name="T8" fmla="*/ 6 w 40"/>
                <a:gd name="T9" fmla="*/ 24 h 26"/>
                <a:gd name="T10" fmla="*/ 6 w 40"/>
                <a:gd name="T11" fmla="*/ 18 h 26"/>
                <a:gd name="T12" fmla="*/ 0 w 40"/>
                <a:gd name="T13" fmla="*/ 14 h 26"/>
                <a:gd name="T14" fmla="*/ 8 w 40"/>
                <a:gd name="T15" fmla="*/ 8 h 26"/>
                <a:gd name="T16" fmla="*/ 16 w 40"/>
                <a:gd name="T17" fmla="*/ 8 h 26"/>
                <a:gd name="T18" fmla="*/ 24 w 40"/>
                <a:gd name="T19" fmla="*/ 6 h 26"/>
                <a:gd name="T20" fmla="*/ 28 w 40"/>
                <a:gd name="T21" fmla="*/ 0 h 26"/>
                <a:gd name="T22" fmla="*/ 36 w 40"/>
                <a:gd name="T23" fmla="*/ 0 h 26"/>
                <a:gd name="T24" fmla="*/ 40 w 40"/>
                <a:gd name="T25" fmla="*/ 6 h 26"/>
                <a:gd name="T26" fmla="*/ 38 w 40"/>
                <a:gd name="T27" fmla="*/ 8 h 26"/>
                <a:gd name="T28" fmla="*/ 34 w 40"/>
                <a:gd name="T29" fmla="*/ 14 h 26"/>
                <a:gd name="T30" fmla="*/ 30 w 40"/>
                <a:gd name="T31" fmla="*/ 1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 h="26">
                  <a:moveTo>
                    <a:pt x="30" y="16"/>
                  </a:moveTo>
                  <a:lnTo>
                    <a:pt x="24" y="14"/>
                  </a:lnTo>
                  <a:lnTo>
                    <a:pt x="18" y="18"/>
                  </a:lnTo>
                  <a:lnTo>
                    <a:pt x="14" y="26"/>
                  </a:lnTo>
                  <a:lnTo>
                    <a:pt x="6" y="24"/>
                  </a:lnTo>
                  <a:lnTo>
                    <a:pt x="6" y="18"/>
                  </a:lnTo>
                  <a:lnTo>
                    <a:pt x="0" y="14"/>
                  </a:lnTo>
                  <a:lnTo>
                    <a:pt x="8" y="8"/>
                  </a:lnTo>
                  <a:lnTo>
                    <a:pt x="16" y="8"/>
                  </a:lnTo>
                  <a:lnTo>
                    <a:pt x="24" y="6"/>
                  </a:lnTo>
                  <a:lnTo>
                    <a:pt x="28" y="0"/>
                  </a:lnTo>
                  <a:lnTo>
                    <a:pt x="36" y="0"/>
                  </a:lnTo>
                  <a:lnTo>
                    <a:pt x="40" y="6"/>
                  </a:lnTo>
                  <a:lnTo>
                    <a:pt x="38" y="8"/>
                  </a:lnTo>
                  <a:lnTo>
                    <a:pt x="34" y="14"/>
                  </a:lnTo>
                  <a:lnTo>
                    <a:pt x="30" y="1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78" name="Freeform 274">
              <a:extLst>
                <a:ext uri="{FF2B5EF4-FFF2-40B4-BE49-F238E27FC236}">
                  <a16:creationId xmlns:a16="http://schemas.microsoft.com/office/drawing/2014/main" id="{61DCF822-5651-46F5-BE99-9EA75FCB5CCC}"/>
                </a:ext>
              </a:extLst>
            </p:cNvPr>
            <p:cNvSpPr>
              <a:spLocks/>
            </p:cNvSpPr>
            <p:nvPr/>
          </p:nvSpPr>
          <p:spPr bwMode="gray">
            <a:xfrm>
              <a:off x="9214610" y="3765171"/>
              <a:ext cx="62740" cy="82991"/>
            </a:xfrm>
            <a:custGeom>
              <a:avLst/>
              <a:gdLst>
                <a:gd name="T0" fmla="*/ 4 w 38"/>
                <a:gd name="T1" fmla="*/ 12 h 50"/>
                <a:gd name="T2" fmla="*/ 10 w 38"/>
                <a:gd name="T3" fmla="*/ 8 h 50"/>
                <a:gd name="T4" fmla="*/ 16 w 38"/>
                <a:gd name="T5" fmla="*/ 0 h 50"/>
                <a:gd name="T6" fmla="*/ 24 w 38"/>
                <a:gd name="T7" fmla="*/ 0 h 50"/>
                <a:gd name="T8" fmla="*/ 28 w 38"/>
                <a:gd name="T9" fmla="*/ 6 h 50"/>
                <a:gd name="T10" fmla="*/ 34 w 38"/>
                <a:gd name="T11" fmla="*/ 10 h 50"/>
                <a:gd name="T12" fmla="*/ 38 w 38"/>
                <a:gd name="T13" fmla="*/ 16 h 50"/>
                <a:gd name="T14" fmla="*/ 36 w 38"/>
                <a:gd name="T15" fmla="*/ 24 h 50"/>
                <a:gd name="T16" fmla="*/ 32 w 38"/>
                <a:gd name="T17" fmla="*/ 26 h 50"/>
                <a:gd name="T18" fmla="*/ 30 w 38"/>
                <a:gd name="T19" fmla="*/ 32 h 50"/>
                <a:gd name="T20" fmla="*/ 30 w 38"/>
                <a:gd name="T21" fmla="*/ 40 h 50"/>
                <a:gd name="T22" fmla="*/ 26 w 38"/>
                <a:gd name="T23" fmla="*/ 50 h 50"/>
                <a:gd name="T24" fmla="*/ 18 w 38"/>
                <a:gd name="T25" fmla="*/ 48 h 50"/>
                <a:gd name="T26" fmla="*/ 18 w 38"/>
                <a:gd name="T27" fmla="*/ 44 h 50"/>
                <a:gd name="T28" fmla="*/ 20 w 38"/>
                <a:gd name="T29" fmla="*/ 36 h 50"/>
                <a:gd name="T30" fmla="*/ 12 w 38"/>
                <a:gd name="T31" fmla="*/ 36 h 50"/>
                <a:gd name="T32" fmla="*/ 14 w 38"/>
                <a:gd name="T33" fmla="*/ 30 h 50"/>
                <a:gd name="T34" fmla="*/ 18 w 38"/>
                <a:gd name="T35" fmla="*/ 24 h 50"/>
                <a:gd name="T36" fmla="*/ 18 w 38"/>
                <a:gd name="T37" fmla="*/ 20 h 50"/>
                <a:gd name="T38" fmla="*/ 16 w 38"/>
                <a:gd name="T39" fmla="*/ 14 h 50"/>
                <a:gd name="T40" fmla="*/ 8 w 38"/>
                <a:gd name="T41" fmla="*/ 16 h 50"/>
                <a:gd name="T42" fmla="*/ 0 w 38"/>
                <a:gd name="T43" fmla="*/ 18 h 50"/>
                <a:gd name="T44" fmla="*/ 4 w 38"/>
                <a:gd name="T45"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8" h="50">
                  <a:moveTo>
                    <a:pt x="4" y="12"/>
                  </a:moveTo>
                  <a:lnTo>
                    <a:pt x="10" y="8"/>
                  </a:lnTo>
                  <a:lnTo>
                    <a:pt x="16" y="0"/>
                  </a:lnTo>
                  <a:lnTo>
                    <a:pt x="24" y="0"/>
                  </a:lnTo>
                  <a:lnTo>
                    <a:pt x="28" y="6"/>
                  </a:lnTo>
                  <a:lnTo>
                    <a:pt x="34" y="10"/>
                  </a:lnTo>
                  <a:lnTo>
                    <a:pt x="38" y="16"/>
                  </a:lnTo>
                  <a:lnTo>
                    <a:pt x="36" y="24"/>
                  </a:lnTo>
                  <a:lnTo>
                    <a:pt x="32" y="26"/>
                  </a:lnTo>
                  <a:lnTo>
                    <a:pt x="30" y="32"/>
                  </a:lnTo>
                  <a:lnTo>
                    <a:pt x="30" y="40"/>
                  </a:lnTo>
                  <a:lnTo>
                    <a:pt x="26" y="50"/>
                  </a:lnTo>
                  <a:lnTo>
                    <a:pt x="18" y="48"/>
                  </a:lnTo>
                  <a:lnTo>
                    <a:pt x="18" y="44"/>
                  </a:lnTo>
                  <a:lnTo>
                    <a:pt x="20" y="36"/>
                  </a:lnTo>
                  <a:lnTo>
                    <a:pt x="12" y="36"/>
                  </a:lnTo>
                  <a:lnTo>
                    <a:pt x="14" y="30"/>
                  </a:lnTo>
                  <a:lnTo>
                    <a:pt x="18" y="24"/>
                  </a:lnTo>
                  <a:lnTo>
                    <a:pt x="18" y="20"/>
                  </a:lnTo>
                  <a:lnTo>
                    <a:pt x="16" y="14"/>
                  </a:lnTo>
                  <a:lnTo>
                    <a:pt x="8" y="16"/>
                  </a:lnTo>
                  <a:lnTo>
                    <a:pt x="0" y="18"/>
                  </a:lnTo>
                  <a:lnTo>
                    <a:pt x="4" y="1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79" name="Freeform 275">
              <a:extLst>
                <a:ext uri="{FF2B5EF4-FFF2-40B4-BE49-F238E27FC236}">
                  <a16:creationId xmlns:a16="http://schemas.microsoft.com/office/drawing/2014/main" id="{8BAFB575-C98E-4D40-8A00-3CF2B1F63C48}"/>
                </a:ext>
              </a:extLst>
            </p:cNvPr>
            <p:cNvSpPr>
              <a:spLocks/>
            </p:cNvSpPr>
            <p:nvPr/>
          </p:nvSpPr>
          <p:spPr bwMode="gray">
            <a:xfrm>
              <a:off x="9254234" y="3532795"/>
              <a:ext cx="287287" cy="245655"/>
            </a:xfrm>
            <a:custGeom>
              <a:avLst/>
              <a:gdLst>
                <a:gd name="T0" fmla="*/ 12 w 174"/>
                <a:gd name="T1" fmla="*/ 128 h 148"/>
                <a:gd name="T2" fmla="*/ 32 w 174"/>
                <a:gd name="T3" fmla="*/ 112 h 148"/>
                <a:gd name="T4" fmla="*/ 60 w 174"/>
                <a:gd name="T5" fmla="*/ 110 h 148"/>
                <a:gd name="T6" fmla="*/ 80 w 174"/>
                <a:gd name="T7" fmla="*/ 100 h 148"/>
                <a:gd name="T8" fmla="*/ 92 w 174"/>
                <a:gd name="T9" fmla="*/ 82 h 148"/>
                <a:gd name="T10" fmla="*/ 100 w 174"/>
                <a:gd name="T11" fmla="*/ 80 h 148"/>
                <a:gd name="T12" fmla="*/ 110 w 174"/>
                <a:gd name="T13" fmla="*/ 82 h 148"/>
                <a:gd name="T14" fmla="*/ 140 w 174"/>
                <a:gd name="T15" fmla="*/ 52 h 148"/>
                <a:gd name="T16" fmla="*/ 144 w 174"/>
                <a:gd name="T17" fmla="*/ 30 h 148"/>
                <a:gd name="T18" fmla="*/ 146 w 174"/>
                <a:gd name="T19" fmla="*/ 10 h 148"/>
                <a:gd name="T20" fmla="*/ 160 w 174"/>
                <a:gd name="T21" fmla="*/ 12 h 148"/>
                <a:gd name="T22" fmla="*/ 158 w 174"/>
                <a:gd name="T23" fmla="*/ 2 h 148"/>
                <a:gd name="T24" fmla="*/ 166 w 174"/>
                <a:gd name="T25" fmla="*/ 10 h 148"/>
                <a:gd name="T26" fmla="*/ 172 w 174"/>
                <a:gd name="T27" fmla="*/ 28 h 148"/>
                <a:gd name="T28" fmla="*/ 168 w 174"/>
                <a:gd name="T29" fmla="*/ 48 h 148"/>
                <a:gd name="T30" fmla="*/ 158 w 174"/>
                <a:gd name="T31" fmla="*/ 66 h 148"/>
                <a:gd name="T32" fmla="*/ 154 w 174"/>
                <a:gd name="T33" fmla="*/ 86 h 148"/>
                <a:gd name="T34" fmla="*/ 152 w 174"/>
                <a:gd name="T35" fmla="*/ 98 h 148"/>
                <a:gd name="T36" fmla="*/ 152 w 174"/>
                <a:gd name="T37" fmla="*/ 108 h 148"/>
                <a:gd name="T38" fmla="*/ 148 w 174"/>
                <a:gd name="T39" fmla="*/ 118 h 148"/>
                <a:gd name="T40" fmla="*/ 138 w 174"/>
                <a:gd name="T41" fmla="*/ 116 h 148"/>
                <a:gd name="T42" fmla="*/ 126 w 174"/>
                <a:gd name="T43" fmla="*/ 116 h 148"/>
                <a:gd name="T44" fmla="*/ 126 w 174"/>
                <a:gd name="T45" fmla="*/ 128 h 148"/>
                <a:gd name="T46" fmla="*/ 116 w 174"/>
                <a:gd name="T47" fmla="*/ 126 h 148"/>
                <a:gd name="T48" fmla="*/ 102 w 174"/>
                <a:gd name="T49" fmla="*/ 126 h 148"/>
                <a:gd name="T50" fmla="*/ 90 w 174"/>
                <a:gd name="T51" fmla="*/ 122 h 148"/>
                <a:gd name="T52" fmla="*/ 92 w 174"/>
                <a:gd name="T53" fmla="*/ 132 h 148"/>
                <a:gd name="T54" fmla="*/ 80 w 174"/>
                <a:gd name="T55" fmla="*/ 144 h 148"/>
                <a:gd name="T56" fmla="*/ 68 w 174"/>
                <a:gd name="T57" fmla="*/ 140 h 148"/>
                <a:gd name="T58" fmla="*/ 70 w 174"/>
                <a:gd name="T59" fmla="*/ 130 h 148"/>
                <a:gd name="T60" fmla="*/ 56 w 174"/>
                <a:gd name="T61" fmla="*/ 124 h 148"/>
                <a:gd name="T62" fmla="*/ 38 w 174"/>
                <a:gd name="T63" fmla="*/ 130 h 148"/>
                <a:gd name="T64" fmla="*/ 18 w 174"/>
                <a:gd name="T65" fmla="*/ 134 h 148"/>
                <a:gd name="T66" fmla="*/ 2 w 174"/>
                <a:gd name="T67" fmla="*/ 13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4" h="148">
                  <a:moveTo>
                    <a:pt x="0" y="134"/>
                  </a:moveTo>
                  <a:lnTo>
                    <a:pt x="12" y="128"/>
                  </a:lnTo>
                  <a:lnTo>
                    <a:pt x="26" y="118"/>
                  </a:lnTo>
                  <a:lnTo>
                    <a:pt x="32" y="112"/>
                  </a:lnTo>
                  <a:lnTo>
                    <a:pt x="44" y="110"/>
                  </a:lnTo>
                  <a:lnTo>
                    <a:pt x="60" y="110"/>
                  </a:lnTo>
                  <a:lnTo>
                    <a:pt x="76" y="110"/>
                  </a:lnTo>
                  <a:lnTo>
                    <a:pt x="80" y="100"/>
                  </a:lnTo>
                  <a:lnTo>
                    <a:pt x="88" y="90"/>
                  </a:lnTo>
                  <a:lnTo>
                    <a:pt x="92" y="82"/>
                  </a:lnTo>
                  <a:lnTo>
                    <a:pt x="98" y="74"/>
                  </a:lnTo>
                  <a:lnTo>
                    <a:pt x="100" y="80"/>
                  </a:lnTo>
                  <a:lnTo>
                    <a:pt x="100" y="86"/>
                  </a:lnTo>
                  <a:lnTo>
                    <a:pt x="110" y="82"/>
                  </a:lnTo>
                  <a:lnTo>
                    <a:pt x="126" y="72"/>
                  </a:lnTo>
                  <a:lnTo>
                    <a:pt x="140" y="52"/>
                  </a:lnTo>
                  <a:lnTo>
                    <a:pt x="146" y="36"/>
                  </a:lnTo>
                  <a:lnTo>
                    <a:pt x="144" y="30"/>
                  </a:lnTo>
                  <a:lnTo>
                    <a:pt x="142" y="18"/>
                  </a:lnTo>
                  <a:lnTo>
                    <a:pt x="146" y="10"/>
                  </a:lnTo>
                  <a:lnTo>
                    <a:pt x="150" y="8"/>
                  </a:lnTo>
                  <a:lnTo>
                    <a:pt x="160" y="12"/>
                  </a:lnTo>
                  <a:lnTo>
                    <a:pt x="162" y="6"/>
                  </a:lnTo>
                  <a:lnTo>
                    <a:pt x="158" y="2"/>
                  </a:lnTo>
                  <a:lnTo>
                    <a:pt x="164" y="0"/>
                  </a:lnTo>
                  <a:lnTo>
                    <a:pt x="166" y="10"/>
                  </a:lnTo>
                  <a:lnTo>
                    <a:pt x="166" y="18"/>
                  </a:lnTo>
                  <a:lnTo>
                    <a:pt x="172" y="28"/>
                  </a:lnTo>
                  <a:lnTo>
                    <a:pt x="174" y="36"/>
                  </a:lnTo>
                  <a:lnTo>
                    <a:pt x="168" y="48"/>
                  </a:lnTo>
                  <a:lnTo>
                    <a:pt x="160" y="58"/>
                  </a:lnTo>
                  <a:lnTo>
                    <a:pt x="158" y="66"/>
                  </a:lnTo>
                  <a:lnTo>
                    <a:pt x="158" y="80"/>
                  </a:lnTo>
                  <a:lnTo>
                    <a:pt x="154" y="86"/>
                  </a:lnTo>
                  <a:lnTo>
                    <a:pt x="152" y="96"/>
                  </a:lnTo>
                  <a:lnTo>
                    <a:pt x="152" y="98"/>
                  </a:lnTo>
                  <a:lnTo>
                    <a:pt x="152" y="102"/>
                  </a:lnTo>
                  <a:lnTo>
                    <a:pt x="152" y="108"/>
                  </a:lnTo>
                  <a:lnTo>
                    <a:pt x="152" y="110"/>
                  </a:lnTo>
                  <a:lnTo>
                    <a:pt x="148" y="118"/>
                  </a:lnTo>
                  <a:lnTo>
                    <a:pt x="142" y="122"/>
                  </a:lnTo>
                  <a:lnTo>
                    <a:pt x="138" y="116"/>
                  </a:lnTo>
                  <a:lnTo>
                    <a:pt x="132" y="114"/>
                  </a:lnTo>
                  <a:lnTo>
                    <a:pt x="126" y="116"/>
                  </a:lnTo>
                  <a:lnTo>
                    <a:pt x="128" y="124"/>
                  </a:lnTo>
                  <a:lnTo>
                    <a:pt x="126" y="128"/>
                  </a:lnTo>
                  <a:lnTo>
                    <a:pt x="118" y="122"/>
                  </a:lnTo>
                  <a:lnTo>
                    <a:pt x="116" y="126"/>
                  </a:lnTo>
                  <a:lnTo>
                    <a:pt x="110" y="126"/>
                  </a:lnTo>
                  <a:lnTo>
                    <a:pt x="102" y="126"/>
                  </a:lnTo>
                  <a:lnTo>
                    <a:pt x="92" y="126"/>
                  </a:lnTo>
                  <a:lnTo>
                    <a:pt x="90" y="122"/>
                  </a:lnTo>
                  <a:lnTo>
                    <a:pt x="88" y="126"/>
                  </a:lnTo>
                  <a:lnTo>
                    <a:pt x="92" y="132"/>
                  </a:lnTo>
                  <a:lnTo>
                    <a:pt x="84" y="136"/>
                  </a:lnTo>
                  <a:lnTo>
                    <a:pt x="80" y="144"/>
                  </a:lnTo>
                  <a:lnTo>
                    <a:pt x="74" y="148"/>
                  </a:lnTo>
                  <a:lnTo>
                    <a:pt x="68" y="140"/>
                  </a:lnTo>
                  <a:lnTo>
                    <a:pt x="62" y="136"/>
                  </a:lnTo>
                  <a:lnTo>
                    <a:pt x="70" y="130"/>
                  </a:lnTo>
                  <a:lnTo>
                    <a:pt x="72" y="124"/>
                  </a:lnTo>
                  <a:lnTo>
                    <a:pt x="56" y="124"/>
                  </a:lnTo>
                  <a:lnTo>
                    <a:pt x="50" y="128"/>
                  </a:lnTo>
                  <a:lnTo>
                    <a:pt x="38" y="130"/>
                  </a:lnTo>
                  <a:lnTo>
                    <a:pt x="28" y="134"/>
                  </a:lnTo>
                  <a:lnTo>
                    <a:pt x="18" y="134"/>
                  </a:lnTo>
                  <a:lnTo>
                    <a:pt x="10" y="140"/>
                  </a:lnTo>
                  <a:lnTo>
                    <a:pt x="2" y="138"/>
                  </a:lnTo>
                  <a:lnTo>
                    <a:pt x="0" y="13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80" name="Freeform 276">
              <a:extLst>
                <a:ext uri="{FF2B5EF4-FFF2-40B4-BE49-F238E27FC236}">
                  <a16:creationId xmlns:a16="http://schemas.microsoft.com/office/drawing/2014/main" id="{7E4B6F32-8913-42E1-8939-A9FE2CE89F5C}"/>
                </a:ext>
              </a:extLst>
            </p:cNvPr>
            <p:cNvSpPr>
              <a:spLocks/>
            </p:cNvSpPr>
            <p:nvPr/>
          </p:nvSpPr>
          <p:spPr bwMode="gray">
            <a:xfrm>
              <a:off x="9132056" y="3629065"/>
              <a:ext cx="82553" cy="119508"/>
            </a:xfrm>
            <a:custGeom>
              <a:avLst/>
              <a:gdLst>
                <a:gd name="T0" fmla="*/ 2 w 50"/>
                <a:gd name="T1" fmla="*/ 32 h 72"/>
                <a:gd name="T2" fmla="*/ 2 w 50"/>
                <a:gd name="T3" fmla="*/ 28 h 72"/>
                <a:gd name="T4" fmla="*/ 8 w 50"/>
                <a:gd name="T5" fmla="*/ 30 h 72"/>
                <a:gd name="T6" fmla="*/ 12 w 50"/>
                <a:gd name="T7" fmla="*/ 28 h 72"/>
                <a:gd name="T8" fmla="*/ 10 w 50"/>
                <a:gd name="T9" fmla="*/ 22 h 72"/>
                <a:gd name="T10" fmla="*/ 6 w 50"/>
                <a:gd name="T11" fmla="*/ 20 h 72"/>
                <a:gd name="T12" fmla="*/ 10 w 50"/>
                <a:gd name="T13" fmla="*/ 6 h 72"/>
                <a:gd name="T14" fmla="*/ 20 w 50"/>
                <a:gd name="T15" fmla="*/ 2 h 72"/>
                <a:gd name="T16" fmla="*/ 30 w 50"/>
                <a:gd name="T17" fmla="*/ 0 h 72"/>
                <a:gd name="T18" fmla="*/ 38 w 50"/>
                <a:gd name="T19" fmla="*/ 8 h 72"/>
                <a:gd name="T20" fmla="*/ 44 w 50"/>
                <a:gd name="T21" fmla="*/ 18 h 72"/>
                <a:gd name="T22" fmla="*/ 48 w 50"/>
                <a:gd name="T23" fmla="*/ 30 h 72"/>
                <a:gd name="T24" fmla="*/ 50 w 50"/>
                <a:gd name="T25" fmla="*/ 40 h 72"/>
                <a:gd name="T26" fmla="*/ 48 w 50"/>
                <a:gd name="T27" fmla="*/ 54 h 72"/>
                <a:gd name="T28" fmla="*/ 50 w 50"/>
                <a:gd name="T29" fmla="*/ 54 h 72"/>
                <a:gd name="T30" fmla="*/ 50 w 50"/>
                <a:gd name="T31" fmla="*/ 56 h 72"/>
                <a:gd name="T32" fmla="*/ 46 w 50"/>
                <a:gd name="T33" fmla="*/ 58 h 72"/>
                <a:gd name="T34" fmla="*/ 38 w 50"/>
                <a:gd name="T35" fmla="*/ 62 h 72"/>
                <a:gd name="T36" fmla="*/ 34 w 50"/>
                <a:gd name="T37" fmla="*/ 64 h 72"/>
                <a:gd name="T38" fmla="*/ 28 w 50"/>
                <a:gd name="T39" fmla="*/ 60 h 72"/>
                <a:gd name="T40" fmla="*/ 24 w 50"/>
                <a:gd name="T41" fmla="*/ 64 h 72"/>
                <a:gd name="T42" fmla="*/ 16 w 50"/>
                <a:gd name="T43" fmla="*/ 70 h 72"/>
                <a:gd name="T44" fmla="*/ 12 w 50"/>
                <a:gd name="T45" fmla="*/ 68 h 72"/>
                <a:gd name="T46" fmla="*/ 2 w 50"/>
                <a:gd name="T47" fmla="*/ 72 h 72"/>
                <a:gd name="T48" fmla="*/ 0 w 50"/>
                <a:gd name="T49" fmla="*/ 66 h 72"/>
                <a:gd name="T50" fmla="*/ 2 w 50"/>
                <a:gd name="T51" fmla="*/ 58 h 72"/>
                <a:gd name="T52" fmla="*/ 2 w 50"/>
                <a:gd name="T53" fmla="*/ 48 h 72"/>
                <a:gd name="T54" fmla="*/ 6 w 50"/>
                <a:gd name="T55" fmla="*/ 46 h 72"/>
                <a:gd name="T56" fmla="*/ 6 w 50"/>
                <a:gd name="T57" fmla="*/ 38 h 72"/>
                <a:gd name="T58" fmla="*/ 2 w 50"/>
                <a:gd name="T59" fmla="*/ 3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0" h="72">
                  <a:moveTo>
                    <a:pt x="2" y="32"/>
                  </a:moveTo>
                  <a:lnTo>
                    <a:pt x="2" y="28"/>
                  </a:lnTo>
                  <a:lnTo>
                    <a:pt x="8" y="30"/>
                  </a:lnTo>
                  <a:lnTo>
                    <a:pt x="12" y="28"/>
                  </a:lnTo>
                  <a:lnTo>
                    <a:pt x="10" y="22"/>
                  </a:lnTo>
                  <a:lnTo>
                    <a:pt x="6" y="20"/>
                  </a:lnTo>
                  <a:lnTo>
                    <a:pt x="10" y="6"/>
                  </a:lnTo>
                  <a:lnTo>
                    <a:pt x="20" y="2"/>
                  </a:lnTo>
                  <a:lnTo>
                    <a:pt x="30" y="0"/>
                  </a:lnTo>
                  <a:lnTo>
                    <a:pt x="38" y="8"/>
                  </a:lnTo>
                  <a:lnTo>
                    <a:pt x="44" y="18"/>
                  </a:lnTo>
                  <a:lnTo>
                    <a:pt x="48" y="30"/>
                  </a:lnTo>
                  <a:lnTo>
                    <a:pt x="50" y="40"/>
                  </a:lnTo>
                  <a:lnTo>
                    <a:pt x="48" y="54"/>
                  </a:lnTo>
                  <a:lnTo>
                    <a:pt x="50" y="54"/>
                  </a:lnTo>
                  <a:lnTo>
                    <a:pt x="50" y="56"/>
                  </a:lnTo>
                  <a:lnTo>
                    <a:pt x="46" y="58"/>
                  </a:lnTo>
                  <a:lnTo>
                    <a:pt x="38" y="62"/>
                  </a:lnTo>
                  <a:lnTo>
                    <a:pt x="34" y="64"/>
                  </a:lnTo>
                  <a:lnTo>
                    <a:pt x="28" y="60"/>
                  </a:lnTo>
                  <a:lnTo>
                    <a:pt x="24" y="64"/>
                  </a:lnTo>
                  <a:lnTo>
                    <a:pt x="16" y="70"/>
                  </a:lnTo>
                  <a:lnTo>
                    <a:pt x="12" y="68"/>
                  </a:lnTo>
                  <a:lnTo>
                    <a:pt x="2" y="72"/>
                  </a:lnTo>
                  <a:lnTo>
                    <a:pt x="0" y="66"/>
                  </a:lnTo>
                  <a:lnTo>
                    <a:pt x="2" y="58"/>
                  </a:lnTo>
                  <a:lnTo>
                    <a:pt x="2" y="48"/>
                  </a:lnTo>
                  <a:lnTo>
                    <a:pt x="6" y="46"/>
                  </a:lnTo>
                  <a:lnTo>
                    <a:pt x="6" y="38"/>
                  </a:lnTo>
                  <a:lnTo>
                    <a:pt x="2" y="3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81" name="Freeform 277">
              <a:extLst>
                <a:ext uri="{FF2B5EF4-FFF2-40B4-BE49-F238E27FC236}">
                  <a16:creationId xmlns:a16="http://schemas.microsoft.com/office/drawing/2014/main" id="{C9CFEB17-BC38-43F4-9413-2FFFF43DF6E7}"/>
                </a:ext>
              </a:extLst>
            </p:cNvPr>
            <p:cNvSpPr>
              <a:spLocks/>
            </p:cNvSpPr>
            <p:nvPr/>
          </p:nvSpPr>
          <p:spPr bwMode="gray">
            <a:xfrm>
              <a:off x="9082523" y="3489640"/>
              <a:ext cx="161805" cy="159344"/>
            </a:xfrm>
            <a:custGeom>
              <a:avLst/>
              <a:gdLst>
                <a:gd name="T0" fmla="*/ 24 w 98"/>
                <a:gd name="T1" fmla="*/ 92 h 96"/>
                <a:gd name="T2" fmla="*/ 12 w 98"/>
                <a:gd name="T3" fmla="*/ 94 h 96"/>
                <a:gd name="T4" fmla="*/ 8 w 98"/>
                <a:gd name="T5" fmla="*/ 88 h 96"/>
                <a:gd name="T6" fmla="*/ 12 w 98"/>
                <a:gd name="T7" fmla="*/ 80 h 96"/>
                <a:gd name="T8" fmla="*/ 12 w 98"/>
                <a:gd name="T9" fmla="*/ 70 h 96"/>
                <a:gd name="T10" fmla="*/ 16 w 98"/>
                <a:gd name="T11" fmla="*/ 60 h 96"/>
                <a:gd name="T12" fmla="*/ 6 w 98"/>
                <a:gd name="T13" fmla="*/ 60 h 96"/>
                <a:gd name="T14" fmla="*/ 0 w 98"/>
                <a:gd name="T15" fmla="*/ 56 h 96"/>
                <a:gd name="T16" fmla="*/ 6 w 98"/>
                <a:gd name="T17" fmla="*/ 48 h 96"/>
                <a:gd name="T18" fmla="*/ 22 w 98"/>
                <a:gd name="T19" fmla="*/ 38 h 96"/>
                <a:gd name="T20" fmla="*/ 28 w 98"/>
                <a:gd name="T21" fmla="*/ 32 h 96"/>
                <a:gd name="T22" fmla="*/ 36 w 98"/>
                <a:gd name="T23" fmla="*/ 24 h 96"/>
                <a:gd name="T24" fmla="*/ 40 w 98"/>
                <a:gd name="T25" fmla="*/ 22 h 96"/>
                <a:gd name="T26" fmla="*/ 50 w 98"/>
                <a:gd name="T27" fmla="*/ 26 h 96"/>
                <a:gd name="T28" fmla="*/ 60 w 98"/>
                <a:gd name="T29" fmla="*/ 24 h 96"/>
                <a:gd name="T30" fmla="*/ 62 w 98"/>
                <a:gd name="T31" fmla="*/ 16 h 96"/>
                <a:gd name="T32" fmla="*/ 72 w 98"/>
                <a:gd name="T33" fmla="*/ 16 h 96"/>
                <a:gd name="T34" fmla="*/ 80 w 98"/>
                <a:gd name="T35" fmla="*/ 10 h 96"/>
                <a:gd name="T36" fmla="*/ 82 w 98"/>
                <a:gd name="T37" fmla="*/ 4 h 96"/>
                <a:gd name="T38" fmla="*/ 88 w 98"/>
                <a:gd name="T39" fmla="*/ 0 h 96"/>
                <a:gd name="T40" fmla="*/ 98 w 98"/>
                <a:gd name="T41" fmla="*/ 8 h 96"/>
                <a:gd name="T42" fmla="*/ 92 w 98"/>
                <a:gd name="T43" fmla="*/ 12 h 96"/>
                <a:gd name="T44" fmla="*/ 84 w 98"/>
                <a:gd name="T45" fmla="*/ 18 h 96"/>
                <a:gd name="T46" fmla="*/ 80 w 98"/>
                <a:gd name="T47" fmla="*/ 28 h 96"/>
                <a:gd name="T48" fmla="*/ 78 w 98"/>
                <a:gd name="T49" fmla="*/ 38 h 96"/>
                <a:gd name="T50" fmla="*/ 76 w 98"/>
                <a:gd name="T51" fmla="*/ 42 h 96"/>
                <a:gd name="T52" fmla="*/ 68 w 98"/>
                <a:gd name="T53" fmla="*/ 46 h 96"/>
                <a:gd name="T54" fmla="*/ 52 w 98"/>
                <a:gd name="T55" fmla="*/ 52 h 96"/>
                <a:gd name="T56" fmla="*/ 48 w 98"/>
                <a:gd name="T57" fmla="*/ 58 h 96"/>
                <a:gd name="T58" fmla="*/ 48 w 98"/>
                <a:gd name="T59" fmla="*/ 66 h 96"/>
                <a:gd name="T60" fmla="*/ 52 w 98"/>
                <a:gd name="T61" fmla="*/ 76 h 96"/>
                <a:gd name="T62" fmla="*/ 56 w 98"/>
                <a:gd name="T63" fmla="*/ 80 h 96"/>
                <a:gd name="T64" fmla="*/ 60 w 98"/>
                <a:gd name="T65" fmla="*/ 84 h 96"/>
                <a:gd name="T66" fmla="*/ 50 w 98"/>
                <a:gd name="T67" fmla="*/ 86 h 96"/>
                <a:gd name="T68" fmla="*/ 40 w 98"/>
                <a:gd name="T69" fmla="*/ 90 h 96"/>
                <a:gd name="T70" fmla="*/ 36 w 98"/>
                <a:gd name="T71" fmla="*/ 96 h 96"/>
                <a:gd name="T72" fmla="*/ 24 w 98"/>
                <a:gd name="T73" fmla="*/ 9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96">
                  <a:moveTo>
                    <a:pt x="24" y="92"/>
                  </a:moveTo>
                  <a:lnTo>
                    <a:pt x="12" y="94"/>
                  </a:lnTo>
                  <a:lnTo>
                    <a:pt x="8" y="88"/>
                  </a:lnTo>
                  <a:lnTo>
                    <a:pt x="12" y="80"/>
                  </a:lnTo>
                  <a:lnTo>
                    <a:pt x="12" y="70"/>
                  </a:lnTo>
                  <a:lnTo>
                    <a:pt x="16" y="60"/>
                  </a:lnTo>
                  <a:lnTo>
                    <a:pt x="6" y="60"/>
                  </a:lnTo>
                  <a:lnTo>
                    <a:pt x="0" y="56"/>
                  </a:lnTo>
                  <a:lnTo>
                    <a:pt x="6" y="48"/>
                  </a:lnTo>
                  <a:lnTo>
                    <a:pt x="22" y="38"/>
                  </a:lnTo>
                  <a:lnTo>
                    <a:pt x="28" y="32"/>
                  </a:lnTo>
                  <a:lnTo>
                    <a:pt x="36" y="24"/>
                  </a:lnTo>
                  <a:lnTo>
                    <a:pt x="40" y="22"/>
                  </a:lnTo>
                  <a:lnTo>
                    <a:pt x="50" y="26"/>
                  </a:lnTo>
                  <a:lnTo>
                    <a:pt x="60" y="24"/>
                  </a:lnTo>
                  <a:lnTo>
                    <a:pt x="62" y="16"/>
                  </a:lnTo>
                  <a:lnTo>
                    <a:pt x="72" y="16"/>
                  </a:lnTo>
                  <a:lnTo>
                    <a:pt x="80" y="10"/>
                  </a:lnTo>
                  <a:lnTo>
                    <a:pt x="82" y="4"/>
                  </a:lnTo>
                  <a:lnTo>
                    <a:pt x="88" y="0"/>
                  </a:lnTo>
                  <a:lnTo>
                    <a:pt x="98" y="8"/>
                  </a:lnTo>
                  <a:lnTo>
                    <a:pt x="92" y="12"/>
                  </a:lnTo>
                  <a:lnTo>
                    <a:pt x="84" y="18"/>
                  </a:lnTo>
                  <a:lnTo>
                    <a:pt x="80" y="28"/>
                  </a:lnTo>
                  <a:lnTo>
                    <a:pt x="78" y="38"/>
                  </a:lnTo>
                  <a:lnTo>
                    <a:pt x="76" y="42"/>
                  </a:lnTo>
                  <a:lnTo>
                    <a:pt x="68" y="46"/>
                  </a:lnTo>
                  <a:lnTo>
                    <a:pt x="52" y="52"/>
                  </a:lnTo>
                  <a:lnTo>
                    <a:pt x="48" y="58"/>
                  </a:lnTo>
                  <a:lnTo>
                    <a:pt x="48" y="66"/>
                  </a:lnTo>
                  <a:lnTo>
                    <a:pt x="52" y="76"/>
                  </a:lnTo>
                  <a:lnTo>
                    <a:pt x="56" y="80"/>
                  </a:lnTo>
                  <a:lnTo>
                    <a:pt x="60" y="84"/>
                  </a:lnTo>
                  <a:lnTo>
                    <a:pt x="50" y="86"/>
                  </a:lnTo>
                  <a:lnTo>
                    <a:pt x="40" y="90"/>
                  </a:lnTo>
                  <a:lnTo>
                    <a:pt x="36" y="96"/>
                  </a:lnTo>
                  <a:lnTo>
                    <a:pt x="24" y="9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82" name="Freeform 278">
              <a:extLst>
                <a:ext uri="{FF2B5EF4-FFF2-40B4-BE49-F238E27FC236}">
                  <a16:creationId xmlns:a16="http://schemas.microsoft.com/office/drawing/2014/main" id="{D8C262C0-2452-40C1-B72F-DF70760347C7}"/>
                </a:ext>
              </a:extLst>
            </p:cNvPr>
            <p:cNvSpPr>
              <a:spLocks/>
            </p:cNvSpPr>
            <p:nvPr/>
          </p:nvSpPr>
          <p:spPr bwMode="gray">
            <a:xfrm>
              <a:off x="7748459" y="3131117"/>
              <a:ext cx="1604841" cy="1015815"/>
            </a:xfrm>
            <a:custGeom>
              <a:avLst/>
              <a:gdLst>
                <a:gd name="T0" fmla="*/ 108 w 972"/>
                <a:gd name="T1" fmla="*/ 176 h 612"/>
                <a:gd name="T2" fmla="*/ 170 w 972"/>
                <a:gd name="T3" fmla="*/ 134 h 612"/>
                <a:gd name="T4" fmla="*/ 210 w 972"/>
                <a:gd name="T5" fmla="*/ 104 h 612"/>
                <a:gd name="T6" fmla="*/ 258 w 972"/>
                <a:gd name="T7" fmla="*/ 116 h 612"/>
                <a:gd name="T8" fmla="*/ 278 w 972"/>
                <a:gd name="T9" fmla="*/ 170 h 612"/>
                <a:gd name="T10" fmla="*/ 358 w 972"/>
                <a:gd name="T11" fmla="*/ 212 h 612"/>
                <a:gd name="T12" fmla="*/ 506 w 972"/>
                <a:gd name="T13" fmla="*/ 240 h 612"/>
                <a:gd name="T14" fmla="*/ 608 w 972"/>
                <a:gd name="T15" fmla="*/ 200 h 612"/>
                <a:gd name="T16" fmla="*/ 654 w 972"/>
                <a:gd name="T17" fmla="*/ 164 h 612"/>
                <a:gd name="T18" fmla="*/ 736 w 972"/>
                <a:gd name="T19" fmla="*/ 144 h 612"/>
                <a:gd name="T20" fmla="*/ 668 w 972"/>
                <a:gd name="T21" fmla="*/ 116 h 612"/>
                <a:gd name="T22" fmla="*/ 714 w 972"/>
                <a:gd name="T23" fmla="*/ 76 h 612"/>
                <a:gd name="T24" fmla="*/ 750 w 972"/>
                <a:gd name="T25" fmla="*/ 20 h 612"/>
                <a:gd name="T26" fmla="*/ 798 w 972"/>
                <a:gd name="T27" fmla="*/ 0 h 612"/>
                <a:gd name="T28" fmla="*/ 856 w 972"/>
                <a:gd name="T29" fmla="*/ 68 h 612"/>
                <a:gd name="T30" fmla="*/ 908 w 972"/>
                <a:gd name="T31" fmla="*/ 100 h 612"/>
                <a:gd name="T32" fmla="*/ 970 w 972"/>
                <a:gd name="T33" fmla="*/ 110 h 612"/>
                <a:gd name="T34" fmla="*/ 934 w 972"/>
                <a:gd name="T35" fmla="*/ 174 h 612"/>
                <a:gd name="T36" fmla="*/ 896 w 972"/>
                <a:gd name="T37" fmla="*/ 216 h 612"/>
                <a:gd name="T38" fmla="*/ 848 w 972"/>
                <a:gd name="T39" fmla="*/ 238 h 612"/>
                <a:gd name="T40" fmla="*/ 798 w 972"/>
                <a:gd name="T41" fmla="*/ 274 h 612"/>
                <a:gd name="T42" fmla="*/ 772 w 972"/>
                <a:gd name="T43" fmla="*/ 266 h 612"/>
                <a:gd name="T44" fmla="*/ 724 w 972"/>
                <a:gd name="T45" fmla="*/ 286 h 612"/>
                <a:gd name="T46" fmla="*/ 720 w 972"/>
                <a:gd name="T47" fmla="*/ 316 h 612"/>
                <a:gd name="T48" fmla="*/ 758 w 972"/>
                <a:gd name="T49" fmla="*/ 316 h 612"/>
                <a:gd name="T50" fmla="*/ 752 w 972"/>
                <a:gd name="T51" fmla="*/ 334 h 612"/>
                <a:gd name="T52" fmla="*/ 736 w 972"/>
                <a:gd name="T53" fmla="*/ 372 h 612"/>
                <a:gd name="T54" fmla="*/ 766 w 972"/>
                <a:gd name="T55" fmla="*/ 422 h 612"/>
                <a:gd name="T56" fmla="*/ 760 w 972"/>
                <a:gd name="T57" fmla="*/ 438 h 612"/>
                <a:gd name="T58" fmla="*/ 766 w 972"/>
                <a:gd name="T59" fmla="*/ 450 h 612"/>
                <a:gd name="T60" fmla="*/ 714 w 972"/>
                <a:gd name="T61" fmla="*/ 542 h 612"/>
                <a:gd name="T62" fmla="*/ 638 w 972"/>
                <a:gd name="T63" fmla="*/ 568 h 612"/>
                <a:gd name="T64" fmla="*/ 586 w 972"/>
                <a:gd name="T65" fmla="*/ 596 h 612"/>
                <a:gd name="T66" fmla="*/ 576 w 972"/>
                <a:gd name="T67" fmla="*/ 594 h 612"/>
                <a:gd name="T68" fmla="*/ 528 w 972"/>
                <a:gd name="T69" fmla="*/ 590 h 612"/>
                <a:gd name="T70" fmla="*/ 492 w 972"/>
                <a:gd name="T71" fmla="*/ 576 h 612"/>
                <a:gd name="T72" fmla="*/ 450 w 972"/>
                <a:gd name="T73" fmla="*/ 590 h 612"/>
                <a:gd name="T74" fmla="*/ 420 w 972"/>
                <a:gd name="T75" fmla="*/ 594 h 612"/>
                <a:gd name="T76" fmla="*/ 402 w 972"/>
                <a:gd name="T77" fmla="*/ 552 h 612"/>
                <a:gd name="T78" fmla="*/ 392 w 972"/>
                <a:gd name="T79" fmla="*/ 490 h 612"/>
                <a:gd name="T80" fmla="*/ 352 w 972"/>
                <a:gd name="T81" fmla="*/ 464 h 612"/>
                <a:gd name="T82" fmla="*/ 292 w 972"/>
                <a:gd name="T83" fmla="*/ 488 h 612"/>
                <a:gd name="T84" fmla="*/ 230 w 972"/>
                <a:gd name="T85" fmla="*/ 488 h 612"/>
                <a:gd name="T86" fmla="*/ 146 w 972"/>
                <a:gd name="T87" fmla="*/ 456 h 612"/>
                <a:gd name="T88" fmla="*/ 80 w 972"/>
                <a:gd name="T89" fmla="*/ 418 h 612"/>
                <a:gd name="T90" fmla="*/ 84 w 972"/>
                <a:gd name="T91" fmla="*/ 380 h 612"/>
                <a:gd name="T92" fmla="*/ 70 w 972"/>
                <a:gd name="T93" fmla="*/ 352 h 612"/>
                <a:gd name="T94" fmla="*/ 20 w 972"/>
                <a:gd name="T95" fmla="*/ 318 h 612"/>
                <a:gd name="T96" fmla="*/ 2 w 972"/>
                <a:gd name="T97" fmla="*/ 284 h 612"/>
                <a:gd name="T98" fmla="*/ 32 w 972"/>
                <a:gd name="T99" fmla="*/ 266 h 612"/>
                <a:gd name="T100" fmla="*/ 102 w 972"/>
                <a:gd name="T101" fmla="*/ 232 h 612"/>
                <a:gd name="connsiteX0" fmla="*/ 1111 w 10000"/>
                <a:gd name="connsiteY0" fmla="*/ 3725 h 10000"/>
                <a:gd name="connsiteX1" fmla="*/ 1111 w 10000"/>
                <a:gd name="connsiteY1" fmla="*/ 3562 h 10000"/>
                <a:gd name="connsiteX2" fmla="*/ 1193 w 10000"/>
                <a:gd name="connsiteY2" fmla="*/ 3431 h 10000"/>
                <a:gd name="connsiteX3" fmla="*/ 1132 w 10000"/>
                <a:gd name="connsiteY3" fmla="*/ 3170 h 10000"/>
                <a:gd name="connsiteX4" fmla="*/ 1111 w 10000"/>
                <a:gd name="connsiteY4" fmla="*/ 2876 h 10000"/>
                <a:gd name="connsiteX5" fmla="*/ 1235 w 10000"/>
                <a:gd name="connsiteY5" fmla="*/ 2778 h 10000"/>
                <a:gd name="connsiteX6" fmla="*/ 1420 w 10000"/>
                <a:gd name="connsiteY6" fmla="*/ 2778 h 10000"/>
                <a:gd name="connsiteX7" fmla="*/ 1461 w 10000"/>
                <a:gd name="connsiteY7" fmla="*/ 2549 h 10000"/>
                <a:gd name="connsiteX8" fmla="*/ 1564 w 10000"/>
                <a:gd name="connsiteY8" fmla="*/ 2157 h 10000"/>
                <a:gd name="connsiteX9" fmla="*/ 1749 w 10000"/>
                <a:gd name="connsiteY9" fmla="*/ 2190 h 10000"/>
                <a:gd name="connsiteX10" fmla="*/ 1893 w 10000"/>
                <a:gd name="connsiteY10" fmla="*/ 2190 h 10000"/>
                <a:gd name="connsiteX11" fmla="*/ 1996 w 10000"/>
                <a:gd name="connsiteY11" fmla="*/ 2157 h 10000"/>
                <a:gd name="connsiteX12" fmla="*/ 1996 w 10000"/>
                <a:gd name="connsiteY12" fmla="*/ 1928 h 10000"/>
                <a:gd name="connsiteX13" fmla="*/ 2037 w 10000"/>
                <a:gd name="connsiteY13" fmla="*/ 1699 h 10000"/>
                <a:gd name="connsiteX14" fmla="*/ 2160 w 10000"/>
                <a:gd name="connsiteY14" fmla="*/ 1699 h 10000"/>
                <a:gd name="connsiteX15" fmla="*/ 2181 w 10000"/>
                <a:gd name="connsiteY15" fmla="*/ 1536 h 10000"/>
                <a:gd name="connsiteX16" fmla="*/ 2346 w 10000"/>
                <a:gd name="connsiteY16" fmla="*/ 1536 h 10000"/>
                <a:gd name="connsiteX17" fmla="*/ 2387 w 10000"/>
                <a:gd name="connsiteY17" fmla="*/ 1699 h 10000"/>
                <a:gd name="connsiteX18" fmla="*/ 2490 w 10000"/>
                <a:gd name="connsiteY18" fmla="*/ 1863 h 10000"/>
                <a:gd name="connsiteX19" fmla="*/ 2654 w 10000"/>
                <a:gd name="connsiteY19" fmla="*/ 1895 h 10000"/>
                <a:gd name="connsiteX20" fmla="*/ 2798 w 10000"/>
                <a:gd name="connsiteY20" fmla="*/ 2124 h 10000"/>
                <a:gd name="connsiteX21" fmla="*/ 2881 w 10000"/>
                <a:gd name="connsiteY21" fmla="*/ 2320 h 10000"/>
                <a:gd name="connsiteX22" fmla="*/ 2881 w 10000"/>
                <a:gd name="connsiteY22" fmla="*/ 2451 h 10000"/>
                <a:gd name="connsiteX23" fmla="*/ 2819 w 10000"/>
                <a:gd name="connsiteY23" fmla="*/ 2582 h 10000"/>
                <a:gd name="connsiteX24" fmla="*/ 2860 w 10000"/>
                <a:gd name="connsiteY24" fmla="*/ 2778 h 10000"/>
                <a:gd name="connsiteX25" fmla="*/ 2942 w 10000"/>
                <a:gd name="connsiteY25" fmla="*/ 2843 h 10000"/>
                <a:gd name="connsiteX26" fmla="*/ 3292 w 10000"/>
                <a:gd name="connsiteY26" fmla="*/ 2876 h 10000"/>
                <a:gd name="connsiteX27" fmla="*/ 3395 w 10000"/>
                <a:gd name="connsiteY27" fmla="*/ 3039 h 10000"/>
                <a:gd name="connsiteX28" fmla="*/ 3621 w 10000"/>
                <a:gd name="connsiteY28" fmla="*/ 3235 h 10000"/>
                <a:gd name="connsiteX29" fmla="*/ 3683 w 10000"/>
                <a:gd name="connsiteY29" fmla="*/ 3464 h 10000"/>
                <a:gd name="connsiteX30" fmla="*/ 3745 w 10000"/>
                <a:gd name="connsiteY30" fmla="*/ 3595 h 10000"/>
                <a:gd name="connsiteX31" fmla="*/ 4300 w 10000"/>
                <a:gd name="connsiteY31" fmla="*/ 3627 h 10000"/>
                <a:gd name="connsiteX32" fmla="*/ 4588 w 10000"/>
                <a:gd name="connsiteY32" fmla="*/ 3660 h 10000"/>
                <a:gd name="connsiteX33" fmla="*/ 4835 w 10000"/>
                <a:gd name="connsiteY33" fmla="*/ 3856 h 10000"/>
                <a:gd name="connsiteX34" fmla="*/ 5206 w 10000"/>
                <a:gd name="connsiteY34" fmla="*/ 3922 h 10000"/>
                <a:gd name="connsiteX35" fmla="*/ 5432 w 10000"/>
                <a:gd name="connsiteY35" fmla="*/ 3693 h 10000"/>
                <a:gd name="connsiteX36" fmla="*/ 5885 w 10000"/>
                <a:gd name="connsiteY36" fmla="*/ 3693 h 10000"/>
                <a:gd name="connsiteX37" fmla="*/ 6070 w 10000"/>
                <a:gd name="connsiteY37" fmla="*/ 3529 h 10000"/>
                <a:gd name="connsiteX38" fmla="*/ 6070 w 10000"/>
                <a:gd name="connsiteY38" fmla="*/ 3431 h 10000"/>
                <a:gd name="connsiteX39" fmla="*/ 6255 w 10000"/>
                <a:gd name="connsiteY39" fmla="*/ 3268 h 10000"/>
                <a:gd name="connsiteX40" fmla="*/ 6193 w 10000"/>
                <a:gd name="connsiteY40" fmla="*/ 3072 h 10000"/>
                <a:gd name="connsiteX41" fmla="*/ 6255 w 10000"/>
                <a:gd name="connsiteY41" fmla="*/ 2876 h 10000"/>
                <a:gd name="connsiteX42" fmla="*/ 6399 w 10000"/>
                <a:gd name="connsiteY42" fmla="*/ 2876 h 10000"/>
                <a:gd name="connsiteX43" fmla="*/ 6584 w 10000"/>
                <a:gd name="connsiteY43" fmla="*/ 2908 h 10000"/>
                <a:gd name="connsiteX44" fmla="*/ 6728 w 10000"/>
                <a:gd name="connsiteY44" fmla="*/ 2680 h 10000"/>
                <a:gd name="connsiteX45" fmla="*/ 6893 w 10000"/>
                <a:gd name="connsiteY45" fmla="*/ 2680 h 10000"/>
                <a:gd name="connsiteX46" fmla="*/ 7078 w 10000"/>
                <a:gd name="connsiteY46" fmla="*/ 2451 h 10000"/>
                <a:gd name="connsiteX47" fmla="*/ 7284 w 10000"/>
                <a:gd name="connsiteY47" fmla="*/ 2320 h 10000"/>
                <a:gd name="connsiteX48" fmla="*/ 7407 w 10000"/>
                <a:gd name="connsiteY48" fmla="*/ 2320 h 10000"/>
                <a:gd name="connsiteX49" fmla="*/ 7572 w 10000"/>
                <a:gd name="connsiteY49" fmla="*/ 2353 h 10000"/>
                <a:gd name="connsiteX50" fmla="*/ 7551 w 10000"/>
                <a:gd name="connsiteY50" fmla="*/ 2190 h 10000"/>
                <a:gd name="connsiteX51" fmla="*/ 7346 w 10000"/>
                <a:gd name="connsiteY51" fmla="*/ 1863 h 10000"/>
                <a:gd name="connsiteX52" fmla="*/ 7243 w 10000"/>
                <a:gd name="connsiteY52" fmla="*/ 1830 h 10000"/>
                <a:gd name="connsiteX53" fmla="*/ 7160 w 10000"/>
                <a:gd name="connsiteY53" fmla="*/ 1928 h 10000"/>
                <a:gd name="connsiteX54" fmla="*/ 6872 w 10000"/>
                <a:gd name="connsiteY54" fmla="*/ 1895 h 10000"/>
                <a:gd name="connsiteX55" fmla="*/ 6914 w 10000"/>
                <a:gd name="connsiteY55" fmla="*/ 1667 h 10000"/>
                <a:gd name="connsiteX56" fmla="*/ 6996 w 10000"/>
                <a:gd name="connsiteY56" fmla="*/ 1373 h 10000"/>
                <a:gd name="connsiteX57" fmla="*/ 7058 w 10000"/>
                <a:gd name="connsiteY57" fmla="*/ 1242 h 10000"/>
                <a:gd name="connsiteX58" fmla="*/ 7243 w 10000"/>
                <a:gd name="connsiteY58" fmla="*/ 1405 h 10000"/>
                <a:gd name="connsiteX59" fmla="*/ 7346 w 10000"/>
                <a:gd name="connsiteY59" fmla="*/ 1242 h 10000"/>
                <a:gd name="connsiteX60" fmla="*/ 7469 w 10000"/>
                <a:gd name="connsiteY60" fmla="*/ 1209 h 10000"/>
                <a:gd name="connsiteX61" fmla="*/ 7510 w 10000"/>
                <a:gd name="connsiteY61" fmla="*/ 948 h 10000"/>
                <a:gd name="connsiteX62" fmla="*/ 7613 w 10000"/>
                <a:gd name="connsiteY62" fmla="*/ 654 h 10000"/>
                <a:gd name="connsiteX63" fmla="*/ 7716 w 10000"/>
                <a:gd name="connsiteY63" fmla="*/ 556 h 10000"/>
                <a:gd name="connsiteX64" fmla="*/ 7716 w 10000"/>
                <a:gd name="connsiteY64" fmla="*/ 327 h 10000"/>
                <a:gd name="connsiteX65" fmla="*/ 7593 w 10000"/>
                <a:gd name="connsiteY65" fmla="*/ 294 h 10000"/>
                <a:gd name="connsiteX66" fmla="*/ 7613 w 10000"/>
                <a:gd name="connsiteY66" fmla="*/ 163 h 10000"/>
                <a:gd name="connsiteX67" fmla="*/ 7757 w 10000"/>
                <a:gd name="connsiteY67" fmla="*/ 65 h 10000"/>
                <a:gd name="connsiteX68" fmla="*/ 8025 w 10000"/>
                <a:gd name="connsiteY68" fmla="*/ 33 h 10000"/>
                <a:gd name="connsiteX69" fmla="*/ 8210 w 10000"/>
                <a:gd name="connsiteY69" fmla="*/ 0 h 10000"/>
                <a:gd name="connsiteX70" fmla="*/ 8374 w 10000"/>
                <a:gd name="connsiteY70" fmla="*/ 98 h 10000"/>
                <a:gd name="connsiteX71" fmla="*/ 8519 w 10000"/>
                <a:gd name="connsiteY71" fmla="*/ 196 h 10000"/>
                <a:gd name="connsiteX72" fmla="*/ 8642 w 10000"/>
                <a:gd name="connsiteY72" fmla="*/ 523 h 10000"/>
                <a:gd name="connsiteX73" fmla="*/ 8724 w 10000"/>
                <a:gd name="connsiteY73" fmla="*/ 850 h 10000"/>
                <a:gd name="connsiteX74" fmla="*/ 8807 w 10000"/>
                <a:gd name="connsiteY74" fmla="*/ 1111 h 10000"/>
                <a:gd name="connsiteX75" fmla="*/ 8868 w 10000"/>
                <a:gd name="connsiteY75" fmla="*/ 1373 h 10000"/>
                <a:gd name="connsiteX76" fmla="*/ 9033 w 10000"/>
                <a:gd name="connsiteY76" fmla="*/ 1373 h 10000"/>
                <a:gd name="connsiteX77" fmla="*/ 9136 w 10000"/>
                <a:gd name="connsiteY77" fmla="*/ 1471 h 10000"/>
                <a:gd name="connsiteX78" fmla="*/ 9280 w 10000"/>
                <a:gd name="connsiteY78" fmla="*/ 1601 h 10000"/>
                <a:gd name="connsiteX79" fmla="*/ 9342 w 10000"/>
                <a:gd name="connsiteY79" fmla="*/ 1634 h 10000"/>
                <a:gd name="connsiteX80" fmla="*/ 9383 w 10000"/>
                <a:gd name="connsiteY80" fmla="*/ 1961 h 10000"/>
                <a:gd name="connsiteX81" fmla="*/ 9609 w 10000"/>
                <a:gd name="connsiteY81" fmla="*/ 1993 h 10000"/>
                <a:gd name="connsiteX82" fmla="*/ 9671 w 10000"/>
                <a:gd name="connsiteY82" fmla="*/ 1863 h 10000"/>
                <a:gd name="connsiteX83" fmla="*/ 9815 w 10000"/>
                <a:gd name="connsiteY83" fmla="*/ 1830 h 10000"/>
                <a:gd name="connsiteX84" fmla="*/ 9979 w 10000"/>
                <a:gd name="connsiteY84" fmla="*/ 1797 h 10000"/>
                <a:gd name="connsiteX85" fmla="*/ 10000 w 10000"/>
                <a:gd name="connsiteY85" fmla="*/ 2026 h 10000"/>
                <a:gd name="connsiteX86" fmla="*/ 9918 w 10000"/>
                <a:gd name="connsiteY86" fmla="*/ 2092 h 10000"/>
                <a:gd name="connsiteX87" fmla="*/ 9856 w 10000"/>
                <a:gd name="connsiteY87" fmla="*/ 2451 h 10000"/>
                <a:gd name="connsiteX88" fmla="*/ 9733 w 10000"/>
                <a:gd name="connsiteY88" fmla="*/ 2810 h 10000"/>
                <a:gd name="connsiteX89" fmla="*/ 9609 w 10000"/>
                <a:gd name="connsiteY89" fmla="*/ 2843 h 10000"/>
                <a:gd name="connsiteX90" fmla="*/ 9547 w 10000"/>
                <a:gd name="connsiteY90" fmla="*/ 2745 h 10000"/>
                <a:gd name="connsiteX91" fmla="*/ 9403 w 10000"/>
                <a:gd name="connsiteY91" fmla="*/ 2908 h 10000"/>
                <a:gd name="connsiteX92" fmla="*/ 9403 w 10000"/>
                <a:gd name="connsiteY92" fmla="*/ 3497 h 10000"/>
                <a:gd name="connsiteX93" fmla="*/ 9321 w 10000"/>
                <a:gd name="connsiteY93" fmla="*/ 3660 h 10000"/>
                <a:gd name="connsiteX94" fmla="*/ 9218 w 10000"/>
                <a:gd name="connsiteY94" fmla="*/ 3529 h 10000"/>
                <a:gd name="connsiteX95" fmla="*/ 9053 w 10000"/>
                <a:gd name="connsiteY95" fmla="*/ 3791 h 10000"/>
                <a:gd name="connsiteX96" fmla="*/ 8951 w 10000"/>
                <a:gd name="connsiteY96" fmla="*/ 3791 h 10000"/>
                <a:gd name="connsiteX97" fmla="*/ 8930 w 10000"/>
                <a:gd name="connsiteY97" fmla="*/ 3922 h 10000"/>
                <a:gd name="connsiteX98" fmla="*/ 8827 w 10000"/>
                <a:gd name="connsiteY98" fmla="*/ 3954 h 10000"/>
                <a:gd name="connsiteX99" fmla="*/ 8724 w 10000"/>
                <a:gd name="connsiteY99" fmla="*/ 3889 h 10000"/>
                <a:gd name="connsiteX100" fmla="*/ 8683 w 10000"/>
                <a:gd name="connsiteY100" fmla="*/ 3922 h 10000"/>
                <a:gd name="connsiteX101" fmla="*/ 8539 w 10000"/>
                <a:gd name="connsiteY101" fmla="*/ 4150 h 10000"/>
                <a:gd name="connsiteX102" fmla="*/ 8416 w 10000"/>
                <a:gd name="connsiteY102" fmla="*/ 4281 h 10000"/>
                <a:gd name="connsiteX103" fmla="*/ 8313 w 10000"/>
                <a:gd name="connsiteY103" fmla="*/ 4444 h 10000"/>
                <a:gd name="connsiteX104" fmla="*/ 8210 w 10000"/>
                <a:gd name="connsiteY104" fmla="*/ 4477 h 10000"/>
                <a:gd name="connsiteX105" fmla="*/ 8107 w 10000"/>
                <a:gd name="connsiteY105" fmla="*/ 4510 h 10000"/>
                <a:gd name="connsiteX106" fmla="*/ 7819 w 10000"/>
                <a:gd name="connsiteY106" fmla="*/ 4804 h 10000"/>
                <a:gd name="connsiteX107" fmla="*/ 7798 w 10000"/>
                <a:gd name="connsiteY107" fmla="*/ 4608 h 10000"/>
                <a:gd name="connsiteX108" fmla="*/ 7840 w 10000"/>
                <a:gd name="connsiteY108" fmla="*/ 4444 h 10000"/>
                <a:gd name="connsiteX109" fmla="*/ 7942 w 10000"/>
                <a:gd name="connsiteY109" fmla="*/ 4346 h 10000"/>
                <a:gd name="connsiteX110" fmla="*/ 7922 w 10000"/>
                <a:gd name="connsiteY110" fmla="*/ 4183 h 10000"/>
                <a:gd name="connsiteX111" fmla="*/ 7840 w 10000"/>
                <a:gd name="connsiteY111" fmla="*/ 4183 h 10000"/>
                <a:gd name="connsiteX112" fmla="*/ 7716 w 10000"/>
                <a:gd name="connsiteY112" fmla="*/ 4216 h 10000"/>
                <a:gd name="connsiteX113" fmla="*/ 7490 w 10000"/>
                <a:gd name="connsiteY113" fmla="*/ 4510 h 10000"/>
                <a:gd name="connsiteX114" fmla="*/ 7449 w 10000"/>
                <a:gd name="connsiteY114" fmla="*/ 4673 h 10000"/>
                <a:gd name="connsiteX115" fmla="*/ 7243 w 10000"/>
                <a:gd name="connsiteY115" fmla="*/ 4673 h 10000"/>
                <a:gd name="connsiteX116" fmla="*/ 7202 w 10000"/>
                <a:gd name="connsiteY116" fmla="*/ 4804 h 10000"/>
                <a:gd name="connsiteX117" fmla="*/ 7263 w 10000"/>
                <a:gd name="connsiteY117" fmla="*/ 5033 h 10000"/>
                <a:gd name="connsiteX118" fmla="*/ 7407 w 10000"/>
                <a:gd name="connsiteY118" fmla="*/ 5065 h 10000"/>
                <a:gd name="connsiteX119" fmla="*/ 7407 w 10000"/>
                <a:gd name="connsiteY119" fmla="*/ 5163 h 10000"/>
                <a:gd name="connsiteX120" fmla="*/ 7428 w 10000"/>
                <a:gd name="connsiteY120" fmla="*/ 5294 h 10000"/>
                <a:gd name="connsiteX121" fmla="*/ 7551 w 10000"/>
                <a:gd name="connsiteY121" fmla="*/ 5261 h 10000"/>
                <a:gd name="connsiteX122" fmla="*/ 7634 w 10000"/>
                <a:gd name="connsiteY122" fmla="*/ 5131 h 10000"/>
                <a:gd name="connsiteX123" fmla="*/ 7716 w 10000"/>
                <a:gd name="connsiteY123" fmla="*/ 5098 h 10000"/>
                <a:gd name="connsiteX124" fmla="*/ 7798 w 10000"/>
                <a:gd name="connsiteY124" fmla="*/ 5163 h 10000"/>
                <a:gd name="connsiteX125" fmla="*/ 7963 w 10000"/>
                <a:gd name="connsiteY125" fmla="*/ 5229 h 10000"/>
                <a:gd name="connsiteX126" fmla="*/ 8004 w 10000"/>
                <a:gd name="connsiteY126" fmla="*/ 5359 h 10000"/>
                <a:gd name="connsiteX127" fmla="*/ 7942 w 10000"/>
                <a:gd name="connsiteY127" fmla="*/ 5392 h 10000"/>
                <a:gd name="connsiteX128" fmla="*/ 7819 w 10000"/>
                <a:gd name="connsiteY128" fmla="*/ 5392 h 10000"/>
                <a:gd name="connsiteX129" fmla="*/ 7737 w 10000"/>
                <a:gd name="connsiteY129" fmla="*/ 5458 h 10000"/>
                <a:gd name="connsiteX130" fmla="*/ 7716 w 10000"/>
                <a:gd name="connsiteY130" fmla="*/ 5556 h 10000"/>
                <a:gd name="connsiteX131" fmla="*/ 7613 w 10000"/>
                <a:gd name="connsiteY131" fmla="*/ 5621 h 10000"/>
                <a:gd name="connsiteX132" fmla="*/ 7510 w 10000"/>
                <a:gd name="connsiteY132" fmla="*/ 5850 h 10000"/>
                <a:gd name="connsiteX133" fmla="*/ 7469 w 10000"/>
                <a:gd name="connsiteY133" fmla="*/ 6013 h 10000"/>
                <a:gd name="connsiteX134" fmla="*/ 7572 w 10000"/>
                <a:gd name="connsiteY134" fmla="*/ 6078 h 10000"/>
                <a:gd name="connsiteX135" fmla="*/ 7634 w 10000"/>
                <a:gd name="connsiteY135" fmla="*/ 6176 h 10000"/>
                <a:gd name="connsiteX136" fmla="*/ 7716 w 10000"/>
                <a:gd name="connsiteY136" fmla="*/ 6503 h 10000"/>
                <a:gd name="connsiteX137" fmla="*/ 7737 w 10000"/>
                <a:gd name="connsiteY137" fmla="*/ 6634 h 10000"/>
                <a:gd name="connsiteX138" fmla="*/ 7901 w 10000"/>
                <a:gd name="connsiteY138" fmla="*/ 6830 h 10000"/>
                <a:gd name="connsiteX139" fmla="*/ 7881 w 10000"/>
                <a:gd name="connsiteY139" fmla="*/ 6895 h 10000"/>
                <a:gd name="connsiteX140" fmla="*/ 7778 w 10000"/>
                <a:gd name="connsiteY140" fmla="*/ 6830 h 10000"/>
                <a:gd name="connsiteX141" fmla="*/ 7737 w 10000"/>
                <a:gd name="connsiteY141" fmla="*/ 6961 h 10000"/>
                <a:gd name="connsiteX142" fmla="*/ 7860 w 10000"/>
                <a:gd name="connsiteY142" fmla="*/ 7026 h 10000"/>
                <a:gd name="connsiteX143" fmla="*/ 7901 w 10000"/>
                <a:gd name="connsiteY143" fmla="*/ 7124 h 10000"/>
                <a:gd name="connsiteX144" fmla="*/ 7819 w 10000"/>
                <a:gd name="connsiteY144" fmla="*/ 7157 h 10000"/>
                <a:gd name="connsiteX145" fmla="*/ 7716 w 10000"/>
                <a:gd name="connsiteY145" fmla="*/ 7190 h 10000"/>
                <a:gd name="connsiteX146" fmla="*/ 7654 w 10000"/>
                <a:gd name="connsiteY146" fmla="*/ 7255 h 10000"/>
                <a:gd name="connsiteX147" fmla="*/ 7634 w 10000"/>
                <a:gd name="connsiteY147" fmla="*/ 7288 h 10000"/>
                <a:gd name="connsiteX148" fmla="*/ 7778 w 10000"/>
                <a:gd name="connsiteY148" fmla="*/ 7320 h 10000"/>
                <a:gd name="connsiteX149" fmla="*/ 7881 w 10000"/>
                <a:gd name="connsiteY149" fmla="*/ 7353 h 10000"/>
                <a:gd name="connsiteX150" fmla="*/ 7881 w 10000"/>
                <a:gd name="connsiteY150" fmla="*/ 7549 h 10000"/>
                <a:gd name="connsiteX151" fmla="*/ 7798 w 10000"/>
                <a:gd name="connsiteY151" fmla="*/ 7843 h 10000"/>
                <a:gd name="connsiteX152" fmla="*/ 7593 w 10000"/>
                <a:gd name="connsiteY152" fmla="*/ 8235 h 10000"/>
                <a:gd name="connsiteX153" fmla="*/ 7449 w 10000"/>
                <a:gd name="connsiteY153" fmla="*/ 8562 h 10000"/>
                <a:gd name="connsiteX154" fmla="*/ 7346 w 10000"/>
                <a:gd name="connsiteY154" fmla="*/ 8856 h 10000"/>
                <a:gd name="connsiteX155" fmla="*/ 7119 w 10000"/>
                <a:gd name="connsiteY155" fmla="*/ 9150 h 10000"/>
                <a:gd name="connsiteX156" fmla="*/ 6975 w 10000"/>
                <a:gd name="connsiteY156" fmla="*/ 9346 h 10000"/>
                <a:gd name="connsiteX157" fmla="*/ 6749 w 10000"/>
                <a:gd name="connsiteY157" fmla="*/ 9412 h 10000"/>
                <a:gd name="connsiteX158" fmla="*/ 6626 w 10000"/>
                <a:gd name="connsiteY158" fmla="*/ 9412 h 10000"/>
                <a:gd name="connsiteX159" fmla="*/ 6564 w 10000"/>
                <a:gd name="connsiteY159" fmla="*/ 9281 h 10000"/>
                <a:gd name="connsiteX160" fmla="*/ 6502 w 10000"/>
                <a:gd name="connsiteY160" fmla="*/ 9314 h 10000"/>
                <a:gd name="connsiteX161" fmla="*/ 6502 w 10000"/>
                <a:gd name="connsiteY161" fmla="*/ 9542 h 10000"/>
                <a:gd name="connsiteX162" fmla="*/ 6358 w 10000"/>
                <a:gd name="connsiteY162" fmla="*/ 9608 h 10000"/>
                <a:gd name="connsiteX163" fmla="*/ 6152 w 10000"/>
                <a:gd name="connsiteY163" fmla="*/ 9706 h 10000"/>
                <a:gd name="connsiteX164" fmla="*/ 6029 w 10000"/>
                <a:gd name="connsiteY164" fmla="*/ 9739 h 10000"/>
                <a:gd name="connsiteX165" fmla="*/ 5988 w 10000"/>
                <a:gd name="connsiteY165" fmla="*/ 9869 h 10000"/>
                <a:gd name="connsiteX166" fmla="*/ 6008 w 10000"/>
                <a:gd name="connsiteY166" fmla="*/ 10000 h 10000"/>
                <a:gd name="connsiteX167" fmla="*/ 5926 w 10000"/>
                <a:gd name="connsiteY167" fmla="*/ 9935 h 10000"/>
                <a:gd name="connsiteX168" fmla="*/ 5926 w 10000"/>
                <a:gd name="connsiteY168" fmla="*/ 9804 h 10000"/>
                <a:gd name="connsiteX169" fmla="*/ 5926 w 10000"/>
                <a:gd name="connsiteY169" fmla="*/ 9706 h 10000"/>
                <a:gd name="connsiteX170" fmla="*/ 5823 w 10000"/>
                <a:gd name="connsiteY170" fmla="*/ 9706 h 10000"/>
                <a:gd name="connsiteX171" fmla="*/ 5720 w 10000"/>
                <a:gd name="connsiteY171" fmla="*/ 9641 h 10000"/>
                <a:gd name="connsiteX172" fmla="*/ 5617 w 10000"/>
                <a:gd name="connsiteY172" fmla="*/ 9706 h 10000"/>
                <a:gd name="connsiteX173" fmla="*/ 5514 w 10000"/>
                <a:gd name="connsiteY173" fmla="*/ 9706 h 10000"/>
                <a:gd name="connsiteX174" fmla="*/ 5432 w 10000"/>
                <a:gd name="connsiteY174" fmla="*/ 9641 h 10000"/>
                <a:gd name="connsiteX175" fmla="*/ 5412 w 10000"/>
                <a:gd name="connsiteY175" fmla="*/ 9379 h 10000"/>
                <a:gd name="connsiteX176" fmla="*/ 5288 w 10000"/>
                <a:gd name="connsiteY176" fmla="*/ 9346 h 10000"/>
                <a:gd name="connsiteX177" fmla="*/ 5226 w 10000"/>
                <a:gd name="connsiteY177" fmla="*/ 9281 h 10000"/>
                <a:gd name="connsiteX178" fmla="*/ 5144 w 10000"/>
                <a:gd name="connsiteY178" fmla="*/ 9281 h 10000"/>
                <a:gd name="connsiteX179" fmla="*/ 5062 w 10000"/>
                <a:gd name="connsiteY179" fmla="*/ 9412 h 10000"/>
                <a:gd name="connsiteX180" fmla="*/ 4712 w 10000"/>
                <a:gd name="connsiteY180" fmla="*/ 9412 h 10000"/>
                <a:gd name="connsiteX181" fmla="*/ 4691 w 10000"/>
                <a:gd name="connsiteY181" fmla="*/ 9477 h 10000"/>
                <a:gd name="connsiteX182" fmla="*/ 4568 w 10000"/>
                <a:gd name="connsiteY182" fmla="*/ 9477 h 10000"/>
                <a:gd name="connsiteX183" fmla="*/ 4568 w 10000"/>
                <a:gd name="connsiteY183" fmla="*/ 9608 h 10000"/>
                <a:gd name="connsiteX184" fmla="*/ 4630 w 10000"/>
                <a:gd name="connsiteY184" fmla="*/ 9641 h 10000"/>
                <a:gd name="connsiteX185" fmla="*/ 4609 w 10000"/>
                <a:gd name="connsiteY185" fmla="*/ 9771 h 10000"/>
                <a:gd name="connsiteX186" fmla="*/ 4527 w 10000"/>
                <a:gd name="connsiteY186" fmla="*/ 9771 h 10000"/>
                <a:gd name="connsiteX187" fmla="*/ 4486 w 10000"/>
                <a:gd name="connsiteY187" fmla="*/ 9706 h 10000"/>
                <a:gd name="connsiteX188" fmla="*/ 4403 w 10000"/>
                <a:gd name="connsiteY188" fmla="*/ 9706 h 10000"/>
                <a:gd name="connsiteX189" fmla="*/ 4321 w 10000"/>
                <a:gd name="connsiteY189" fmla="*/ 9706 h 10000"/>
                <a:gd name="connsiteX190" fmla="*/ 4321 w 10000"/>
                <a:gd name="connsiteY190" fmla="*/ 9608 h 10000"/>
                <a:gd name="connsiteX191" fmla="*/ 4239 w 10000"/>
                <a:gd name="connsiteY191" fmla="*/ 9575 h 10000"/>
                <a:gd name="connsiteX192" fmla="*/ 4239 w 10000"/>
                <a:gd name="connsiteY192" fmla="*/ 9314 h 10000"/>
                <a:gd name="connsiteX193" fmla="*/ 4136 w 10000"/>
                <a:gd name="connsiteY193" fmla="*/ 9248 h 10000"/>
                <a:gd name="connsiteX194" fmla="*/ 4136 w 10000"/>
                <a:gd name="connsiteY194" fmla="*/ 9020 h 10000"/>
                <a:gd name="connsiteX195" fmla="*/ 3930 w 10000"/>
                <a:gd name="connsiteY195" fmla="*/ 8922 h 10000"/>
                <a:gd name="connsiteX196" fmla="*/ 3930 w 10000"/>
                <a:gd name="connsiteY196" fmla="*/ 8856 h 10000"/>
                <a:gd name="connsiteX197" fmla="*/ 4095 w 10000"/>
                <a:gd name="connsiteY197" fmla="*/ 8497 h 10000"/>
                <a:gd name="connsiteX198" fmla="*/ 4115 w 10000"/>
                <a:gd name="connsiteY198" fmla="*/ 8105 h 10000"/>
                <a:gd name="connsiteX199" fmla="*/ 4033 w 10000"/>
                <a:gd name="connsiteY199" fmla="*/ 8007 h 10000"/>
                <a:gd name="connsiteX200" fmla="*/ 3971 w 10000"/>
                <a:gd name="connsiteY200" fmla="*/ 7843 h 10000"/>
                <a:gd name="connsiteX201" fmla="*/ 3889 w 10000"/>
                <a:gd name="connsiteY201" fmla="*/ 7810 h 10000"/>
                <a:gd name="connsiteX202" fmla="*/ 3724 w 10000"/>
                <a:gd name="connsiteY202" fmla="*/ 7778 h 10000"/>
                <a:gd name="connsiteX203" fmla="*/ 3724 w 10000"/>
                <a:gd name="connsiteY203" fmla="*/ 7549 h 10000"/>
                <a:gd name="connsiteX204" fmla="*/ 3621 w 10000"/>
                <a:gd name="connsiteY204" fmla="*/ 7582 h 10000"/>
                <a:gd name="connsiteX205" fmla="*/ 3395 w 10000"/>
                <a:gd name="connsiteY205" fmla="*/ 7582 h 10000"/>
                <a:gd name="connsiteX206" fmla="*/ 3333 w 10000"/>
                <a:gd name="connsiteY206" fmla="*/ 7712 h 10000"/>
                <a:gd name="connsiteX207" fmla="*/ 3210 w 10000"/>
                <a:gd name="connsiteY207" fmla="*/ 7712 h 10000"/>
                <a:gd name="connsiteX208" fmla="*/ 3107 w 10000"/>
                <a:gd name="connsiteY208" fmla="*/ 7941 h 10000"/>
                <a:gd name="connsiteX209" fmla="*/ 3004 w 10000"/>
                <a:gd name="connsiteY209" fmla="*/ 7974 h 10000"/>
                <a:gd name="connsiteX210" fmla="*/ 2860 w 10000"/>
                <a:gd name="connsiteY210" fmla="*/ 7941 h 10000"/>
                <a:gd name="connsiteX211" fmla="*/ 2737 w 10000"/>
                <a:gd name="connsiteY211" fmla="*/ 7876 h 10000"/>
                <a:gd name="connsiteX212" fmla="*/ 2634 w 10000"/>
                <a:gd name="connsiteY212" fmla="*/ 7876 h 10000"/>
                <a:gd name="connsiteX213" fmla="*/ 2572 w 10000"/>
                <a:gd name="connsiteY213" fmla="*/ 7974 h 10000"/>
                <a:gd name="connsiteX214" fmla="*/ 2366 w 10000"/>
                <a:gd name="connsiteY214" fmla="*/ 7974 h 10000"/>
                <a:gd name="connsiteX215" fmla="*/ 2140 w 10000"/>
                <a:gd name="connsiteY215" fmla="*/ 7941 h 10000"/>
                <a:gd name="connsiteX216" fmla="*/ 1975 w 10000"/>
                <a:gd name="connsiteY216" fmla="*/ 7908 h 10000"/>
                <a:gd name="connsiteX217" fmla="*/ 1790 w 10000"/>
                <a:gd name="connsiteY217" fmla="*/ 7712 h 10000"/>
                <a:gd name="connsiteX218" fmla="*/ 1667 w 10000"/>
                <a:gd name="connsiteY218" fmla="*/ 7582 h 10000"/>
                <a:gd name="connsiteX219" fmla="*/ 1502 w 10000"/>
                <a:gd name="connsiteY219" fmla="*/ 7451 h 10000"/>
                <a:gd name="connsiteX220" fmla="*/ 1358 w 10000"/>
                <a:gd name="connsiteY220" fmla="*/ 7222 h 10000"/>
                <a:gd name="connsiteX221" fmla="*/ 1214 w 10000"/>
                <a:gd name="connsiteY221" fmla="*/ 7320 h 10000"/>
                <a:gd name="connsiteX222" fmla="*/ 1091 w 10000"/>
                <a:gd name="connsiteY222" fmla="*/ 7157 h 10000"/>
                <a:gd name="connsiteX223" fmla="*/ 823 w 10000"/>
                <a:gd name="connsiteY223" fmla="*/ 6961 h 10000"/>
                <a:gd name="connsiteX224" fmla="*/ 823 w 10000"/>
                <a:gd name="connsiteY224" fmla="*/ 6830 h 10000"/>
                <a:gd name="connsiteX225" fmla="*/ 864 w 10000"/>
                <a:gd name="connsiteY225" fmla="*/ 6667 h 10000"/>
                <a:gd name="connsiteX226" fmla="*/ 967 w 10000"/>
                <a:gd name="connsiteY226" fmla="*/ 6634 h 10000"/>
                <a:gd name="connsiteX227" fmla="*/ 988 w 10000"/>
                <a:gd name="connsiteY227" fmla="*/ 6503 h 10000"/>
                <a:gd name="connsiteX228" fmla="*/ 864 w 10000"/>
                <a:gd name="connsiteY228" fmla="*/ 6373 h 10000"/>
                <a:gd name="connsiteX229" fmla="*/ 864 w 10000"/>
                <a:gd name="connsiteY229" fmla="*/ 6209 h 10000"/>
                <a:gd name="connsiteX230" fmla="*/ 1029 w 10000"/>
                <a:gd name="connsiteY230" fmla="*/ 6078 h 10000"/>
                <a:gd name="connsiteX231" fmla="*/ 1111 w 10000"/>
                <a:gd name="connsiteY231" fmla="*/ 5948 h 10000"/>
                <a:gd name="connsiteX232" fmla="*/ 1111 w 10000"/>
                <a:gd name="connsiteY232" fmla="*/ 5817 h 10000"/>
                <a:gd name="connsiteX233" fmla="*/ 926 w 10000"/>
                <a:gd name="connsiteY233" fmla="*/ 5621 h 10000"/>
                <a:gd name="connsiteX234" fmla="*/ 803 w 10000"/>
                <a:gd name="connsiteY234" fmla="*/ 5778 h 10000"/>
                <a:gd name="connsiteX235" fmla="*/ 597 w 10000"/>
                <a:gd name="connsiteY235" fmla="*/ 5719 h 10000"/>
                <a:gd name="connsiteX236" fmla="*/ 391 w 10000"/>
                <a:gd name="connsiteY236" fmla="*/ 5588 h 10000"/>
                <a:gd name="connsiteX237" fmla="*/ 391 w 10000"/>
                <a:gd name="connsiteY237" fmla="*/ 5425 h 10000"/>
                <a:gd name="connsiteX238" fmla="*/ 206 w 10000"/>
                <a:gd name="connsiteY238" fmla="*/ 5327 h 10000"/>
                <a:gd name="connsiteX239" fmla="*/ 206 w 10000"/>
                <a:gd name="connsiteY239" fmla="*/ 5196 h 10000"/>
                <a:gd name="connsiteX240" fmla="*/ 206 w 10000"/>
                <a:gd name="connsiteY240" fmla="*/ 4869 h 10000"/>
                <a:gd name="connsiteX241" fmla="*/ 82 w 10000"/>
                <a:gd name="connsiteY241" fmla="*/ 4902 h 10000"/>
                <a:gd name="connsiteX242" fmla="*/ 21 w 10000"/>
                <a:gd name="connsiteY242" fmla="*/ 4869 h 10000"/>
                <a:gd name="connsiteX243" fmla="*/ 0 w 10000"/>
                <a:gd name="connsiteY243" fmla="*/ 4739 h 10000"/>
                <a:gd name="connsiteX244" fmla="*/ 21 w 10000"/>
                <a:gd name="connsiteY244" fmla="*/ 4641 h 10000"/>
                <a:gd name="connsiteX245" fmla="*/ 41 w 10000"/>
                <a:gd name="connsiteY245" fmla="*/ 4477 h 10000"/>
                <a:gd name="connsiteX246" fmla="*/ 165 w 10000"/>
                <a:gd name="connsiteY246" fmla="*/ 4346 h 10000"/>
                <a:gd name="connsiteX247" fmla="*/ 185 w 10000"/>
                <a:gd name="connsiteY247" fmla="*/ 4248 h 10000"/>
                <a:gd name="connsiteX248" fmla="*/ 329 w 10000"/>
                <a:gd name="connsiteY248" fmla="*/ 4248 h 10000"/>
                <a:gd name="connsiteX249" fmla="*/ 329 w 10000"/>
                <a:gd name="connsiteY249" fmla="*/ 4346 h 10000"/>
                <a:gd name="connsiteX250" fmla="*/ 494 w 10000"/>
                <a:gd name="connsiteY250" fmla="*/ 4281 h 10000"/>
                <a:gd name="connsiteX251" fmla="*/ 535 w 10000"/>
                <a:gd name="connsiteY251" fmla="*/ 4118 h 10000"/>
                <a:gd name="connsiteX252" fmla="*/ 741 w 10000"/>
                <a:gd name="connsiteY252" fmla="*/ 4118 h 10000"/>
                <a:gd name="connsiteX253" fmla="*/ 782 w 10000"/>
                <a:gd name="connsiteY253" fmla="*/ 3987 h 10000"/>
                <a:gd name="connsiteX254" fmla="*/ 1049 w 10000"/>
                <a:gd name="connsiteY254" fmla="*/ 3791 h 10000"/>
                <a:gd name="connsiteX255" fmla="*/ 1111 w 10000"/>
                <a:gd name="connsiteY255" fmla="*/ 3725 h 10000"/>
                <a:gd name="connsiteX0" fmla="*/ 1111 w 10000"/>
                <a:gd name="connsiteY0" fmla="*/ 3725 h 10000"/>
                <a:gd name="connsiteX1" fmla="*/ 1111 w 10000"/>
                <a:gd name="connsiteY1" fmla="*/ 3562 h 10000"/>
                <a:gd name="connsiteX2" fmla="*/ 1193 w 10000"/>
                <a:gd name="connsiteY2" fmla="*/ 3431 h 10000"/>
                <a:gd name="connsiteX3" fmla="*/ 1132 w 10000"/>
                <a:gd name="connsiteY3" fmla="*/ 3170 h 10000"/>
                <a:gd name="connsiteX4" fmla="*/ 1111 w 10000"/>
                <a:gd name="connsiteY4" fmla="*/ 2876 h 10000"/>
                <a:gd name="connsiteX5" fmla="*/ 1235 w 10000"/>
                <a:gd name="connsiteY5" fmla="*/ 2778 h 10000"/>
                <a:gd name="connsiteX6" fmla="*/ 1420 w 10000"/>
                <a:gd name="connsiteY6" fmla="*/ 2778 h 10000"/>
                <a:gd name="connsiteX7" fmla="*/ 1461 w 10000"/>
                <a:gd name="connsiteY7" fmla="*/ 2549 h 10000"/>
                <a:gd name="connsiteX8" fmla="*/ 1564 w 10000"/>
                <a:gd name="connsiteY8" fmla="*/ 2157 h 10000"/>
                <a:gd name="connsiteX9" fmla="*/ 1749 w 10000"/>
                <a:gd name="connsiteY9" fmla="*/ 2190 h 10000"/>
                <a:gd name="connsiteX10" fmla="*/ 1893 w 10000"/>
                <a:gd name="connsiteY10" fmla="*/ 2190 h 10000"/>
                <a:gd name="connsiteX11" fmla="*/ 1996 w 10000"/>
                <a:gd name="connsiteY11" fmla="*/ 2157 h 10000"/>
                <a:gd name="connsiteX12" fmla="*/ 1996 w 10000"/>
                <a:gd name="connsiteY12" fmla="*/ 1928 h 10000"/>
                <a:gd name="connsiteX13" fmla="*/ 2037 w 10000"/>
                <a:gd name="connsiteY13" fmla="*/ 1699 h 10000"/>
                <a:gd name="connsiteX14" fmla="*/ 2160 w 10000"/>
                <a:gd name="connsiteY14" fmla="*/ 1699 h 10000"/>
                <a:gd name="connsiteX15" fmla="*/ 2181 w 10000"/>
                <a:gd name="connsiteY15" fmla="*/ 1536 h 10000"/>
                <a:gd name="connsiteX16" fmla="*/ 2346 w 10000"/>
                <a:gd name="connsiteY16" fmla="*/ 1536 h 10000"/>
                <a:gd name="connsiteX17" fmla="*/ 2387 w 10000"/>
                <a:gd name="connsiteY17" fmla="*/ 1699 h 10000"/>
                <a:gd name="connsiteX18" fmla="*/ 2490 w 10000"/>
                <a:gd name="connsiteY18" fmla="*/ 1863 h 10000"/>
                <a:gd name="connsiteX19" fmla="*/ 2654 w 10000"/>
                <a:gd name="connsiteY19" fmla="*/ 1895 h 10000"/>
                <a:gd name="connsiteX20" fmla="*/ 2798 w 10000"/>
                <a:gd name="connsiteY20" fmla="*/ 2124 h 10000"/>
                <a:gd name="connsiteX21" fmla="*/ 2881 w 10000"/>
                <a:gd name="connsiteY21" fmla="*/ 2320 h 10000"/>
                <a:gd name="connsiteX22" fmla="*/ 2881 w 10000"/>
                <a:gd name="connsiteY22" fmla="*/ 2451 h 10000"/>
                <a:gd name="connsiteX23" fmla="*/ 2819 w 10000"/>
                <a:gd name="connsiteY23" fmla="*/ 2582 h 10000"/>
                <a:gd name="connsiteX24" fmla="*/ 2860 w 10000"/>
                <a:gd name="connsiteY24" fmla="*/ 2778 h 10000"/>
                <a:gd name="connsiteX25" fmla="*/ 2942 w 10000"/>
                <a:gd name="connsiteY25" fmla="*/ 2843 h 10000"/>
                <a:gd name="connsiteX26" fmla="*/ 3292 w 10000"/>
                <a:gd name="connsiteY26" fmla="*/ 2876 h 10000"/>
                <a:gd name="connsiteX27" fmla="*/ 3395 w 10000"/>
                <a:gd name="connsiteY27" fmla="*/ 3039 h 10000"/>
                <a:gd name="connsiteX28" fmla="*/ 3621 w 10000"/>
                <a:gd name="connsiteY28" fmla="*/ 3235 h 10000"/>
                <a:gd name="connsiteX29" fmla="*/ 3683 w 10000"/>
                <a:gd name="connsiteY29" fmla="*/ 3464 h 10000"/>
                <a:gd name="connsiteX30" fmla="*/ 3745 w 10000"/>
                <a:gd name="connsiteY30" fmla="*/ 3595 h 10000"/>
                <a:gd name="connsiteX31" fmla="*/ 4300 w 10000"/>
                <a:gd name="connsiteY31" fmla="*/ 3627 h 10000"/>
                <a:gd name="connsiteX32" fmla="*/ 4588 w 10000"/>
                <a:gd name="connsiteY32" fmla="*/ 3660 h 10000"/>
                <a:gd name="connsiteX33" fmla="*/ 4835 w 10000"/>
                <a:gd name="connsiteY33" fmla="*/ 3856 h 10000"/>
                <a:gd name="connsiteX34" fmla="*/ 5206 w 10000"/>
                <a:gd name="connsiteY34" fmla="*/ 3922 h 10000"/>
                <a:gd name="connsiteX35" fmla="*/ 5432 w 10000"/>
                <a:gd name="connsiteY35" fmla="*/ 3693 h 10000"/>
                <a:gd name="connsiteX36" fmla="*/ 5885 w 10000"/>
                <a:gd name="connsiteY36" fmla="*/ 3693 h 10000"/>
                <a:gd name="connsiteX37" fmla="*/ 6070 w 10000"/>
                <a:gd name="connsiteY37" fmla="*/ 3529 h 10000"/>
                <a:gd name="connsiteX38" fmla="*/ 6070 w 10000"/>
                <a:gd name="connsiteY38" fmla="*/ 3431 h 10000"/>
                <a:gd name="connsiteX39" fmla="*/ 6255 w 10000"/>
                <a:gd name="connsiteY39" fmla="*/ 3268 h 10000"/>
                <a:gd name="connsiteX40" fmla="*/ 6193 w 10000"/>
                <a:gd name="connsiteY40" fmla="*/ 3072 h 10000"/>
                <a:gd name="connsiteX41" fmla="*/ 6255 w 10000"/>
                <a:gd name="connsiteY41" fmla="*/ 2876 h 10000"/>
                <a:gd name="connsiteX42" fmla="*/ 6399 w 10000"/>
                <a:gd name="connsiteY42" fmla="*/ 2876 h 10000"/>
                <a:gd name="connsiteX43" fmla="*/ 6584 w 10000"/>
                <a:gd name="connsiteY43" fmla="*/ 2908 h 10000"/>
                <a:gd name="connsiteX44" fmla="*/ 6728 w 10000"/>
                <a:gd name="connsiteY44" fmla="*/ 2680 h 10000"/>
                <a:gd name="connsiteX45" fmla="*/ 6893 w 10000"/>
                <a:gd name="connsiteY45" fmla="*/ 2680 h 10000"/>
                <a:gd name="connsiteX46" fmla="*/ 7078 w 10000"/>
                <a:gd name="connsiteY46" fmla="*/ 2451 h 10000"/>
                <a:gd name="connsiteX47" fmla="*/ 7284 w 10000"/>
                <a:gd name="connsiteY47" fmla="*/ 2320 h 10000"/>
                <a:gd name="connsiteX48" fmla="*/ 7407 w 10000"/>
                <a:gd name="connsiteY48" fmla="*/ 2320 h 10000"/>
                <a:gd name="connsiteX49" fmla="*/ 7572 w 10000"/>
                <a:gd name="connsiteY49" fmla="*/ 2353 h 10000"/>
                <a:gd name="connsiteX50" fmla="*/ 7551 w 10000"/>
                <a:gd name="connsiteY50" fmla="*/ 2190 h 10000"/>
                <a:gd name="connsiteX51" fmla="*/ 7346 w 10000"/>
                <a:gd name="connsiteY51" fmla="*/ 1863 h 10000"/>
                <a:gd name="connsiteX52" fmla="*/ 7243 w 10000"/>
                <a:gd name="connsiteY52" fmla="*/ 1830 h 10000"/>
                <a:gd name="connsiteX53" fmla="*/ 7160 w 10000"/>
                <a:gd name="connsiteY53" fmla="*/ 1928 h 10000"/>
                <a:gd name="connsiteX54" fmla="*/ 6872 w 10000"/>
                <a:gd name="connsiteY54" fmla="*/ 1895 h 10000"/>
                <a:gd name="connsiteX55" fmla="*/ 6914 w 10000"/>
                <a:gd name="connsiteY55" fmla="*/ 1667 h 10000"/>
                <a:gd name="connsiteX56" fmla="*/ 6996 w 10000"/>
                <a:gd name="connsiteY56" fmla="*/ 1373 h 10000"/>
                <a:gd name="connsiteX57" fmla="*/ 7058 w 10000"/>
                <a:gd name="connsiteY57" fmla="*/ 1242 h 10000"/>
                <a:gd name="connsiteX58" fmla="*/ 7243 w 10000"/>
                <a:gd name="connsiteY58" fmla="*/ 1405 h 10000"/>
                <a:gd name="connsiteX59" fmla="*/ 7346 w 10000"/>
                <a:gd name="connsiteY59" fmla="*/ 1242 h 10000"/>
                <a:gd name="connsiteX60" fmla="*/ 7469 w 10000"/>
                <a:gd name="connsiteY60" fmla="*/ 1209 h 10000"/>
                <a:gd name="connsiteX61" fmla="*/ 7510 w 10000"/>
                <a:gd name="connsiteY61" fmla="*/ 948 h 10000"/>
                <a:gd name="connsiteX62" fmla="*/ 7613 w 10000"/>
                <a:gd name="connsiteY62" fmla="*/ 654 h 10000"/>
                <a:gd name="connsiteX63" fmla="*/ 7716 w 10000"/>
                <a:gd name="connsiteY63" fmla="*/ 556 h 10000"/>
                <a:gd name="connsiteX64" fmla="*/ 7716 w 10000"/>
                <a:gd name="connsiteY64" fmla="*/ 327 h 10000"/>
                <a:gd name="connsiteX65" fmla="*/ 7593 w 10000"/>
                <a:gd name="connsiteY65" fmla="*/ 294 h 10000"/>
                <a:gd name="connsiteX66" fmla="*/ 7613 w 10000"/>
                <a:gd name="connsiteY66" fmla="*/ 163 h 10000"/>
                <a:gd name="connsiteX67" fmla="*/ 7757 w 10000"/>
                <a:gd name="connsiteY67" fmla="*/ 65 h 10000"/>
                <a:gd name="connsiteX68" fmla="*/ 8025 w 10000"/>
                <a:gd name="connsiteY68" fmla="*/ 33 h 10000"/>
                <a:gd name="connsiteX69" fmla="*/ 8210 w 10000"/>
                <a:gd name="connsiteY69" fmla="*/ 0 h 10000"/>
                <a:gd name="connsiteX70" fmla="*/ 8374 w 10000"/>
                <a:gd name="connsiteY70" fmla="*/ 98 h 10000"/>
                <a:gd name="connsiteX71" fmla="*/ 8519 w 10000"/>
                <a:gd name="connsiteY71" fmla="*/ 196 h 10000"/>
                <a:gd name="connsiteX72" fmla="*/ 8642 w 10000"/>
                <a:gd name="connsiteY72" fmla="*/ 523 h 10000"/>
                <a:gd name="connsiteX73" fmla="*/ 8724 w 10000"/>
                <a:gd name="connsiteY73" fmla="*/ 850 h 10000"/>
                <a:gd name="connsiteX74" fmla="*/ 8807 w 10000"/>
                <a:gd name="connsiteY74" fmla="*/ 1111 h 10000"/>
                <a:gd name="connsiteX75" fmla="*/ 8868 w 10000"/>
                <a:gd name="connsiteY75" fmla="*/ 1373 h 10000"/>
                <a:gd name="connsiteX76" fmla="*/ 9033 w 10000"/>
                <a:gd name="connsiteY76" fmla="*/ 1373 h 10000"/>
                <a:gd name="connsiteX77" fmla="*/ 9136 w 10000"/>
                <a:gd name="connsiteY77" fmla="*/ 1471 h 10000"/>
                <a:gd name="connsiteX78" fmla="*/ 9280 w 10000"/>
                <a:gd name="connsiteY78" fmla="*/ 1601 h 10000"/>
                <a:gd name="connsiteX79" fmla="*/ 9342 w 10000"/>
                <a:gd name="connsiteY79" fmla="*/ 1634 h 10000"/>
                <a:gd name="connsiteX80" fmla="*/ 9383 w 10000"/>
                <a:gd name="connsiteY80" fmla="*/ 1961 h 10000"/>
                <a:gd name="connsiteX81" fmla="*/ 9609 w 10000"/>
                <a:gd name="connsiteY81" fmla="*/ 1993 h 10000"/>
                <a:gd name="connsiteX82" fmla="*/ 9671 w 10000"/>
                <a:gd name="connsiteY82" fmla="*/ 1863 h 10000"/>
                <a:gd name="connsiteX83" fmla="*/ 9815 w 10000"/>
                <a:gd name="connsiteY83" fmla="*/ 1830 h 10000"/>
                <a:gd name="connsiteX84" fmla="*/ 9979 w 10000"/>
                <a:gd name="connsiteY84" fmla="*/ 1797 h 10000"/>
                <a:gd name="connsiteX85" fmla="*/ 10000 w 10000"/>
                <a:gd name="connsiteY85" fmla="*/ 2026 h 10000"/>
                <a:gd name="connsiteX86" fmla="*/ 9918 w 10000"/>
                <a:gd name="connsiteY86" fmla="*/ 2092 h 10000"/>
                <a:gd name="connsiteX87" fmla="*/ 9856 w 10000"/>
                <a:gd name="connsiteY87" fmla="*/ 2451 h 10000"/>
                <a:gd name="connsiteX88" fmla="*/ 9733 w 10000"/>
                <a:gd name="connsiteY88" fmla="*/ 2810 h 10000"/>
                <a:gd name="connsiteX89" fmla="*/ 9609 w 10000"/>
                <a:gd name="connsiteY89" fmla="*/ 2843 h 10000"/>
                <a:gd name="connsiteX90" fmla="*/ 9547 w 10000"/>
                <a:gd name="connsiteY90" fmla="*/ 2745 h 10000"/>
                <a:gd name="connsiteX91" fmla="*/ 9403 w 10000"/>
                <a:gd name="connsiteY91" fmla="*/ 2908 h 10000"/>
                <a:gd name="connsiteX92" fmla="*/ 9403 w 10000"/>
                <a:gd name="connsiteY92" fmla="*/ 3497 h 10000"/>
                <a:gd name="connsiteX93" fmla="*/ 9321 w 10000"/>
                <a:gd name="connsiteY93" fmla="*/ 3660 h 10000"/>
                <a:gd name="connsiteX94" fmla="*/ 9218 w 10000"/>
                <a:gd name="connsiteY94" fmla="*/ 3529 h 10000"/>
                <a:gd name="connsiteX95" fmla="*/ 9053 w 10000"/>
                <a:gd name="connsiteY95" fmla="*/ 3791 h 10000"/>
                <a:gd name="connsiteX96" fmla="*/ 8951 w 10000"/>
                <a:gd name="connsiteY96" fmla="*/ 3791 h 10000"/>
                <a:gd name="connsiteX97" fmla="*/ 8930 w 10000"/>
                <a:gd name="connsiteY97" fmla="*/ 3922 h 10000"/>
                <a:gd name="connsiteX98" fmla="*/ 8827 w 10000"/>
                <a:gd name="connsiteY98" fmla="*/ 3954 h 10000"/>
                <a:gd name="connsiteX99" fmla="*/ 8724 w 10000"/>
                <a:gd name="connsiteY99" fmla="*/ 3889 h 10000"/>
                <a:gd name="connsiteX100" fmla="*/ 8683 w 10000"/>
                <a:gd name="connsiteY100" fmla="*/ 3922 h 10000"/>
                <a:gd name="connsiteX101" fmla="*/ 8539 w 10000"/>
                <a:gd name="connsiteY101" fmla="*/ 4150 h 10000"/>
                <a:gd name="connsiteX102" fmla="*/ 8416 w 10000"/>
                <a:gd name="connsiteY102" fmla="*/ 4281 h 10000"/>
                <a:gd name="connsiteX103" fmla="*/ 8313 w 10000"/>
                <a:gd name="connsiteY103" fmla="*/ 4444 h 10000"/>
                <a:gd name="connsiteX104" fmla="*/ 8210 w 10000"/>
                <a:gd name="connsiteY104" fmla="*/ 4477 h 10000"/>
                <a:gd name="connsiteX105" fmla="*/ 8107 w 10000"/>
                <a:gd name="connsiteY105" fmla="*/ 4510 h 10000"/>
                <a:gd name="connsiteX106" fmla="*/ 7819 w 10000"/>
                <a:gd name="connsiteY106" fmla="*/ 4804 h 10000"/>
                <a:gd name="connsiteX107" fmla="*/ 7798 w 10000"/>
                <a:gd name="connsiteY107" fmla="*/ 4608 h 10000"/>
                <a:gd name="connsiteX108" fmla="*/ 7840 w 10000"/>
                <a:gd name="connsiteY108" fmla="*/ 4444 h 10000"/>
                <a:gd name="connsiteX109" fmla="*/ 7942 w 10000"/>
                <a:gd name="connsiteY109" fmla="*/ 4346 h 10000"/>
                <a:gd name="connsiteX110" fmla="*/ 7922 w 10000"/>
                <a:gd name="connsiteY110" fmla="*/ 4183 h 10000"/>
                <a:gd name="connsiteX111" fmla="*/ 7840 w 10000"/>
                <a:gd name="connsiteY111" fmla="*/ 4183 h 10000"/>
                <a:gd name="connsiteX112" fmla="*/ 7716 w 10000"/>
                <a:gd name="connsiteY112" fmla="*/ 4216 h 10000"/>
                <a:gd name="connsiteX113" fmla="*/ 7490 w 10000"/>
                <a:gd name="connsiteY113" fmla="*/ 4510 h 10000"/>
                <a:gd name="connsiteX114" fmla="*/ 7449 w 10000"/>
                <a:gd name="connsiteY114" fmla="*/ 4673 h 10000"/>
                <a:gd name="connsiteX115" fmla="*/ 7243 w 10000"/>
                <a:gd name="connsiteY115" fmla="*/ 4673 h 10000"/>
                <a:gd name="connsiteX116" fmla="*/ 7202 w 10000"/>
                <a:gd name="connsiteY116" fmla="*/ 4804 h 10000"/>
                <a:gd name="connsiteX117" fmla="*/ 7263 w 10000"/>
                <a:gd name="connsiteY117" fmla="*/ 5033 h 10000"/>
                <a:gd name="connsiteX118" fmla="*/ 7407 w 10000"/>
                <a:gd name="connsiteY118" fmla="*/ 5065 h 10000"/>
                <a:gd name="connsiteX119" fmla="*/ 7407 w 10000"/>
                <a:gd name="connsiteY119" fmla="*/ 5163 h 10000"/>
                <a:gd name="connsiteX120" fmla="*/ 7428 w 10000"/>
                <a:gd name="connsiteY120" fmla="*/ 5294 h 10000"/>
                <a:gd name="connsiteX121" fmla="*/ 7551 w 10000"/>
                <a:gd name="connsiteY121" fmla="*/ 5261 h 10000"/>
                <a:gd name="connsiteX122" fmla="*/ 7634 w 10000"/>
                <a:gd name="connsiteY122" fmla="*/ 5131 h 10000"/>
                <a:gd name="connsiteX123" fmla="*/ 7716 w 10000"/>
                <a:gd name="connsiteY123" fmla="*/ 5098 h 10000"/>
                <a:gd name="connsiteX124" fmla="*/ 7798 w 10000"/>
                <a:gd name="connsiteY124" fmla="*/ 5163 h 10000"/>
                <a:gd name="connsiteX125" fmla="*/ 7963 w 10000"/>
                <a:gd name="connsiteY125" fmla="*/ 5229 h 10000"/>
                <a:gd name="connsiteX126" fmla="*/ 8004 w 10000"/>
                <a:gd name="connsiteY126" fmla="*/ 5359 h 10000"/>
                <a:gd name="connsiteX127" fmla="*/ 7942 w 10000"/>
                <a:gd name="connsiteY127" fmla="*/ 5392 h 10000"/>
                <a:gd name="connsiteX128" fmla="*/ 7819 w 10000"/>
                <a:gd name="connsiteY128" fmla="*/ 5392 h 10000"/>
                <a:gd name="connsiteX129" fmla="*/ 7737 w 10000"/>
                <a:gd name="connsiteY129" fmla="*/ 5458 h 10000"/>
                <a:gd name="connsiteX130" fmla="*/ 7716 w 10000"/>
                <a:gd name="connsiteY130" fmla="*/ 5556 h 10000"/>
                <a:gd name="connsiteX131" fmla="*/ 7613 w 10000"/>
                <a:gd name="connsiteY131" fmla="*/ 5621 h 10000"/>
                <a:gd name="connsiteX132" fmla="*/ 7510 w 10000"/>
                <a:gd name="connsiteY132" fmla="*/ 5850 h 10000"/>
                <a:gd name="connsiteX133" fmla="*/ 7469 w 10000"/>
                <a:gd name="connsiteY133" fmla="*/ 6013 h 10000"/>
                <a:gd name="connsiteX134" fmla="*/ 7572 w 10000"/>
                <a:gd name="connsiteY134" fmla="*/ 6078 h 10000"/>
                <a:gd name="connsiteX135" fmla="*/ 7634 w 10000"/>
                <a:gd name="connsiteY135" fmla="*/ 6176 h 10000"/>
                <a:gd name="connsiteX136" fmla="*/ 7716 w 10000"/>
                <a:gd name="connsiteY136" fmla="*/ 6503 h 10000"/>
                <a:gd name="connsiteX137" fmla="*/ 7737 w 10000"/>
                <a:gd name="connsiteY137" fmla="*/ 6634 h 10000"/>
                <a:gd name="connsiteX138" fmla="*/ 7901 w 10000"/>
                <a:gd name="connsiteY138" fmla="*/ 6830 h 10000"/>
                <a:gd name="connsiteX139" fmla="*/ 7881 w 10000"/>
                <a:gd name="connsiteY139" fmla="*/ 6895 h 10000"/>
                <a:gd name="connsiteX140" fmla="*/ 7778 w 10000"/>
                <a:gd name="connsiteY140" fmla="*/ 6830 h 10000"/>
                <a:gd name="connsiteX141" fmla="*/ 7737 w 10000"/>
                <a:gd name="connsiteY141" fmla="*/ 6961 h 10000"/>
                <a:gd name="connsiteX142" fmla="*/ 7860 w 10000"/>
                <a:gd name="connsiteY142" fmla="*/ 7026 h 10000"/>
                <a:gd name="connsiteX143" fmla="*/ 7901 w 10000"/>
                <a:gd name="connsiteY143" fmla="*/ 7124 h 10000"/>
                <a:gd name="connsiteX144" fmla="*/ 7819 w 10000"/>
                <a:gd name="connsiteY144" fmla="*/ 7157 h 10000"/>
                <a:gd name="connsiteX145" fmla="*/ 7716 w 10000"/>
                <a:gd name="connsiteY145" fmla="*/ 7190 h 10000"/>
                <a:gd name="connsiteX146" fmla="*/ 7654 w 10000"/>
                <a:gd name="connsiteY146" fmla="*/ 7255 h 10000"/>
                <a:gd name="connsiteX147" fmla="*/ 7634 w 10000"/>
                <a:gd name="connsiteY147" fmla="*/ 7288 h 10000"/>
                <a:gd name="connsiteX148" fmla="*/ 7778 w 10000"/>
                <a:gd name="connsiteY148" fmla="*/ 7320 h 10000"/>
                <a:gd name="connsiteX149" fmla="*/ 7881 w 10000"/>
                <a:gd name="connsiteY149" fmla="*/ 7353 h 10000"/>
                <a:gd name="connsiteX150" fmla="*/ 7881 w 10000"/>
                <a:gd name="connsiteY150" fmla="*/ 7549 h 10000"/>
                <a:gd name="connsiteX151" fmla="*/ 7798 w 10000"/>
                <a:gd name="connsiteY151" fmla="*/ 7843 h 10000"/>
                <a:gd name="connsiteX152" fmla="*/ 7593 w 10000"/>
                <a:gd name="connsiteY152" fmla="*/ 8235 h 10000"/>
                <a:gd name="connsiteX153" fmla="*/ 7449 w 10000"/>
                <a:gd name="connsiteY153" fmla="*/ 8562 h 10000"/>
                <a:gd name="connsiteX154" fmla="*/ 7346 w 10000"/>
                <a:gd name="connsiteY154" fmla="*/ 8856 h 10000"/>
                <a:gd name="connsiteX155" fmla="*/ 7119 w 10000"/>
                <a:gd name="connsiteY155" fmla="*/ 9150 h 10000"/>
                <a:gd name="connsiteX156" fmla="*/ 6975 w 10000"/>
                <a:gd name="connsiteY156" fmla="*/ 9346 h 10000"/>
                <a:gd name="connsiteX157" fmla="*/ 6749 w 10000"/>
                <a:gd name="connsiteY157" fmla="*/ 9412 h 10000"/>
                <a:gd name="connsiteX158" fmla="*/ 6626 w 10000"/>
                <a:gd name="connsiteY158" fmla="*/ 9412 h 10000"/>
                <a:gd name="connsiteX159" fmla="*/ 6564 w 10000"/>
                <a:gd name="connsiteY159" fmla="*/ 9281 h 10000"/>
                <a:gd name="connsiteX160" fmla="*/ 6502 w 10000"/>
                <a:gd name="connsiteY160" fmla="*/ 9314 h 10000"/>
                <a:gd name="connsiteX161" fmla="*/ 6502 w 10000"/>
                <a:gd name="connsiteY161" fmla="*/ 9542 h 10000"/>
                <a:gd name="connsiteX162" fmla="*/ 6358 w 10000"/>
                <a:gd name="connsiteY162" fmla="*/ 9608 h 10000"/>
                <a:gd name="connsiteX163" fmla="*/ 6152 w 10000"/>
                <a:gd name="connsiteY163" fmla="*/ 9706 h 10000"/>
                <a:gd name="connsiteX164" fmla="*/ 6029 w 10000"/>
                <a:gd name="connsiteY164" fmla="*/ 9739 h 10000"/>
                <a:gd name="connsiteX165" fmla="*/ 5988 w 10000"/>
                <a:gd name="connsiteY165" fmla="*/ 9869 h 10000"/>
                <a:gd name="connsiteX166" fmla="*/ 6008 w 10000"/>
                <a:gd name="connsiteY166" fmla="*/ 10000 h 10000"/>
                <a:gd name="connsiteX167" fmla="*/ 5926 w 10000"/>
                <a:gd name="connsiteY167" fmla="*/ 9935 h 10000"/>
                <a:gd name="connsiteX168" fmla="*/ 5926 w 10000"/>
                <a:gd name="connsiteY168" fmla="*/ 9804 h 10000"/>
                <a:gd name="connsiteX169" fmla="*/ 5926 w 10000"/>
                <a:gd name="connsiteY169" fmla="*/ 9706 h 10000"/>
                <a:gd name="connsiteX170" fmla="*/ 5823 w 10000"/>
                <a:gd name="connsiteY170" fmla="*/ 9706 h 10000"/>
                <a:gd name="connsiteX171" fmla="*/ 5720 w 10000"/>
                <a:gd name="connsiteY171" fmla="*/ 9641 h 10000"/>
                <a:gd name="connsiteX172" fmla="*/ 5617 w 10000"/>
                <a:gd name="connsiteY172" fmla="*/ 9706 h 10000"/>
                <a:gd name="connsiteX173" fmla="*/ 5514 w 10000"/>
                <a:gd name="connsiteY173" fmla="*/ 9706 h 10000"/>
                <a:gd name="connsiteX174" fmla="*/ 5432 w 10000"/>
                <a:gd name="connsiteY174" fmla="*/ 9641 h 10000"/>
                <a:gd name="connsiteX175" fmla="*/ 5412 w 10000"/>
                <a:gd name="connsiteY175" fmla="*/ 9379 h 10000"/>
                <a:gd name="connsiteX176" fmla="*/ 5288 w 10000"/>
                <a:gd name="connsiteY176" fmla="*/ 9346 h 10000"/>
                <a:gd name="connsiteX177" fmla="*/ 5226 w 10000"/>
                <a:gd name="connsiteY177" fmla="*/ 9281 h 10000"/>
                <a:gd name="connsiteX178" fmla="*/ 5144 w 10000"/>
                <a:gd name="connsiteY178" fmla="*/ 9281 h 10000"/>
                <a:gd name="connsiteX179" fmla="*/ 5062 w 10000"/>
                <a:gd name="connsiteY179" fmla="*/ 9412 h 10000"/>
                <a:gd name="connsiteX180" fmla="*/ 4712 w 10000"/>
                <a:gd name="connsiteY180" fmla="*/ 9412 h 10000"/>
                <a:gd name="connsiteX181" fmla="*/ 4691 w 10000"/>
                <a:gd name="connsiteY181" fmla="*/ 9477 h 10000"/>
                <a:gd name="connsiteX182" fmla="*/ 4568 w 10000"/>
                <a:gd name="connsiteY182" fmla="*/ 9477 h 10000"/>
                <a:gd name="connsiteX183" fmla="*/ 4568 w 10000"/>
                <a:gd name="connsiteY183" fmla="*/ 9608 h 10000"/>
                <a:gd name="connsiteX184" fmla="*/ 4630 w 10000"/>
                <a:gd name="connsiteY184" fmla="*/ 9641 h 10000"/>
                <a:gd name="connsiteX185" fmla="*/ 4609 w 10000"/>
                <a:gd name="connsiteY185" fmla="*/ 9771 h 10000"/>
                <a:gd name="connsiteX186" fmla="*/ 4527 w 10000"/>
                <a:gd name="connsiteY186" fmla="*/ 9771 h 10000"/>
                <a:gd name="connsiteX187" fmla="*/ 4486 w 10000"/>
                <a:gd name="connsiteY187" fmla="*/ 9706 h 10000"/>
                <a:gd name="connsiteX188" fmla="*/ 4403 w 10000"/>
                <a:gd name="connsiteY188" fmla="*/ 9706 h 10000"/>
                <a:gd name="connsiteX189" fmla="*/ 4321 w 10000"/>
                <a:gd name="connsiteY189" fmla="*/ 9706 h 10000"/>
                <a:gd name="connsiteX190" fmla="*/ 4321 w 10000"/>
                <a:gd name="connsiteY190" fmla="*/ 9608 h 10000"/>
                <a:gd name="connsiteX191" fmla="*/ 4239 w 10000"/>
                <a:gd name="connsiteY191" fmla="*/ 9575 h 10000"/>
                <a:gd name="connsiteX192" fmla="*/ 4239 w 10000"/>
                <a:gd name="connsiteY192" fmla="*/ 9314 h 10000"/>
                <a:gd name="connsiteX193" fmla="*/ 4136 w 10000"/>
                <a:gd name="connsiteY193" fmla="*/ 9248 h 10000"/>
                <a:gd name="connsiteX194" fmla="*/ 4136 w 10000"/>
                <a:gd name="connsiteY194" fmla="*/ 9020 h 10000"/>
                <a:gd name="connsiteX195" fmla="*/ 3930 w 10000"/>
                <a:gd name="connsiteY195" fmla="*/ 8922 h 10000"/>
                <a:gd name="connsiteX196" fmla="*/ 3930 w 10000"/>
                <a:gd name="connsiteY196" fmla="*/ 8856 h 10000"/>
                <a:gd name="connsiteX197" fmla="*/ 4095 w 10000"/>
                <a:gd name="connsiteY197" fmla="*/ 8497 h 10000"/>
                <a:gd name="connsiteX198" fmla="*/ 4115 w 10000"/>
                <a:gd name="connsiteY198" fmla="*/ 8105 h 10000"/>
                <a:gd name="connsiteX199" fmla="*/ 4033 w 10000"/>
                <a:gd name="connsiteY199" fmla="*/ 8007 h 10000"/>
                <a:gd name="connsiteX200" fmla="*/ 3971 w 10000"/>
                <a:gd name="connsiteY200" fmla="*/ 7843 h 10000"/>
                <a:gd name="connsiteX201" fmla="*/ 3889 w 10000"/>
                <a:gd name="connsiteY201" fmla="*/ 7810 h 10000"/>
                <a:gd name="connsiteX202" fmla="*/ 3724 w 10000"/>
                <a:gd name="connsiteY202" fmla="*/ 7778 h 10000"/>
                <a:gd name="connsiteX203" fmla="*/ 3724 w 10000"/>
                <a:gd name="connsiteY203" fmla="*/ 7549 h 10000"/>
                <a:gd name="connsiteX204" fmla="*/ 3621 w 10000"/>
                <a:gd name="connsiteY204" fmla="*/ 7582 h 10000"/>
                <a:gd name="connsiteX205" fmla="*/ 3395 w 10000"/>
                <a:gd name="connsiteY205" fmla="*/ 7582 h 10000"/>
                <a:gd name="connsiteX206" fmla="*/ 3333 w 10000"/>
                <a:gd name="connsiteY206" fmla="*/ 7712 h 10000"/>
                <a:gd name="connsiteX207" fmla="*/ 3210 w 10000"/>
                <a:gd name="connsiteY207" fmla="*/ 7712 h 10000"/>
                <a:gd name="connsiteX208" fmla="*/ 3107 w 10000"/>
                <a:gd name="connsiteY208" fmla="*/ 7941 h 10000"/>
                <a:gd name="connsiteX209" fmla="*/ 3004 w 10000"/>
                <a:gd name="connsiteY209" fmla="*/ 7974 h 10000"/>
                <a:gd name="connsiteX210" fmla="*/ 2860 w 10000"/>
                <a:gd name="connsiteY210" fmla="*/ 7941 h 10000"/>
                <a:gd name="connsiteX211" fmla="*/ 2737 w 10000"/>
                <a:gd name="connsiteY211" fmla="*/ 7876 h 10000"/>
                <a:gd name="connsiteX212" fmla="*/ 2634 w 10000"/>
                <a:gd name="connsiteY212" fmla="*/ 7876 h 10000"/>
                <a:gd name="connsiteX213" fmla="*/ 2572 w 10000"/>
                <a:gd name="connsiteY213" fmla="*/ 7974 h 10000"/>
                <a:gd name="connsiteX214" fmla="*/ 2366 w 10000"/>
                <a:gd name="connsiteY214" fmla="*/ 7974 h 10000"/>
                <a:gd name="connsiteX215" fmla="*/ 2140 w 10000"/>
                <a:gd name="connsiteY215" fmla="*/ 7941 h 10000"/>
                <a:gd name="connsiteX216" fmla="*/ 1975 w 10000"/>
                <a:gd name="connsiteY216" fmla="*/ 7908 h 10000"/>
                <a:gd name="connsiteX217" fmla="*/ 1790 w 10000"/>
                <a:gd name="connsiteY217" fmla="*/ 7712 h 10000"/>
                <a:gd name="connsiteX218" fmla="*/ 1667 w 10000"/>
                <a:gd name="connsiteY218" fmla="*/ 7582 h 10000"/>
                <a:gd name="connsiteX219" fmla="*/ 1502 w 10000"/>
                <a:gd name="connsiteY219" fmla="*/ 7451 h 10000"/>
                <a:gd name="connsiteX220" fmla="*/ 1358 w 10000"/>
                <a:gd name="connsiteY220" fmla="*/ 7222 h 10000"/>
                <a:gd name="connsiteX221" fmla="*/ 1214 w 10000"/>
                <a:gd name="connsiteY221" fmla="*/ 7320 h 10000"/>
                <a:gd name="connsiteX222" fmla="*/ 1091 w 10000"/>
                <a:gd name="connsiteY222" fmla="*/ 7157 h 10000"/>
                <a:gd name="connsiteX223" fmla="*/ 823 w 10000"/>
                <a:gd name="connsiteY223" fmla="*/ 6961 h 10000"/>
                <a:gd name="connsiteX224" fmla="*/ 823 w 10000"/>
                <a:gd name="connsiteY224" fmla="*/ 6830 h 10000"/>
                <a:gd name="connsiteX225" fmla="*/ 864 w 10000"/>
                <a:gd name="connsiteY225" fmla="*/ 6667 h 10000"/>
                <a:gd name="connsiteX226" fmla="*/ 967 w 10000"/>
                <a:gd name="connsiteY226" fmla="*/ 6634 h 10000"/>
                <a:gd name="connsiteX227" fmla="*/ 988 w 10000"/>
                <a:gd name="connsiteY227" fmla="*/ 6503 h 10000"/>
                <a:gd name="connsiteX228" fmla="*/ 864 w 10000"/>
                <a:gd name="connsiteY228" fmla="*/ 6373 h 10000"/>
                <a:gd name="connsiteX229" fmla="*/ 864 w 10000"/>
                <a:gd name="connsiteY229" fmla="*/ 6209 h 10000"/>
                <a:gd name="connsiteX230" fmla="*/ 1029 w 10000"/>
                <a:gd name="connsiteY230" fmla="*/ 6078 h 10000"/>
                <a:gd name="connsiteX231" fmla="*/ 1111 w 10000"/>
                <a:gd name="connsiteY231" fmla="*/ 5948 h 10000"/>
                <a:gd name="connsiteX232" fmla="*/ 1111 w 10000"/>
                <a:gd name="connsiteY232" fmla="*/ 5817 h 10000"/>
                <a:gd name="connsiteX233" fmla="*/ 976 w 10000"/>
                <a:gd name="connsiteY233" fmla="*/ 5673 h 10000"/>
                <a:gd name="connsiteX234" fmla="*/ 803 w 10000"/>
                <a:gd name="connsiteY234" fmla="*/ 5778 h 10000"/>
                <a:gd name="connsiteX235" fmla="*/ 597 w 10000"/>
                <a:gd name="connsiteY235" fmla="*/ 5719 h 10000"/>
                <a:gd name="connsiteX236" fmla="*/ 391 w 10000"/>
                <a:gd name="connsiteY236" fmla="*/ 5588 h 10000"/>
                <a:gd name="connsiteX237" fmla="*/ 391 w 10000"/>
                <a:gd name="connsiteY237" fmla="*/ 5425 h 10000"/>
                <a:gd name="connsiteX238" fmla="*/ 206 w 10000"/>
                <a:gd name="connsiteY238" fmla="*/ 5327 h 10000"/>
                <a:gd name="connsiteX239" fmla="*/ 206 w 10000"/>
                <a:gd name="connsiteY239" fmla="*/ 5196 h 10000"/>
                <a:gd name="connsiteX240" fmla="*/ 206 w 10000"/>
                <a:gd name="connsiteY240" fmla="*/ 4869 h 10000"/>
                <a:gd name="connsiteX241" fmla="*/ 82 w 10000"/>
                <a:gd name="connsiteY241" fmla="*/ 4902 h 10000"/>
                <a:gd name="connsiteX242" fmla="*/ 21 w 10000"/>
                <a:gd name="connsiteY242" fmla="*/ 4869 h 10000"/>
                <a:gd name="connsiteX243" fmla="*/ 0 w 10000"/>
                <a:gd name="connsiteY243" fmla="*/ 4739 h 10000"/>
                <a:gd name="connsiteX244" fmla="*/ 21 w 10000"/>
                <a:gd name="connsiteY244" fmla="*/ 4641 h 10000"/>
                <a:gd name="connsiteX245" fmla="*/ 41 w 10000"/>
                <a:gd name="connsiteY245" fmla="*/ 4477 h 10000"/>
                <a:gd name="connsiteX246" fmla="*/ 165 w 10000"/>
                <a:gd name="connsiteY246" fmla="*/ 4346 h 10000"/>
                <a:gd name="connsiteX247" fmla="*/ 185 w 10000"/>
                <a:gd name="connsiteY247" fmla="*/ 4248 h 10000"/>
                <a:gd name="connsiteX248" fmla="*/ 329 w 10000"/>
                <a:gd name="connsiteY248" fmla="*/ 4248 h 10000"/>
                <a:gd name="connsiteX249" fmla="*/ 329 w 10000"/>
                <a:gd name="connsiteY249" fmla="*/ 4346 h 10000"/>
                <a:gd name="connsiteX250" fmla="*/ 494 w 10000"/>
                <a:gd name="connsiteY250" fmla="*/ 4281 h 10000"/>
                <a:gd name="connsiteX251" fmla="*/ 535 w 10000"/>
                <a:gd name="connsiteY251" fmla="*/ 4118 h 10000"/>
                <a:gd name="connsiteX252" fmla="*/ 741 w 10000"/>
                <a:gd name="connsiteY252" fmla="*/ 4118 h 10000"/>
                <a:gd name="connsiteX253" fmla="*/ 782 w 10000"/>
                <a:gd name="connsiteY253" fmla="*/ 3987 h 10000"/>
                <a:gd name="connsiteX254" fmla="*/ 1049 w 10000"/>
                <a:gd name="connsiteY254" fmla="*/ 3791 h 10000"/>
                <a:gd name="connsiteX255" fmla="*/ 1111 w 10000"/>
                <a:gd name="connsiteY255" fmla="*/ 3725 h 10000"/>
                <a:gd name="connsiteX0" fmla="*/ 1111 w 10000"/>
                <a:gd name="connsiteY0" fmla="*/ 3725 h 10000"/>
                <a:gd name="connsiteX1" fmla="*/ 1111 w 10000"/>
                <a:gd name="connsiteY1" fmla="*/ 3562 h 10000"/>
                <a:gd name="connsiteX2" fmla="*/ 1193 w 10000"/>
                <a:gd name="connsiteY2" fmla="*/ 3431 h 10000"/>
                <a:gd name="connsiteX3" fmla="*/ 1132 w 10000"/>
                <a:gd name="connsiteY3" fmla="*/ 3170 h 10000"/>
                <a:gd name="connsiteX4" fmla="*/ 1111 w 10000"/>
                <a:gd name="connsiteY4" fmla="*/ 2876 h 10000"/>
                <a:gd name="connsiteX5" fmla="*/ 1235 w 10000"/>
                <a:gd name="connsiteY5" fmla="*/ 2778 h 10000"/>
                <a:gd name="connsiteX6" fmla="*/ 1420 w 10000"/>
                <a:gd name="connsiteY6" fmla="*/ 2778 h 10000"/>
                <a:gd name="connsiteX7" fmla="*/ 1461 w 10000"/>
                <a:gd name="connsiteY7" fmla="*/ 2549 h 10000"/>
                <a:gd name="connsiteX8" fmla="*/ 1564 w 10000"/>
                <a:gd name="connsiteY8" fmla="*/ 2157 h 10000"/>
                <a:gd name="connsiteX9" fmla="*/ 1749 w 10000"/>
                <a:gd name="connsiteY9" fmla="*/ 2190 h 10000"/>
                <a:gd name="connsiteX10" fmla="*/ 1893 w 10000"/>
                <a:gd name="connsiteY10" fmla="*/ 2190 h 10000"/>
                <a:gd name="connsiteX11" fmla="*/ 1996 w 10000"/>
                <a:gd name="connsiteY11" fmla="*/ 2157 h 10000"/>
                <a:gd name="connsiteX12" fmla="*/ 1996 w 10000"/>
                <a:gd name="connsiteY12" fmla="*/ 1928 h 10000"/>
                <a:gd name="connsiteX13" fmla="*/ 2037 w 10000"/>
                <a:gd name="connsiteY13" fmla="*/ 1699 h 10000"/>
                <a:gd name="connsiteX14" fmla="*/ 2160 w 10000"/>
                <a:gd name="connsiteY14" fmla="*/ 1699 h 10000"/>
                <a:gd name="connsiteX15" fmla="*/ 2181 w 10000"/>
                <a:gd name="connsiteY15" fmla="*/ 1536 h 10000"/>
                <a:gd name="connsiteX16" fmla="*/ 2346 w 10000"/>
                <a:gd name="connsiteY16" fmla="*/ 1536 h 10000"/>
                <a:gd name="connsiteX17" fmla="*/ 2387 w 10000"/>
                <a:gd name="connsiteY17" fmla="*/ 1699 h 10000"/>
                <a:gd name="connsiteX18" fmla="*/ 2490 w 10000"/>
                <a:gd name="connsiteY18" fmla="*/ 1863 h 10000"/>
                <a:gd name="connsiteX19" fmla="*/ 2654 w 10000"/>
                <a:gd name="connsiteY19" fmla="*/ 1895 h 10000"/>
                <a:gd name="connsiteX20" fmla="*/ 2798 w 10000"/>
                <a:gd name="connsiteY20" fmla="*/ 2124 h 10000"/>
                <a:gd name="connsiteX21" fmla="*/ 2881 w 10000"/>
                <a:gd name="connsiteY21" fmla="*/ 2320 h 10000"/>
                <a:gd name="connsiteX22" fmla="*/ 2881 w 10000"/>
                <a:gd name="connsiteY22" fmla="*/ 2451 h 10000"/>
                <a:gd name="connsiteX23" fmla="*/ 2819 w 10000"/>
                <a:gd name="connsiteY23" fmla="*/ 2582 h 10000"/>
                <a:gd name="connsiteX24" fmla="*/ 2860 w 10000"/>
                <a:gd name="connsiteY24" fmla="*/ 2778 h 10000"/>
                <a:gd name="connsiteX25" fmla="*/ 2942 w 10000"/>
                <a:gd name="connsiteY25" fmla="*/ 2843 h 10000"/>
                <a:gd name="connsiteX26" fmla="*/ 3292 w 10000"/>
                <a:gd name="connsiteY26" fmla="*/ 2876 h 10000"/>
                <a:gd name="connsiteX27" fmla="*/ 3395 w 10000"/>
                <a:gd name="connsiteY27" fmla="*/ 3039 h 10000"/>
                <a:gd name="connsiteX28" fmla="*/ 3621 w 10000"/>
                <a:gd name="connsiteY28" fmla="*/ 3235 h 10000"/>
                <a:gd name="connsiteX29" fmla="*/ 3683 w 10000"/>
                <a:gd name="connsiteY29" fmla="*/ 3464 h 10000"/>
                <a:gd name="connsiteX30" fmla="*/ 3745 w 10000"/>
                <a:gd name="connsiteY30" fmla="*/ 3595 h 10000"/>
                <a:gd name="connsiteX31" fmla="*/ 4300 w 10000"/>
                <a:gd name="connsiteY31" fmla="*/ 3627 h 10000"/>
                <a:gd name="connsiteX32" fmla="*/ 4588 w 10000"/>
                <a:gd name="connsiteY32" fmla="*/ 3660 h 10000"/>
                <a:gd name="connsiteX33" fmla="*/ 4835 w 10000"/>
                <a:gd name="connsiteY33" fmla="*/ 3856 h 10000"/>
                <a:gd name="connsiteX34" fmla="*/ 5206 w 10000"/>
                <a:gd name="connsiteY34" fmla="*/ 3922 h 10000"/>
                <a:gd name="connsiteX35" fmla="*/ 5432 w 10000"/>
                <a:gd name="connsiteY35" fmla="*/ 3693 h 10000"/>
                <a:gd name="connsiteX36" fmla="*/ 5885 w 10000"/>
                <a:gd name="connsiteY36" fmla="*/ 3693 h 10000"/>
                <a:gd name="connsiteX37" fmla="*/ 6070 w 10000"/>
                <a:gd name="connsiteY37" fmla="*/ 3529 h 10000"/>
                <a:gd name="connsiteX38" fmla="*/ 6070 w 10000"/>
                <a:gd name="connsiteY38" fmla="*/ 3431 h 10000"/>
                <a:gd name="connsiteX39" fmla="*/ 6255 w 10000"/>
                <a:gd name="connsiteY39" fmla="*/ 3268 h 10000"/>
                <a:gd name="connsiteX40" fmla="*/ 6193 w 10000"/>
                <a:gd name="connsiteY40" fmla="*/ 3072 h 10000"/>
                <a:gd name="connsiteX41" fmla="*/ 6255 w 10000"/>
                <a:gd name="connsiteY41" fmla="*/ 2876 h 10000"/>
                <a:gd name="connsiteX42" fmla="*/ 6399 w 10000"/>
                <a:gd name="connsiteY42" fmla="*/ 2876 h 10000"/>
                <a:gd name="connsiteX43" fmla="*/ 6584 w 10000"/>
                <a:gd name="connsiteY43" fmla="*/ 2908 h 10000"/>
                <a:gd name="connsiteX44" fmla="*/ 6728 w 10000"/>
                <a:gd name="connsiteY44" fmla="*/ 2680 h 10000"/>
                <a:gd name="connsiteX45" fmla="*/ 6893 w 10000"/>
                <a:gd name="connsiteY45" fmla="*/ 2680 h 10000"/>
                <a:gd name="connsiteX46" fmla="*/ 7078 w 10000"/>
                <a:gd name="connsiteY46" fmla="*/ 2451 h 10000"/>
                <a:gd name="connsiteX47" fmla="*/ 7284 w 10000"/>
                <a:gd name="connsiteY47" fmla="*/ 2320 h 10000"/>
                <a:gd name="connsiteX48" fmla="*/ 7407 w 10000"/>
                <a:gd name="connsiteY48" fmla="*/ 2320 h 10000"/>
                <a:gd name="connsiteX49" fmla="*/ 7572 w 10000"/>
                <a:gd name="connsiteY49" fmla="*/ 2353 h 10000"/>
                <a:gd name="connsiteX50" fmla="*/ 7551 w 10000"/>
                <a:gd name="connsiteY50" fmla="*/ 2190 h 10000"/>
                <a:gd name="connsiteX51" fmla="*/ 7346 w 10000"/>
                <a:gd name="connsiteY51" fmla="*/ 1863 h 10000"/>
                <a:gd name="connsiteX52" fmla="*/ 7243 w 10000"/>
                <a:gd name="connsiteY52" fmla="*/ 1830 h 10000"/>
                <a:gd name="connsiteX53" fmla="*/ 7160 w 10000"/>
                <a:gd name="connsiteY53" fmla="*/ 1928 h 10000"/>
                <a:gd name="connsiteX54" fmla="*/ 6872 w 10000"/>
                <a:gd name="connsiteY54" fmla="*/ 1895 h 10000"/>
                <a:gd name="connsiteX55" fmla="*/ 6914 w 10000"/>
                <a:gd name="connsiteY55" fmla="*/ 1667 h 10000"/>
                <a:gd name="connsiteX56" fmla="*/ 6996 w 10000"/>
                <a:gd name="connsiteY56" fmla="*/ 1373 h 10000"/>
                <a:gd name="connsiteX57" fmla="*/ 7058 w 10000"/>
                <a:gd name="connsiteY57" fmla="*/ 1242 h 10000"/>
                <a:gd name="connsiteX58" fmla="*/ 7243 w 10000"/>
                <a:gd name="connsiteY58" fmla="*/ 1405 h 10000"/>
                <a:gd name="connsiteX59" fmla="*/ 7346 w 10000"/>
                <a:gd name="connsiteY59" fmla="*/ 1242 h 10000"/>
                <a:gd name="connsiteX60" fmla="*/ 7469 w 10000"/>
                <a:gd name="connsiteY60" fmla="*/ 1209 h 10000"/>
                <a:gd name="connsiteX61" fmla="*/ 7510 w 10000"/>
                <a:gd name="connsiteY61" fmla="*/ 948 h 10000"/>
                <a:gd name="connsiteX62" fmla="*/ 7613 w 10000"/>
                <a:gd name="connsiteY62" fmla="*/ 654 h 10000"/>
                <a:gd name="connsiteX63" fmla="*/ 7716 w 10000"/>
                <a:gd name="connsiteY63" fmla="*/ 556 h 10000"/>
                <a:gd name="connsiteX64" fmla="*/ 7716 w 10000"/>
                <a:gd name="connsiteY64" fmla="*/ 327 h 10000"/>
                <a:gd name="connsiteX65" fmla="*/ 7593 w 10000"/>
                <a:gd name="connsiteY65" fmla="*/ 294 h 10000"/>
                <a:gd name="connsiteX66" fmla="*/ 7613 w 10000"/>
                <a:gd name="connsiteY66" fmla="*/ 163 h 10000"/>
                <a:gd name="connsiteX67" fmla="*/ 7757 w 10000"/>
                <a:gd name="connsiteY67" fmla="*/ 65 h 10000"/>
                <a:gd name="connsiteX68" fmla="*/ 8025 w 10000"/>
                <a:gd name="connsiteY68" fmla="*/ 33 h 10000"/>
                <a:gd name="connsiteX69" fmla="*/ 8210 w 10000"/>
                <a:gd name="connsiteY69" fmla="*/ 0 h 10000"/>
                <a:gd name="connsiteX70" fmla="*/ 8374 w 10000"/>
                <a:gd name="connsiteY70" fmla="*/ 98 h 10000"/>
                <a:gd name="connsiteX71" fmla="*/ 8519 w 10000"/>
                <a:gd name="connsiteY71" fmla="*/ 196 h 10000"/>
                <a:gd name="connsiteX72" fmla="*/ 8642 w 10000"/>
                <a:gd name="connsiteY72" fmla="*/ 523 h 10000"/>
                <a:gd name="connsiteX73" fmla="*/ 8724 w 10000"/>
                <a:gd name="connsiteY73" fmla="*/ 850 h 10000"/>
                <a:gd name="connsiteX74" fmla="*/ 8807 w 10000"/>
                <a:gd name="connsiteY74" fmla="*/ 1111 h 10000"/>
                <a:gd name="connsiteX75" fmla="*/ 8868 w 10000"/>
                <a:gd name="connsiteY75" fmla="*/ 1373 h 10000"/>
                <a:gd name="connsiteX76" fmla="*/ 9033 w 10000"/>
                <a:gd name="connsiteY76" fmla="*/ 1373 h 10000"/>
                <a:gd name="connsiteX77" fmla="*/ 9136 w 10000"/>
                <a:gd name="connsiteY77" fmla="*/ 1471 h 10000"/>
                <a:gd name="connsiteX78" fmla="*/ 9280 w 10000"/>
                <a:gd name="connsiteY78" fmla="*/ 1601 h 10000"/>
                <a:gd name="connsiteX79" fmla="*/ 9342 w 10000"/>
                <a:gd name="connsiteY79" fmla="*/ 1634 h 10000"/>
                <a:gd name="connsiteX80" fmla="*/ 9383 w 10000"/>
                <a:gd name="connsiteY80" fmla="*/ 1961 h 10000"/>
                <a:gd name="connsiteX81" fmla="*/ 9609 w 10000"/>
                <a:gd name="connsiteY81" fmla="*/ 1993 h 10000"/>
                <a:gd name="connsiteX82" fmla="*/ 9671 w 10000"/>
                <a:gd name="connsiteY82" fmla="*/ 1863 h 10000"/>
                <a:gd name="connsiteX83" fmla="*/ 9815 w 10000"/>
                <a:gd name="connsiteY83" fmla="*/ 1830 h 10000"/>
                <a:gd name="connsiteX84" fmla="*/ 9979 w 10000"/>
                <a:gd name="connsiteY84" fmla="*/ 1797 h 10000"/>
                <a:gd name="connsiteX85" fmla="*/ 10000 w 10000"/>
                <a:gd name="connsiteY85" fmla="*/ 2026 h 10000"/>
                <a:gd name="connsiteX86" fmla="*/ 9918 w 10000"/>
                <a:gd name="connsiteY86" fmla="*/ 2092 h 10000"/>
                <a:gd name="connsiteX87" fmla="*/ 9856 w 10000"/>
                <a:gd name="connsiteY87" fmla="*/ 2451 h 10000"/>
                <a:gd name="connsiteX88" fmla="*/ 9733 w 10000"/>
                <a:gd name="connsiteY88" fmla="*/ 2810 h 10000"/>
                <a:gd name="connsiteX89" fmla="*/ 9609 w 10000"/>
                <a:gd name="connsiteY89" fmla="*/ 2843 h 10000"/>
                <a:gd name="connsiteX90" fmla="*/ 9547 w 10000"/>
                <a:gd name="connsiteY90" fmla="*/ 2745 h 10000"/>
                <a:gd name="connsiteX91" fmla="*/ 9403 w 10000"/>
                <a:gd name="connsiteY91" fmla="*/ 2908 h 10000"/>
                <a:gd name="connsiteX92" fmla="*/ 9403 w 10000"/>
                <a:gd name="connsiteY92" fmla="*/ 3497 h 10000"/>
                <a:gd name="connsiteX93" fmla="*/ 9321 w 10000"/>
                <a:gd name="connsiteY93" fmla="*/ 3660 h 10000"/>
                <a:gd name="connsiteX94" fmla="*/ 9218 w 10000"/>
                <a:gd name="connsiteY94" fmla="*/ 3529 h 10000"/>
                <a:gd name="connsiteX95" fmla="*/ 9053 w 10000"/>
                <a:gd name="connsiteY95" fmla="*/ 3791 h 10000"/>
                <a:gd name="connsiteX96" fmla="*/ 8951 w 10000"/>
                <a:gd name="connsiteY96" fmla="*/ 3791 h 10000"/>
                <a:gd name="connsiteX97" fmla="*/ 8930 w 10000"/>
                <a:gd name="connsiteY97" fmla="*/ 3922 h 10000"/>
                <a:gd name="connsiteX98" fmla="*/ 8827 w 10000"/>
                <a:gd name="connsiteY98" fmla="*/ 3954 h 10000"/>
                <a:gd name="connsiteX99" fmla="*/ 8724 w 10000"/>
                <a:gd name="connsiteY99" fmla="*/ 3889 h 10000"/>
                <a:gd name="connsiteX100" fmla="*/ 8683 w 10000"/>
                <a:gd name="connsiteY100" fmla="*/ 3922 h 10000"/>
                <a:gd name="connsiteX101" fmla="*/ 8539 w 10000"/>
                <a:gd name="connsiteY101" fmla="*/ 4150 h 10000"/>
                <a:gd name="connsiteX102" fmla="*/ 8416 w 10000"/>
                <a:gd name="connsiteY102" fmla="*/ 4281 h 10000"/>
                <a:gd name="connsiteX103" fmla="*/ 8313 w 10000"/>
                <a:gd name="connsiteY103" fmla="*/ 4444 h 10000"/>
                <a:gd name="connsiteX104" fmla="*/ 8210 w 10000"/>
                <a:gd name="connsiteY104" fmla="*/ 4477 h 10000"/>
                <a:gd name="connsiteX105" fmla="*/ 8107 w 10000"/>
                <a:gd name="connsiteY105" fmla="*/ 4510 h 10000"/>
                <a:gd name="connsiteX106" fmla="*/ 7819 w 10000"/>
                <a:gd name="connsiteY106" fmla="*/ 4804 h 10000"/>
                <a:gd name="connsiteX107" fmla="*/ 7798 w 10000"/>
                <a:gd name="connsiteY107" fmla="*/ 4608 h 10000"/>
                <a:gd name="connsiteX108" fmla="*/ 7840 w 10000"/>
                <a:gd name="connsiteY108" fmla="*/ 4444 h 10000"/>
                <a:gd name="connsiteX109" fmla="*/ 7942 w 10000"/>
                <a:gd name="connsiteY109" fmla="*/ 4346 h 10000"/>
                <a:gd name="connsiteX110" fmla="*/ 7922 w 10000"/>
                <a:gd name="connsiteY110" fmla="*/ 4183 h 10000"/>
                <a:gd name="connsiteX111" fmla="*/ 7840 w 10000"/>
                <a:gd name="connsiteY111" fmla="*/ 4183 h 10000"/>
                <a:gd name="connsiteX112" fmla="*/ 7716 w 10000"/>
                <a:gd name="connsiteY112" fmla="*/ 4216 h 10000"/>
                <a:gd name="connsiteX113" fmla="*/ 7490 w 10000"/>
                <a:gd name="connsiteY113" fmla="*/ 4510 h 10000"/>
                <a:gd name="connsiteX114" fmla="*/ 7449 w 10000"/>
                <a:gd name="connsiteY114" fmla="*/ 4673 h 10000"/>
                <a:gd name="connsiteX115" fmla="*/ 7243 w 10000"/>
                <a:gd name="connsiteY115" fmla="*/ 4673 h 10000"/>
                <a:gd name="connsiteX116" fmla="*/ 7202 w 10000"/>
                <a:gd name="connsiteY116" fmla="*/ 4804 h 10000"/>
                <a:gd name="connsiteX117" fmla="*/ 7263 w 10000"/>
                <a:gd name="connsiteY117" fmla="*/ 5033 h 10000"/>
                <a:gd name="connsiteX118" fmla="*/ 7407 w 10000"/>
                <a:gd name="connsiteY118" fmla="*/ 5065 h 10000"/>
                <a:gd name="connsiteX119" fmla="*/ 7407 w 10000"/>
                <a:gd name="connsiteY119" fmla="*/ 5163 h 10000"/>
                <a:gd name="connsiteX120" fmla="*/ 7428 w 10000"/>
                <a:gd name="connsiteY120" fmla="*/ 5294 h 10000"/>
                <a:gd name="connsiteX121" fmla="*/ 7551 w 10000"/>
                <a:gd name="connsiteY121" fmla="*/ 5261 h 10000"/>
                <a:gd name="connsiteX122" fmla="*/ 7634 w 10000"/>
                <a:gd name="connsiteY122" fmla="*/ 5131 h 10000"/>
                <a:gd name="connsiteX123" fmla="*/ 7716 w 10000"/>
                <a:gd name="connsiteY123" fmla="*/ 5098 h 10000"/>
                <a:gd name="connsiteX124" fmla="*/ 7798 w 10000"/>
                <a:gd name="connsiteY124" fmla="*/ 5163 h 10000"/>
                <a:gd name="connsiteX125" fmla="*/ 7963 w 10000"/>
                <a:gd name="connsiteY125" fmla="*/ 5229 h 10000"/>
                <a:gd name="connsiteX126" fmla="*/ 8004 w 10000"/>
                <a:gd name="connsiteY126" fmla="*/ 5359 h 10000"/>
                <a:gd name="connsiteX127" fmla="*/ 7942 w 10000"/>
                <a:gd name="connsiteY127" fmla="*/ 5392 h 10000"/>
                <a:gd name="connsiteX128" fmla="*/ 7819 w 10000"/>
                <a:gd name="connsiteY128" fmla="*/ 5392 h 10000"/>
                <a:gd name="connsiteX129" fmla="*/ 7737 w 10000"/>
                <a:gd name="connsiteY129" fmla="*/ 5458 h 10000"/>
                <a:gd name="connsiteX130" fmla="*/ 7716 w 10000"/>
                <a:gd name="connsiteY130" fmla="*/ 5556 h 10000"/>
                <a:gd name="connsiteX131" fmla="*/ 7613 w 10000"/>
                <a:gd name="connsiteY131" fmla="*/ 5621 h 10000"/>
                <a:gd name="connsiteX132" fmla="*/ 7510 w 10000"/>
                <a:gd name="connsiteY132" fmla="*/ 5850 h 10000"/>
                <a:gd name="connsiteX133" fmla="*/ 7469 w 10000"/>
                <a:gd name="connsiteY133" fmla="*/ 6013 h 10000"/>
                <a:gd name="connsiteX134" fmla="*/ 7572 w 10000"/>
                <a:gd name="connsiteY134" fmla="*/ 6078 h 10000"/>
                <a:gd name="connsiteX135" fmla="*/ 7634 w 10000"/>
                <a:gd name="connsiteY135" fmla="*/ 6176 h 10000"/>
                <a:gd name="connsiteX136" fmla="*/ 7716 w 10000"/>
                <a:gd name="connsiteY136" fmla="*/ 6503 h 10000"/>
                <a:gd name="connsiteX137" fmla="*/ 7737 w 10000"/>
                <a:gd name="connsiteY137" fmla="*/ 6634 h 10000"/>
                <a:gd name="connsiteX138" fmla="*/ 7901 w 10000"/>
                <a:gd name="connsiteY138" fmla="*/ 6830 h 10000"/>
                <a:gd name="connsiteX139" fmla="*/ 7881 w 10000"/>
                <a:gd name="connsiteY139" fmla="*/ 6895 h 10000"/>
                <a:gd name="connsiteX140" fmla="*/ 7778 w 10000"/>
                <a:gd name="connsiteY140" fmla="*/ 6830 h 10000"/>
                <a:gd name="connsiteX141" fmla="*/ 7737 w 10000"/>
                <a:gd name="connsiteY141" fmla="*/ 6961 h 10000"/>
                <a:gd name="connsiteX142" fmla="*/ 7860 w 10000"/>
                <a:gd name="connsiteY142" fmla="*/ 7026 h 10000"/>
                <a:gd name="connsiteX143" fmla="*/ 7901 w 10000"/>
                <a:gd name="connsiteY143" fmla="*/ 7124 h 10000"/>
                <a:gd name="connsiteX144" fmla="*/ 7819 w 10000"/>
                <a:gd name="connsiteY144" fmla="*/ 7157 h 10000"/>
                <a:gd name="connsiteX145" fmla="*/ 7716 w 10000"/>
                <a:gd name="connsiteY145" fmla="*/ 7190 h 10000"/>
                <a:gd name="connsiteX146" fmla="*/ 7654 w 10000"/>
                <a:gd name="connsiteY146" fmla="*/ 7255 h 10000"/>
                <a:gd name="connsiteX147" fmla="*/ 7634 w 10000"/>
                <a:gd name="connsiteY147" fmla="*/ 7288 h 10000"/>
                <a:gd name="connsiteX148" fmla="*/ 7778 w 10000"/>
                <a:gd name="connsiteY148" fmla="*/ 7320 h 10000"/>
                <a:gd name="connsiteX149" fmla="*/ 7881 w 10000"/>
                <a:gd name="connsiteY149" fmla="*/ 7353 h 10000"/>
                <a:gd name="connsiteX150" fmla="*/ 7881 w 10000"/>
                <a:gd name="connsiteY150" fmla="*/ 7549 h 10000"/>
                <a:gd name="connsiteX151" fmla="*/ 7798 w 10000"/>
                <a:gd name="connsiteY151" fmla="*/ 7843 h 10000"/>
                <a:gd name="connsiteX152" fmla="*/ 7593 w 10000"/>
                <a:gd name="connsiteY152" fmla="*/ 8235 h 10000"/>
                <a:gd name="connsiteX153" fmla="*/ 7449 w 10000"/>
                <a:gd name="connsiteY153" fmla="*/ 8562 h 10000"/>
                <a:gd name="connsiteX154" fmla="*/ 7346 w 10000"/>
                <a:gd name="connsiteY154" fmla="*/ 8856 h 10000"/>
                <a:gd name="connsiteX155" fmla="*/ 7119 w 10000"/>
                <a:gd name="connsiteY155" fmla="*/ 9150 h 10000"/>
                <a:gd name="connsiteX156" fmla="*/ 6975 w 10000"/>
                <a:gd name="connsiteY156" fmla="*/ 9346 h 10000"/>
                <a:gd name="connsiteX157" fmla="*/ 6749 w 10000"/>
                <a:gd name="connsiteY157" fmla="*/ 9412 h 10000"/>
                <a:gd name="connsiteX158" fmla="*/ 6626 w 10000"/>
                <a:gd name="connsiteY158" fmla="*/ 9412 h 10000"/>
                <a:gd name="connsiteX159" fmla="*/ 6564 w 10000"/>
                <a:gd name="connsiteY159" fmla="*/ 9281 h 10000"/>
                <a:gd name="connsiteX160" fmla="*/ 6502 w 10000"/>
                <a:gd name="connsiteY160" fmla="*/ 9314 h 10000"/>
                <a:gd name="connsiteX161" fmla="*/ 6502 w 10000"/>
                <a:gd name="connsiteY161" fmla="*/ 9542 h 10000"/>
                <a:gd name="connsiteX162" fmla="*/ 6358 w 10000"/>
                <a:gd name="connsiteY162" fmla="*/ 9608 h 10000"/>
                <a:gd name="connsiteX163" fmla="*/ 6152 w 10000"/>
                <a:gd name="connsiteY163" fmla="*/ 9706 h 10000"/>
                <a:gd name="connsiteX164" fmla="*/ 6029 w 10000"/>
                <a:gd name="connsiteY164" fmla="*/ 9739 h 10000"/>
                <a:gd name="connsiteX165" fmla="*/ 5988 w 10000"/>
                <a:gd name="connsiteY165" fmla="*/ 9869 h 10000"/>
                <a:gd name="connsiteX166" fmla="*/ 6008 w 10000"/>
                <a:gd name="connsiteY166" fmla="*/ 10000 h 10000"/>
                <a:gd name="connsiteX167" fmla="*/ 5926 w 10000"/>
                <a:gd name="connsiteY167" fmla="*/ 9935 h 10000"/>
                <a:gd name="connsiteX168" fmla="*/ 5926 w 10000"/>
                <a:gd name="connsiteY168" fmla="*/ 9804 h 10000"/>
                <a:gd name="connsiteX169" fmla="*/ 5926 w 10000"/>
                <a:gd name="connsiteY169" fmla="*/ 9706 h 10000"/>
                <a:gd name="connsiteX170" fmla="*/ 5823 w 10000"/>
                <a:gd name="connsiteY170" fmla="*/ 9706 h 10000"/>
                <a:gd name="connsiteX171" fmla="*/ 5720 w 10000"/>
                <a:gd name="connsiteY171" fmla="*/ 9641 h 10000"/>
                <a:gd name="connsiteX172" fmla="*/ 5617 w 10000"/>
                <a:gd name="connsiteY172" fmla="*/ 9706 h 10000"/>
                <a:gd name="connsiteX173" fmla="*/ 5514 w 10000"/>
                <a:gd name="connsiteY173" fmla="*/ 9706 h 10000"/>
                <a:gd name="connsiteX174" fmla="*/ 5432 w 10000"/>
                <a:gd name="connsiteY174" fmla="*/ 9641 h 10000"/>
                <a:gd name="connsiteX175" fmla="*/ 5412 w 10000"/>
                <a:gd name="connsiteY175" fmla="*/ 9379 h 10000"/>
                <a:gd name="connsiteX176" fmla="*/ 5288 w 10000"/>
                <a:gd name="connsiteY176" fmla="*/ 9346 h 10000"/>
                <a:gd name="connsiteX177" fmla="*/ 5226 w 10000"/>
                <a:gd name="connsiteY177" fmla="*/ 9281 h 10000"/>
                <a:gd name="connsiteX178" fmla="*/ 5144 w 10000"/>
                <a:gd name="connsiteY178" fmla="*/ 9281 h 10000"/>
                <a:gd name="connsiteX179" fmla="*/ 5062 w 10000"/>
                <a:gd name="connsiteY179" fmla="*/ 9412 h 10000"/>
                <a:gd name="connsiteX180" fmla="*/ 4712 w 10000"/>
                <a:gd name="connsiteY180" fmla="*/ 9412 h 10000"/>
                <a:gd name="connsiteX181" fmla="*/ 4691 w 10000"/>
                <a:gd name="connsiteY181" fmla="*/ 9477 h 10000"/>
                <a:gd name="connsiteX182" fmla="*/ 4568 w 10000"/>
                <a:gd name="connsiteY182" fmla="*/ 9477 h 10000"/>
                <a:gd name="connsiteX183" fmla="*/ 4568 w 10000"/>
                <a:gd name="connsiteY183" fmla="*/ 9608 h 10000"/>
                <a:gd name="connsiteX184" fmla="*/ 4630 w 10000"/>
                <a:gd name="connsiteY184" fmla="*/ 9641 h 10000"/>
                <a:gd name="connsiteX185" fmla="*/ 4609 w 10000"/>
                <a:gd name="connsiteY185" fmla="*/ 9771 h 10000"/>
                <a:gd name="connsiteX186" fmla="*/ 4527 w 10000"/>
                <a:gd name="connsiteY186" fmla="*/ 9771 h 10000"/>
                <a:gd name="connsiteX187" fmla="*/ 4486 w 10000"/>
                <a:gd name="connsiteY187" fmla="*/ 9706 h 10000"/>
                <a:gd name="connsiteX188" fmla="*/ 4403 w 10000"/>
                <a:gd name="connsiteY188" fmla="*/ 9706 h 10000"/>
                <a:gd name="connsiteX189" fmla="*/ 4321 w 10000"/>
                <a:gd name="connsiteY189" fmla="*/ 9706 h 10000"/>
                <a:gd name="connsiteX190" fmla="*/ 4321 w 10000"/>
                <a:gd name="connsiteY190" fmla="*/ 9608 h 10000"/>
                <a:gd name="connsiteX191" fmla="*/ 4239 w 10000"/>
                <a:gd name="connsiteY191" fmla="*/ 9575 h 10000"/>
                <a:gd name="connsiteX192" fmla="*/ 4239 w 10000"/>
                <a:gd name="connsiteY192" fmla="*/ 9314 h 10000"/>
                <a:gd name="connsiteX193" fmla="*/ 4136 w 10000"/>
                <a:gd name="connsiteY193" fmla="*/ 9248 h 10000"/>
                <a:gd name="connsiteX194" fmla="*/ 4136 w 10000"/>
                <a:gd name="connsiteY194" fmla="*/ 9020 h 10000"/>
                <a:gd name="connsiteX195" fmla="*/ 3930 w 10000"/>
                <a:gd name="connsiteY195" fmla="*/ 8922 h 10000"/>
                <a:gd name="connsiteX196" fmla="*/ 3930 w 10000"/>
                <a:gd name="connsiteY196" fmla="*/ 8856 h 10000"/>
                <a:gd name="connsiteX197" fmla="*/ 4095 w 10000"/>
                <a:gd name="connsiteY197" fmla="*/ 8497 h 10000"/>
                <a:gd name="connsiteX198" fmla="*/ 4115 w 10000"/>
                <a:gd name="connsiteY198" fmla="*/ 8105 h 10000"/>
                <a:gd name="connsiteX199" fmla="*/ 4033 w 10000"/>
                <a:gd name="connsiteY199" fmla="*/ 8007 h 10000"/>
                <a:gd name="connsiteX200" fmla="*/ 3971 w 10000"/>
                <a:gd name="connsiteY200" fmla="*/ 7843 h 10000"/>
                <a:gd name="connsiteX201" fmla="*/ 3889 w 10000"/>
                <a:gd name="connsiteY201" fmla="*/ 7810 h 10000"/>
                <a:gd name="connsiteX202" fmla="*/ 3724 w 10000"/>
                <a:gd name="connsiteY202" fmla="*/ 7778 h 10000"/>
                <a:gd name="connsiteX203" fmla="*/ 3724 w 10000"/>
                <a:gd name="connsiteY203" fmla="*/ 7549 h 10000"/>
                <a:gd name="connsiteX204" fmla="*/ 3621 w 10000"/>
                <a:gd name="connsiteY204" fmla="*/ 7582 h 10000"/>
                <a:gd name="connsiteX205" fmla="*/ 3395 w 10000"/>
                <a:gd name="connsiteY205" fmla="*/ 7582 h 10000"/>
                <a:gd name="connsiteX206" fmla="*/ 3333 w 10000"/>
                <a:gd name="connsiteY206" fmla="*/ 7712 h 10000"/>
                <a:gd name="connsiteX207" fmla="*/ 3227 w 10000"/>
                <a:gd name="connsiteY207" fmla="*/ 7948 h 10000"/>
                <a:gd name="connsiteX208" fmla="*/ 3107 w 10000"/>
                <a:gd name="connsiteY208" fmla="*/ 7941 h 10000"/>
                <a:gd name="connsiteX209" fmla="*/ 3004 w 10000"/>
                <a:gd name="connsiteY209" fmla="*/ 7974 h 10000"/>
                <a:gd name="connsiteX210" fmla="*/ 2860 w 10000"/>
                <a:gd name="connsiteY210" fmla="*/ 7941 h 10000"/>
                <a:gd name="connsiteX211" fmla="*/ 2737 w 10000"/>
                <a:gd name="connsiteY211" fmla="*/ 7876 h 10000"/>
                <a:gd name="connsiteX212" fmla="*/ 2634 w 10000"/>
                <a:gd name="connsiteY212" fmla="*/ 7876 h 10000"/>
                <a:gd name="connsiteX213" fmla="*/ 2572 w 10000"/>
                <a:gd name="connsiteY213" fmla="*/ 7974 h 10000"/>
                <a:gd name="connsiteX214" fmla="*/ 2366 w 10000"/>
                <a:gd name="connsiteY214" fmla="*/ 7974 h 10000"/>
                <a:gd name="connsiteX215" fmla="*/ 2140 w 10000"/>
                <a:gd name="connsiteY215" fmla="*/ 7941 h 10000"/>
                <a:gd name="connsiteX216" fmla="*/ 1975 w 10000"/>
                <a:gd name="connsiteY216" fmla="*/ 7908 h 10000"/>
                <a:gd name="connsiteX217" fmla="*/ 1790 w 10000"/>
                <a:gd name="connsiteY217" fmla="*/ 7712 h 10000"/>
                <a:gd name="connsiteX218" fmla="*/ 1667 w 10000"/>
                <a:gd name="connsiteY218" fmla="*/ 7582 h 10000"/>
                <a:gd name="connsiteX219" fmla="*/ 1502 w 10000"/>
                <a:gd name="connsiteY219" fmla="*/ 7451 h 10000"/>
                <a:gd name="connsiteX220" fmla="*/ 1358 w 10000"/>
                <a:gd name="connsiteY220" fmla="*/ 7222 h 10000"/>
                <a:gd name="connsiteX221" fmla="*/ 1214 w 10000"/>
                <a:gd name="connsiteY221" fmla="*/ 7320 h 10000"/>
                <a:gd name="connsiteX222" fmla="*/ 1091 w 10000"/>
                <a:gd name="connsiteY222" fmla="*/ 7157 h 10000"/>
                <a:gd name="connsiteX223" fmla="*/ 823 w 10000"/>
                <a:gd name="connsiteY223" fmla="*/ 6961 h 10000"/>
                <a:gd name="connsiteX224" fmla="*/ 823 w 10000"/>
                <a:gd name="connsiteY224" fmla="*/ 6830 h 10000"/>
                <a:gd name="connsiteX225" fmla="*/ 864 w 10000"/>
                <a:gd name="connsiteY225" fmla="*/ 6667 h 10000"/>
                <a:gd name="connsiteX226" fmla="*/ 967 w 10000"/>
                <a:gd name="connsiteY226" fmla="*/ 6634 h 10000"/>
                <a:gd name="connsiteX227" fmla="*/ 988 w 10000"/>
                <a:gd name="connsiteY227" fmla="*/ 6503 h 10000"/>
                <a:gd name="connsiteX228" fmla="*/ 864 w 10000"/>
                <a:gd name="connsiteY228" fmla="*/ 6373 h 10000"/>
                <a:gd name="connsiteX229" fmla="*/ 864 w 10000"/>
                <a:gd name="connsiteY229" fmla="*/ 6209 h 10000"/>
                <a:gd name="connsiteX230" fmla="*/ 1029 w 10000"/>
                <a:gd name="connsiteY230" fmla="*/ 6078 h 10000"/>
                <a:gd name="connsiteX231" fmla="*/ 1111 w 10000"/>
                <a:gd name="connsiteY231" fmla="*/ 5948 h 10000"/>
                <a:gd name="connsiteX232" fmla="*/ 1111 w 10000"/>
                <a:gd name="connsiteY232" fmla="*/ 5817 h 10000"/>
                <a:gd name="connsiteX233" fmla="*/ 976 w 10000"/>
                <a:gd name="connsiteY233" fmla="*/ 5673 h 10000"/>
                <a:gd name="connsiteX234" fmla="*/ 803 w 10000"/>
                <a:gd name="connsiteY234" fmla="*/ 5778 h 10000"/>
                <a:gd name="connsiteX235" fmla="*/ 597 w 10000"/>
                <a:gd name="connsiteY235" fmla="*/ 5719 h 10000"/>
                <a:gd name="connsiteX236" fmla="*/ 391 w 10000"/>
                <a:gd name="connsiteY236" fmla="*/ 5588 h 10000"/>
                <a:gd name="connsiteX237" fmla="*/ 391 w 10000"/>
                <a:gd name="connsiteY237" fmla="*/ 5425 h 10000"/>
                <a:gd name="connsiteX238" fmla="*/ 206 w 10000"/>
                <a:gd name="connsiteY238" fmla="*/ 5327 h 10000"/>
                <a:gd name="connsiteX239" fmla="*/ 206 w 10000"/>
                <a:gd name="connsiteY239" fmla="*/ 5196 h 10000"/>
                <a:gd name="connsiteX240" fmla="*/ 206 w 10000"/>
                <a:gd name="connsiteY240" fmla="*/ 4869 h 10000"/>
                <a:gd name="connsiteX241" fmla="*/ 82 w 10000"/>
                <a:gd name="connsiteY241" fmla="*/ 4902 h 10000"/>
                <a:gd name="connsiteX242" fmla="*/ 21 w 10000"/>
                <a:gd name="connsiteY242" fmla="*/ 4869 h 10000"/>
                <a:gd name="connsiteX243" fmla="*/ 0 w 10000"/>
                <a:gd name="connsiteY243" fmla="*/ 4739 h 10000"/>
                <a:gd name="connsiteX244" fmla="*/ 21 w 10000"/>
                <a:gd name="connsiteY244" fmla="*/ 4641 h 10000"/>
                <a:gd name="connsiteX245" fmla="*/ 41 w 10000"/>
                <a:gd name="connsiteY245" fmla="*/ 4477 h 10000"/>
                <a:gd name="connsiteX246" fmla="*/ 165 w 10000"/>
                <a:gd name="connsiteY246" fmla="*/ 4346 h 10000"/>
                <a:gd name="connsiteX247" fmla="*/ 185 w 10000"/>
                <a:gd name="connsiteY247" fmla="*/ 4248 h 10000"/>
                <a:gd name="connsiteX248" fmla="*/ 329 w 10000"/>
                <a:gd name="connsiteY248" fmla="*/ 4248 h 10000"/>
                <a:gd name="connsiteX249" fmla="*/ 329 w 10000"/>
                <a:gd name="connsiteY249" fmla="*/ 4346 h 10000"/>
                <a:gd name="connsiteX250" fmla="*/ 494 w 10000"/>
                <a:gd name="connsiteY250" fmla="*/ 4281 h 10000"/>
                <a:gd name="connsiteX251" fmla="*/ 535 w 10000"/>
                <a:gd name="connsiteY251" fmla="*/ 4118 h 10000"/>
                <a:gd name="connsiteX252" fmla="*/ 741 w 10000"/>
                <a:gd name="connsiteY252" fmla="*/ 4118 h 10000"/>
                <a:gd name="connsiteX253" fmla="*/ 782 w 10000"/>
                <a:gd name="connsiteY253" fmla="*/ 3987 h 10000"/>
                <a:gd name="connsiteX254" fmla="*/ 1049 w 10000"/>
                <a:gd name="connsiteY254" fmla="*/ 3791 h 10000"/>
                <a:gd name="connsiteX255" fmla="*/ 1111 w 10000"/>
                <a:gd name="connsiteY255" fmla="*/ 3725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Lst>
              <a:rect l="l" t="t" r="r" b="b"/>
              <a:pathLst>
                <a:path w="10000" h="10000">
                  <a:moveTo>
                    <a:pt x="1111" y="3725"/>
                  </a:moveTo>
                  <a:lnTo>
                    <a:pt x="1111" y="3562"/>
                  </a:lnTo>
                  <a:cubicBezTo>
                    <a:pt x="1138" y="3518"/>
                    <a:pt x="1166" y="3475"/>
                    <a:pt x="1193" y="3431"/>
                  </a:cubicBezTo>
                  <a:cubicBezTo>
                    <a:pt x="1173" y="3344"/>
                    <a:pt x="1152" y="3257"/>
                    <a:pt x="1132" y="3170"/>
                  </a:cubicBezTo>
                  <a:lnTo>
                    <a:pt x="1111" y="2876"/>
                  </a:lnTo>
                  <a:cubicBezTo>
                    <a:pt x="1152" y="2843"/>
                    <a:pt x="1194" y="2811"/>
                    <a:pt x="1235" y="2778"/>
                  </a:cubicBezTo>
                  <a:lnTo>
                    <a:pt x="1420" y="2778"/>
                  </a:lnTo>
                  <a:cubicBezTo>
                    <a:pt x="1434" y="2702"/>
                    <a:pt x="1447" y="2625"/>
                    <a:pt x="1461" y="2549"/>
                  </a:cubicBezTo>
                  <a:cubicBezTo>
                    <a:pt x="1495" y="2418"/>
                    <a:pt x="1530" y="2288"/>
                    <a:pt x="1564" y="2157"/>
                  </a:cubicBezTo>
                  <a:lnTo>
                    <a:pt x="1749" y="2190"/>
                  </a:lnTo>
                  <a:lnTo>
                    <a:pt x="1893" y="2190"/>
                  </a:lnTo>
                  <a:lnTo>
                    <a:pt x="1996" y="2157"/>
                  </a:lnTo>
                  <a:lnTo>
                    <a:pt x="1996" y="1928"/>
                  </a:lnTo>
                  <a:cubicBezTo>
                    <a:pt x="2010" y="1852"/>
                    <a:pt x="2023" y="1775"/>
                    <a:pt x="2037" y="1699"/>
                  </a:cubicBezTo>
                  <a:lnTo>
                    <a:pt x="2160" y="1699"/>
                  </a:lnTo>
                  <a:cubicBezTo>
                    <a:pt x="2167" y="1645"/>
                    <a:pt x="2174" y="1590"/>
                    <a:pt x="2181" y="1536"/>
                  </a:cubicBezTo>
                  <a:lnTo>
                    <a:pt x="2346" y="1536"/>
                  </a:lnTo>
                  <a:cubicBezTo>
                    <a:pt x="2360" y="1590"/>
                    <a:pt x="2373" y="1645"/>
                    <a:pt x="2387" y="1699"/>
                  </a:cubicBezTo>
                  <a:cubicBezTo>
                    <a:pt x="2421" y="1754"/>
                    <a:pt x="2456" y="1808"/>
                    <a:pt x="2490" y="1863"/>
                  </a:cubicBezTo>
                  <a:lnTo>
                    <a:pt x="2654" y="1895"/>
                  </a:lnTo>
                  <a:lnTo>
                    <a:pt x="2798" y="2124"/>
                  </a:lnTo>
                  <a:cubicBezTo>
                    <a:pt x="2826" y="2189"/>
                    <a:pt x="2853" y="2255"/>
                    <a:pt x="2881" y="2320"/>
                  </a:cubicBezTo>
                  <a:lnTo>
                    <a:pt x="2881" y="2451"/>
                  </a:lnTo>
                  <a:cubicBezTo>
                    <a:pt x="2860" y="2495"/>
                    <a:pt x="2840" y="2538"/>
                    <a:pt x="2819" y="2582"/>
                  </a:cubicBezTo>
                  <a:cubicBezTo>
                    <a:pt x="2833" y="2647"/>
                    <a:pt x="2846" y="2713"/>
                    <a:pt x="2860" y="2778"/>
                  </a:cubicBezTo>
                  <a:cubicBezTo>
                    <a:pt x="2887" y="2800"/>
                    <a:pt x="2915" y="2821"/>
                    <a:pt x="2942" y="2843"/>
                  </a:cubicBezTo>
                  <a:lnTo>
                    <a:pt x="3292" y="2876"/>
                  </a:lnTo>
                  <a:lnTo>
                    <a:pt x="3395" y="3039"/>
                  </a:lnTo>
                  <a:lnTo>
                    <a:pt x="3621" y="3235"/>
                  </a:lnTo>
                  <a:cubicBezTo>
                    <a:pt x="3642" y="3311"/>
                    <a:pt x="3662" y="3388"/>
                    <a:pt x="3683" y="3464"/>
                  </a:cubicBezTo>
                  <a:cubicBezTo>
                    <a:pt x="3704" y="3508"/>
                    <a:pt x="3724" y="3551"/>
                    <a:pt x="3745" y="3595"/>
                  </a:cubicBezTo>
                  <a:lnTo>
                    <a:pt x="4300" y="3627"/>
                  </a:lnTo>
                  <a:lnTo>
                    <a:pt x="4588" y="3660"/>
                  </a:lnTo>
                  <a:lnTo>
                    <a:pt x="4835" y="3856"/>
                  </a:lnTo>
                  <a:lnTo>
                    <a:pt x="5206" y="3922"/>
                  </a:lnTo>
                  <a:lnTo>
                    <a:pt x="5432" y="3693"/>
                  </a:lnTo>
                  <a:lnTo>
                    <a:pt x="5885" y="3693"/>
                  </a:lnTo>
                  <a:lnTo>
                    <a:pt x="6070" y="3529"/>
                  </a:lnTo>
                  <a:lnTo>
                    <a:pt x="6070" y="3431"/>
                  </a:lnTo>
                  <a:cubicBezTo>
                    <a:pt x="6132" y="3377"/>
                    <a:pt x="6193" y="3322"/>
                    <a:pt x="6255" y="3268"/>
                  </a:cubicBezTo>
                  <a:cubicBezTo>
                    <a:pt x="6234" y="3203"/>
                    <a:pt x="6214" y="3137"/>
                    <a:pt x="6193" y="3072"/>
                  </a:cubicBezTo>
                  <a:cubicBezTo>
                    <a:pt x="6214" y="3007"/>
                    <a:pt x="6234" y="2941"/>
                    <a:pt x="6255" y="2876"/>
                  </a:cubicBezTo>
                  <a:lnTo>
                    <a:pt x="6399" y="2876"/>
                  </a:lnTo>
                  <a:lnTo>
                    <a:pt x="6584" y="2908"/>
                  </a:lnTo>
                  <a:lnTo>
                    <a:pt x="6728" y="2680"/>
                  </a:lnTo>
                  <a:lnTo>
                    <a:pt x="6893" y="2680"/>
                  </a:lnTo>
                  <a:cubicBezTo>
                    <a:pt x="6955" y="2604"/>
                    <a:pt x="7016" y="2527"/>
                    <a:pt x="7078" y="2451"/>
                  </a:cubicBezTo>
                  <a:lnTo>
                    <a:pt x="7284" y="2320"/>
                  </a:lnTo>
                  <a:lnTo>
                    <a:pt x="7407" y="2320"/>
                  </a:lnTo>
                  <a:lnTo>
                    <a:pt x="7572" y="2353"/>
                  </a:lnTo>
                  <a:cubicBezTo>
                    <a:pt x="7565" y="2299"/>
                    <a:pt x="7558" y="2244"/>
                    <a:pt x="7551" y="2190"/>
                  </a:cubicBezTo>
                  <a:lnTo>
                    <a:pt x="7346" y="1863"/>
                  </a:lnTo>
                  <a:lnTo>
                    <a:pt x="7243" y="1830"/>
                  </a:lnTo>
                  <a:lnTo>
                    <a:pt x="7160" y="1928"/>
                  </a:lnTo>
                  <a:lnTo>
                    <a:pt x="6872" y="1895"/>
                  </a:lnTo>
                  <a:lnTo>
                    <a:pt x="6914" y="1667"/>
                  </a:lnTo>
                  <a:cubicBezTo>
                    <a:pt x="6941" y="1569"/>
                    <a:pt x="6969" y="1471"/>
                    <a:pt x="6996" y="1373"/>
                  </a:cubicBezTo>
                  <a:cubicBezTo>
                    <a:pt x="7017" y="1329"/>
                    <a:pt x="7037" y="1286"/>
                    <a:pt x="7058" y="1242"/>
                  </a:cubicBezTo>
                  <a:cubicBezTo>
                    <a:pt x="7120" y="1296"/>
                    <a:pt x="7181" y="1351"/>
                    <a:pt x="7243" y="1405"/>
                  </a:cubicBezTo>
                  <a:lnTo>
                    <a:pt x="7346" y="1242"/>
                  </a:lnTo>
                  <a:lnTo>
                    <a:pt x="7469" y="1209"/>
                  </a:lnTo>
                  <a:cubicBezTo>
                    <a:pt x="7483" y="1122"/>
                    <a:pt x="7496" y="1035"/>
                    <a:pt x="7510" y="948"/>
                  </a:cubicBezTo>
                  <a:cubicBezTo>
                    <a:pt x="7544" y="850"/>
                    <a:pt x="7579" y="752"/>
                    <a:pt x="7613" y="654"/>
                  </a:cubicBezTo>
                  <a:cubicBezTo>
                    <a:pt x="7647" y="621"/>
                    <a:pt x="7682" y="589"/>
                    <a:pt x="7716" y="556"/>
                  </a:cubicBezTo>
                  <a:lnTo>
                    <a:pt x="7716" y="327"/>
                  </a:lnTo>
                  <a:lnTo>
                    <a:pt x="7593" y="294"/>
                  </a:lnTo>
                  <a:cubicBezTo>
                    <a:pt x="7600" y="250"/>
                    <a:pt x="7606" y="207"/>
                    <a:pt x="7613" y="163"/>
                  </a:cubicBezTo>
                  <a:lnTo>
                    <a:pt x="7757" y="65"/>
                  </a:lnTo>
                  <a:lnTo>
                    <a:pt x="8025" y="33"/>
                  </a:lnTo>
                  <a:lnTo>
                    <a:pt x="8210" y="0"/>
                  </a:lnTo>
                  <a:lnTo>
                    <a:pt x="8374" y="98"/>
                  </a:lnTo>
                  <a:cubicBezTo>
                    <a:pt x="8422" y="131"/>
                    <a:pt x="8471" y="163"/>
                    <a:pt x="8519" y="196"/>
                  </a:cubicBezTo>
                  <a:lnTo>
                    <a:pt x="8642" y="523"/>
                  </a:lnTo>
                  <a:cubicBezTo>
                    <a:pt x="8669" y="632"/>
                    <a:pt x="8697" y="741"/>
                    <a:pt x="8724" y="850"/>
                  </a:cubicBezTo>
                  <a:cubicBezTo>
                    <a:pt x="8752" y="937"/>
                    <a:pt x="8779" y="1024"/>
                    <a:pt x="8807" y="1111"/>
                  </a:cubicBezTo>
                  <a:cubicBezTo>
                    <a:pt x="8827" y="1198"/>
                    <a:pt x="8848" y="1286"/>
                    <a:pt x="8868" y="1373"/>
                  </a:cubicBezTo>
                  <a:lnTo>
                    <a:pt x="9033" y="1373"/>
                  </a:lnTo>
                  <a:cubicBezTo>
                    <a:pt x="9067" y="1406"/>
                    <a:pt x="9102" y="1438"/>
                    <a:pt x="9136" y="1471"/>
                  </a:cubicBezTo>
                  <a:lnTo>
                    <a:pt x="9280" y="1601"/>
                  </a:lnTo>
                  <a:lnTo>
                    <a:pt x="9342" y="1634"/>
                  </a:lnTo>
                  <a:cubicBezTo>
                    <a:pt x="9356" y="1743"/>
                    <a:pt x="9369" y="1852"/>
                    <a:pt x="9383" y="1961"/>
                  </a:cubicBezTo>
                  <a:lnTo>
                    <a:pt x="9609" y="1993"/>
                  </a:lnTo>
                  <a:cubicBezTo>
                    <a:pt x="9630" y="1950"/>
                    <a:pt x="9650" y="1906"/>
                    <a:pt x="9671" y="1863"/>
                  </a:cubicBezTo>
                  <a:lnTo>
                    <a:pt x="9815" y="1830"/>
                  </a:lnTo>
                  <a:lnTo>
                    <a:pt x="9979" y="1797"/>
                  </a:lnTo>
                  <a:cubicBezTo>
                    <a:pt x="9986" y="1873"/>
                    <a:pt x="9993" y="1950"/>
                    <a:pt x="10000" y="2026"/>
                  </a:cubicBezTo>
                  <a:lnTo>
                    <a:pt x="9918" y="2092"/>
                  </a:lnTo>
                  <a:cubicBezTo>
                    <a:pt x="9897" y="2212"/>
                    <a:pt x="9877" y="2331"/>
                    <a:pt x="9856" y="2451"/>
                  </a:cubicBezTo>
                  <a:lnTo>
                    <a:pt x="9733" y="2810"/>
                  </a:lnTo>
                  <a:lnTo>
                    <a:pt x="9609" y="2843"/>
                  </a:lnTo>
                  <a:lnTo>
                    <a:pt x="9547" y="2745"/>
                  </a:lnTo>
                  <a:lnTo>
                    <a:pt x="9403" y="2908"/>
                  </a:lnTo>
                  <a:lnTo>
                    <a:pt x="9403" y="3497"/>
                  </a:lnTo>
                  <a:cubicBezTo>
                    <a:pt x="9376" y="3551"/>
                    <a:pt x="9348" y="3606"/>
                    <a:pt x="9321" y="3660"/>
                  </a:cubicBezTo>
                  <a:cubicBezTo>
                    <a:pt x="9287" y="3616"/>
                    <a:pt x="9252" y="3573"/>
                    <a:pt x="9218" y="3529"/>
                  </a:cubicBezTo>
                  <a:lnTo>
                    <a:pt x="9053" y="3791"/>
                  </a:lnTo>
                  <a:lnTo>
                    <a:pt x="8951" y="3791"/>
                  </a:lnTo>
                  <a:cubicBezTo>
                    <a:pt x="8944" y="3835"/>
                    <a:pt x="8937" y="3878"/>
                    <a:pt x="8930" y="3922"/>
                  </a:cubicBezTo>
                  <a:cubicBezTo>
                    <a:pt x="8896" y="3933"/>
                    <a:pt x="8861" y="3943"/>
                    <a:pt x="8827" y="3954"/>
                  </a:cubicBezTo>
                  <a:cubicBezTo>
                    <a:pt x="8793" y="3932"/>
                    <a:pt x="8758" y="3911"/>
                    <a:pt x="8724" y="3889"/>
                  </a:cubicBezTo>
                  <a:cubicBezTo>
                    <a:pt x="8710" y="3900"/>
                    <a:pt x="8697" y="3911"/>
                    <a:pt x="8683" y="3922"/>
                  </a:cubicBezTo>
                  <a:lnTo>
                    <a:pt x="8539" y="4150"/>
                  </a:lnTo>
                  <a:lnTo>
                    <a:pt x="8416" y="4281"/>
                  </a:lnTo>
                  <a:lnTo>
                    <a:pt x="8313" y="4444"/>
                  </a:lnTo>
                  <a:lnTo>
                    <a:pt x="8210" y="4477"/>
                  </a:lnTo>
                  <a:lnTo>
                    <a:pt x="8107" y="4510"/>
                  </a:lnTo>
                  <a:lnTo>
                    <a:pt x="7819" y="4804"/>
                  </a:lnTo>
                  <a:cubicBezTo>
                    <a:pt x="7812" y="4739"/>
                    <a:pt x="7805" y="4673"/>
                    <a:pt x="7798" y="4608"/>
                  </a:cubicBezTo>
                  <a:cubicBezTo>
                    <a:pt x="7812" y="4553"/>
                    <a:pt x="7826" y="4499"/>
                    <a:pt x="7840" y="4444"/>
                  </a:cubicBezTo>
                  <a:lnTo>
                    <a:pt x="7942" y="4346"/>
                  </a:lnTo>
                  <a:cubicBezTo>
                    <a:pt x="7935" y="4292"/>
                    <a:pt x="7929" y="4237"/>
                    <a:pt x="7922" y="4183"/>
                  </a:cubicBezTo>
                  <a:lnTo>
                    <a:pt x="7840" y="4183"/>
                  </a:lnTo>
                  <a:lnTo>
                    <a:pt x="7716" y="4216"/>
                  </a:lnTo>
                  <a:lnTo>
                    <a:pt x="7490" y="4510"/>
                  </a:lnTo>
                  <a:cubicBezTo>
                    <a:pt x="7476" y="4564"/>
                    <a:pt x="7463" y="4619"/>
                    <a:pt x="7449" y="4673"/>
                  </a:cubicBezTo>
                  <a:lnTo>
                    <a:pt x="7243" y="4673"/>
                  </a:lnTo>
                  <a:cubicBezTo>
                    <a:pt x="7229" y="4717"/>
                    <a:pt x="7216" y="4760"/>
                    <a:pt x="7202" y="4804"/>
                  </a:cubicBezTo>
                  <a:cubicBezTo>
                    <a:pt x="7222" y="4880"/>
                    <a:pt x="7243" y="4957"/>
                    <a:pt x="7263" y="5033"/>
                  </a:cubicBezTo>
                  <a:lnTo>
                    <a:pt x="7407" y="5065"/>
                  </a:lnTo>
                  <a:lnTo>
                    <a:pt x="7407" y="5163"/>
                  </a:lnTo>
                  <a:cubicBezTo>
                    <a:pt x="7414" y="5207"/>
                    <a:pt x="7421" y="5250"/>
                    <a:pt x="7428" y="5294"/>
                  </a:cubicBezTo>
                  <a:lnTo>
                    <a:pt x="7551" y="5261"/>
                  </a:lnTo>
                  <a:cubicBezTo>
                    <a:pt x="7579" y="5218"/>
                    <a:pt x="7606" y="5174"/>
                    <a:pt x="7634" y="5131"/>
                  </a:cubicBezTo>
                  <a:lnTo>
                    <a:pt x="7716" y="5098"/>
                  </a:lnTo>
                  <a:cubicBezTo>
                    <a:pt x="7743" y="5120"/>
                    <a:pt x="7771" y="5141"/>
                    <a:pt x="7798" y="5163"/>
                  </a:cubicBezTo>
                  <a:lnTo>
                    <a:pt x="7963" y="5229"/>
                  </a:lnTo>
                  <a:cubicBezTo>
                    <a:pt x="7977" y="5272"/>
                    <a:pt x="7990" y="5316"/>
                    <a:pt x="8004" y="5359"/>
                  </a:cubicBezTo>
                  <a:lnTo>
                    <a:pt x="7942" y="5392"/>
                  </a:lnTo>
                  <a:lnTo>
                    <a:pt x="7819" y="5392"/>
                  </a:lnTo>
                  <a:lnTo>
                    <a:pt x="7737" y="5458"/>
                  </a:lnTo>
                  <a:cubicBezTo>
                    <a:pt x="7730" y="5491"/>
                    <a:pt x="7723" y="5523"/>
                    <a:pt x="7716" y="5556"/>
                  </a:cubicBezTo>
                  <a:cubicBezTo>
                    <a:pt x="7682" y="5578"/>
                    <a:pt x="7647" y="5599"/>
                    <a:pt x="7613" y="5621"/>
                  </a:cubicBezTo>
                  <a:cubicBezTo>
                    <a:pt x="7579" y="5697"/>
                    <a:pt x="7544" y="5774"/>
                    <a:pt x="7510" y="5850"/>
                  </a:cubicBezTo>
                  <a:cubicBezTo>
                    <a:pt x="7496" y="5904"/>
                    <a:pt x="7483" y="5959"/>
                    <a:pt x="7469" y="6013"/>
                  </a:cubicBezTo>
                  <a:cubicBezTo>
                    <a:pt x="7503" y="6035"/>
                    <a:pt x="7538" y="6056"/>
                    <a:pt x="7572" y="6078"/>
                  </a:cubicBezTo>
                  <a:lnTo>
                    <a:pt x="7634" y="6176"/>
                  </a:lnTo>
                  <a:cubicBezTo>
                    <a:pt x="7661" y="6285"/>
                    <a:pt x="7689" y="6394"/>
                    <a:pt x="7716" y="6503"/>
                  </a:cubicBezTo>
                  <a:cubicBezTo>
                    <a:pt x="7723" y="6547"/>
                    <a:pt x="7730" y="6590"/>
                    <a:pt x="7737" y="6634"/>
                  </a:cubicBezTo>
                  <a:cubicBezTo>
                    <a:pt x="7792" y="6699"/>
                    <a:pt x="7846" y="6765"/>
                    <a:pt x="7901" y="6830"/>
                  </a:cubicBezTo>
                  <a:cubicBezTo>
                    <a:pt x="7894" y="6852"/>
                    <a:pt x="7888" y="6873"/>
                    <a:pt x="7881" y="6895"/>
                  </a:cubicBezTo>
                  <a:cubicBezTo>
                    <a:pt x="7847" y="6873"/>
                    <a:pt x="7812" y="6852"/>
                    <a:pt x="7778" y="6830"/>
                  </a:cubicBezTo>
                  <a:cubicBezTo>
                    <a:pt x="7764" y="6874"/>
                    <a:pt x="7751" y="6917"/>
                    <a:pt x="7737" y="6961"/>
                  </a:cubicBezTo>
                  <a:lnTo>
                    <a:pt x="7860" y="7026"/>
                  </a:lnTo>
                  <a:cubicBezTo>
                    <a:pt x="7874" y="7059"/>
                    <a:pt x="7887" y="7091"/>
                    <a:pt x="7901" y="7124"/>
                  </a:cubicBezTo>
                  <a:lnTo>
                    <a:pt x="7819" y="7157"/>
                  </a:lnTo>
                  <a:lnTo>
                    <a:pt x="7716" y="7190"/>
                  </a:lnTo>
                  <a:lnTo>
                    <a:pt x="7654" y="7255"/>
                  </a:lnTo>
                  <a:cubicBezTo>
                    <a:pt x="7647" y="7266"/>
                    <a:pt x="7641" y="7277"/>
                    <a:pt x="7634" y="7288"/>
                  </a:cubicBezTo>
                  <a:lnTo>
                    <a:pt x="7778" y="7320"/>
                  </a:lnTo>
                  <a:lnTo>
                    <a:pt x="7881" y="7353"/>
                  </a:lnTo>
                  <a:lnTo>
                    <a:pt x="7881" y="7549"/>
                  </a:lnTo>
                  <a:cubicBezTo>
                    <a:pt x="7853" y="7647"/>
                    <a:pt x="7826" y="7745"/>
                    <a:pt x="7798" y="7843"/>
                  </a:cubicBezTo>
                  <a:cubicBezTo>
                    <a:pt x="7730" y="7974"/>
                    <a:pt x="7661" y="8104"/>
                    <a:pt x="7593" y="8235"/>
                  </a:cubicBezTo>
                  <a:lnTo>
                    <a:pt x="7449" y="8562"/>
                  </a:lnTo>
                  <a:cubicBezTo>
                    <a:pt x="7415" y="8660"/>
                    <a:pt x="7380" y="8758"/>
                    <a:pt x="7346" y="8856"/>
                  </a:cubicBezTo>
                  <a:lnTo>
                    <a:pt x="7119" y="9150"/>
                  </a:lnTo>
                  <a:lnTo>
                    <a:pt x="6975" y="9346"/>
                  </a:lnTo>
                  <a:lnTo>
                    <a:pt x="6749" y="9412"/>
                  </a:lnTo>
                  <a:lnTo>
                    <a:pt x="6626" y="9412"/>
                  </a:lnTo>
                  <a:cubicBezTo>
                    <a:pt x="6605" y="9368"/>
                    <a:pt x="6585" y="9325"/>
                    <a:pt x="6564" y="9281"/>
                  </a:cubicBezTo>
                  <a:lnTo>
                    <a:pt x="6502" y="9314"/>
                  </a:lnTo>
                  <a:lnTo>
                    <a:pt x="6502" y="9542"/>
                  </a:lnTo>
                  <a:lnTo>
                    <a:pt x="6358" y="9608"/>
                  </a:lnTo>
                  <a:lnTo>
                    <a:pt x="6152" y="9706"/>
                  </a:lnTo>
                  <a:lnTo>
                    <a:pt x="6029" y="9739"/>
                  </a:lnTo>
                  <a:cubicBezTo>
                    <a:pt x="6015" y="9782"/>
                    <a:pt x="6002" y="9826"/>
                    <a:pt x="5988" y="9869"/>
                  </a:cubicBezTo>
                  <a:cubicBezTo>
                    <a:pt x="5995" y="9913"/>
                    <a:pt x="6001" y="9956"/>
                    <a:pt x="6008" y="10000"/>
                  </a:cubicBezTo>
                  <a:cubicBezTo>
                    <a:pt x="5981" y="9978"/>
                    <a:pt x="5953" y="9957"/>
                    <a:pt x="5926" y="9935"/>
                  </a:cubicBezTo>
                  <a:lnTo>
                    <a:pt x="5926" y="9804"/>
                  </a:lnTo>
                  <a:lnTo>
                    <a:pt x="5926" y="9706"/>
                  </a:lnTo>
                  <a:lnTo>
                    <a:pt x="5823" y="9706"/>
                  </a:lnTo>
                  <a:cubicBezTo>
                    <a:pt x="5789" y="9684"/>
                    <a:pt x="5754" y="9663"/>
                    <a:pt x="5720" y="9641"/>
                  </a:cubicBezTo>
                  <a:cubicBezTo>
                    <a:pt x="5686" y="9663"/>
                    <a:pt x="5651" y="9684"/>
                    <a:pt x="5617" y="9706"/>
                  </a:cubicBezTo>
                  <a:lnTo>
                    <a:pt x="5514" y="9706"/>
                  </a:lnTo>
                  <a:cubicBezTo>
                    <a:pt x="5487" y="9684"/>
                    <a:pt x="5459" y="9663"/>
                    <a:pt x="5432" y="9641"/>
                  </a:cubicBezTo>
                  <a:cubicBezTo>
                    <a:pt x="5425" y="9554"/>
                    <a:pt x="5419" y="9466"/>
                    <a:pt x="5412" y="9379"/>
                  </a:cubicBezTo>
                  <a:lnTo>
                    <a:pt x="5288" y="9346"/>
                  </a:lnTo>
                  <a:lnTo>
                    <a:pt x="5226" y="9281"/>
                  </a:lnTo>
                  <a:lnTo>
                    <a:pt x="5144" y="9281"/>
                  </a:lnTo>
                  <a:cubicBezTo>
                    <a:pt x="5117" y="9325"/>
                    <a:pt x="5089" y="9368"/>
                    <a:pt x="5062" y="9412"/>
                  </a:cubicBezTo>
                  <a:lnTo>
                    <a:pt x="4712" y="9412"/>
                  </a:lnTo>
                  <a:cubicBezTo>
                    <a:pt x="4705" y="9434"/>
                    <a:pt x="4698" y="9455"/>
                    <a:pt x="4691" y="9477"/>
                  </a:cubicBezTo>
                  <a:lnTo>
                    <a:pt x="4568" y="9477"/>
                  </a:lnTo>
                  <a:lnTo>
                    <a:pt x="4568" y="9608"/>
                  </a:lnTo>
                  <a:lnTo>
                    <a:pt x="4630" y="9641"/>
                  </a:lnTo>
                  <a:cubicBezTo>
                    <a:pt x="4623" y="9684"/>
                    <a:pt x="4616" y="9728"/>
                    <a:pt x="4609" y="9771"/>
                  </a:cubicBezTo>
                  <a:lnTo>
                    <a:pt x="4527" y="9771"/>
                  </a:lnTo>
                  <a:cubicBezTo>
                    <a:pt x="4513" y="9749"/>
                    <a:pt x="4500" y="9728"/>
                    <a:pt x="4486" y="9706"/>
                  </a:cubicBezTo>
                  <a:lnTo>
                    <a:pt x="4403" y="9706"/>
                  </a:lnTo>
                  <a:lnTo>
                    <a:pt x="4321" y="9706"/>
                  </a:lnTo>
                  <a:lnTo>
                    <a:pt x="4321" y="9608"/>
                  </a:lnTo>
                  <a:lnTo>
                    <a:pt x="4239" y="9575"/>
                  </a:lnTo>
                  <a:lnTo>
                    <a:pt x="4239" y="9314"/>
                  </a:lnTo>
                  <a:lnTo>
                    <a:pt x="4136" y="9248"/>
                  </a:lnTo>
                  <a:lnTo>
                    <a:pt x="4136" y="9020"/>
                  </a:lnTo>
                  <a:lnTo>
                    <a:pt x="3930" y="8922"/>
                  </a:lnTo>
                  <a:lnTo>
                    <a:pt x="3930" y="8856"/>
                  </a:lnTo>
                  <a:lnTo>
                    <a:pt x="4095" y="8497"/>
                  </a:lnTo>
                  <a:cubicBezTo>
                    <a:pt x="4102" y="8366"/>
                    <a:pt x="4108" y="8236"/>
                    <a:pt x="4115" y="8105"/>
                  </a:cubicBezTo>
                  <a:cubicBezTo>
                    <a:pt x="4088" y="8072"/>
                    <a:pt x="4060" y="8040"/>
                    <a:pt x="4033" y="8007"/>
                  </a:cubicBezTo>
                  <a:cubicBezTo>
                    <a:pt x="4012" y="7952"/>
                    <a:pt x="3992" y="7898"/>
                    <a:pt x="3971" y="7843"/>
                  </a:cubicBezTo>
                  <a:lnTo>
                    <a:pt x="3889" y="7810"/>
                  </a:lnTo>
                  <a:lnTo>
                    <a:pt x="3724" y="7778"/>
                  </a:lnTo>
                  <a:lnTo>
                    <a:pt x="3724" y="7549"/>
                  </a:lnTo>
                  <a:lnTo>
                    <a:pt x="3621" y="7582"/>
                  </a:lnTo>
                  <a:lnTo>
                    <a:pt x="3395" y="7582"/>
                  </a:lnTo>
                  <a:cubicBezTo>
                    <a:pt x="3374" y="7625"/>
                    <a:pt x="3354" y="7669"/>
                    <a:pt x="3333" y="7712"/>
                  </a:cubicBezTo>
                  <a:cubicBezTo>
                    <a:pt x="3298" y="7791"/>
                    <a:pt x="3262" y="7869"/>
                    <a:pt x="3227" y="7948"/>
                  </a:cubicBezTo>
                  <a:cubicBezTo>
                    <a:pt x="3193" y="8024"/>
                    <a:pt x="3141" y="7865"/>
                    <a:pt x="3107" y="7941"/>
                  </a:cubicBezTo>
                  <a:lnTo>
                    <a:pt x="3004" y="7974"/>
                  </a:lnTo>
                  <a:lnTo>
                    <a:pt x="2860" y="7941"/>
                  </a:lnTo>
                  <a:lnTo>
                    <a:pt x="2737" y="7876"/>
                  </a:lnTo>
                  <a:lnTo>
                    <a:pt x="2634" y="7876"/>
                  </a:lnTo>
                  <a:lnTo>
                    <a:pt x="2572" y="7974"/>
                  </a:lnTo>
                  <a:lnTo>
                    <a:pt x="2366" y="7974"/>
                  </a:lnTo>
                  <a:lnTo>
                    <a:pt x="2140" y="7941"/>
                  </a:lnTo>
                  <a:lnTo>
                    <a:pt x="1975" y="7908"/>
                  </a:lnTo>
                  <a:cubicBezTo>
                    <a:pt x="1913" y="7843"/>
                    <a:pt x="1852" y="7777"/>
                    <a:pt x="1790" y="7712"/>
                  </a:cubicBezTo>
                  <a:lnTo>
                    <a:pt x="1667" y="7582"/>
                  </a:lnTo>
                  <a:lnTo>
                    <a:pt x="1502" y="7451"/>
                  </a:lnTo>
                  <a:lnTo>
                    <a:pt x="1358" y="7222"/>
                  </a:lnTo>
                  <a:lnTo>
                    <a:pt x="1214" y="7320"/>
                  </a:lnTo>
                  <a:lnTo>
                    <a:pt x="1091" y="7157"/>
                  </a:lnTo>
                  <a:lnTo>
                    <a:pt x="823" y="6961"/>
                  </a:lnTo>
                  <a:lnTo>
                    <a:pt x="823" y="6830"/>
                  </a:lnTo>
                  <a:cubicBezTo>
                    <a:pt x="837" y="6776"/>
                    <a:pt x="850" y="6721"/>
                    <a:pt x="864" y="6667"/>
                  </a:cubicBezTo>
                  <a:lnTo>
                    <a:pt x="967" y="6634"/>
                  </a:lnTo>
                  <a:cubicBezTo>
                    <a:pt x="974" y="6590"/>
                    <a:pt x="981" y="6547"/>
                    <a:pt x="988" y="6503"/>
                  </a:cubicBezTo>
                  <a:lnTo>
                    <a:pt x="864" y="6373"/>
                  </a:lnTo>
                  <a:lnTo>
                    <a:pt x="864" y="6209"/>
                  </a:lnTo>
                  <a:lnTo>
                    <a:pt x="1029" y="6078"/>
                  </a:lnTo>
                  <a:lnTo>
                    <a:pt x="1111" y="5948"/>
                  </a:lnTo>
                  <a:lnTo>
                    <a:pt x="1111" y="5817"/>
                  </a:lnTo>
                  <a:cubicBezTo>
                    <a:pt x="1049" y="5752"/>
                    <a:pt x="1038" y="5738"/>
                    <a:pt x="976" y="5673"/>
                  </a:cubicBezTo>
                  <a:lnTo>
                    <a:pt x="803" y="5778"/>
                  </a:lnTo>
                  <a:lnTo>
                    <a:pt x="597" y="5719"/>
                  </a:lnTo>
                  <a:lnTo>
                    <a:pt x="391" y="5588"/>
                  </a:lnTo>
                  <a:lnTo>
                    <a:pt x="391" y="5425"/>
                  </a:lnTo>
                  <a:lnTo>
                    <a:pt x="206" y="5327"/>
                  </a:lnTo>
                  <a:lnTo>
                    <a:pt x="206" y="5196"/>
                  </a:lnTo>
                  <a:lnTo>
                    <a:pt x="206" y="4869"/>
                  </a:lnTo>
                  <a:lnTo>
                    <a:pt x="82" y="4902"/>
                  </a:lnTo>
                  <a:lnTo>
                    <a:pt x="21" y="4869"/>
                  </a:lnTo>
                  <a:cubicBezTo>
                    <a:pt x="14" y="4826"/>
                    <a:pt x="7" y="4782"/>
                    <a:pt x="0" y="4739"/>
                  </a:cubicBezTo>
                  <a:cubicBezTo>
                    <a:pt x="7" y="4706"/>
                    <a:pt x="14" y="4674"/>
                    <a:pt x="21" y="4641"/>
                  </a:cubicBezTo>
                  <a:cubicBezTo>
                    <a:pt x="28" y="4586"/>
                    <a:pt x="34" y="4532"/>
                    <a:pt x="41" y="4477"/>
                  </a:cubicBezTo>
                  <a:cubicBezTo>
                    <a:pt x="82" y="4433"/>
                    <a:pt x="124" y="4390"/>
                    <a:pt x="165" y="4346"/>
                  </a:cubicBezTo>
                  <a:cubicBezTo>
                    <a:pt x="172" y="4313"/>
                    <a:pt x="178" y="4281"/>
                    <a:pt x="185" y="4248"/>
                  </a:cubicBezTo>
                  <a:lnTo>
                    <a:pt x="329" y="4248"/>
                  </a:lnTo>
                  <a:lnTo>
                    <a:pt x="329" y="4346"/>
                  </a:lnTo>
                  <a:lnTo>
                    <a:pt x="494" y="4281"/>
                  </a:lnTo>
                  <a:cubicBezTo>
                    <a:pt x="508" y="4227"/>
                    <a:pt x="521" y="4172"/>
                    <a:pt x="535" y="4118"/>
                  </a:cubicBezTo>
                  <a:lnTo>
                    <a:pt x="741" y="4118"/>
                  </a:lnTo>
                  <a:cubicBezTo>
                    <a:pt x="755" y="4074"/>
                    <a:pt x="768" y="4031"/>
                    <a:pt x="782" y="3987"/>
                  </a:cubicBezTo>
                  <a:lnTo>
                    <a:pt x="1049" y="3791"/>
                  </a:lnTo>
                  <a:cubicBezTo>
                    <a:pt x="1070" y="3769"/>
                    <a:pt x="1090" y="3747"/>
                    <a:pt x="1111" y="3725"/>
                  </a:cubicBez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83" name="Freeform 279">
              <a:extLst>
                <a:ext uri="{FF2B5EF4-FFF2-40B4-BE49-F238E27FC236}">
                  <a16:creationId xmlns:a16="http://schemas.microsoft.com/office/drawing/2014/main" id="{105A863C-8D22-43B3-B764-1FEE2CD38656}"/>
                </a:ext>
              </a:extLst>
            </p:cNvPr>
            <p:cNvSpPr>
              <a:spLocks/>
            </p:cNvSpPr>
            <p:nvPr/>
          </p:nvSpPr>
          <p:spPr bwMode="gray">
            <a:xfrm>
              <a:off x="8435304" y="4093816"/>
              <a:ext cx="204732" cy="225737"/>
            </a:xfrm>
            <a:custGeom>
              <a:avLst/>
              <a:gdLst>
                <a:gd name="T0" fmla="*/ 12 w 124"/>
                <a:gd name="T1" fmla="*/ 14 h 136"/>
                <a:gd name="T2" fmla="*/ 20 w 124"/>
                <a:gd name="T3" fmla="*/ 14 h 136"/>
                <a:gd name="T4" fmla="*/ 24 w 124"/>
                <a:gd name="T5" fmla="*/ 18 h 136"/>
                <a:gd name="T6" fmla="*/ 32 w 124"/>
                <a:gd name="T7" fmla="*/ 18 h 136"/>
                <a:gd name="T8" fmla="*/ 34 w 124"/>
                <a:gd name="T9" fmla="*/ 10 h 136"/>
                <a:gd name="T10" fmla="*/ 28 w 124"/>
                <a:gd name="T11" fmla="*/ 8 h 136"/>
                <a:gd name="T12" fmla="*/ 28 w 124"/>
                <a:gd name="T13" fmla="*/ 0 h 136"/>
                <a:gd name="T14" fmla="*/ 40 w 124"/>
                <a:gd name="T15" fmla="*/ 0 h 136"/>
                <a:gd name="T16" fmla="*/ 40 w 124"/>
                <a:gd name="T17" fmla="*/ 4 h 136"/>
                <a:gd name="T18" fmla="*/ 50 w 124"/>
                <a:gd name="T19" fmla="*/ 14 h 136"/>
                <a:gd name="T20" fmla="*/ 52 w 124"/>
                <a:gd name="T21" fmla="*/ 24 h 136"/>
                <a:gd name="T22" fmla="*/ 52 w 124"/>
                <a:gd name="T23" fmla="*/ 28 h 136"/>
                <a:gd name="T24" fmla="*/ 74 w 124"/>
                <a:gd name="T25" fmla="*/ 26 h 136"/>
                <a:gd name="T26" fmla="*/ 80 w 124"/>
                <a:gd name="T27" fmla="*/ 36 h 136"/>
                <a:gd name="T28" fmla="*/ 82 w 124"/>
                <a:gd name="T29" fmla="*/ 46 h 136"/>
                <a:gd name="T30" fmla="*/ 68 w 124"/>
                <a:gd name="T31" fmla="*/ 46 h 136"/>
                <a:gd name="T32" fmla="*/ 68 w 124"/>
                <a:gd name="T33" fmla="*/ 56 h 136"/>
                <a:gd name="T34" fmla="*/ 76 w 124"/>
                <a:gd name="T35" fmla="*/ 60 h 136"/>
                <a:gd name="T36" fmla="*/ 100 w 124"/>
                <a:gd name="T37" fmla="*/ 84 h 136"/>
                <a:gd name="T38" fmla="*/ 120 w 124"/>
                <a:gd name="T39" fmla="*/ 106 h 136"/>
                <a:gd name="T40" fmla="*/ 124 w 124"/>
                <a:gd name="T41" fmla="*/ 120 h 136"/>
                <a:gd name="T42" fmla="*/ 122 w 124"/>
                <a:gd name="T43" fmla="*/ 134 h 136"/>
                <a:gd name="T44" fmla="*/ 112 w 124"/>
                <a:gd name="T45" fmla="*/ 134 h 136"/>
                <a:gd name="T46" fmla="*/ 110 w 124"/>
                <a:gd name="T47" fmla="*/ 128 h 136"/>
                <a:gd name="T48" fmla="*/ 104 w 124"/>
                <a:gd name="T49" fmla="*/ 128 h 136"/>
                <a:gd name="T50" fmla="*/ 102 w 124"/>
                <a:gd name="T51" fmla="*/ 136 h 136"/>
                <a:gd name="T52" fmla="*/ 90 w 124"/>
                <a:gd name="T53" fmla="*/ 136 h 136"/>
                <a:gd name="T54" fmla="*/ 90 w 124"/>
                <a:gd name="T55" fmla="*/ 130 h 136"/>
                <a:gd name="T56" fmla="*/ 94 w 124"/>
                <a:gd name="T57" fmla="*/ 118 h 136"/>
                <a:gd name="T58" fmla="*/ 94 w 124"/>
                <a:gd name="T59" fmla="*/ 108 h 136"/>
                <a:gd name="T60" fmla="*/ 84 w 124"/>
                <a:gd name="T61" fmla="*/ 98 h 136"/>
                <a:gd name="T62" fmla="*/ 80 w 124"/>
                <a:gd name="T63" fmla="*/ 82 h 136"/>
                <a:gd name="T64" fmla="*/ 64 w 124"/>
                <a:gd name="T65" fmla="*/ 64 h 136"/>
                <a:gd name="T66" fmla="*/ 52 w 124"/>
                <a:gd name="T67" fmla="*/ 72 h 136"/>
                <a:gd name="T68" fmla="*/ 40 w 124"/>
                <a:gd name="T69" fmla="*/ 68 h 136"/>
                <a:gd name="T70" fmla="*/ 20 w 124"/>
                <a:gd name="T71" fmla="*/ 80 h 136"/>
                <a:gd name="T72" fmla="*/ 20 w 124"/>
                <a:gd name="T73" fmla="*/ 66 h 136"/>
                <a:gd name="T74" fmla="*/ 24 w 124"/>
                <a:gd name="T75" fmla="*/ 62 h 136"/>
                <a:gd name="T76" fmla="*/ 20 w 124"/>
                <a:gd name="T77" fmla="*/ 48 h 136"/>
                <a:gd name="T78" fmla="*/ 12 w 124"/>
                <a:gd name="T79" fmla="*/ 46 h 136"/>
                <a:gd name="T80" fmla="*/ 12 w 124"/>
                <a:gd name="T81" fmla="*/ 38 h 136"/>
                <a:gd name="T82" fmla="*/ 0 w 124"/>
                <a:gd name="T83" fmla="*/ 32 h 136"/>
                <a:gd name="T84" fmla="*/ 14 w 124"/>
                <a:gd name="T85" fmla="*/ 24 h 136"/>
                <a:gd name="T86" fmla="*/ 12 w 124"/>
                <a:gd name="T87"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4" h="136">
                  <a:moveTo>
                    <a:pt x="12" y="14"/>
                  </a:moveTo>
                  <a:lnTo>
                    <a:pt x="20" y="14"/>
                  </a:lnTo>
                  <a:lnTo>
                    <a:pt x="24" y="18"/>
                  </a:lnTo>
                  <a:lnTo>
                    <a:pt x="32" y="18"/>
                  </a:lnTo>
                  <a:lnTo>
                    <a:pt x="34" y="10"/>
                  </a:lnTo>
                  <a:lnTo>
                    <a:pt x="28" y="8"/>
                  </a:lnTo>
                  <a:lnTo>
                    <a:pt x="28" y="0"/>
                  </a:lnTo>
                  <a:lnTo>
                    <a:pt x="40" y="0"/>
                  </a:lnTo>
                  <a:lnTo>
                    <a:pt x="40" y="4"/>
                  </a:lnTo>
                  <a:lnTo>
                    <a:pt x="50" y="14"/>
                  </a:lnTo>
                  <a:lnTo>
                    <a:pt x="52" y="24"/>
                  </a:lnTo>
                  <a:lnTo>
                    <a:pt x="52" y="28"/>
                  </a:lnTo>
                  <a:lnTo>
                    <a:pt x="74" y="26"/>
                  </a:lnTo>
                  <a:lnTo>
                    <a:pt x="80" y="36"/>
                  </a:lnTo>
                  <a:lnTo>
                    <a:pt x="82" y="46"/>
                  </a:lnTo>
                  <a:lnTo>
                    <a:pt x="68" y="46"/>
                  </a:lnTo>
                  <a:lnTo>
                    <a:pt x="68" y="56"/>
                  </a:lnTo>
                  <a:lnTo>
                    <a:pt x="76" y="60"/>
                  </a:lnTo>
                  <a:lnTo>
                    <a:pt x="100" y="84"/>
                  </a:lnTo>
                  <a:lnTo>
                    <a:pt x="120" y="106"/>
                  </a:lnTo>
                  <a:lnTo>
                    <a:pt x="124" y="120"/>
                  </a:lnTo>
                  <a:lnTo>
                    <a:pt x="122" y="134"/>
                  </a:lnTo>
                  <a:lnTo>
                    <a:pt x="112" y="134"/>
                  </a:lnTo>
                  <a:lnTo>
                    <a:pt x="110" y="128"/>
                  </a:lnTo>
                  <a:lnTo>
                    <a:pt x="104" y="128"/>
                  </a:lnTo>
                  <a:lnTo>
                    <a:pt x="102" y="136"/>
                  </a:lnTo>
                  <a:lnTo>
                    <a:pt x="90" y="136"/>
                  </a:lnTo>
                  <a:lnTo>
                    <a:pt x="90" y="130"/>
                  </a:lnTo>
                  <a:lnTo>
                    <a:pt x="94" y="118"/>
                  </a:lnTo>
                  <a:lnTo>
                    <a:pt x="94" y="108"/>
                  </a:lnTo>
                  <a:lnTo>
                    <a:pt x="84" y="98"/>
                  </a:lnTo>
                  <a:lnTo>
                    <a:pt x="80" y="82"/>
                  </a:lnTo>
                  <a:lnTo>
                    <a:pt x="64" y="64"/>
                  </a:lnTo>
                  <a:lnTo>
                    <a:pt x="52" y="72"/>
                  </a:lnTo>
                  <a:lnTo>
                    <a:pt x="40" y="68"/>
                  </a:lnTo>
                  <a:lnTo>
                    <a:pt x="20" y="80"/>
                  </a:lnTo>
                  <a:lnTo>
                    <a:pt x="20" y="66"/>
                  </a:lnTo>
                  <a:lnTo>
                    <a:pt x="24" y="62"/>
                  </a:lnTo>
                  <a:lnTo>
                    <a:pt x="20" y="48"/>
                  </a:lnTo>
                  <a:lnTo>
                    <a:pt x="12" y="46"/>
                  </a:lnTo>
                  <a:lnTo>
                    <a:pt x="12" y="38"/>
                  </a:lnTo>
                  <a:lnTo>
                    <a:pt x="0" y="32"/>
                  </a:lnTo>
                  <a:lnTo>
                    <a:pt x="14" y="24"/>
                  </a:lnTo>
                  <a:lnTo>
                    <a:pt x="12" y="1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84" name="Freeform 280">
              <a:extLst>
                <a:ext uri="{FF2B5EF4-FFF2-40B4-BE49-F238E27FC236}">
                  <a16:creationId xmlns:a16="http://schemas.microsoft.com/office/drawing/2014/main" id="{C47BF211-175F-48F7-9952-6F81EF2D502D}"/>
                </a:ext>
              </a:extLst>
            </p:cNvPr>
            <p:cNvSpPr>
              <a:spLocks/>
            </p:cNvSpPr>
            <p:nvPr/>
          </p:nvSpPr>
          <p:spPr bwMode="gray">
            <a:xfrm>
              <a:off x="8124902" y="3184231"/>
              <a:ext cx="838745" cy="345244"/>
            </a:xfrm>
            <a:custGeom>
              <a:avLst/>
              <a:gdLst>
                <a:gd name="T0" fmla="*/ 8 w 508"/>
                <a:gd name="T1" fmla="*/ 54 h 208"/>
                <a:gd name="T2" fmla="*/ 30 w 508"/>
                <a:gd name="T3" fmla="*/ 44 h 208"/>
                <a:gd name="T4" fmla="*/ 80 w 508"/>
                <a:gd name="T5" fmla="*/ 28 h 208"/>
                <a:gd name="T6" fmla="*/ 112 w 508"/>
                <a:gd name="T7" fmla="*/ 44 h 208"/>
                <a:gd name="T8" fmla="*/ 152 w 508"/>
                <a:gd name="T9" fmla="*/ 50 h 208"/>
                <a:gd name="T10" fmla="*/ 166 w 508"/>
                <a:gd name="T11" fmla="*/ 32 h 208"/>
                <a:gd name="T12" fmla="*/ 168 w 508"/>
                <a:gd name="T13" fmla="*/ 4 h 208"/>
                <a:gd name="T14" fmla="*/ 186 w 508"/>
                <a:gd name="T15" fmla="*/ 2 h 208"/>
                <a:gd name="T16" fmla="*/ 224 w 508"/>
                <a:gd name="T17" fmla="*/ 14 h 208"/>
                <a:gd name="T18" fmla="*/ 236 w 508"/>
                <a:gd name="T19" fmla="*/ 36 h 208"/>
                <a:gd name="T20" fmla="*/ 276 w 508"/>
                <a:gd name="T21" fmla="*/ 32 h 208"/>
                <a:gd name="T22" fmla="*/ 306 w 508"/>
                <a:gd name="T23" fmla="*/ 42 h 208"/>
                <a:gd name="T24" fmla="*/ 322 w 508"/>
                <a:gd name="T25" fmla="*/ 52 h 208"/>
                <a:gd name="T26" fmla="*/ 350 w 508"/>
                <a:gd name="T27" fmla="*/ 60 h 208"/>
                <a:gd name="T28" fmla="*/ 398 w 508"/>
                <a:gd name="T29" fmla="*/ 52 h 208"/>
                <a:gd name="T30" fmla="*/ 416 w 508"/>
                <a:gd name="T31" fmla="*/ 38 h 208"/>
                <a:gd name="T32" fmla="*/ 434 w 508"/>
                <a:gd name="T33" fmla="*/ 42 h 208"/>
                <a:gd name="T34" fmla="*/ 458 w 508"/>
                <a:gd name="T35" fmla="*/ 44 h 208"/>
                <a:gd name="T36" fmla="*/ 448 w 508"/>
                <a:gd name="T37" fmla="*/ 60 h 208"/>
                <a:gd name="T38" fmla="*/ 468 w 508"/>
                <a:gd name="T39" fmla="*/ 86 h 208"/>
                <a:gd name="T40" fmla="*/ 486 w 508"/>
                <a:gd name="T41" fmla="*/ 82 h 208"/>
                <a:gd name="T42" fmla="*/ 508 w 508"/>
                <a:gd name="T43" fmla="*/ 112 h 208"/>
                <a:gd name="T44" fmla="*/ 480 w 508"/>
                <a:gd name="T45" fmla="*/ 110 h 208"/>
                <a:gd name="T46" fmla="*/ 442 w 508"/>
                <a:gd name="T47" fmla="*/ 132 h 208"/>
                <a:gd name="T48" fmla="*/ 412 w 508"/>
                <a:gd name="T49" fmla="*/ 146 h 208"/>
                <a:gd name="T50" fmla="*/ 380 w 508"/>
                <a:gd name="T51" fmla="*/ 144 h 208"/>
                <a:gd name="T52" fmla="*/ 380 w 508"/>
                <a:gd name="T53" fmla="*/ 168 h 208"/>
                <a:gd name="T54" fmla="*/ 362 w 508"/>
                <a:gd name="T55" fmla="*/ 184 h 208"/>
                <a:gd name="T56" fmla="*/ 300 w 508"/>
                <a:gd name="T57" fmla="*/ 194 h 208"/>
                <a:gd name="T58" fmla="*/ 242 w 508"/>
                <a:gd name="T59" fmla="*/ 204 h 208"/>
                <a:gd name="T60" fmla="*/ 190 w 508"/>
                <a:gd name="T61" fmla="*/ 190 h 208"/>
                <a:gd name="T62" fmla="*/ 130 w 508"/>
                <a:gd name="T63" fmla="*/ 178 h 208"/>
                <a:gd name="T64" fmla="*/ 102 w 508"/>
                <a:gd name="T65" fmla="*/ 154 h 208"/>
                <a:gd name="T66" fmla="*/ 58 w 508"/>
                <a:gd name="T67" fmla="*/ 142 h 208"/>
                <a:gd name="T68" fmla="*/ 46 w 508"/>
                <a:gd name="T69" fmla="*/ 126 h 208"/>
                <a:gd name="T70" fmla="*/ 52 w 508"/>
                <a:gd name="T71" fmla="*/ 110 h 208"/>
                <a:gd name="T72" fmla="*/ 30 w 508"/>
                <a:gd name="T73" fmla="*/ 84 h 208"/>
                <a:gd name="T74" fmla="*/ 4 w 508"/>
                <a:gd name="T75" fmla="*/ 72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08" h="208">
                  <a:moveTo>
                    <a:pt x="0" y="62"/>
                  </a:moveTo>
                  <a:lnTo>
                    <a:pt x="8" y="54"/>
                  </a:lnTo>
                  <a:lnTo>
                    <a:pt x="22" y="52"/>
                  </a:lnTo>
                  <a:lnTo>
                    <a:pt x="30" y="44"/>
                  </a:lnTo>
                  <a:lnTo>
                    <a:pt x="64" y="26"/>
                  </a:lnTo>
                  <a:lnTo>
                    <a:pt x="80" y="28"/>
                  </a:lnTo>
                  <a:lnTo>
                    <a:pt x="102" y="32"/>
                  </a:lnTo>
                  <a:lnTo>
                    <a:pt x="112" y="44"/>
                  </a:lnTo>
                  <a:lnTo>
                    <a:pt x="144" y="44"/>
                  </a:lnTo>
                  <a:lnTo>
                    <a:pt x="152" y="50"/>
                  </a:lnTo>
                  <a:lnTo>
                    <a:pt x="164" y="40"/>
                  </a:lnTo>
                  <a:lnTo>
                    <a:pt x="166" y="32"/>
                  </a:lnTo>
                  <a:lnTo>
                    <a:pt x="154" y="18"/>
                  </a:lnTo>
                  <a:lnTo>
                    <a:pt x="168" y="4"/>
                  </a:lnTo>
                  <a:lnTo>
                    <a:pt x="172" y="0"/>
                  </a:lnTo>
                  <a:lnTo>
                    <a:pt x="186" y="2"/>
                  </a:lnTo>
                  <a:lnTo>
                    <a:pt x="200" y="6"/>
                  </a:lnTo>
                  <a:lnTo>
                    <a:pt x="224" y="14"/>
                  </a:lnTo>
                  <a:lnTo>
                    <a:pt x="226" y="24"/>
                  </a:lnTo>
                  <a:lnTo>
                    <a:pt x="236" y="36"/>
                  </a:lnTo>
                  <a:lnTo>
                    <a:pt x="262" y="40"/>
                  </a:lnTo>
                  <a:lnTo>
                    <a:pt x="276" y="32"/>
                  </a:lnTo>
                  <a:lnTo>
                    <a:pt x="300" y="36"/>
                  </a:lnTo>
                  <a:lnTo>
                    <a:pt x="306" y="42"/>
                  </a:lnTo>
                  <a:lnTo>
                    <a:pt x="316" y="44"/>
                  </a:lnTo>
                  <a:lnTo>
                    <a:pt x="322" y="52"/>
                  </a:lnTo>
                  <a:lnTo>
                    <a:pt x="328" y="58"/>
                  </a:lnTo>
                  <a:lnTo>
                    <a:pt x="350" y="60"/>
                  </a:lnTo>
                  <a:lnTo>
                    <a:pt x="368" y="58"/>
                  </a:lnTo>
                  <a:lnTo>
                    <a:pt x="398" y="52"/>
                  </a:lnTo>
                  <a:lnTo>
                    <a:pt x="408" y="44"/>
                  </a:lnTo>
                  <a:lnTo>
                    <a:pt x="416" y="38"/>
                  </a:lnTo>
                  <a:lnTo>
                    <a:pt x="426" y="36"/>
                  </a:lnTo>
                  <a:lnTo>
                    <a:pt x="434" y="42"/>
                  </a:lnTo>
                  <a:lnTo>
                    <a:pt x="442" y="42"/>
                  </a:lnTo>
                  <a:lnTo>
                    <a:pt x="458" y="44"/>
                  </a:lnTo>
                  <a:lnTo>
                    <a:pt x="452" y="52"/>
                  </a:lnTo>
                  <a:lnTo>
                    <a:pt x="448" y="60"/>
                  </a:lnTo>
                  <a:lnTo>
                    <a:pt x="440" y="84"/>
                  </a:lnTo>
                  <a:lnTo>
                    <a:pt x="468" y="86"/>
                  </a:lnTo>
                  <a:lnTo>
                    <a:pt x="476" y="80"/>
                  </a:lnTo>
                  <a:lnTo>
                    <a:pt x="486" y="82"/>
                  </a:lnTo>
                  <a:lnTo>
                    <a:pt x="506" y="102"/>
                  </a:lnTo>
                  <a:lnTo>
                    <a:pt x="508" y="112"/>
                  </a:lnTo>
                  <a:lnTo>
                    <a:pt x="494" y="110"/>
                  </a:lnTo>
                  <a:lnTo>
                    <a:pt x="480" y="110"/>
                  </a:lnTo>
                  <a:lnTo>
                    <a:pt x="460" y="118"/>
                  </a:lnTo>
                  <a:lnTo>
                    <a:pt x="442" y="132"/>
                  </a:lnTo>
                  <a:lnTo>
                    <a:pt x="426" y="132"/>
                  </a:lnTo>
                  <a:lnTo>
                    <a:pt x="412" y="146"/>
                  </a:lnTo>
                  <a:lnTo>
                    <a:pt x="394" y="144"/>
                  </a:lnTo>
                  <a:lnTo>
                    <a:pt x="380" y="144"/>
                  </a:lnTo>
                  <a:lnTo>
                    <a:pt x="374" y="156"/>
                  </a:lnTo>
                  <a:lnTo>
                    <a:pt x="380" y="168"/>
                  </a:lnTo>
                  <a:lnTo>
                    <a:pt x="362" y="178"/>
                  </a:lnTo>
                  <a:lnTo>
                    <a:pt x="362" y="184"/>
                  </a:lnTo>
                  <a:lnTo>
                    <a:pt x="344" y="194"/>
                  </a:lnTo>
                  <a:lnTo>
                    <a:pt x="300" y="194"/>
                  </a:lnTo>
                  <a:lnTo>
                    <a:pt x="278" y="208"/>
                  </a:lnTo>
                  <a:lnTo>
                    <a:pt x="242" y="204"/>
                  </a:lnTo>
                  <a:lnTo>
                    <a:pt x="218" y="192"/>
                  </a:lnTo>
                  <a:lnTo>
                    <a:pt x="190" y="190"/>
                  </a:lnTo>
                  <a:lnTo>
                    <a:pt x="136" y="188"/>
                  </a:lnTo>
                  <a:lnTo>
                    <a:pt x="130" y="178"/>
                  </a:lnTo>
                  <a:lnTo>
                    <a:pt x="124" y="166"/>
                  </a:lnTo>
                  <a:lnTo>
                    <a:pt x="102" y="154"/>
                  </a:lnTo>
                  <a:lnTo>
                    <a:pt x="92" y="144"/>
                  </a:lnTo>
                  <a:lnTo>
                    <a:pt x="58" y="142"/>
                  </a:lnTo>
                  <a:lnTo>
                    <a:pt x="50" y="138"/>
                  </a:lnTo>
                  <a:lnTo>
                    <a:pt x="46" y="126"/>
                  </a:lnTo>
                  <a:lnTo>
                    <a:pt x="52" y="118"/>
                  </a:lnTo>
                  <a:lnTo>
                    <a:pt x="52" y="110"/>
                  </a:lnTo>
                  <a:lnTo>
                    <a:pt x="44" y="98"/>
                  </a:lnTo>
                  <a:lnTo>
                    <a:pt x="30" y="84"/>
                  </a:lnTo>
                  <a:lnTo>
                    <a:pt x="14" y="82"/>
                  </a:lnTo>
                  <a:lnTo>
                    <a:pt x="4" y="72"/>
                  </a:lnTo>
                  <a:lnTo>
                    <a:pt x="0" y="6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85" name="Freeform 281">
              <a:extLst>
                <a:ext uri="{FF2B5EF4-FFF2-40B4-BE49-F238E27FC236}">
                  <a16:creationId xmlns:a16="http://schemas.microsoft.com/office/drawing/2014/main" id="{039B6C79-388B-40BA-9D98-E11480FC036E}"/>
                </a:ext>
              </a:extLst>
            </p:cNvPr>
            <p:cNvSpPr>
              <a:spLocks/>
            </p:cNvSpPr>
            <p:nvPr/>
          </p:nvSpPr>
          <p:spPr bwMode="gray">
            <a:xfrm>
              <a:off x="8791935" y="4583466"/>
              <a:ext cx="42928" cy="34857"/>
            </a:xfrm>
            <a:custGeom>
              <a:avLst/>
              <a:gdLst>
                <a:gd name="T0" fmla="*/ 1 w 26"/>
                <a:gd name="T1" fmla="*/ 10 h 21"/>
                <a:gd name="T2" fmla="*/ 11 w 26"/>
                <a:gd name="T3" fmla="*/ 0 h 21"/>
                <a:gd name="T4" fmla="*/ 1 w 26"/>
                <a:gd name="T5" fmla="*/ 10 h 21"/>
              </a:gdLst>
              <a:ahLst/>
              <a:cxnLst>
                <a:cxn ang="0">
                  <a:pos x="T0" y="T1"/>
                </a:cxn>
                <a:cxn ang="0">
                  <a:pos x="T2" y="T3"/>
                </a:cxn>
                <a:cxn ang="0">
                  <a:pos x="T4" y="T5"/>
                </a:cxn>
              </a:cxnLst>
              <a:rect l="0" t="0" r="r" b="b"/>
              <a:pathLst>
                <a:path w="26" h="21">
                  <a:moveTo>
                    <a:pt x="1" y="10"/>
                  </a:moveTo>
                  <a:cubicBezTo>
                    <a:pt x="13" y="18"/>
                    <a:pt x="26" y="10"/>
                    <a:pt x="11" y="0"/>
                  </a:cubicBezTo>
                  <a:cubicBezTo>
                    <a:pt x="0" y="3"/>
                    <a:pt x="1" y="21"/>
                    <a:pt x="1" y="10"/>
                  </a:cubicBezTo>
                  <a:close/>
                </a:path>
              </a:pathLst>
            </a:custGeom>
            <a:grpFill/>
            <a:ln w="3175" cap="flat">
              <a:solidFill>
                <a:srgbClr val="1A1D24"/>
              </a:solidFill>
              <a:prstDash val="solid"/>
              <a:miter lim="800000"/>
              <a:headEnd/>
              <a:tailEnd/>
            </a:ln>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algn="ctr"/>
              <a:endParaRPr lang="en-GB" sz="1000" dirty="0"/>
            </a:p>
          </p:txBody>
        </p:sp>
        <p:sp>
          <p:nvSpPr>
            <p:cNvPr id="1086" name="Freeform 282">
              <a:extLst>
                <a:ext uri="{FF2B5EF4-FFF2-40B4-BE49-F238E27FC236}">
                  <a16:creationId xmlns:a16="http://schemas.microsoft.com/office/drawing/2014/main" id="{2CB3F1D0-C8B1-46E4-B469-42918BD2063A}"/>
                </a:ext>
              </a:extLst>
            </p:cNvPr>
            <p:cNvSpPr>
              <a:spLocks/>
            </p:cNvSpPr>
            <p:nvPr/>
          </p:nvSpPr>
          <p:spPr bwMode="gray">
            <a:xfrm>
              <a:off x="8522811" y="4629942"/>
              <a:ext cx="29719" cy="26557"/>
            </a:xfrm>
            <a:custGeom>
              <a:avLst/>
              <a:gdLst>
                <a:gd name="T0" fmla="*/ 18 w 18"/>
                <a:gd name="T1" fmla="*/ 16 h 16"/>
                <a:gd name="T2" fmla="*/ 10 w 18"/>
                <a:gd name="T3" fmla="*/ 2 h 16"/>
                <a:gd name="T4" fmla="*/ 4 w 18"/>
                <a:gd name="T5" fmla="*/ 14 h 16"/>
                <a:gd name="T6" fmla="*/ 12 w 18"/>
                <a:gd name="T7" fmla="*/ 12 h 16"/>
                <a:gd name="T8" fmla="*/ 18 w 18"/>
                <a:gd name="T9" fmla="*/ 16 h 16"/>
              </a:gdLst>
              <a:ahLst/>
              <a:cxnLst>
                <a:cxn ang="0">
                  <a:pos x="T0" y="T1"/>
                </a:cxn>
                <a:cxn ang="0">
                  <a:pos x="T2" y="T3"/>
                </a:cxn>
                <a:cxn ang="0">
                  <a:pos x="T4" y="T5"/>
                </a:cxn>
                <a:cxn ang="0">
                  <a:pos x="T6" y="T7"/>
                </a:cxn>
                <a:cxn ang="0">
                  <a:pos x="T8" y="T9"/>
                </a:cxn>
              </a:cxnLst>
              <a:rect l="0" t="0" r="r" b="b"/>
              <a:pathLst>
                <a:path w="18" h="16">
                  <a:moveTo>
                    <a:pt x="18" y="16"/>
                  </a:moveTo>
                  <a:cubicBezTo>
                    <a:pt x="17" y="14"/>
                    <a:pt x="17" y="0"/>
                    <a:pt x="10" y="2"/>
                  </a:cubicBezTo>
                  <a:cubicBezTo>
                    <a:pt x="5" y="2"/>
                    <a:pt x="0" y="11"/>
                    <a:pt x="4" y="14"/>
                  </a:cubicBezTo>
                  <a:cubicBezTo>
                    <a:pt x="6" y="15"/>
                    <a:pt x="9" y="11"/>
                    <a:pt x="12" y="12"/>
                  </a:cubicBezTo>
                  <a:cubicBezTo>
                    <a:pt x="14" y="12"/>
                    <a:pt x="16" y="14"/>
                    <a:pt x="18" y="16"/>
                  </a:cubicBezTo>
                  <a:close/>
                </a:path>
              </a:pathLst>
            </a:custGeom>
            <a:grpFill/>
            <a:ln w="3175" cap="flat">
              <a:solidFill>
                <a:srgbClr val="1A1D24"/>
              </a:solidFill>
              <a:prstDash val="solid"/>
              <a:miter lim="800000"/>
              <a:headEnd/>
              <a:tailEnd/>
            </a:ln>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algn="ctr"/>
              <a:endParaRPr lang="en-GB" sz="1000" dirty="0"/>
            </a:p>
          </p:txBody>
        </p:sp>
        <p:sp>
          <p:nvSpPr>
            <p:cNvPr id="1087" name="Rectangle 11">
              <a:extLst>
                <a:ext uri="{FF2B5EF4-FFF2-40B4-BE49-F238E27FC236}">
                  <a16:creationId xmlns:a16="http://schemas.microsoft.com/office/drawing/2014/main" id="{A382AC5F-C33B-44D2-AC6C-A815B83CB5D9}"/>
                </a:ext>
              </a:extLst>
            </p:cNvPr>
            <p:cNvSpPr>
              <a:spLocks noChangeArrowheads="1"/>
            </p:cNvSpPr>
            <p:nvPr/>
          </p:nvSpPr>
          <p:spPr bwMode="auto">
            <a:xfrm>
              <a:off x="8132600" y="3980084"/>
              <a:ext cx="1497" cy="1497"/>
            </a:xfrm>
            <a:prstGeom prst="rect">
              <a:avLst/>
            </a:pr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a:p>
          </p:txBody>
        </p:sp>
        <p:sp>
          <p:nvSpPr>
            <p:cNvPr id="1088" name="Freeform 12">
              <a:extLst>
                <a:ext uri="{FF2B5EF4-FFF2-40B4-BE49-F238E27FC236}">
                  <a16:creationId xmlns:a16="http://schemas.microsoft.com/office/drawing/2014/main" id="{C3823860-5D21-4AAD-931F-30F4DCF29C99}"/>
                </a:ext>
              </a:extLst>
            </p:cNvPr>
            <p:cNvSpPr>
              <a:spLocks/>
            </p:cNvSpPr>
            <p:nvPr/>
          </p:nvSpPr>
          <p:spPr bwMode="auto">
            <a:xfrm>
              <a:off x="7421545" y="3671711"/>
              <a:ext cx="378730" cy="381724"/>
            </a:xfrm>
            <a:custGeom>
              <a:avLst/>
              <a:gdLst>
                <a:gd name="T0" fmla="*/ 109 w 253"/>
                <a:gd name="T1" fmla="*/ 243 h 255"/>
                <a:gd name="T2" fmla="*/ 116 w 253"/>
                <a:gd name="T3" fmla="*/ 236 h 255"/>
                <a:gd name="T4" fmla="*/ 109 w 253"/>
                <a:gd name="T5" fmla="*/ 239 h 255"/>
                <a:gd name="T6" fmla="*/ 111 w 253"/>
                <a:gd name="T7" fmla="*/ 234 h 255"/>
                <a:gd name="T8" fmla="*/ 116 w 253"/>
                <a:gd name="T9" fmla="*/ 229 h 255"/>
                <a:gd name="T10" fmla="*/ 120 w 253"/>
                <a:gd name="T11" fmla="*/ 229 h 255"/>
                <a:gd name="T12" fmla="*/ 123 w 253"/>
                <a:gd name="T13" fmla="*/ 232 h 255"/>
                <a:gd name="T14" fmla="*/ 139 w 253"/>
                <a:gd name="T15" fmla="*/ 234 h 255"/>
                <a:gd name="T16" fmla="*/ 153 w 253"/>
                <a:gd name="T17" fmla="*/ 232 h 255"/>
                <a:gd name="T18" fmla="*/ 156 w 253"/>
                <a:gd name="T19" fmla="*/ 234 h 255"/>
                <a:gd name="T20" fmla="*/ 158 w 253"/>
                <a:gd name="T21" fmla="*/ 229 h 255"/>
                <a:gd name="T22" fmla="*/ 161 w 253"/>
                <a:gd name="T23" fmla="*/ 227 h 255"/>
                <a:gd name="T24" fmla="*/ 158 w 253"/>
                <a:gd name="T25" fmla="*/ 217 h 255"/>
                <a:gd name="T26" fmla="*/ 153 w 253"/>
                <a:gd name="T27" fmla="*/ 208 h 255"/>
                <a:gd name="T28" fmla="*/ 146 w 253"/>
                <a:gd name="T29" fmla="*/ 203 h 255"/>
                <a:gd name="T30" fmla="*/ 146 w 253"/>
                <a:gd name="T31" fmla="*/ 201 h 255"/>
                <a:gd name="T32" fmla="*/ 149 w 253"/>
                <a:gd name="T33" fmla="*/ 191 h 255"/>
                <a:gd name="T34" fmla="*/ 135 w 253"/>
                <a:gd name="T35" fmla="*/ 184 h 255"/>
                <a:gd name="T36" fmla="*/ 149 w 253"/>
                <a:gd name="T37" fmla="*/ 168 h 255"/>
                <a:gd name="T38" fmla="*/ 156 w 253"/>
                <a:gd name="T39" fmla="*/ 163 h 255"/>
                <a:gd name="T40" fmla="*/ 161 w 253"/>
                <a:gd name="T41" fmla="*/ 165 h 255"/>
                <a:gd name="T42" fmla="*/ 163 w 253"/>
                <a:gd name="T43" fmla="*/ 170 h 255"/>
                <a:gd name="T44" fmla="*/ 184 w 253"/>
                <a:gd name="T45" fmla="*/ 158 h 255"/>
                <a:gd name="T46" fmla="*/ 201 w 253"/>
                <a:gd name="T47" fmla="*/ 149 h 255"/>
                <a:gd name="T48" fmla="*/ 215 w 253"/>
                <a:gd name="T49" fmla="*/ 125 h 255"/>
                <a:gd name="T50" fmla="*/ 227 w 253"/>
                <a:gd name="T51" fmla="*/ 120 h 255"/>
                <a:gd name="T52" fmla="*/ 236 w 253"/>
                <a:gd name="T53" fmla="*/ 109 h 255"/>
                <a:gd name="T54" fmla="*/ 236 w 253"/>
                <a:gd name="T55" fmla="*/ 99 h 255"/>
                <a:gd name="T56" fmla="*/ 248 w 253"/>
                <a:gd name="T57" fmla="*/ 92 h 255"/>
                <a:gd name="T58" fmla="*/ 253 w 253"/>
                <a:gd name="T59" fmla="*/ 90 h 255"/>
                <a:gd name="T60" fmla="*/ 250 w 253"/>
                <a:gd name="T61" fmla="*/ 85 h 255"/>
                <a:gd name="T62" fmla="*/ 243 w 253"/>
                <a:gd name="T63" fmla="*/ 80 h 255"/>
                <a:gd name="T64" fmla="*/ 241 w 253"/>
                <a:gd name="T65" fmla="*/ 78 h 255"/>
                <a:gd name="T66" fmla="*/ 236 w 253"/>
                <a:gd name="T67" fmla="*/ 76 h 255"/>
                <a:gd name="T68" fmla="*/ 231 w 253"/>
                <a:gd name="T69" fmla="*/ 69 h 255"/>
                <a:gd name="T70" fmla="*/ 239 w 253"/>
                <a:gd name="T71" fmla="*/ 38 h 255"/>
                <a:gd name="T72" fmla="*/ 227 w 253"/>
                <a:gd name="T73" fmla="*/ 26 h 255"/>
                <a:gd name="T74" fmla="*/ 215 w 253"/>
                <a:gd name="T75" fmla="*/ 19 h 255"/>
                <a:gd name="T76" fmla="*/ 220 w 253"/>
                <a:gd name="T77" fmla="*/ 12 h 255"/>
                <a:gd name="T78" fmla="*/ 224 w 253"/>
                <a:gd name="T79" fmla="*/ 7 h 255"/>
                <a:gd name="T80" fmla="*/ 231 w 253"/>
                <a:gd name="T81" fmla="*/ 5 h 255"/>
                <a:gd name="T82" fmla="*/ 248 w 253"/>
                <a:gd name="T83" fmla="*/ 5 h 255"/>
                <a:gd name="T84" fmla="*/ 248 w 253"/>
                <a:gd name="T85" fmla="*/ 2 h 255"/>
                <a:gd name="T86" fmla="*/ 227 w 253"/>
                <a:gd name="T87" fmla="*/ 2 h 255"/>
                <a:gd name="T88" fmla="*/ 201 w 253"/>
                <a:gd name="T89" fmla="*/ 2 h 255"/>
                <a:gd name="T90" fmla="*/ 177 w 253"/>
                <a:gd name="T91" fmla="*/ 21 h 255"/>
                <a:gd name="T92" fmla="*/ 177 w 253"/>
                <a:gd name="T93" fmla="*/ 57 h 255"/>
                <a:gd name="T94" fmla="*/ 156 w 253"/>
                <a:gd name="T95" fmla="*/ 76 h 255"/>
                <a:gd name="T96" fmla="*/ 144 w 253"/>
                <a:gd name="T97" fmla="*/ 92 h 255"/>
                <a:gd name="T98" fmla="*/ 118 w 253"/>
                <a:gd name="T99" fmla="*/ 106 h 255"/>
                <a:gd name="T100" fmla="*/ 94 w 253"/>
                <a:gd name="T101" fmla="*/ 116 h 255"/>
                <a:gd name="T102" fmla="*/ 90 w 253"/>
                <a:gd name="T103" fmla="*/ 142 h 255"/>
                <a:gd name="T104" fmla="*/ 61 w 253"/>
                <a:gd name="T105" fmla="*/ 146 h 255"/>
                <a:gd name="T106" fmla="*/ 19 w 253"/>
                <a:gd name="T107" fmla="*/ 149 h 255"/>
                <a:gd name="T108" fmla="*/ 0 w 253"/>
                <a:gd name="T109" fmla="*/ 146 h 255"/>
                <a:gd name="T110" fmla="*/ 31 w 253"/>
                <a:gd name="T111" fmla="*/ 180 h 255"/>
                <a:gd name="T112" fmla="*/ 40 w 253"/>
                <a:gd name="T113" fmla="*/ 194 h 255"/>
                <a:gd name="T114" fmla="*/ 26 w 253"/>
                <a:gd name="T115" fmla="*/ 203 h 255"/>
                <a:gd name="T116" fmla="*/ 9 w 253"/>
                <a:gd name="T117" fmla="*/ 232 h 255"/>
                <a:gd name="T118" fmla="*/ 42 w 253"/>
                <a:gd name="T119" fmla="*/ 227 h 255"/>
                <a:gd name="T120" fmla="*/ 94 w 253"/>
                <a:gd name="T121" fmla="*/ 227 h 255"/>
                <a:gd name="T122" fmla="*/ 118 w 253"/>
                <a:gd name="T123" fmla="*/ 25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3" h="255">
                  <a:moveTo>
                    <a:pt x="113" y="250"/>
                  </a:moveTo>
                  <a:lnTo>
                    <a:pt x="109" y="243"/>
                  </a:lnTo>
                  <a:lnTo>
                    <a:pt x="111" y="241"/>
                  </a:lnTo>
                  <a:lnTo>
                    <a:pt x="116" y="236"/>
                  </a:lnTo>
                  <a:lnTo>
                    <a:pt x="113" y="236"/>
                  </a:lnTo>
                  <a:lnTo>
                    <a:pt x="109" y="239"/>
                  </a:lnTo>
                  <a:lnTo>
                    <a:pt x="106" y="239"/>
                  </a:lnTo>
                  <a:lnTo>
                    <a:pt x="111" y="234"/>
                  </a:lnTo>
                  <a:lnTo>
                    <a:pt x="113" y="234"/>
                  </a:lnTo>
                  <a:lnTo>
                    <a:pt x="116" y="229"/>
                  </a:lnTo>
                  <a:lnTo>
                    <a:pt x="118" y="229"/>
                  </a:lnTo>
                  <a:lnTo>
                    <a:pt x="120" y="229"/>
                  </a:lnTo>
                  <a:lnTo>
                    <a:pt x="123" y="229"/>
                  </a:lnTo>
                  <a:lnTo>
                    <a:pt x="123" y="232"/>
                  </a:lnTo>
                  <a:lnTo>
                    <a:pt x="132" y="232"/>
                  </a:lnTo>
                  <a:lnTo>
                    <a:pt x="139" y="234"/>
                  </a:lnTo>
                  <a:lnTo>
                    <a:pt x="151" y="229"/>
                  </a:lnTo>
                  <a:lnTo>
                    <a:pt x="153" y="232"/>
                  </a:lnTo>
                  <a:lnTo>
                    <a:pt x="153" y="234"/>
                  </a:lnTo>
                  <a:lnTo>
                    <a:pt x="156" y="234"/>
                  </a:lnTo>
                  <a:lnTo>
                    <a:pt x="161" y="232"/>
                  </a:lnTo>
                  <a:lnTo>
                    <a:pt x="158" y="229"/>
                  </a:lnTo>
                  <a:lnTo>
                    <a:pt x="161" y="227"/>
                  </a:lnTo>
                  <a:lnTo>
                    <a:pt x="161" y="227"/>
                  </a:lnTo>
                  <a:lnTo>
                    <a:pt x="158" y="224"/>
                  </a:lnTo>
                  <a:lnTo>
                    <a:pt x="158" y="217"/>
                  </a:lnTo>
                  <a:lnTo>
                    <a:pt x="156" y="213"/>
                  </a:lnTo>
                  <a:lnTo>
                    <a:pt x="153" y="208"/>
                  </a:lnTo>
                  <a:lnTo>
                    <a:pt x="149" y="206"/>
                  </a:lnTo>
                  <a:lnTo>
                    <a:pt x="146" y="203"/>
                  </a:lnTo>
                  <a:lnTo>
                    <a:pt x="146" y="203"/>
                  </a:lnTo>
                  <a:lnTo>
                    <a:pt x="146" y="201"/>
                  </a:lnTo>
                  <a:lnTo>
                    <a:pt x="146" y="198"/>
                  </a:lnTo>
                  <a:lnTo>
                    <a:pt x="149" y="191"/>
                  </a:lnTo>
                  <a:lnTo>
                    <a:pt x="142" y="189"/>
                  </a:lnTo>
                  <a:lnTo>
                    <a:pt x="135" y="184"/>
                  </a:lnTo>
                  <a:lnTo>
                    <a:pt x="137" y="180"/>
                  </a:lnTo>
                  <a:lnTo>
                    <a:pt x="149" y="168"/>
                  </a:lnTo>
                  <a:lnTo>
                    <a:pt x="153" y="163"/>
                  </a:lnTo>
                  <a:lnTo>
                    <a:pt x="156" y="163"/>
                  </a:lnTo>
                  <a:lnTo>
                    <a:pt x="158" y="163"/>
                  </a:lnTo>
                  <a:lnTo>
                    <a:pt x="161" y="165"/>
                  </a:lnTo>
                  <a:lnTo>
                    <a:pt x="161" y="168"/>
                  </a:lnTo>
                  <a:lnTo>
                    <a:pt x="163" y="170"/>
                  </a:lnTo>
                  <a:lnTo>
                    <a:pt x="182" y="168"/>
                  </a:lnTo>
                  <a:lnTo>
                    <a:pt x="184" y="158"/>
                  </a:lnTo>
                  <a:lnTo>
                    <a:pt x="194" y="151"/>
                  </a:lnTo>
                  <a:lnTo>
                    <a:pt x="201" y="149"/>
                  </a:lnTo>
                  <a:lnTo>
                    <a:pt x="215" y="130"/>
                  </a:lnTo>
                  <a:lnTo>
                    <a:pt x="215" y="125"/>
                  </a:lnTo>
                  <a:lnTo>
                    <a:pt x="224" y="125"/>
                  </a:lnTo>
                  <a:lnTo>
                    <a:pt x="227" y="120"/>
                  </a:lnTo>
                  <a:lnTo>
                    <a:pt x="236" y="113"/>
                  </a:lnTo>
                  <a:lnTo>
                    <a:pt x="236" y="109"/>
                  </a:lnTo>
                  <a:lnTo>
                    <a:pt x="239" y="102"/>
                  </a:lnTo>
                  <a:lnTo>
                    <a:pt x="236" y="99"/>
                  </a:lnTo>
                  <a:lnTo>
                    <a:pt x="241" y="97"/>
                  </a:lnTo>
                  <a:lnTo>
                    <a:pt x="248" y="92"/>
                  </a:lnTo>
                  <a:lnTo>
                    <a:pt x="253" y="90"/>
                  </a:lnTo>
                  <a:lnTo>
                    <a:pt x="253" y="90"/>
                  </a:lnTo>
                  <a:lnTo>
                    <a:pt x="253" y="90"/>
                  </a:lnTo>
                  <a:lnTo>
                    <a:pt x="250" y="85"/>
                  </a:lnTo>
                  <a:lnTo>
                    <a:pt x="243" y="85"/>
                  </a:lnTo>
                  <a:lnTo>
                    <a:pt x="243" y="80"/>
                  </a:lnTo>
                  <a:lnTo>
                    <a:pt x="243" y="78"/>
                  </a:lnTo>
                  <a:lnTo>
                    <a:pt x="241" y="78"/>
                  </a:lnTo>
                  <a:lnTo>
                    <a:pt x="236" y="78"/>
                  </a:lnTo>
                  <a:lnTo>
                    <a:pt x="236" y="76"/>
                  </a:lnTo>
                  <a:lnTo>
                    <a:pt x="234" y="73"/>
                  </a:lnTo>
                  <a:lnTo>
                    <a:pt x="231" y="69"/>
                  </a:lnTo>
                  <a:lnTo>
                    <a:pt x="229" y="50"/>
                  </a:lnTo>
                  <a:lnTo>
                    <a:pt x="239" y="38"/>
                  </a:lnTo>
                  <a:lnTo>
                    <a:pt x="236" y="33"/>
                  </a:lnTo>
                  <a:lnTo>
                    <a:pt x="227" y="26"/>
                  </a:lnTo>
                  <a:lnTo>
                    <a:pt x="217" y="24"/>
                  </a:lnTo>
                  <a:lnTo>
                    <a:pt x="215" y="19"/>
                  </a:lnTo>
                  <a:lnTo>
                    <a:pt x="215" y="12"/>
                  </a:lnTo>
                  <a:lnTo>
                    <a:pt x="220" y="12"/>
                  </a:lnTo>
                  <a:lnTo>
                    <a:pt x="224" y="12"/>
                  </a:lnTo>
                  <a:lnTo>
                    <a:pt x="224" y="7"/>
                  </a:lnTo>
                  <a:lnTo>
                    <a:pt x="227" y="2"/>
                  </a:lnTo>
                  <a:lnTo>
                    <a:pt x="231" y="5"/>
                  </a:lnTo>
                  <a:lnTo>
                    <a:pt x="236" y="7"/>
                  </a:lnTo>
                  <a:lnTo>
                    <a:pt x="248" y="5"/>
                  </a:lnTo>
                  <a:lnTo>
                    <a:pt x="248" y="5"/>
                  </a:lnTo>
                  <a:lnTo>
                    <a:pt x="248" y="2"/>
                  </a:lnTo>
                  <a:lnTo>
                    <a:pt x="241" y="0"/>
                  </a:lnTo>
                  <a:lnTo>
                    <a:pt x="227" y="2"/>
                  </a:lnTo>
                  <a:lnTo>
                    <a:pt x="210" y="2"/>
                  </a:lnTo>
                  <a:lnTo>
                    <a:pt x="201" y="2"/>
                  </a:lnTo>
                  <a:lnTo>
                    <a:pt x="184" y="14"/>
                  </a:lnTo>
                  <a:lnTo>
                    <a:pt x="177" y="21"/>
                  </a:lnTo>
                  <a:lnTo>
                    <a:pt x="184" y="33"/>
                  </a:lnTo>
                  <a:lnTo>
                    <a:pt x="177" y="57"/>
                  </a:lnTo>
                  <a:lnTo>
                    <a:pt x="158" y="64"/>
                  </a:lnTo>
                  <a:lnTo>
                    <a:pt x="156" y="76"/>
                  </a:lnTo>
                  <a:lnTo>
                    <a:pt x="149" y="80"/>
                  </a:lnTo>
                  <a:lnTo>
                    <a:pt x="144" y="92"/>
                  </a:lnTo>
                  <a:lnTo>
                    <a:pt x="144" y="106"/>
                  </a:lnTo>
                  <a:lnTo>
                    <a:pt x="118" y="106"/>
                  </a:lnTo>
                  <a:lnTo>
                    <a:pt x="113" y="116"/>
                  </a:lnTo>
                  <a:lnTo>
                    <a:pt x="94" y="116"/>
                  </a:lnTo>
                  <a:lnTo>
                    <a:pt x="92" y="123"/>
                  </a:lnTo>
                  <a:lnTo>
                    <a:pt x="90" y="142"/>
                  </a:lnTo>
                  <a:lnTo>
                    <a:pt x="78" y="144"/>
                  </a:lnTo>
                  <a:lnTo>
                    <a:pt x="61" y="146"/>
                  </a:lnTo>
                  <a:lnTo>
                    <a:pt x="38" y="149"/>
                  </a:lnTo>
                  <a:lnTo>
                    <a:pt x="19" y="149"/>
                  </a:lnTo>
                  <a:lnTo>
                    <a:pt x="12" y="142"/>
                  </a:lnTo>
                  <a:lnTo>
                    <a:pt x="0" y="146"/>
                  </a:lnTo>
                  <a:lnTo>
                    <a:pt x="19" y="168"/>
                  </a:lnTo>
                  <a:lnTo>
                    <a:pt x="31" y="180"/>
                  </a:lnTo>
                  <a:lnTo>
                    <a:pt x="31" y="194"/>
                  </a:lnTo>
                  <a:lnTo>
                    <a:pt x="40" y="194"/>
                  </a:lnTo>
                  <a:lnTo>
                    <a:pt x="40" y="203"/>
                  </a:lnTo>
                  <a:lnTo>
                    <a:pt x="26" y="203"/>
                  </a:lnTo>
                  <a:lnTo>
                    <a:pt x="9" y="213"/>
                  </a:lnTo>
                  <a:lnTo>
                    <a:pt x="9" y="232"/>
                  </a:lnTo>
                  <a:lnTo>
                    <a:pt x="38" y="234"/>
                  </a:lnTo>
                  <a:lnTo>
                    <a:pt x="42" y="227"/>
                  </a:lnTo>
                  <a:lnTo>
                    <a:pt x="94" y="222"/>
                  </a:lnTo>
                  <a:lnTo>
                    <a:pt x="94" y="227"/>
                  </a:lnTo>
                  <a:lnTo>
                    <a:pt x="116" y="253"/>
                  </a:lnTo>
                  <a:lnTo>
                    <a:pt x="118" y="255"/>
                  </a:lnTo>
                  <a:lnTo>
                    <a:pt x="113" y="25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a:p>
          </p:txBody>
        </p:sp>
        <p:sp>
          <p:nvSpPr>
            <p:cNvPr id="1089" name="Freeform 13">
              <a:extLst>
                <a:ext uri="{FF2B5EF4-FFF2-40B4-BE49-F238E27FC236}">
                  <a16:creationId xmlns:a16="http://schemas.microsoft.com/office/drawing/2014/main" id="{50101E2A-8D28-4B55-9E60-DEE26E65C74D}"/>
                </a:ext>
              </a:extLst>
            </p:cNvPr>
            <p:cNvSpPr>
              <a:spLocks/>
            </p:cNvSpPr>
            <p:nvPr/>
          </p:nvSpPr>
          <p:spPr bwMode="auto">
            <a:xfrm>
              <a:off x="8262835" y="4354323"/>
              <a:ext cx="7485" cy="17963"/>
            </a:xfrm>
            <a:custGeom>
              <a:avLst/>
              <a:gdLst>
                <a:gd name="T0" fmla="*/ 3 w 5"/>
                <a:gd name="T1" fmla="*/ 0 h 12"/>
                <a:gd name="T2" fmla="*/ 0 w 5"/>
                <a:gd name="T3" fmla="*/ 2 h 12"/>
                <a:gd name="T4" fmla="*/ 0 w 5"/>
                <a:gd name="T5" fmla="*/ 12 h 12"/>
                <a:gd name="T6" fmla="*/ 5 w 5"/>
                <a:gd name="T7" fmla="*/ 7 h 12"/>
                <a:gd name="T8" fmla="*/ 3 w 5"/>
                <a:gd name="T9" fmla="*/ 5 h 12"/>
                <a:gd name="T10" fmla="*/ 5 w 5"/>
                <a:gd name="T11" fmla="*/ 2 h 12"/>
                <a:gd name="T12" fmla="*/ 3 w 5"/>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5" h="12">
                  <a:moveTo>
                    <a:pt x="3" y="0"/>
                  </a:moveTo>
                  <a:lnTo>
                    <a:pt x="0" y="2"/>
                  </a:lnTo>
                  <a:lnTo>
                    <a:pt x="0" y="12"/>
                  </a:lnTo>
                  <a:lnTo>
                    <a:pt x="5" y="7"/>
                  </a:lnTo>
                  <a:lnTo>
                    <a:pt x="3" y="5"/>
                  </a:lnTo>
                  <a:lnTo>
                    <a:pt x="5" y="2"/>
                  </a:lnTo>
                  <a:lnTo>
                    <a:pt x="3"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a:p>
          </p:txBody>
        </p:sp>
        <p:sp>
          <p:nvSpPr>
            <p:cNvPr id="1090" name="Freeform 14">
              <a:extLst>
                <a:ext uri="{FF2B5EF4-FFF2-40B4-BE49-F238E27FC236}">
                  <a16:creationId xmlns:a16="http://schemas.microsoft.com/office/drawing/2014/main" id="{D06D5451-B5C7-4C08-9D21-25113D033395}"/>
                </a:ext>
              </a:extLst>
            </p:cNvPr>
            <p:cNvSpPr>
              <a:spLocks/>
            </p:cNvSpPr>
            <p:nvPr/>
          </p:nvSpPr>
          <p:spPr bwMode="auto">
            <a:xfrm>
              <a:off x="8267326" y="4372287"/>
              <a:ext cx="2994" cy="17963"/>
            </a:xfrm>
            <a:custGeom>
              <a:avLst/>
              <a:gdLst>
                <a:gd name="T0" fmla="*/ 0 w 2"/>
                <a:gd name="T1" fmla="*/ 12 h 12"/>
                <a:gd name="T2" fmla="*/ 2 w 2"/>
                <a:gd name="T3" fmla="*/ 12 h 12"/>
                <a:gd name="T4" fmla="*/ 2 w 2"/>
                <a:gd name="T5" fmla="*/ 0 h 12"/>
                <a:gd name="T6" fmla="*/ 0 w 2"/>
                <a:gd name="T7" fmla="*/ 5 h 12"/>
                <a:gd name="T8" fmla="*/ 0 w 2"/>
                <a:gd name="T9" fmla="*/ 12 h 12"/>
              </a:gdLst>
              <a:ahLst/>
              <a:cxnLst>
                <a:cxn ang="0">
                  <a:pos x="T0" y="T1"/>
                </a:cxn>
                <a:cxn ang="0">
                  <a:pos x="T2" y="T3"/>
                </a:cxn>
                <a:cxn ang="0">
                  <a:pos x="T4" y="T5"/>
                </a:cxn>
                <a:cxn ang="0">
                  <a:pos x="T6" y="T7"/>
                </a:cxn>
                <a:cxn ang="0">
                  <a:pos x="T8" y="T9"/>
                </a:cxn>
              </a:cxnLst>
              <a:rect l="0" t="0" r="r" b="b"/>
              <a:pathLst>
                <a:path w="2" h="12">
                  <a:moveTo>
                    <a:pt x="0" y="12"/>
                  </a:moveTo>
                  <a:lnTo>
                    <a:pt x="2" y="12"/>
                  </a:lnTo>
                  <a:lnTo>
                    <a:pt x="2" y="0"/>
                  </a:lnTo>
                  <a:lnTo>
                    <a:pt x="0" y="5"/>
                  </a:lnTo>
                  <a:lnTo>
                    <a:pt x="0" y="1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a:p>
          </p:txBody>
        </p:sp>
        <p:sp>
          <p:nvSpPr>
            <p:cNvPr id="1091" name="Freeform 15">
              <a:extLst>
                <a:ext uri="{FF2B5EF4-FFF2-40B4-BE49-F238E27FC236}">
                  <a16:creationId xmlns:a16="http://schemas.microsoft.com/office/drawing/2014/main" id="{C095E2D1-0132-4FF0-9812-F3975F0DD7A6}"/>
                </a:ext>
              </a:extLst>
            </p:cNvPr>
            <p:cNvSpPr>
              <a:spLocks/>
            </p:cNvSpPr>
            <p:nvPr/>
          </p:nvSpPr>
          <p:spPr bwMode="auto">
            <a:xfrm>
              <a:off x="8262835" y="4393244"/>
              <a:ext cx="4491" cy="17963"/>
            </a:xfrm>
            <a:custGeom>
              <a:avLst/>
              <a:gdLst>
                <a:gd name="T0" fmla="*/ 0 w 3"/>
                <a:gd name="T1" fmla="*/ 9 h 12"/>
                <a:gd name="T2" fmla="*/ 0 w 3"/>
                <a:gd name="T3" fmla="*/ 12 h 12"/>
                <a:gd name="T4" fmla="*/ 3 w 3"/>
                <a:gd name="T5" fmla="*/ 5 h 12"/>
                <a:gd name="T6" fmla="*/ 3 w 3"/>
                <a:gd name="T7" fmla="*/ 0 h 12"/>
                <a:gd name="T8" fmla="*/ 0 w 3"/>
                <a:gd name="T9" fmla="*/ 9 h 12"/>
              </a:gdLst>
              <a:ahLst/>
              <a:cxnLst>
                <a:cxn ang="0">
                  <a:pos x="T0" y="T1"/>
                </a:cxn>
                <a:cxn ang="0">
                  <a:pos x="T2" y="T3"/>
                </a:cxn>
                <a:cxn ang="0">
                  <a:pos x="T4" y="T5"/>
                </a:cxn>
                <a:cxn ang="0">
                  <a:pos x="T6" y="T7"/>
                </a:cxn>
                <a:cxn ang="0">
                  <a:pos x="T8" y="T9"/>
                </a:cxn>
              </a:cxnLst>
              <a:rect l="0" t="0" r="r" b="b"/>
              <a:pathLst>
                <a:path w="3" h="12">
                  <a:moveTo>
                    <a:pt x="0" y="9"/>
                  </a:moveTo>
                  <a:lnTo>
                    <a:pt x="0" y="12"/>
                  </a:lnTo>
                  <a:lnTo>
                    <a:pt x="3" y="5"/>
                  </a:lnTo>
                  <a:lnTo>
                    <a:pt x="3" y="0"/>
                  </a:lnTo>
                  <a:lnTo>
                    <a:pt x="0" y="9"/>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a:p>
          </p:txBody>
        </p:sp>
        <p:sp>
          <p:nvSpPr>
            <p:cNvPr id="1092" name="Freeform 16">
              <a:extLst>
                <a:ext uri="{FF2B5EF4-FFF2-40B4-BE49-F238E27FC236}">
                  <a16:creationId xmlns:a16="http://schemas.microsoft.com/office/drawing/2014/main" id="{590231D7-7B00-44B9-BB4F-327E7946C202}"/>
                </a:ext>
              </a:extLst>
            </p:cNvPr>
            <p:cNvSpPr>
              <a:spLocks noEditPoints="1"/>
            </p:cNvSpPr>
            <p:nvPr/>
          </p:nvSpPr>
          <p:spPr bwMode="auto">
            <a:xfrm>
              <a:off x="7580223" y="3671711"/>
              <a:ext cx="795641" cy="827818"/>
            </a:xfrm>
            <a:custGeom>
              <a:avLst/>
              <a:gdLst>
                <a:gd name="T0" fmla="*/ 219 w 227"/>
                <a:gd name="T1" fmla="*/ 70 h 234"/>
                <a:gd name="T2" fmla="*/ 215 w 227"/>
                <a:gd name="T3" fmla="*/ 64 h 234"/>
                <a:gd name="T4" fmla="*/ 196 w 227"/>
                <a:gd name="T5" fmla="*/ 74 h 234"/>
                <a:gd name="T6" fmla="*/ 187 w 227"/>
                <a:gd name="T7" fmla="*/ 80 h 234"/>
                <a:gd name="T8" fmla="*/ 177 w 227"/>
                <a:gd name="T9" fmla="*/ 86 h 234"/>
                <a:gd name="T10" fmla="*/ 162 w 227"/>
                <a:gd name="T11" fmla="*/ 82 h 234"/>
                <a:gd name="T12" fmla="*/ 156 w 227"/>
                <a:gd name="T13" fmla="*/ 82 h 234"/>
                <a:gd name="T14" fmla="*/ 156 w 227"/>
                <a:gd name="T15" fmla="*/ 87 h 234"/>
                <a:gd name="T16" fmla="*/ 136 w 227"/>
                <a:gd name="T17" fmla="*/ 85 h 234"/>
                <a:gd name="T18" fmla="*/ 97 w 227"/>
                <a:gd name="T19" fmla="*/ 61 h 234"/>
                <a:gd name="T20" fmla="*/ 89 w 227"/>
                <a:gd name="T21" fmla="*/ 46 h 234"/>
                <a:gd name="T22" fmla="*/ 87 w 227"/>
                <a:gd name="T23" fmla="*/ 37 h 234"/>
                <a:gd name="T24" fmla="*/ 94 w 227"/>
                <a:gd name="T25" fmla="*/ 26 h 234"/>
                <a:gd name="T26" fmla="*/ 87 w 227"/>
                <a:gd name="T27" fmla="*/ 13 h 234"/>
                <a:gd name="T28" fmla="*/ 67 w 227"/>
                <a:gd name="T29" fmla="*/ 1 h 234"/>
                <a:gd name="T30" fmla="*/ 46 w 227"/>
                <a:gd name="T31" fmla="*/ 5 h 234"/>
                <a:gd name="T32" fmla="*/ 55 w 227"/>
                <a:gd name="T33" fmla="*/ 32 h 234"/>
                <a:gd name="T34" fmla="*/ 62 w 227"/>
                <a:gd name="T35" fmla="*/ 38 h 234"/>
                <a:gd name="T36" fmla="*/ 46 w 227"/>
                <a:gd name="T37" fmla="*/ 53 h 234"/>
                <a:gd name="T38" fmla="*/ 22 w 227"/>
                <a:gd name="T39" fmla="*/ 69 h 234"/>
                <a:gd name="T40" fmla="*/ 18 w 227"/>
                <a:gd name="T41" fmla="*/ 87 h 234"/>
                <a:gd name="T42" fmla="*/ 21 w 227"/>
                <a:gd name="T43" fmla="*/ 99 h 234"/>
                <a:gd name="T44" fmla="*/ 5 w 227"/>
                <a:gd name="T45" fmla="*/ 97 h 234"/>
                <a:gd name="T46" fmla="*/ 1 w 227"/>
                <a:gd name="T47" fmla="*/ 103 h 234"/>
                <a:gd name="T48" fmla="*/ 13 w 227"/>
                <a:gd name="T49" fmla="*/ 113 h 234"/>
                <a:gd name="T50" fmla="*/ 18 w 227"/>
                <a:gd name="T51" fmla="*/ 128 h 234"/>
                <a:gd name="T52" fmla="*/ 30 w 227"/>
                <a:gd name="T53" fmla="*/ 119 h 234"/>
                <a:gd name="T54" fmla="*/ 33 w 227"/>
                <a:gd name="T55" fmla="*/ 121 h 234"/>
                <a:gd name="T56" fmla="*/ 33 w 227"/>
                <a:gd name="T57" fmla="*/ 134 h 234"/>
                <a:gd name="T58" fmla="*/ 33 w 227"/>
                <a:gd name="T59" fmla="*/ 142 h 234"/>
                <a:gd name="T60" fmla="*/ 34 w 227"/>
                <a:gd name="T61" fmla="*/ 157 h 234"/>
                <a:gd name="T62" fmla="*/ 39 w 227"/>
                <a:gd name="T63" fmla="*/ 177 h 234"/>
                <a:gd name="T64" fmla="*/ 44 w 227"/>
                <a:gd name="T65" fmla="*/ 195 h 234"/>
                <a:gd name="T66" fmla="*/ 56 w 227"/>
                <a:gd name="T67" fmla="*/ 222 h 234"/>
                <a:gd name="T68" fmla="*/ 64 w 227"/>
                <a:gd name="T69" fmla="*/ 234 h 234"/>
                <a:gd name="T70" fmla="*/ 78 w 227"/>
                <a:gd name="T71" fmla="*/ 224 h 234"/>
                <a:gd name="T72" fmla="*/ 85 w 227"/>
                <a:gd name="T73" fmla="*/ 205 h 234"/>
                <a:gd name="T74" fmla="*/ 88 w 227"/>
                <a:gd name="T75" fmla="*/ 190 h 234"/>
                <a:gd name="T76" fmla="*/ 97 w 227"/>
                <a:gd name="T77" fmla="*/ 171 h 234"/>
                <a:gd name="T78" fmla="*/ 109 w 227"/>
                <a:gd name="T79" fmla="*/ 162 h 234"/>
                <a:gd name="T80" fmla="*/ 133 w 227"/>
                <a:gd name="T81" fmla="*/ 143 h 234"/>
                <a:gd name="T82" fmla="*/ 147 w 227"/>
                <a:gd name="T83" fmla="*/ 134 h 234"/>
                <a:gd name="T84" fmla="*/ 153 w 227"/>
                <a:gd name="T85" fmla="*/ 127 h 234"/>
                <a:gd name="T86" fmla="*/ 159 w 227"/>
                <a:gd name="T87" fmla="*/ 125 h 234"/>
                <a:gd name="T88" fmla="*/ 163 w 227"/>
                <a:gd name="T89" fmla="*/ 124 h 234"/>
                <a:gd name="T90" fmla="*/ 161 w 227"/>
                <a:gd name="T91" fmla="*/ 107 h 234"/>
                <a:gd name="T92" fmla="*/ 159 w 227"/>
                <a:gd name="T93" fmla="*/ 99 h 234"/>
                <a:gd name="T94" fmla="*/ 160 w 227"/>
                <a:gd name="T95" fmla="*/ 89 h 234"/>
                <a:gd name="T96" fmla="*/ 169 w 227"/>
                <a:gd name="T97" fmla="*/ 90 h 234"/>
                <a:gd name="T98" fmla="*/ 184 w 227"/>
                <a:gd name="T99" fmla="*/ 99 h 234"/>
                <a:gd name="T100" fmla="*/ 189 w 227"/>
                <a:gd name="T101" fmla="*/ 104 h 234"/>
                <a:gd name="T102" fmla="*/ 186 w 227"/>
                <a:gd name="T103" fmla="*/ 114 h 234"/>
                <a:gd name="T104" fmla="*/ 194 w 227"/>
                <a:gd name="T105" fmla="*/ 123 h 234"/>
                <a:gd name="T106" fmla="*/ 198 w 227"/>
                <a:gd name="T107" fmla="*/ 108 h 234"/>
                <a:gd name="T108" fmla="*/ 208 w 227"/>
                <a:gd name="T109" fmla="*/ 98 h 234"/>
                <a:gd name="T110" fmla="*/ 218 w 227"/>
                <a:gd name="T111" fmla="*/ 81 h 234"/>
                <a:gd name="T112" fmla="*/ 85 w 227"/>
                <a:gd name="T113" fmla="*/ 36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 h="234">
                  <a:moveTo>
                    <a:pt x="224" y="77"/>
                  </a:moveTo>
                  <a:cubicBezTo>
                    <a:pt x="227" y="75"/>
                    <a:pt x="227" y="75"/>
                    <a:pt x="227" y="75"/>
                  </a:cubicBezTo>
                  <a:cubicBezTo>
                    <a:pt x="227" y="72"/>
                    <a:pt x="227" y="72"/>
                    <a:pt x="227" y="72"/>
                  </a:cubicBezTo>
                  <a:cubicBezTo>
                    <a:pt x="226" y="72"/>
                    <a:pt x="226" y="72"/>
                    <a:pt x="226" y="72"/>
                  </a:cubicBezTo>
                  <a:cubicBezTo>
                    <a:pt x="224" y="72"/>
                    <a:pt x="224" y="72"/>
                    <a:pt x="224" y="72"/>
                  </a:cubicBezTo>
                  <a:cubicBezTo>
                    <a:pt x="221" y="71"/>
                    <a:pt x="221" y="71"/>
                    <a:pt x="221" y="71"/>
                  </a:cubicBezTo>
                  <a:cubicBezTo>
                    <a:pt x="220" y="71"/>
                    <a:pt x="220" y="71"/>
                    <a:pt x="220" y="71"/>
                  </a:cubicBezTo>
                  <a:cubicBezTo>
                    <a:pt x="219" y="71"/>
                    <a:pt x="219" y="71"/>
                    <a:pt x="219" y="71"/>
                  </a:cubicBezTo>
                  <a:cubicBezTo>
                    <a:pt x="219" y="70"/>
                    <a:pt x="219" y="70"/>
                    <a:pt x="219" y="70"/>
                  </a:cubicBezTo>
                  <a:cubicBezTo>
                    <a:pt x="221" y="68"/>
                    <a:pt x="221" y="68"/>
                    <a:pt x="221" y="68"/>
                  </a:cubicBezTo>
                  <a:cubicBezTo>
                    <a:pt x="220" y="66"/>
                    <a:pt x="220" y="66"/>
                    <a:pt x="220" y="66"/>
                  </a:cubicBezTo>
                  <a:cubicBezTo>
                    <a:pt x="219" y="66"/>
                    <a:pt x="219" y="66"/>
                    <a:pt x="219" y="66"/>
                  </a:cubicBezTo>
                  <a:cubicBezTo>
                    <a:pt x="219" y="67"/>
                    <a:pt x="219" y="67"/>
                    <a:pt x="219" y="67"/>
                  </a:cubicBezTo>
                  <a:cubicBezTo>
                    <a:pt x="218" y="67"/>
                    <a:pt x="218" y="67"/>
                    <a:pt x="218" y="67"/>
                  </a:cubicBezTo>
                  <a:cubicBezTo>
                    <a:pt x="218" y="66"/>
                    <a:pt x="218" y="66"/>
                    <a:pt x="218" y="66"/>
                  </a:cubicBezTo>
                  <a:cubicBezTo>
                    <a:pt x="219" y="65"/>
                    <a:pt x="219" y="65"/>
                    <a:pt x="219" y="65"/>
                  </a:cubicBezTo>
                  <a:cubicBezTo>
                    <a:pt x="217" y="64"/>
                    <a:pt x="217" y="64"/>
                    <a:pt x="217" y="64"/>
                  </a:cubicBezTo>
                  <a:cubicBezTo>
                    <a:pt x="215" y="64"/>
                    <a:pt x="215" y="64"/>
                    <a:pt x="215" y="64"/>
                  </a:cubicBezTo>
                  <a:cubicBezTo>
                    <a:pt x="212" y="66"/>
                    <a:pt x="212" y="66"/>
                    <a:pt x="212" y="66"/>
                  </a:cubicBezTo>
                  <a:cubicBezTo>
                    <a:pt x="208" y="66"/>
                    <a:pt x="208" y="66"/>
                    <a:pt x="208" y="66"/>
                  </a:cubicBezTo>
                  <a:cubicBezTo>
                    <a:pt x="207" y="65"/>
                    <a:pt x="207" y="65"/>
                    <a:pt x="207" y="65"/>
                  </a:cubicBezTo>
                  <a:cubicBezTo>
                    <a:pt x="203" y="67"/>
                    <a:pt x="203" y="67"/>
                    <a:pt x="203" y="67"/>
                  </a:cubicBezTo>
                  <a:cubicBezTo>
                    <a:pt x="201" y="67"/>
                    <a:pt x="201" y="67"/>
                    <a:pt x="201" y="67"/>
                  </a:cubicBezTo>
                  <a:cubicBezTo>
                    <a:pt x="200" y="70"/>
                    <a:pt x="200" y="70"/>
                    <a:pt x="200" y="70"/>
                  </a:cubicBezTo>
                  <a:cubicBezTo>
                    <a:pt x="198" y="70"/>
                    <a:pt x="198" y="70"/>
                    <a:pt x="198" y="70"/>
                  </a:cubicBezTo>
                  <a:cubicBezTo>
                    <a:pt x="196" y="71"/>
                    <a:pt x="196" y="71"/>
                    <a:pt x="196" y="71"/>
                  </a:cubicBezTo>
                  <a:cubicBezTo>
                    <a:pt x="196" y="74"/>
                    <a:pt x="196" y="74"/>
                    <a:pt x="196" y="74"/>
                  </a:cubicBezTo>
                  <a:cubicBezTo>
                    <a:pt x="192" y="75"/>
                    <a:pt x="192" y="75"/>
                    <a:pt x="192" y="75"/>
                  </a:cubicBezTo>
                  <a:cubicBezTo>
                    <a:pt x="191" y="76"/>
                    <a:pt x="191" y="76"/>
                    <a:pt x="191" y="76"/>
                  </a:cubicBezTo>
                  <a:cubicBezTo>
                    <a:pt x="188" y="77"/>
                    <a:pt x="188" y="77"/>
                    <a:pt x="188" y="77"/>
                  </a:cubicBezTo>
                  <a:cubicBezTo>
                    <a:pt x="186" y="77"/>
                    <a:pt x="186" y="77"/>
                    <a:pt x="186" y="77"/>
                  </a:cubicBezTo>
                  <a:cubicBezTo>
                    <a:pt x="183" y="77"/>
                    <a:pt x="183" y="77"/>
                    <a:pt x="183" y="77"/>
                  </a:cubicBezTo>
                  <a:cubicBezTo>
                    <a:pt x="184" y="79"/>
                    <a:pt x="184" y="79"/>
                    <a:pt x="184" y="79"/>
                  </a:cubicBezTo>
                  <a:cubicBezTo>
                    <a:pt x="184" y="79"/>
                    <a:pt x="184" y="79"/>
                    <a:pt x="184" y="79"/>
                  </a:cubicBezTo>
                  <a:cubicBezTo>
                    <a:pt x="186" y="80"/>
                    <a:pt x="186" y="80"/>
                    <a:pt x="186" y="80"/>
                  </a:cubicBezTo>
                  <a:cubicBezTo>
                    <a:pt x="187" y="80"/>
                    <a:pt x="187" y="80"/>
                    <a:pt x="187" y="80"/>
                  </a:cubicBezTo>
                  <a:cubicBezTo>
                    <a:pt x="187" y="82"/>
                    <a:pt x="187" y="82"/>
                    <a:pt x="187" y="82"/>
                  </a:cubicBezTo>
                  <a:cubicBezTo>
                    <a:pt x="187" y="84"/>
                    <a:pt x="187" y="84"/>
                    <a:pt x="187" y="84"/>
                  </a:cubicBezTo>
                  <a:cubicBezTo>
                    <a:pt x="187" y="84"/>
                    <a:pt x="187" y="84"/>
                    <a:pt x="187" y="84"/>
                  </a:cubicBezTo>
                  <a:cubicBezTo>
                    <a:pt x="186" y="84"/>
                    <a:pt x="186" y="84"/>
                    <a:pt x="186" y="84"/>
                  </a:cubicBezTo>
                  <a:cubicBezTo>
                    <a:pt x="187" y="84"/>
                    <a:pt x="187" y="84"/>
                    <a:pt x="187" y="84"/>
                  </a:cubicBezTo>
                  <a:cubicBezTo>
                    <a:pt x="187" y="84"/>
                    <a:pt x="187" y="84"/>
                    <a:pt x="187" y="84"/>
                  </a:cubicBezTo>
                  <a:cubicBezTo>
                    <a:pt x="187" y="84"/>
                    <a:pt x="187" y="84"/>
                    <a:pt x="187" y="84"/>
                  </a:cubicBezTo>
                  <a:cubicBezTo>
                    <a:pt x="184" y="85"/>
                    <a:pt x="184" y="85"/>
                    <a:pt x="184" y="85"/>
                  </a:cubicBezTo>
                  <a:cubicBezTo>
                    <a:pt x="177" y="86"/>
                    <a:pt x="177" y="86"/>
                    <a:pt x="177" y="86"/>
                  </a:cubicBezTo>
                  <a:cubicBezTo>
                    <a:pt x="174" y="85"/>
                    <a:pt x="174" y="85"/>
                    <a:pt x="174" y="85"/>
                  </a:cubicBezTo>
                  <a:cubicBezTo>
                    <a:pt x="172" y="85"/>
                    <a:pt x="172" y="85"/>
                    <a:pt x="172" y="85"/>
                  </a:cubicBezTo>
                  <a:cubicBezTo>
                    <a:pt x="171" y="85"/>
                    <a:pt x="171" y="85"/>
                    <a:pt x="171" y="85"/>
                  </a:cubicBezTo>
                  <a:cubicBezTo>
                    <a:pt x="171" y="85"/>
                    <a:pt x="171" y="85"/>
                    <a:pt x="171" y="85"/>
                  </a:cubicBezTo>
                  <a:cubicBezTo>
                    <a:pt x="171" y="86"/>
                    <a:pt x="171" y="86"/>
                    <a:pt x="171" y="86"/>
                  </a:cubicBezTo>
                  <a:cubicBezTo>
                    <a:pt x="167" y="85"/>
                    <a:pt x="167" y="85"/>
                    <a:pt x="167" y="85"/>
                  </a:cubicBezTo>
                  <a:cubicBezTo>
                    <a:pt x="163" y="84"/>
                    <a:pt x="163" y="84"/>
                    <a:pt x="163" y="84"/>
                  </a:cubicBezTo>
                  <a:cubicBezTo>
                    <a:pt x="162" y="82"/>
                    <a:pt x="162" y="82"/>
                    <a:pt x="162" y="82"/>
                  </a:cubicBezTo>
                  <a:cubicBezTo>
                    <a:pt x="162" y="82"/>
                    <a:pt x="162" y="82"/>
                    <a:pt x="162" y="82"/>
                  </a:cubicBezTo>
                  <a:cubicBezTo>
                    <a:pt x="162" y="82"/>
                    <a:pt x="162" y="82"/>
                    <a:pt x="162" y="82"/>
                  </a:cubicBezTo>
                  <a:cubicBezTo>
                    <a:pt x="163" y="82"/>
                    <a:pt x="163" y="82"/>
                    <a:pt x="163" y="82"/>
                  </a:cubicBezTo>
                  <a:cubicBezTo>
                    <a:pt x="163" y="81"/>
                    <a:pt x="163" y="81"/>
                    <a:pt x="163" y="81"/>
                  </a:cubicBezTo>
                  <a:cubicBezTo>
                    <a:pt x="162" y="76"/>
                    <a:pt x="162" y="76"/>
                    <a:pt x="162" y="76"/>
                  </a:cubicBezTo>
                  <a:cubicBezTo>
                    <a:pt x="161" y="75"/>
                    <a:pt x="161" y="75"/>
                    <a:pt x="161" y="75"/>
                  </a:cubicBezTo>
                  <a:cubicBezTo>
                    <a:pt x="161" y="75"/>
                    <a:pt x="161" y="75"/>
                    <a:pt x="161" y="75"/>
                  </a:cubicBezTo>
                  <a:cubicBezTo>
                    <a:pt x="157" y="76"/>
                    <a:pt x="157" y="76"/>
                    <a:pt x="157" y="76"/>
                  </a:cubicBezTo>
                  <a:cubicBezTo>
                    <a:pt x="157" y="77"/>
                    <a:pt x="157" y="77"/>
                    <a:pt x="157" y="77"/>
                  </a:cubicBezTo>
                  <a:cubicBezTo>
                    <a:pt x="156" y="82"/>
                    <a:pt x="156" y="82"/>
                    <a:pt x="156" y="82"/>
                  </a:cubicBezTo>
                  <a:cubicBezTo>
                    <a:pt x="156" y="82"/>
                    <a:pt x="156" y="82"/>
                    <a:pt x="156" y="82"/>
                  </a:cubicBezTo>
                  <a:cubicBezTo>
                    <a:pt x="156" y="82"/>
                    <a:pt x="156" y="82"/>
                    <a:pt x="156" y="82"/>
                  </a:cubicBezTo>
                  <a:cubicBezTo>
                    <a:pt x="155" y="82"/>
                    <a:pt x="155" y="82"/>
                    <a:pt x="155" y="82"/>
                  </a:cubicBezTo>
                  <a:cubicBezTo>
                    <a:pt x="156" y="83"/>
                    <a:pt x="156" y="83"/>
                    <a:pt x="156" y="83"/>
                  </a:cubicBezTo>
                  <a:cubicBezTo>
                    <a:pt x="157" y="86"/>
                    <a:pt x="157" y="86"/>
                    <a:pt x="157" y="86"/>
                  </a:cubicBezTo>
                  <a:cubicBezTo>
                    <a:pt x="156" y="86"/>
                    <a:pt x="156" y="86"/>
                    <a:pt x="156" y="86"/>
                  </a:cubicBezTo>
                  <a:cubicBezTo>
                    <a:pt x="156" y="86"/>
                    <a:pt x="156" y="86"/>
                    <a:pt x="156" y="86"/>
                  </a:cubicBezTo>
                  <a:cubicBezTo>
                    <a:pt x="156" y="87"/>
                    <a:pt x="156" y="87"/>
                    <a:pt x="156" y="87"/>
                  </a:cubicBezTo>
                  <a:cubicBezTo>
                    <a:pt x="156" y="87"/>
                    <a:pt x="156" y="87"/>
                    <a:pt x="156" y="87"/>
                  </a:cubicBezTo>
                  <a:cubicBezTo>
                    <a:pt x="156" y="87"/>
                    <a:pt x="156" y="87"/>
                    <a:pt x="156" y="87"/>
                  </a:cubicBezTo>
                  <a:cubicBezTo>
                    <a:pt x="155" y="88"/>
                    <a:pt x="155" y="88"/>
                    <a:pt x="155" y="88"/>
                  </a:cubicBezTo>
                  <a:cubicBezTo>
                    <a:pt x="154" y="88"/>
                    <a:pt x="154" y="88"/>
                    <a:pt x="154" y="88"/>
                  </a:cubicBezTo>
                  <a:cubicBezTo>
                    <a:pt x="152" y="88"/>
                    <a:pt x="152" y="88"/>
                    <a:pt x="152" y="88"/>
                  </a:cubicBezTo>
                  <a:cubicBezTo>
                    <a:pt x="151" y="89"/>
                    <a:pt x="151" y="89"/>
                    <a:pt x="151" y="89"/>
                  </a:cubicBezTo>
                  <a:cubicBezTo>
                    <a:pt x="149" y="88"/>
                    <a:pt x="149" y="88"/>
                    <a:pt x="149" y="88"/>
                  </a:cubicBezTo>
                  <a:cubicBezTo>
                    <a:pt x="149" y="88"/>
                    <a:pt x="149" y="88"/>
                    <a:pt x="149" y="88"/>
                  </a:cubicBezTo>
                  <a:cubicBezTo>
                    <a:pt x="143" y="88"/>
                    <a:pt x="143" y="88"/>
                    <a:pt x="143" y="88"/>
                  </a:cubicBezTo>
                  <a:cubicBezTo>
                    <a:pt x="136" y="85"/>
                    <a:pt x="136" y="85"/>
                    <a:pt x="136" y="85"/>
                  </a:cubicBezTo>
                  <a:cubicBezTo>
                    <a:pt x="129" y="80"/>
                    <a:pt x="129" y="80"/>
                    <a:pt x="129" y="80"/>
                  </a:cubicBezTo>
                  <a:cubicBezTo>
                    <a:pt x="117" y="79"/>
                    <a:pt x="117" y="79"/>
                    <a:pt x="117" y="79"/>
                  </a:cubicBezTo>
                  <a:cubicBezTo>
                    <a:pt x="111" y="76"/>
                    <a:pt x="111" y="76"/>
                    <a:pt x="111" y="76"/>
                  </a:cubicBezTo>
                  <a:cubicBezTo>
                    <a:pt x="104" y="71"/>
                    <a:pt x="104" y="71"/>
                    <a:pt x="104" y="71"/>
                  </a:cubicBezTo>
                  <a:cubicBezTo>
                    <a:pt x="95" y="69"/>
                    <a:pt x="95" y="69"/>
                    <a:pt x="95" y="69"/>
                  </a:cubicBezTo>
                  <a:cubicBezTo>
                    <a:pt x="97" y="62"/>
                    <a:pt x="97" y="62"/>
                    <a:pt x="97" y="62"/>
                  </a:cubicBezTo>
                  <a:cubicBezTo>
                    <a:pt x="97" y="62"/>
                    <a:pt x="97" y="62"/>
                    <a:pt x="97" y="62"/>
                  </a:cubicBezTo>
                  <a:cubicBezTo>
                    <a:pt x="97" y="62"/>
                    <a:pt x="97" y="62"/>
                    <a:pt x="97" y="62"/>
                  </a:cubicBezTo>
                  <a:cubicBezTo>
                    <a:pt x="97" y="61"/>
                    <a:pt x="97" y="61"/>
                    <a:pt x="97" y="61"/>
                  </a:cubicBezTo>
                  <a:cubicBezTo>
                    <a:pt x="103" y="57"/>
                    <a:pt x="103" y="57"/>
                    <a:pt x="103" y="57"/>
                  </a:cubicBezTo>
                  <a:cubicBezTo>
                    <a:pt x="103" y="57"/>
                    <a:pt x="103" y="57"/>
                    <a:pt x="103" y="57"/>
                  </a:cubicBezTo>
                  <a:cubicBezTo>
                    <a:pt x="101" y="55"/>
                    <a:pt x="101" y="55"/>
                    <a:pt x="101" y="55"/>
                  </a:cubicBezTo>
                  <a:cubicBezTo>
                    <a:pt x="96" y="53"/>
                    <a:pt x="96" y="53"/>
                    <a:pt x="96" y="53"/>
                  </a:cubicBezTo>
                  <a:cubicBezTo>
                    <a:pt x="96" y="52"/>
                    <a:pt x="96" y="52"/>
                    <a:pt x="96" y="52"/>
                  </a:cubicBezTo>
                  <a:cubicBezTo>
                    <a:pt x="95" y="50"/>
                    <a:pt x="95" y="50"/>
                    <a:pt x="95" y="50"/>
                  </a:cubicBezTo>
                  <a:cubicBezTo>
                    <a:pt x="92" y="50"/>
                    <a:pt x="92" y="50"/>
                    <a:pt x="92" y="50"/>
                  </a:cubicBezTo>
                  <a:cubicBezTo>
                    <a:pt x="90" y="46"/>
                    <a:pt x="90" y="46"/>
                    <a:pt x="90" y="46"/>
                  </a:cubicBezTo>
                  <a:cubicBezTo>
                    <a:pt x="89" y="46"/>
                    <a:pt x="89" y="46"/>
                    <a:pt x="89" y="46"/>
                  </a:cubicBezTo>
                  <a:cubicBezTo>
                    <a:pt x="88" y="47"/>
                    <a:pt x="88" y="47"/>
                    <a:pt x="88" y="47"/>
                  </a:cubicBezTo>
                  <a:cubicBezTo>
                    <a:pt x="88" y="47"/>
                    <a:pt x="88" y="47"/>
                    <a:pt x="88" y="47"/>
                  </a:cubicBezTo>
                  <a:cubicBezTo>
                    <a:pt x="87" y="47"/>
                    <a:pt x="87" y="47"/>
                    <a:pt x="87" y="47"/>
                  </a:cubicBezTo>
                  <a:cubicBezTo>
                    <a:pt x="88" y="44"/>
                    <a:pt x="88" y="44"/>
                    <a:pt x="88" y="44"/>
                  </a:cubicBezTo>
                  <a:cubicBezTo>
                    <a:pt x="88" y="42"/>
                    <a:pt x="88" y="42"/>
                    <a:pt x="88" y="42"/>
                  </a:cubicBezTo>
                  <a:cubicBezTo>
                    <a:pt x="85" y="39"/>
                    <a:pt x="85" y="39"/>
                    <a:pt x="85" y="39"/>
                  </a:cubicBezTo>
                  <a:cubicBezTo>
                    <a:pt x="86" y="37"/>
                    <a:pt x="86" y="37"/>
                    <a:pt x="86" y="37"/>
                  </a:cubicBezTo>
                  <a:cubicBezTo>
                    <a:pt x="86" y="37"/>
                    <a:pt x="86" y="37"/>
                    <a:pt x="86" y="37"/>
                  </a:cubicBezTo>
                  <a:cubicBezTo>
                    <a:pt x="87" y="37"/>
                    <a:pt x="87" y="37"/>
                    <a:pt x="87" y="37"/>
                  </a:cubicBezTo>
                  <a:cubicBezTo>
                    <a:pt x="88" y="38"/>
                    <a:pt x="88" y="38"/>
                    <a:pt x="88" y="38"/>
                  </a:cubicBezTo>
                  <a:cubicBezTo>
                    <a:pt x="90" y="38"/>
                    <a:pt x="90" y="38"/>
                    <a:pt x="90" y="38"/>
                  </a:cubicBezTo>
                  <a:cubicBezTo>
                    <a:pt x="91" y="38"/>
                    <a:pt x="91" y="38"/>
                    <a:pt x="91" y="38"/>
                  </a:cubicBezTo>
                  <a:cubicBezTo>
                    <a:pt x="93" y="34"/>
                    <a:pt x="93" y="34"/>
                    <a:pt x="93" y="34"/>
                  </a:cubicBezTo>
                  <a:cubicBezTo>
                    <a:pt x="93" y="32"/>
                    <a:pt x="93" y="32"/>
                    <a:pt x="93" y="32"/>
                  </a:cubicBezTo>
                  <a:cubicBezTo>
                    <a:pt x="91" y="32"/>
                    <a:pt x="91" y="32"/>
                    <a:pt x="91" y="32"/>
                  </a:cubicBezTo>
                  <a:cubicBezTo>
                    <a:pt x="90" y="30"/>
                    <a:pt x="90" y="30"/>
                    <a:pt x="90" y="30"/>
                  </a:cubicBezTo>
                  <a:cubicBezTo>
                    <a:pt x="90" y="27"/>
                    <a:pt x="90" y="27"/>
                    <a:pt x="90" y="27"/>
                  </a:cubicBezTo>
                  <a:cubicBezTo>
                    <a:pt x="94" y="26"/>
                    <a:pt x="94" y="26"/>
                    <a:pt x="94" y="26"/>
                  </a:cubicBezTo>
                  <a:cubicBezTo>
                    <a:pt x="95" y="23"/>
                    <a:pt x="95" y="23"/>
                    <a:pt x="95" y="23"/>
                  </a:cubicBezTo>
                  <a:cubicBezTo>
                    <a:pt x="98" y="21"/>
                    <a:pt x="98" y="21"/>
                    <a:pt x="98" y="21"/>
                  </a:cubicBezTo>
                  <a:cubicBezTo>
                    <a:pt x="99" y="16"/>
                    <a:pt x="99" y="16"/>
                    <a:pt x="99" y="16"/>
                  </a:cubicBezTo>
                  <a:cubicBezTo>
                    <a:pt x="101" y="14"/>
                    <a:pt x="101" y="14"/>
                    <a:pt x="101" y="14"/>
                  </a:cubicBezTo>
                  <a:cubicBezTo>
                    <a:pt x="99" y="12"/>
                    <a:pt x="99" y="12"/>
                    <a:pt x="99" y="12"/>
                  </a:cubicBezTo>
                  <a:cubicBezTo>
                    <a:pt x="96" y="12"/>
                    <a:pt x="96" y="12"/>
                    <a:pt x="96" y="12"/>
                  </a:cubicBezTo>
                  <a:cubicBezTo>
                    <a:pt x="92" y="10"/>
                    <a:pt x="92" y="10"/>
                    <a:pt x="92" y="10"/>
                  </a:cubicBezTo>
                  <a:cubicBezTo>
                    <a:pt x="90" y="13"/>
                    <a:pt x="90" y="13"/>
                    <a:pt x="90" y="13"/>
                  </a:cubicBezTo>
                  <a:cubicBezTo>
                    <a:pt x="87" y="13"/>
                    <a:pt x="87" y="13"/>
                    <a:pt x="87" y="13"/>
                  </a:cubicBezTo>
                  <a:cubicBezTo>
                    <a:pt x="85" y="14"/>
                    <a:pt x="85" y="14"/>
                    <a:pt x="85" y="14"/>
                  </a:cubicBezTo>
                  <a:cubicBezTo>
                    <a:pt x="81" y="14"/>
                    <a:pt x="81" y="14"/>
                    <a:pt x="81" y="14"/>
                  </a:cubicBezTo>
                  <a:cubicBezTo>
                    <a:pt x="76" y="12"/>
                    <a:pt x="76" y="12"/>
                    <a:pt x="76" y="12"/>
                  </a:cubicBezTo>
                  <a:cubicBezTo>
                    <a:pt x="75" y="8"/>
                    <a:pt x="75" y="8"/>
                    <a:pt x="75" y="8"/>
                  </a:cubicBezTo>
                  <a:cubicBezTo>
                    <a:pt x="74" y="8"/>
                    <a:pt x="74" y="8"/>
                    <a:pt x="74" y="8"/>
                  </a:cubicBezTo>
                  <a:cubicBezTo>
                    <a:pt x="73" y="6"/>
                    <a:pt x="73" y="6"/>
                    <a:pt x="73" y="6"/>
                  </a:cubicBezTo>
                  <a:cubicBezTo>
                    <a:pt x="70" y="6"/>
                    <a:pt x="70" y="6"/>
                    <a:pt x="70" y="6"/>
                  </a:cubicBezTo>
                  <a:cubicBezTo>
                    <a:pt x="69" y="3"/>
                    <a:pt x="69" y="3"/>
                    <a:pt x="69" y="3"/>
                  </a:cubicBezTo>
                  <a:cubicBezTo>
                    <a:pt x="67" y="1"/>
                    <a:pt x="67" y="1"/>
                    <a:pt x="67" y="1"/>
                  </a:cubicBezTo>
                  <a:cubicBezTo>
                    <a:pt x="65" y="0"/>
                    <a:pt x="65" y="0"/>
                    <a:pt x="65" y="0"/>
                  </a:cubicBezTo>
                  <a:cubicBezTo>
                    <a:pt x="60" y="2"/>
                    <a:pt x="60" y="2"/>
                    <a:pt x="60" y="2"/>
                  </a:cubicBezTo>
                  <a:cubicBezTo>
                    <a:pt x="55" y="3"/>
                    <a:pt x="55" y="3"/>
                    <a:pt x="55" y="3"/>
                  </a:cubicBezTo>
                  <a:cubicBezTo>
                    <a:pt x="53" y="2"/>
                    <a:pt x="53" y="2"/>
                    <a:pt x="53" y="2"/>
                  </a:cubicBezTo>
                  <a:cubicBezTo>
                    <a:pt x="51" y="1"/>
                    <a:pt x="51" y="1"/>
                    <a:pt x="51" y="1"/>
                  </a:cubicBezTo>
                  <a:cubicBezTo>
                    <a:pt x="50" y="3"/>
                    <a:pt x="50" y="3"/>
                    <a:pt x="50" y="3"/>
                  </a:cubicBezTo>
                  <a:cubicBezTo>
                    <a:pt x="50" y="5"/>
                    <a:pt x="50" y="5"/>
                    <a:pt x="50" y="5"/>
                  </a:cubicBezTo>
                  <a:cubicBezTo>
                    <a:pt x="48" y="5"/>
                    <a:pt x="48" y="5"/>
                    <a:pt x="48" y="5"/>
                  </a:cubicBezTo>
                  <a:cubicBezTo>
                    <a:pt x="46" y="5"/>
                    <a:pt x="46" y="5"/>
                    <a:pt x="46" y="5"/>
                  </a:cubicBezTo>
                  <a:cubicBezTo>
                    <a:pt x="46" y="8"/>
                    <a:pt x="46" y="8"/>
                    <a:pt x="46" y="8"/>
                  </a:cubicBezTo>
                  <a:cubicBezTo>
                    <a:pt x="47" y="10"/>
                    <a:pt x="47" y="10"/>
                    <a:pt x="47" y="10"/>
                  </a:cubicBezTo>
                  <a:cubicBezTo>
                    <a:pt x="51" y="11"/>
                    <a:pt x="51" y="11"/>
                    <a:pt x="51" y="11"/>
                  </a:cubicBezTo>
                  <a:cubicBezTo>
                    <a:pt x="55" y="14"/>
                    <a:pt x="55" y="14"/>
                    <a:pt x="55" y="14"/>
                  </a:cubicBezTo>
                  <a:cubicBezTo>
                    <a:pt x="56" y="16"/>
                    <a:pt x="56" y="16"/>
                    <a:pt x="56" y="16"/>
                  </a:cubicBezTo>
                  <a:cubicBezTo>
                    <a:pt x="52" y="21"/>
                    <a:pt x="52" y="21"/>
                    <a:pt x="52" y="21"/>
                  </a:cubicBezTo>
                  <a:cubicBezTo>
                    <a:pt x="53" y="29"/>
                    <a:pt x="53" y="29"/>
                    <a:pt x="53" y="29"/>
                  </a:cubicBezTo>
                  <a:cubicBezTo>
                    <a:pt x="54" y="31"/>
                    <a:pt x="54" y="31"/>
                    <a:pt x="54" y="31"/>
                  </a:cubicBezTo>
                  <a:cubicBezTo>
                    <a:pt x="55" y="32"/>
                    <a:pt x="55" y="32"/>
                    <a:pt x="55" y="32"/>
                  </a:cubicBezTo>
                  <a:cubicBezTo>
                    <a:pt x="55" y="33"/>
                    <a:pt x="55" y="33"/>
                    <a:pt x="55" y="33"/>
                  </a:cubicBezTo>
                  <a:cubicBezTo>
                    <a:pt x="57" y="33"/>
                    <a:pt x="57" y="33"/>
                    <a:pt x="57" y="33"/>
                  </a:cubicBezTo>
                  <a:cubicBezTo>
                    <a:pt x="58" y="33"/>
                    <a:pt x="58" y="33"/>
                    <a:pt x="58" y="33"/>
                  </a:cubicBezTo>
                  <a:cubicBezTo>
                    <a:pt x="58" y="34"/>
                    <a:pt x="58" y="34"/>
                    <a:pt x="58" y="34"/>
                  </a:cubicBezTo>
                  <a:cubicBezTo>
                    <a:pt x="58" y="36"/>
                    <a:pt x="58" y="36"/>
                    <a:pt x="58" y="36"/>
                  </a:cubicBezTo>
                  <a:cubicBezTo>
                    <a:pt x="61" y="36"/>
                    <a:pt x="61" y="36"/>
                    <a:pt x="61" y="36"/>
                  </a:cubicBezTo>
                  <a:cubicBezTo>
                    <a:pt x="62" y="38"/>
                    <a:pt x="62" y="38"/>
                    <a:pt x="62" y="38"/>
                  </a:cubicBezTo>
                  <a:cubicBezTo>
                    <a:pt x="62" y="38"/>
                    <a:pt x="62" y="38"/>
                    <a:pt x="62" y="38"/>
                  </a:cubicBezTo>
                  <a:cubicBezTo>
                    <a:pt x="62" y="38"/>
                    <a:pt x="62" y="38"/>
                    <a:pt x="62" y="38"/>
                  </a:cubicBezTo>
                  <a:cubicBezTo>
                    <a:pt x="60" y="39"/>
                    <a:pt x="60" y="39"/>
                    <a:pt x="60" y="39"/>
                  </a:cubicBezTo>
                  <a:cubicBezTo>
                    <a:pt x="57" y="41"/>
                    <a:pt x="57" y="41"/>
                    <a:pt x="57" y="41"/>
                  </a:cubicBezTo>
                  <a:cubicBezTo>
                    <a:pt x="55" y="42"/>
                    <a:pt x="55" y="42"/>
                    <a:pt x="55" y="42"/>
                  </a:cubicBezTo>
                  <a:cubicBezTo>
                    <a:pt x="56" y="43"/>
                    <a:pt x="56" y="43"/>
                    <a:pt x="56" y="43"/>
                  </a:cubicBezTo>
                  <a:cubicBezTo>
                    <a:pt x="55" y="46"/>
                    <a:pt x="55" y="46"/>
                    <a:pt x="55" y="46"/>
                  </a:cubicBezTo>
                  <a:cubicBezTo>
                    <a:pt x="55" y="48"/>
                    <a:pt x="55" y="48"/>
                    <a:pt x="55" y="48"/>
                  </a:cubicBezTo>
                  <a:cubicBezTo>
                    <a:pt x="51" y="51"/>
                    <a:pt x="51" y="51"/>
                    <a:pt x="51" y="51"/>
                  </a:cubicBezTo>
                  <a:cubicBezTo>
                    <a:pt x="50" y="53"/>
                    <a:pt x="50" y="53"/>
                    <a:pt x="50" y="53"/>
                  </a:cubicBezTo>
                  <a:cubicBezTo>
                    <a:pt x="46" y="53"/>
                    <a:pt x="46" y="53"/>
                    <a:pt x="46" y="53"/>
                  </a:cubicBezTo>
                  <a:cubicBezTo>
                    <a:pt x="46" y="55"/>
                    <a:pt x="46" y="55"/>
                    <a:pt x="46" y="55"/>
                  </a:cubicBezTo>
                  <a:cubicBezTo>
                    <a:pt x="40" y="63"/>
                    <a:pt x="40" y="63"/>
                    <a:pt x="40" y="63"/>
                  </a:cubicBezTo>
                  <a:cubicBezTo>
                    <a:pt x="37" y="64"/>
                    <a:pt x="37" y="64"/>
                    <a:pt x="37" y="64"/>
                  </a:cubicBezTo>
                  <a:cubicBezTo>
                    <a:pt x="33" y="67"/>
                    <a:pt x="33" y="67"/>
                    <a:pt x="33" y="67"/>
                  </a:cubicBezTo>
                  <a:cubicBezTo>
                    <a:pt x="32" y="71"/>
                    <a:pt x="32" y="71"/>
                    <a:pt x="32" y="71"/>
                  </a:cubicBezTo>
                  <a:cubicBezTo>
                    <a:pt x="24" y="72"/>
                    <a:pt x="24" y="72"/>
                    <a:pt x="24" y="72"/>
                  </a:cubicBezTo>
                  <a:cubicBezTo>
                    <a:pt x="23" y="71"/>
                    <a:pt x="23" y="71"/>
                    <a:pt x="23" y="71"/>
                  </a:cubicBezTo>
                  <a:cubicBezTo>
                    <a:pt x="23" y="70"/>
                    <a:pt x="23" y="70"/>
                    <a:pt x="23" y="70"/>
                  </a:cubicBezTo>
                  <a:cubicBezTo>
                    <a:pt x="22" y="69"/>
                    <a:pt x="22" y="69"/>
                    <a:pt x="22" y="69"/>
                  </a:cubicBezTo>
                  <a:cubicBezTo>
                    <a:pt x="21" y="69"/>
                    <a:pt x="21" y="69"/>
                    <a:pt x="21" y="69"/>
                  </a:cubicBezTo>
                  <a:cubicBezTo>
                    <a:pt x="20" y="69"/>
                    <a:pt x="20" y="69"/>
                    <a:pt x="20" y="69"/>
                  </a:cubicBezTo>
                  <a:cubicBezTo>
                    <a:pt x="18" y="71"/>
                    <a:pt x="18" y="71"/>
                    <a:pt x="18" y="71"/>
                  </a:cubicBezTo>
                  <a:cubicBezTo>
                    <a:pt x="13" y="76"/>
                    <a:pt x="13" y="76"/>
                    <a:pt x="13" y="76"/>
                  </a:cubicBezTo>
                  <a:cubicBezTo>
                    <a:pt x="12" y="78"/>
                    <a:pt x="12" y="78"/>
                    <a:pt x="12" y="78"/>
                  </a:cubicBezTo>
                  <a:cubicBezTo>
                    <a:pt x="15" y="80"/>
                    <a:pt x="15" y="80"/>
                    <a:pt x="15" y="80"/>
                  </a:cubicBezTo>
                  <a:cubicBezTo>
                    <a:pt x="18" y="81"/>
                    <a:pt x="18" y="81"/>
                    <a:pt x="18" y="81"/>
                  </a:cubicBezTo>
                  <a:cubicBezTo>
                    <a:pt x="17" y="84"/>
                    <a:pt x="17" y="84"/>
                    <a:pt x="17" y="84"/>
                  </a:cubicBezTo>
                  <a:cubicBezTo>
                    <a:pt x="18" y="87"/>
                    <a:pt x="18" y="87"/>
                    <a:pt x="18" y="87"/>
                  </a:cubicBezTo>
                  <a:cubicBezTo>
                    <a:pt x="20" y="88"/>
                    <a:pt x="20" y="88"/>
                    <a:pt x="20" y="88"/>
                  </a:cubicBezTo>
                  <a:cubicBezTo>
                    <a:pt x="21" y="90"/>
                    <a:pt x="21" y="90"/>
                    <a:pt x="21" y="90"/>
                  </a:cubicBezTo>
                  <a:cubicBezTo>
                    <a:pt x="22" y="92"/>
                    <a:pt x="22" y="92"/>
                    <a:pt x="22" y="92"/>
                  </a:cubicBezTo>
                  <a:cubicBezTo>
                    <a:pt x="22" y="95"/>
                    <a:pt x="22" y="95"/>
                    <a:pt x="22" y="95"/>
                  </a:cubicBezTo>
                  <a:cubicBezTo>
                    <a:pt x="23" y="96"/>
                    <a:pt x="23" y="96"/>
                    <a:pt x="23" y="96"/>
                  </a:cubicBezTo>
                  <a:cubicBezTo>
                    <a:pt x="23" y="96"/>
                    <a:pt x="23" y="96"/>
                    <a:pt x="23" y="96"/>
                  </a:cubicBezTo>
                  <a:cubicBezTo>
                    <a:pt x="22" y="97"/>
                    <a:pt x="22" y="97"/>
                    <a:pt x="22" y="97"/>
                  </a:cubicBezTo>
                  <a:cubicBezTo>
                    <a:pt x="23" y="98"/>
                    <a:pt x="23" y="98"/>
                    <a:pt x="23" y="98"/>
                  </a:cubicBezTo>
                  <a:cubicBezTo>
                    <a:pt x="21" y="99"/>
                    <a:pt x="21" y="99"/>
                    <a:pt x="21" y="99"/>
                  </a:cubicBezTo>
                  <a:cubicBezTo>
                    <a:pt x="20" y="99"/>
                    <a:pt x="20" y="99"/>
                    <a:pt x="20" y="99"/>
                  </a:cubicBezTo>
                  <a:cubicBezTo>
                    <a:pt x="20" y="98"/>
                    <a:pt x="20" y="98"/>
                    <a:pt x="20" y="98"/>
                  </a:cubicBezTo>
                  <a:cubicBezTo>
                    <a:pt x="19" y="97"/>
                    <a:pt x="19" y="97"/>
                    <a:pt x="19" y="97"/>
                  </a:cubicBezTo>
                  <a:cubicBezTo>
                    <a:pt x="14" y="99"/>
                    <a:pt x="14" y="99"/>
                    <a:pt x="14" y="99"/>
                  </a:cubicBezTo>
                  <a:cubicBezTo>
                    <a:pt x="11" y="98"/>
                    <a:pt x="11" y="98"/>
                    <a:pt x="11" y="98"/>
                  </a:cubicBezTo>
                  <a:cubicBezTo>
                    <a:pt x="7" y="98"/>
                    <a:pt x="7" y="98"/>
                    <a:pt x="7" y="98"/>
                  </a:cubicBezTo>
                  <a:cubicBezTo>
                    <a:pt x="7" y="97"/>
                    <a:pt x="7" y="97"/>
                    <a:pt x="7" y="97"/>
                  </a:cubicBezTo>
                  <a:cubicBezTo>
                    <a:pt x="6" y="97"/>
                    <a:pt x="6" y="97"/>
                    <a:pt x="6" y="97"/>
                  </a:cubicBezTo>
                  <a:cubicBezTo>
                    <a:pt x="5" y="97"/>
                    <a:pt x="5" y="97"/>
                    <a:pt x="5" y="97"/>
                  </a:cubicBezTo>
                  <a:cubicBezTo>
                    <a:pt x="4" y="97"/>
                    <a:pt x="4" y="97"/>
                    <a:pt x="4" y="97"/>
                  </a:cubicBezTo>
                  <a:cubicBezTo>
                    <a:pt x="3" y="99"/>
                    <a:pt x="3" y="99"/>
                    <a:pt x="3" y="99"/>
                  </a:cubicBezTo>
                  <a:cubicBezTo>
                    <a:pt x="2" y="99"/>
                    <a:pt x="2" y="99"/>
                    <a:pt x="2" y="99"/>
                  </a:cubicBezTo>
                  <a:cubicBezTo>
                    <a:pt x="0" y="101"/>
                    <a:pt x="0" y="101"/>
                    <a:pt x="0" y="101"/>
                  </a:cubicBezTo>
                  <a:cubicBezTo>
                    <a:pt x="1" y="101"/>
                    <a:pt x="1" y="101"/>
                    <a:pt x="1" y="101"/>
                  </a:cubicBezTo>
                  <a:cubicBezTo>
                    <a:pt x="3" y="100"/>
                    <a:pt x="3" y="100"/>
                    <a:pt x="3" y="100"/>
                  </a:cubicBezTo>
                  <a:cubicBezTo>
                    <a:pt x="4" y="100"/>
                    <a:pt x="4" y="100"/>
                    <a:pt x="4" y="100"/>
                  </a:cubicBezTo>
                  <a:cubicBezTo>
                    <a:pt x="2" y="102"/>
                    <a:pt x="2" y="102"/>
                    <a:pt x="2" y="102"/>
                  </a:cubicBezTo>
                  <a:cubicBezTo>
                    <a:pt x="1" y="103"/>
                    <a:pt x="1" y="103"/>
                    <a:pt x="1" y="103"/>
                  </a:cubicBezTo>
                  <a:cubicBezTo>
                    <a:pt x="3" y="106"/>
                    <a:pt x="3" y="106"/>
                    <a:pt x="3" y="106"/>
                  </a:cubicBezTo>
                  <a:cubicBezTo>
                    <a:pt x="8" y="109"/>
                    <a:pt x="8" y="109"/>
                    <a:pt x="8" y="109"/>
                  </a:cubicBezTo>
                  <a:cubicBezTo>
                    <a:pt x="11" y="110"/>
                    <a:pt x="11" y="110"/>
                    <a:pt x="11" y="110"/>
                  </a:cubicBezTo>
                  <a:cubicBezTo>
                    <a:pt x="12" y="109"/>
                    <a:pt x="12" y="109"/>
                    <a:pt x="12" y="109"/>
                  </a:cubicBezTo>
                  <a:cubicBezTo>
                    <a:pt x="15" y="109"/>
                    <a:pt x="15" y="109"/>
                    <a:pt x="15" y="109"/>
                  </a:cubicBezTo>
                  <a:cubicBezTo>
                    <a:pt x="16" y="108"/>
                    <a:pt x="16" y="108"/>
                    <a:pt x="16" y="108"/>
                  </a:cubicBezTo>
                  <a:cubicBezTo>
                    <a:pt x="17" y="108"/>
                    <a:pt x="17" y="108"/>
                    <a:pt x="17" y="108"/>
                  </a:cubicBezTo>
                  <a:cubicBezTo>
                    <a:pt x="14" y="112"/>
                    <a:pt x="14" y="112"/>
                    <a:pt x="14" y="112"/>
                  </a:cubicBezTo>
                  <a:cubicBezTo>
                    <a:pt x="13" y="113"/>
                    <a:pt x="13" y="113"/>
                    <a:pt x="13" y="113"/>
                  </a:cubicBezTo>
                  <a:cubicBezTo>
                    <a:pt x="10" y="113"/>
                    <a:pt x="10" y="113"/>
                    <a:pt x="10" y="113"/>
                  </a:cubicBezTo>
                  <a:cubicBezTo>
                    <a:pt x="7" y="113"/>
                    <a:pt x="7" y="113"/>
                    <a:pt x="7" y="113"/>
                  </a:cubicBezTo>
                  <a:cubicBezTo>
                    <a:pt x="5" y="113"/>
                    <a:pt x="5" y="113"/>
                    <a:pt x="5" y="113"/>
                  </a:cubicBezTo>
                  <a:cubicBezTo>
                    <a:pt x="5" y="113"/>
                    <a:pt x="5" y="113"/>
                    <a:pt x="5" y="113"/>
                  </a:cubicBezTo>
                  <a:cubicBezTo>
                    <a:pt x="5" y="115"/>
                    <a:pt x="5" y="115"/>
                    <a:pt x="5" y="115"/>
                  </a:cubicBezTo>
                  <a:cubicBezTo>
                    <a:pt x="14" y="127"/>
                    <a:pt x="14" y="127"/>
                    <a:pt x="14" y="127"/>
                  </a:cubicBezTo>
                  <a:cubicBezTo>
                    <a:pt x="17" y="127"/>
                    <a:pt x="17" y="127"/>
                    <a:pt x="17" y="127"/>
                  </a:cubicBezTo>
                  <a:cubicBezTo>
                    <a:pt x="17" y="128"/>
                    <a:pt x="17" y="128"/>
                    <a:pt x="17" y="128"/>
                  </a:cubicBezTo>
                  <a:cubicBezTo>
                    <a:pt x="18" y="128"/>
                    <a:pt x="18" y="128"/>
                    <a:pt x="18" y="128"/>
                  </a:cubicBezTo>
                  <a:cubicBezTo>
                    <a:pt x="19" y="128"/>
                    <a:pt x="19" y="128"/>
                    <a:pt x="19" y="128"/>
                  </a:cubicBezTo>
                  <a:cubicBezTo>
                    <a:pt x="19" y="128"/>
                    <a:pt x="19" y="128"/>
                    <a:pt x="19" y="128"/>
                  </a:cubicBezTo>
                  <a:cubicBezTo>
                    <a:pt x="23" y="127"/>
                    <a:pt x="23" y="127"/>
                    <a:pt x="23" y="127"/>
                  </a:cubicBezTo>
                  <a:cubicBezTo>
                    <a:pt x="25" y="126"/>
                    <a:pt x="25" y="126"/>
                    <a:pt x="25" y="126"/>
                  </a:cubicBezTo>
                  <a:cubicBezTo>
                    <a:pt x="28" y="125"/>
                    <a:pt x="28" y="125"/>
                    <a:pt x="28" y="125"/>
                  </a:cubicBezTo>
                  <a:cubicBezTo>
                    <a:pt x="28" y="124"/>
                    <a:pt x="28" y="124"/>
                    <a:pt x="28" y="124"/>
                  </a:cubicBezTo>
                  <a:cubicBezTo>
                    <a:pt x="29" y="123"/>
                    <a:pt x="29" y="123"/>
                    <a:pt x="29" y="123"/>
                  </a:cubicBezTo>
                  <a:cubicBezTo>
                    <a:pt x="29" y="121"/>
                    <a:pt x="29" y="121"/>
                    <a:pt x="29" y="121"/>
                  </a:cubicBezTo>
                  <a:cubicBezTo>
                    <a:pt x="30" y="119"/>
                    <a:pt x="30" y="119"/>
                    <a:pt x="30" y="119"/>
                  </a:cubicBezTo>
                  <a:cubicBezTo>
                    <a:pt x="31" y="116"/>
                    <a:pt x="31" y="116"/>
                    <a:pt x="31" y="116"/>
                  </a:cubicBezTo>
                  <a:cubicBezTo>
                    <a:pt x="32" y="117"/>
                    <a:pt x="32" y="117"/>
                    <a:pt x="32" y="117"/>
                  </a:cubicBezTo>
                  <a:cubicBezTo>
                    <a:pt x="34" y="116"/>
                    <a:pt x="34" y="116"/>
                    <a:pt x="34" y="116"/>
                  </a:cubicBezTo>
                  <a:cubicBezTo>
                    <a:pt x="34" y="116"/>
                    <a:pt x="34" y="116"/>
                    <a:pt x="34" y="116"/>
                  </a:cubicBezTo>
                  <a:cubicBezTo>
                    <a:pt x="34" y="117"/>
                    <a:pt x="34" y="117"/>
                    <a:pt x="34" y="117"/>
                  </a:cubicBezTo>
                  <a:cubicBezTo>
                    <a:pt x="33" y="118"/>
                    <a:pt x="33" y="118"/>
                    <a:pt x="33" y="118"/>
                  </a:cubicBezTo>
                  <a:cubicBezTo>
                    <a:pt x="33" y="119"/>
                    <a:pt x="33" y="119"/>
                    <a:pt x="33" y="119"/>
                  </a:cubicBezTo>
                  <a:cubicBezTo>
                    <a:pt x="33" y="120"/>
                    <a:pt x="33" y="120"/>
                    <a:pt x="33" y="120"/>
                  </a:cubicBezTo>
                  <a:cubicBezTo>
                    <a:pt x="33" y="121"/>
                    <a:pt x="33" y="121"/>
                    <a:pt x="33" y="121"/>
                  </a:cubicBezTo>
                  <a:cubicBezTo>
                    <a:pt x="36" y="121"/>
                    <a:pt x="36" y="121"/>
                    <a:pt x="36" y="121"/>
                  </a:cubicBezTo>
                  <a:cubicBezTo>
                    <a:pt x="33" y="123"/>
                    <a:pt x="33" y="123"/>
                    <a:pt x="33" y="123"/>
                  </a:cubicBezTo>
                  <a:cubicBezTo>
                    <a:pt x="32" y="125"/>
                    <a:pt x="32" y="125"/>
                    <a:pt x="32" y="125"/>
                  </a:cubicBezTo>
                  <a:cubicBezTo>
                    <a:pt x="33" y="126"/>
                    <a:pt x="33" y="126"/>
                    <a:pt x="33" y="126"/>
                  </a:cubicBezTo>
                  <a:cubicBezTo>
                    <a:pt x="34" y="131"/>
                    <a:pt x="34" y="131"/>
                    <a:pt x="34" y="131"/>
                  </a:cubicBezTo>
                  <a:cubicBezTo>
                    <a:pt x="34" y="131"/>
                    <a:pt x="34" y="131"/>
                    <a:pt x="34" y="131"/>
                  </a:cubicBezTo>
                  <a:cubicBezTo>
                    <a:pt x="34" y="132"/>
                    <a:pt x="34" y="132"/>
                    <a:pt x="34" y="132"/>
                  </a:cubicBezTo>
                  <a:cubicBezTo>
                    <a:pt x="34" y="132"/>
                    <a:pt x="34" y="132"/>
                    <a:pt x="34" y="132"/>
                  </a:cubicBezTo>
                  <a:cubicBezTo>
                    <a:pt x="33" y="134"/>
                    <a:pt x="33" y="134"/>
                    <a:pt x="33" y="134"/>
                  </a:cubicBezTo>
                  <a:cubicBezTo>
                    <a:pt x="33" y="134"/>
                    <a:pt x="33" y="134"/>
                    <a:pt x="33" y="134"/>
                  </a:cubicBezTo>
                  <a:cubicBezTo>
                    <a:pt x="32" y="135"/>
                    <a:pt x="32" y="135"/>
                    <a:pt x="32" y="135"/>
                  </a:cubicBezTo>
                  <a:cubicBezTo>
                    <a:pt x="32" y="138"/>
                    <a:pt x="32" y="138"/>
                    <a:pt x="32" y="138"/>
                  </a:cubicBezTo>
                  <a:cubicBezTo>
                    <a:pt x="32" y="139"/>
                    <a:pt x="32" y="139"/>
                    <a:pt x="32" y="139"/>
                  </a:cubicBezTo>
                  <a:cubicBezTo>
                    <a:pt x="32" y="140"/>
                    <a:pt x="32" y="140"/>
                    <a:pt x="32" y="140"/>
                  </a:cubicBezTo>
                  <a:cubicBezTo>
                    <a:pt x="33" y="141"/>
                    <a:pt x="33" y="141"/>
                    <a:pt x="33" y="141"/>
                  </a:cubicBezTo>
                  <a:cubicBezTo>
                    <a:pt x="32" y="142"/>
                    <a:pt x="32" y="142"/>
                    <a:pt x="32" y="142"/>
                  </a:cubicBezTo>
                  <a:cubicBezTo>
                    <a:pt x="32" y="143"/>
                    <a:pt x="32" y="143"/>
                    <a:pt x="32" y="143"/>
                  </a:cubicBezTo>
                  <a:cubicBezTo>
                    <a:pt x="33" y="142"/>
                    <a:pt x="33" y="142"/>
                    <a:pt x="33" y="142"/>
                  </a:cubicBezTo>
                  <a:cubicBezTo>
                    <a:pt x="34" y="143"/>
                    <a:pt x="34" y="143"/>
                    <a:pt x="34" y="143"/>
                  </a:cubicBezTo>
                  <a:cubicBezTo>
                    <a:pt x="34" y="145"/>
                    <a:pt x="34" y="145"/>
                    <a:pt x="34" y="145"/>
                  </a:cubicBezTo>
                  <a:cubicBezTo>
                    <a:pt x="33" y="146"/>
                    <a:pt x="33" y="146"/>
                    <a:pt x="33" y="146"/>
                  </a:cubicBezTo>
                  <a:cubicBezTo>
                    <a:pt x="33" y="148"/>
                    <a:pt x="33" y="148"/>
                    <a:pt x="33" y="148"/>
                  </a:cubicBezTo>
                  <a:cubicBezTo>
                    <a:pt x="33" y="149"/>
                    <a:pt x="33" y="149"/>
                    <a:pt x="33" y="149"/>
                  </a:cubicBezTo>
                  <a:cubicBezTo>
                    <a:pt x="33" y="150"/>
                    <a:pt x="33" y="150"/>
                    <a:pt x="33" y="150"/>
                  </a:cubicBezTo>
                  <a:cubicBezTo>
                    <a:pt x="33" y="154"/>
                    <a:pt x="33" y="154"/>
                    <a:pt x="33" y="154"/>
                  </a:cubicBezTo>
                  <a:cubicBezTo>
                    <a:pt x="35" y="157"/>
                    <a:pt x="35" y="157"/>
                    <a:pt x="35" y="157"/>
                  </a:cubicBezTo>
                  <a:cubicBezTo>
                    <a:pt x="34" y="157"/>
                    <a:pt x="34" y="157"/>
                    <a:pt x="34" y="157"/>
                  </a:cubicBezTo>
                  <a:cubicBezTo>
                    <a:pt x="34" y="163"/>
                    <a:pt x="34" y="163"/>
                    <a:pt x="34" y="163"/>
                  </a:cubicBezTo>
                  <a:cubicBezTo>
                    <a:pt x="36" y="170"/>
                    <a:pt x="36" y="170"/>
                    <a:pt x="36" y="170"/>
                  </a:cubicBezTo>
                  <a:cubicBezTo>
                    <a:pt x="36" y="170"/>
                    <a:pt x="36" y="170"/>
                    <a:pt x="36" y="170"/>
                  </a:cubicBezTo>
                  <a:cubicBezTo>
                    <a:pt x="36" y="170"/>
                    <a:pt x="36" y="170"/>
                    <a:pt x="36" y="170"/>
                  </a:cubicBezTo>
                  <a:cubicBezTo>
                    <a:pt x="36" y="170"/>
                    <a:pt x="36" y="170"/>
                    <a:pt x="36" y="170"/>
                  </a:cubicBezTo>
                  <a:cubicBezTo>
                    <a:pt x="37" y="173"/>
                    <a:pt x="37" y="173"/>
                    <a:pt x="37" y="173"/>
                  </a:cubicBezTo>
                  <a:cubicBezTo>
                    <a:pt x="37" y="174"/>
                    <a:pt x="37" y="174"/>
                    <a:pt x="37" y="174"/>
                  </a:cubicBezTo>
                  <a:cubicBezTo>
                    <a:pt x="39" y="177"/>
                    <a:pt x="39" y="177"/>
                    <a:pt x="39" y="177"/>
                  </a:cubicBezTo>
                  <a:cubicBezTo>
                    <a:pt x="39" y="177"/>
                    <a:pt x="39" y="177"/>
                    <a:pt x="39" y="177"/>
                  </a:cubicBezTo>
                  <a:cubicBezTo>
                    <a:pt x="40" y="179"/>
                    <a:pt x="40" y="179"/>
                    <a:pt x="40" y="179"/>
                  </a:cubicBezTo>
                  <a:cubicBezTo>
                    <a:pt x="42" y="182"/>
                    <a:pt x="42" y="182"/>
                    <a:pt x="42" y="182"/>
                  </a:cubicBezTo>
                  <a:cubicBezTo>
                    <a:pt x="42" y="183"/>
                    <a:pt x="42" y="183"/>
                    <a:pt x="42" y="183"/>
                  </a:cubicBezTo>
                  <a:cubicBezTo>
                    <a:pt x="42" y="185"/>
                    <a:pt x="42" y="185"/>
                    <a:pt x="42" y="185"/>
                  </a:cubicBezTo>
                  <a:cubicBezTo>
                    <a:pt x="43" y="187"/>
                    <a:pt x="43" y="187"/>
                    <a:pt x="43" y="187"/>
                  </a:cubicBezTo>
                  <a:cubicBezTo>
                    <a:pt x="43" y="188"/>
                    <a:pt x="43" y="188"/>
                    <a:pt x="43" y="188"/>
                  </a:cubicBezTo>
                  <a:cubicBezTo>
                    <a:pt x="43" y="190"/>
                    <a:pt x="43" y="190"/>
                    <a:pt x="43" y="190"/>
                  </a:cubicBezTo>
                  <a:cubicBezTo>
                    <a:pt x="44" y="195"/>
                    <a:pt x="44" y="195"/>
                    <a:pt x="44" y="195"/>
                  </a:cubicBezTo>
                  <a:cubicBezTo>
                    <a:pt x="44" y="195"/>
                    <a:pt x="44" y="195"/>
                    <a:pt x="44" y="195"/>
                  </a:cubicBezTo>
                  <a:cubicBezTo>
                    <a:pt x="44" y="195"/>
                    <a:pt x="44" y="195"/>
                    <a:pt x="44" y="195"/>
                  </a:cubicBezTo>
                  <a:cubicBezTo>
                    <a:pt x="46" y="201"/>
                    <a:pt x="46" y="201"/>
                    <a:pt x="46" y="201"/>
                  </a:cubicBezTo>
                  <a:cubicBezTo>
                    <a:pt x="47" y="203"/>
                    <a:pt x="47" y="203"/>
                    <a:pt x="47" y="203"/>
                  </a:cubicBezTo>
                  <a:cubicBezTo>
                    <a:pt x="48" y="204"/>
                    <a:pt x="48" y="204"/>
                    <a:pt x="48" y="204"/>
                  </a:cubicBezTo>
                  <a:cubicBezTo>
                    <a:pt x="50" y="208"/>
                    <a:pt x="50" y="208"/>
                    <a:pt x="50" y="208"/>
                  </a:cubicBezTo>
                  <a:cubicBezTo>
                    <a:pt x="51" y="210"/>
                    <a:pt x="51" y="210"/>
                    <a:pt x="51" y="210"/>
                  </a:cubicBezTo>
                  <a:cubicBezTo>
                    <a:pt x="53" y="217"/>
                    <a:pt x="53" y="217"/>
                    <a:pt x="53" y="217"/>
                  </a:cubicBezTo>
                  <a:cubicBezTo>
                    <a:pt x="55" y="219"/>
                    <a:pt x="55" y="219"/>
                    <a:pt x="55" y="219"/>
                  </a:cubicBezTo>
                  <a:cubicBezTo>
                    <a:pt x="56" y="222"/>
                    <a:pt x="56" y="222"/>
                    <a:pt x="56" y="222"/>
                  </a:cubicBezTo>
                  <a:cubicBezTo>
                    <a:pt x="55" y="223"/>
                    <a:pt x="55" y="223"/>
                    <a:pt x="55" y="223"/>
                  </a:cubicBezTo>
                  <a:cubicBezTo>
                    <a:pt x="55" y="222"/>
                    <a:pt x="55" y="222"/>
                    <a:pt x="55" y="222"/>
                  </a:cubicBezTo>
                  <a:cubicBezTo>
                    <a:pt x="55" y="221"/>
                    <a:pt x="55" y="221"/>
                    <a:pt x="55" y="221"/>
                  </a:cubicBezTo>
                  <a:cubicBezTo>
                    <a:pt x="54" y="220"/>
                    <a:pt x="54" y="220"/>
                    <a:pt x="54" y="220"/>
                  </a:cubicBezTo>
                  <a:cubicBezTo>
                    <a:pt x="54" y="223"/>
                    <a:pt x="54" y="223"/>
                    <a:pt x="54" y="223"/>
                  </a:cubicBezTo>
                  <a:cubicBezTo>
                    <a:pt x="58" y="230"/>
                    <a:pt x="58" y="230"/>
                    <a:pt x="58" y="230"/>
                  </a:cubicBezTo>
                  <a:cubicBezTo>
                    <a:pt x="60" y="232"/>
                    <a:pt x="60" y="232"/>
                    <a:pt x="60" y="232"/>
                  </a:cubicBezTo>
                  <a:cubicBezTo>
                    <a:pt x="60" y="232"/>
                    <a:pt x="60" y="232"/>
                    <a:pt x="60" y="232"/>
                  </a:cubicBezTo>
                  <a:cubicBezTo>
                    <a:pt x="64" y="234"/>
                    <a:pt x="64" y="234"/>
                    <a:pt x="64" y="234"/>
                  </a:cubicBezTo>
                  <a:cubicBezTo>
                    <a:pt x="64" y="234"/>
                    <a:pt x="64" y="234"/>
                    <a:pt x="64" y="234"/>
                  </a:cubicBezTo>
                  <a:cubicBezTo>
                    <a:pt x="66" y="233"/>
                    <a:pt x="66" y="233"/>
                    <a:pt x="66" y="233"/>
                  </a:cubicBezTo>
                  <a:cubicBezTo>
                    <a:pt x="68" y="231"/>
                    <a:pt x="68" y="231"/>
                    <a:pt x="68" y="231"/>
                  </a:cubicBezTo>
                  <a:cubicBezTo>
                    <a:pt x="69" y="229"/>
                    <a:pt x="69" y="229"/>
                    <a:pt x="69" y="229"/>
                  </a:cubicBezTo>
                  <a:cubicBezTo>
                    <a:pt x="72" y="226"/>
                    <a:pt x="72" y="226"/>
                    <a:pt x="72" y="226"/>
                  </a:cubicBezTo>
                  <a:cubicBezTo>
                    <a:pt x="77" y="225"/>
                    <a:pt x="77" y="225"/>
                    <a:pt x="77" y="225"/>
                  </a:cubicBezTo>
                  <a:cubicBezTo>
                    <a:pt x="80" y="226"/>
                    <a:pt x="80" y="226"/>
                    <a:pt x="80" y="226"/>
                  </a:cubicBezTo>
                  <a:cubicBezTo>
                    <a:pt x="80" y="225"/>
                    <a:pt x="80" y="225"/>
                    <a:pt x="80" y="225"/>
                  </a:cubicBezTo>
                  <a:cubicBezTo>
                    <a:pt x="78" y="224"/>
                    <a:pt x="78" y="224"/>
                    <a:pt x="78" y="224"/>
                  </a:cubicBezTo>
                  <a:cubicBezTo>
                    <a:pt x="77" y="223"/>
                    <a:pt x="77" y="223"/>
                    <a:pt x="77" y="223"/>
                  </a:cubicBezTo>
                  <a:cubicBezTo>
                    <a:pt x="78" y="221"/>
                    <a:pt x="78" y="221"/>
                    <a:pt x="78" y="221"/>
                  </a:cubicBezTo>
                  <a:cubicBezTo>
                    <a:pt x="79" y="218"/>
                    <a:pt x="79" y="218"/>
                    <a:pt x="79" y="218"/>
                  </a:cubicBezTo>
                  <a:cubicBezTo>
                    <a:pt x="81" y="217"/>
                    <a:pt x="81" y="217"/>
                    <a:pt x="81" y="217"/>
                  </a:cubicBezTo>
                  <a:cubicBezTo>
                    <a:pt x="82" y="217"/>
                    <a:pt x="82" y="217"/>
                    <a:pt x="82" y="217"/>
                  </a:cubicBezTo>
                  <a:cubicBezTo>
                    <a:pt x="85" y="217"/>
                    <a:pt x="85" y="217"/>
                    <a:pt x="85" y="217"/>
                  </a:cubicBezTo>
                  <a:cubicBezTo>
                    <a:pt x="85" y="212"/>
                    <a:pt x="85" y="212"/>
                    <a:pt x="85" y="212"/>
                  </a:cubicBezTo>
                  <a:cubicBezTo>
                    <a:pt x="85" y="211"/>
                    <a:pt x="85" y="211"/>
                    <a:pt x="85" y="211"/>
                  </a:cubicBezTo>
                  <a:cubicBezTo>
                    <a:pt x="85" y="205"/>
                    <a:pt x="85" y="205"/>
                    <a:pt x="85" y="205"/>
                  </a:cubicBezTo>
                  <a:cubicBezTo>
                    <a:pt x="85" y="204"/>
                    <a:pt x="85" y="204"/>
                    <a:pt x="85" y="204"/>
                  </a:cubicBezTo>
                  <a:cubicBezTo>
                    <a:pt x="85" y="204"/>
                    <a:pt x="85" y="204"/>
                    <a:pt x="85" y="204"/>
                  </a:cubicBezTo>
                  <a:cubicBezTo>
                    <a:pt x="86" y="202"/>
                    <a:pt x="86" y="202"/>
                    <a:pt x="86" y="202"/>
                  </a:cubicBezTo>
                  <a:cubicBezTo>
                    <a:pt x="86" y="201"/>
                    <a:pt x="86" y="201"/>
                    <a:pt x="86" y="201"/>
                  </a:cubicBezTo>
                  <a:cubicBezTo>
                    <a:pt x="87" y="200"/>
                    <a:pt x="87" y="200"/>
                    <a:pt x="87" y="200"/>
                  </a:cubicBezTo>
                  <a:cubicBezTo>
                    <a:pt x="89" y="198"/>
                    <a:pt x="89" y="198"/>
                    <a:pt x="89" y="198"/>
                  </a:cubicBezTo>
                  <a:cubicBezTo>
                    <a:pt x="90" y="193"/>
                    <a:pt x="90" y="193"/>
                    <a:pt x="90" y="193"/>
                  </a:cubicBezTo>
                  <a:cubicBezTo>
                    <a:pt x="88" y="190"/>
                    <a:pt x="88" y="190"/>
                    <a:pt x="88" y="190"/>
                  </a:cubicBezTo>
                  <a:cubicBezTo>
                    <a:pt x="88" y="190"/>
                    <a:pt x="88" y="190"/>
                    <a:pt x="88" y="190"/>
                  </a:cubicBezTo>
                  <a:cubicBezTo>
                    <a:pt x="88" y="188"/>
                    <a:pt x="89" y="186"/>
                    <a:pt x="89" y="184"/>
                  </a:cubicBezTo>
                  <a:cubicBezTo>
                    <a:pt x="89" y="179"/>
                    <a:pt x="89" y="179"/>
                    <a:pt x="89" y="179"/>
                  </a:cubicBezTo>
                  <a:cubicBezTo>
                    <a:pt x="90" y="175"/>
                    <a:pt x="90" y="175"/>
                    <a:pt x="90" y="175"/>
                  </a:cubicBezTo>
                  <a:cubicBezTo>
                    <a:pt x="93" y="172"/>
                    <a:pt x="93" y="172"/>
                    <a:pt x="93" y="172"/>
                  </a:cubicBezTo>
                  <a:cubicBezTo>
                    <a:pt x="96" y="172"/>
                    <a:pt x="96" y="172"/>
                    <a:pt x="96" y="172"/>
                  </a:cubicBezTo>
                  <a:cubicBezTo>
                    <a:pt x="95" y="169"/>
                    <a:pt x="95" y="169"/>
                    <a:pt x="95" y="169"/>
                  </a:cubicBezTo>
                  <a:cubicBezTo>
                    <a:pt x="95" y="169"/>
                    <a:pt x="95" y="168"/>
                    <a:pt x="95" y="168"/>
                  </a:cubicBezTo>
                  <a:cubicBezTo>
                    <a:pt x="95" y="168"/>
                    <a:pt x="95" y="168"/>
                    <a:pt x="95" y="168"/>
                  </a:cubicBezTo>
                  <a:cubicBezTo>
                    <a:pt x="97" y="171"/>
                    <a:pt x="97" y="171"/>
                    <a:pt x="97" y="171"/>
                  </a:cubicBezTo>
                  <a:cubicBezTo>
                    <a:pt x="97" y="171"/>
                    <a:pt x="97" y="172"/>
                    <a:pt x="97" y="172"/>
                  </a:cubicBezTo>
                  <a:cubicBezTo>
                    <a:pt x="98" y="171"/>
                    <a:pt x="98" y="171"/>
                    <a:pt x="98" y="171"/>
                  </a:cubicBezTo>
                  <a:cubicBezTo>
                    <a:pt x="99" y="170"/>
                    <a:pt x="99" y="170"/>
                    <a:pt x="99" y="170"/>
                  </a:cubicBezTo>
                  <a:cubicBezTo>
                    <a:pt x="99" y="169"/>
                    <a:pt x="100" y="169"/>
                    <a:pt x="100" y="169"/>
                  </a:cubicBezTo>
                  <a:cubicBezTo>
                    <a:pt x="105" y="169"/>
                    <a:pt x="105" y="169"/>
                    <a:pt x="105" y="169"/>
                  </a:cubicBezTo>
                  <a:cubicBezTo>
                    <a:pt x="109" y="167"/>
                    <a:pt x="109" y="167"/>
                    <a:pt x="109" y="167"/>
                  </a:cubicBezTo>
                  <a:cubicBezTo>
                    <a:pt x="109" y="166"/>
                    <a:pt x="109" y="166"/>
                    <a:pt x="109" y="166"/>
                  </a:cubicBezTo>
                  <a:cubicBezTo>
                    <a:pt x="108" y="166"/>
                    <a:pt x="108" y="165"/>
                    <a:pt x="108" y="165"/>
                  </a:cubicBezTo>
                  <a:cubicBezTo>
                    <a:pt x="108" y="164"/>
                    <a:pt x="109" y="163"/>
                    <a:pt x="109" y="162"/>
                  </a:cubicBezTo>
                  <a:cubicBezTo>
                    <a:pt x="117" y="159"/>
                    <a:pt x="117" y="159"/>
                    <a:pt x="117" y="159"/>
                  </a:cubicBezTo>
                  <a:cubicBezTo>
                    <a:pt x="118" y="157"/>
                    <a:pt x="118" y="157"/>
                    <a:pt x="118" y="157"/>
                  </a:cubicBezTo>
                  <a:cubicBezTo>
                    <a:pt x="126" y="151"/>
                    <a:pt x="126" y="151"/>
                    <a:pt x="126" y="151"/>
                  </a:cubicBezTo>
                  <a:cubicBezTo>
                    <a:pt x="129" y="147"/>
                    <a:pt x="129" y="147"/>
                    <a:pt x="129" y="147"/>
                  </a:cubicBezTo>
                  <a:cubicBezTo>
                    <a:pt x="129" y="147"/>
                    <a:pt x="129" y="147"/>
                    <a:pt x="129" y="147"/>
                  </a:cubicBezTo>
                  <a:cubicBezTo>
                    <a:pt x="129" y="147"/>
                    <a:pt x="129" y="147"/>
                    <a:pt x="129" y="147"/>
                  </a:cubicBezTo>
                  <a:cubicBezTo>
                    <a:pt x="129" y="147"/>
                    <a:pt x="129" y="147"/>
                    <a:pt x="129" y="147"/>
                  </a:cubicBezTo>
                  <a:cubicBezTo>
                    <a:pt x="133" y="143"/>
                    <a:pt x="133" y="143"/>
                    <a:pt x="133" y="143"/>
                  </a:cubicBezTo>
                  <a:cubicBezTo>
                    <a:pt x="133" y="143"/>
                    <a:pt x="133" y="143"/>
                    <a:pt x="133" y="143"/>
                  </a:cubicBezTo>
                  <a:cubicBezTo>
                    <a:pt x="133" y="142"/>
                    <a:pt x="133" y="142"/>
                    <a:pt x="133" y="142"/>
                  </a:cubicBezTo>
                  <a:cubicBezTo>
                    <a:pt x="136" y="141"/>
                    <a:pt x="136" y="141"/>
                    <a:pt x="136" y="141"/>
                  </a:cubicBezTo>
                  <a:cubicBezTo>
                    <a:pt x="136" y="141"/>
                    <a:pt x="136" y="141"/>
                    <a:pt x="136" y="141"/>
                  </a:cubicBezTo>
                  <a:cubicBezTo>
                    <a:pt x="137" y="142"/>
                    <a:pt x="137" y="142"/>
                    <a:pt x="137" y="142"/>
                  </a:cubicBezTo>
                  <a:cubicBezTo>
                    <a:pt x="138" y="142"/>
                    <a:pt x="138" y="142"/>
                    <a:pt x="138" y="142"/>
                  </a:cubicBezTo>
                  <a:cubicBezTo>
                    <a:pt x="140" y="142"/>
                    <a:pt x="140" y="142"/>
                    <a:pt x="140" y="142"/>
                  </a:cubicBezTo>
                  <a:cubicBezTo>
                    <a:pt x="145" y="138"/>
                    <a:pt x="145" y="138"/>
                    <a:pt x="145" y="138"/>
                  </a:cubicBezTo>
                  <a:cubicBezTo>
                    <a:pt x="145" y="136"/>
                    <a:pt x="145" y="136"/>
                    <a:pt x="145" y="136"/>
                  </a:cubicBezTo>
                  <a:cubicBezTo>
                    <a:pt x="147" y="134"/>
                    <a:pt x="147" y="134"/>
                    <a:pt x="147" y="134"/>
                  </a:cubicBezTo>
                  <a:cubicBezTo>
                    <a:pt x="146" y="133"/>
                    <a:pt x="146" y="133"/>
                    <a:pt x="146" y="133"/>
                  </a:cubicBezTo>
                  <a:cubicBezTo>
                    <a:pt x="146" y="133"/>
                    <a:pt x="146" y="133"/>
                    <a:pt x="146" y="133"/>
                  </a:cubicBezTo>
                  <a:cubicBezTo>
                    <a:pt x="146" y="129"/>
                    <a:pt x="146" y="129"/>
                    <a:pt x="146" y="129"/>
                  </a:cubicBezTo>
                  <a:cubicBezTo>
                    <a:pt x="149" y="128"/>
                    <a:pt x="149" y="128"/>
                    <a:pt x="149" y="128"/>
                  </a:cubicBezTo>
                  <a:cubicBezTo>
                    <a:pt x="152" y="127"/>
                    <a:pt x="152" y="127"/>
                    <a:pt x="152" y="127"/>
                  </a:cubicBezTo>
                  <a:cubicBezTo>
                    <a:pt x="152" y="127"/>
                    <a:pt x="152" y="127"/>
                    <a:pt x="152" y="127"/>
                  </a:cubicBezTo>
                  <a:cubicBezTo>
                    <a:pt x="152" y="127"/>
                    <a:pt x="152" y="127"/>
                    <a:pt x="152" y="127"/>
                  </a:cubicBezTo>
                  <a:cubicBezTo>
                    <a:pt x="152" y="127"/>
                    <a:pt x="152" y="127"/>
                    <a:pt x="152" y="127"/>
                  </a:cubicBezTo>
                  <a:cubicBezTo>
                    <a:pt x="153" y="127"/>
                    <a:pt x="153" y="127"/>
                    <a:pt x="153" y="127"/>
                  </a:cubicBezTo>
                  <a:cubicBezTo>
                    <a:pt x="153" y="127"/>
                    <a:pt x="154" y="126"/>
                    <a:pt x="154" y="126"/>
                  </a:cubicBezTo>
                  <a:cubicBezTo>
                    <a:pt x="155" y="125"/>
                    <a:pt x="155" y="125"/>
                    <a:pt x="155" y="125"/>
                  </a:cubicBezTo>
                  <a:cubicBezTo>
                    <a:pt x="156" y="124"/>
                    <a:pt x="156" y="124"/>
                    <a:pt x="156" y="124"/>
                  </a:cubicBezTo>
                  <a:cubicBezTo>
                    <a:pt x="156" y="123"/>
                    <a:pt x="156" y="123"/>
                    <a:pt x="156" y="123"/>
                  </a:cubicBezTo>
                  <a:cubicBezTo>
                    <a:pt x="157" y="124"/>
                    <a:pt x="157" y="124"/>
                    <a:pt x="157" y="124"/>
                  </a:cubicBezTo>
                  <a:cubicBezTo>
                    <a:pt x="157" y="127"/>
                    <a:pt x="157" y="127"/>
                    <a:pt x="157" y="127"/>
                  </a:cubicBezTo>
                  <a:cubicBezTo>
                    <a:pt x="158" y="126"/>
                    <a:pt x="158" y="126"/>
                    <a:pt x="158" y="126"/>
                  </a:cubicBezTo>
                  <a:cubicBezTo>
                    <a:pt x="158" y="127"/>
                    <a:pt x="158" y="127"/>
                    <a:pt x="158" y="127"/>
                  </a:cubicBezTo>
                  <a:cubicBezTo>
                    <a:pt x="159" y="125"/>
                    <a:pt x="159" y="125"/>
                    <a:pt x="159" y="125"/>
                  </a:cubicBezTo>
                  <a:cubicBezTo>
                    <a:pt x="161" y="124"/>
                    <a:pt x="161" y="124"/>
                    <a:pt x="161" y="124"/>
                  </a:cubicBezTo>
                  <a:cubicBezTo>
                    <a:pt x="161" y="125"/>
                    <a:pt x="161" y="125"/>
                    <a:pt x="161" y="125"/>
                  </a:cubicBezTo>
                  <a:cubicBezTo>
                    <a:pt x="161" y="126"/>
                    <a:pt x="161" y="126"/>
                    <a:pt x="161" y="126"/>
                  </a:cubicBezTo>
                  <a:cubicBezTo>
                    <a:pt x="162" y="127"/>
                    <a:pt x="162" y="127"/>
                    <a:pt x="162" y="127"/>
                  </a:cubicBezTo>
                  <a:cubicBezTo>
                    <a:pt x="162" y="126"/>
                    <a:pt x="162" y="126"/>
                    <a:pt x="162" y="126"/>
                  </a:cubicBezTo>
                  <a:cubicBezTo>
                    <a:pt x="163" y="127"/>
                    <a:pt x="163" y="127"/>
                    <a:pt x="163" y="127"/>
                  </a:cubicBezTo>
                  <a:cubicBezTo>
                    <a:pt x="163" y="126"/>
                    <a:pt x="163" y="126"/>
                    <a:pt x="163" y="126"/>
                  </a:cubicBezTo>
                  <a:cubicBezTo>
                    <a:pt x="162" y="125"/>
                    <a:pt x="162" y="125"/>
                    <a:pt x="162" y="125"/>
                  </a:cubicBezTo>
                  <a:cubicBezTo>
                    <a:pt x="163" y="124"/>
                    <a:pt x="163" y="124"/>
                    <a:pt x="163" y="124"/>
                  </a:cubicBezTo>
                  <a:cubicBezTo>
                    <a:pt x="164" y="123"/>
                    <a:pt x="164" y="123"/>
                    <a:pt x="164" y="123"/>
                  </a:cubicBezTo>
                  <a:cubicBezTo>
                    <a:pt x="163" y="123"/>
                    <a:pt x="163" y="123"/>
                    <a:pt x="163" y="123"/>
                  </a:cubicBezTo>
                  <a:cubicBezTo>
                    <a:pt x="163" y="118"/>
                    <a:pt x="163" y="118"/>
                    <a:pt x="163" y="118"/>
                  </a:cubicBezTo>
                  <a:cubicBezTo>
                    <a:pt x="162" y="117"/>
                    <a:pt x="162" y="117"/>
                    <a:pt x="162" y="117"/>
                  </a:cubicBezTo>
                  <a:cubicBezTo>
                    <a:pt x="162" y="115"/>
                    <a:pt x="162" y="115"/>
                    <a:pt x="162" y="115"/>
                  </a:cubicBezTo>
                  <a:cubicBezTo>
                    <a:pt x="161" y="114"/>
                    <a:pt x="161" y="114"/>
                    <a:pt x="161" y="114"/>
                  </a:cubicBezTo>
                  <a:cubicBezTo>
                    <a:pt x="161" y="113"/>
                    <a:pt x="161" y="113"/>
                    <a:pt x="161" y="113"/>
                  </a:cubicBezTo>
                  <a:cubicBezTo>
                    <a:pt x="159" y="111"/>
                    <a:pt x="159" y="111"/>
                    <a:pt x="159" y="111"/>
                  </a:cubicBezTo>
                  <a:cubicBezTo>
                    <a:pt x="161" y="107"/>
                    <a:pt x="161" y="107"/>
                    <a:pt x="161" y="107"/>
                  </a:cubicBezTo>
                  <a:cubicBezTo>
                    <a:pt x="160" y="105"/>
                    <a:pt x="160" y="105"/>
                    <a:pt x="160" y="105"/>
                  </a:cubicBezTo>
                  <a:cubicBezTo>
                    <a:pt x="158" y="104"/>
                    <a:pt x="158" y="104"/>
                    <a:pt x="158" y="104"/>
                  </a:cubicBezTo>
                  <a:cubicBezTo>
                    <a:pt x="156" y="103"/>
                    <a:pt x="156" y="103"/>
                    <a:pt x="156" y="103"/>
                  </a:cubicBezTo>
                  <a:cubicBezTo>
                    <a:pt x="156" y="102"/>
                    <a:pt x="156" y="102"/>
                    <a:pt x="156" y="102"/>
                  </a:cubicBezTo>
                  <a:cubicBezTo>
                    <a:pt x="158" y="100"/>
                    <a:pt x="158" y="100"/>
                    <a:pt x="158" y="100"/>
                  </a:cubicBezTo>
                  <a:cubicBezTo>
                    <a:pt x="158" y="101"/>
                    <a:pt x="158" y="101"/>
                    <a:pt x="158" y="101"/>
                  </a:cubicBezTo>
                  <a:cubicBezTo>
                    <a:pt x="159" y="100"/>
                    <a:pt x="159" y="100"/>
                    <a:pt x="159" y="100"/>
                  </a:cubicBezTo>
                  <a:cubicBezTo>
                    <a:pt x="159" y="99"/>
                    <a:pt x="159" y="99"/>
                    <a:pt x="159" y="99"/>
                  </a:cubicBezTo>
                  <a:cubicBezTo>
                    <a:pt x="159" y="99"/>
                    <a:pt x="159" y="99"/>
                    <a:pt x="159" y="99"/>
                  </a:cubicBezTo>
                  <a:cubicBezTo>
                    <a:pt x="163" y="98"/>
                    <a:pt x="163" y="98"/>
                    <a:pt x="163" y="98"/>
                  </a:cubicBezTo>
                  <a:cubicBezTo>
                    <a:pt x="163" y="97"/>
                    <a:pt x="163" y="97"/>
                    <a:pt x="163" y="97"/>
                  </a:cubicBezTo>
                  <a:cubicBezTo>
                    <a:pt x="162" y="97"/>
                    <a:pt x="162" y="97"/>
                    <a:pt x="162" y="97"/>
                  </a:cubicBezTo>
                  <a:cubicBezTo>
                    <a:pt x="162" y="96"/>
                    <a:pt x="162" y="96"/>
                    <a:pt x="162" y="96"/>
                  </a:cubicBezTo>
                  <a:cubicBezTo>
                    <a:pt x="159" y="96"/>
                    <a:pt x="159" y="96"/>
                    <a:pt x="159" y="96"/>
                  </a:cubicBezTo>
                  <a:cubicBezTo>
                    <a:pt x="159" y="94"/>
                    <a:pt x="159" y="94"/>
                    <a:pt x="159" y="94"/>
                  </a:cubicBezTo>
                  <a:cubicBezTo>
                    <a:pt x="157" y="93"/>
                    <a:pt x="157" y="93"/>
                    <a:pt x="157" y="93"/>
                  </a:cubicBezTo>
                  <a:cubicBezTo>
                    <a:pt x="156" y="93"/>
                    <a:pt x="156" y="93"/>
                    <a:pt x="156" y="93"/>
                  </a:cubicBezTo>
                  <a:cubicBezTo>
                    <a:pt x="160" y="89"/>
                    <a:pt x="160" y="89"/>
                    <a:pt x="160" y="89"/>
                  </a:cubicBezTo>
                  <a:cubicBezTo>
                    <a:pt x="159" y="88"/>
                    <a:pt x="159" y="88"/>
                    <a:pt x="159" y="88"/>
                  </a:cubicBezTo>
                  <a:cubicBezTo>
                    <a:pt x="159" y="87"/>
                    <a:pt x="159" y="87"/>
                    <a:pt x="159" y="87"/>
                  </a:cubicBezTo>
                  <a:cubicBezTo>
                    <a:pt x="161" y="88"/>
                    <a:pt x="161" y="88"/>
                    <a:pt x="161" y="88"/>
                  </a:cubicBezTo>
                  <a:cubicBezTo>
                    <a:pt x="163" y="89"/>
                    <a:pt x="163" y="89"/>
                    <a:pt x="163" y="89"/>
                  </a:cubicBezTo>
                  <a:cubicBezTo>
                    <a:pt x="164" y="89"/>
                    <a:pt x="164" y="89"/>
                    <a:pt x="164" y="89"/>
                  </a:cubicBezTo>
                  <a:cubicBezTo>
                    <a:pt x="167" y="91"/>
                    <a:pt x="167" y="91"/>
                    <a:pt x="167" y="91"/>
                  </a:cubicBezTo>
                  <a:cubicBezTo>
                    <a:pt x="168" y="91"/>
                    <a:pt x="168" y="91"/>
                    <a:pt x="168" y="91"/>
                  </a:cubicBezTo>
                  <a:cubicBezTo>
                    <a:pt x="169" y="90"/>
                    <a:pt x="169" y="90"/>
                    <a:pt x="169" y="90"/>
                  </a:cubicBezTo>
                  <a:cubicBezTo>
                    <a:pt x="169" y="90"/>
                    <a:pt x="169" y="90"/>
                    <a:pt x="169" y="90"/>
                  </a:cubicBezTo>
                  <a:cubicBezTo>
                    <a:pt x="170" y="95"/>
                    <a:pt x="170" y="95"/>
                    <a:pt x="170" y="95"/>
                  </a:cubicBezTo>
                  <a:cubicBezTo>
                    <a:pt x="170" y="97"/>
                    <a:pt x="170" y="97"/>
                    <a:pt x="170" y="97"/>
                  </a:cubicBezTo>
                  <a:cubicBezTo>
                    <a:pt x="171" y="96"/>
                    <a:pt x="171" y="96"/>
                    <a:pt x="171" y="96"/>
                  </a:cubicBezTo>
                  <a:cubicBezTo>
                    <a:pt x="171" y="96"/>
                    <a:pt x="171" y="96"/>
                    <a:pt x="171" y="96"/>
                  </a:cubicBezTo>
                  <a:cubicBezTo>
                    <a:pt x="170" y="97"/>
                    <a:pt x="170" y="97"/>
                    <a:pt x="170" y="97"/>
                  </a:cubicBezTo>
                  <a:cubicBezTo>
                    <a:pt x="171" y="97"/>
                    <a:pt x="171" y="97"/>
                    <a:pt x="171" y="97"/>
                  </a:cubicBezTo>
                  <a:cubicBezTo>
                    <a:pt x="173" y="99"/>
                    <a:pt x="173" y="99"/>
                    <a:pt x="173" y="99"/>
                  </a:cubicBezTo>
                  <a:cubicBezTo>
                    <a:pt x="183" y="99"/>
                    <a:pt x="183" y="99"/>
                    <a:pt x="183" y="99"/>
                  </a:cubicBezTo>
                  <a:cubicBezTo>
                    <a:pt x="184" y="99"/>
                    <a:pt x="184" y="99"/>
                    <a:pt x="184" y="99"/>
                  </a:cubicBezTo>
                  <a:cubicBezTo>
                    <a:pt x="185" y="98"/>
                    <a:pt x="185" y="98"/>
                    <a:pt x="185" y="98"/>
                  </a:cubicBezTo>
                  <a:cubicBezTo>
                    <a:pt x="187" y="99"/>
                    <a:pt x="187" y="99"/>
                    <a:pt x="187" y="99"/>
                  </a:cubicBezTo>
                  <a:cubicBezTo>
                    <a:pt x="190" y="100"/>
                    <a:pt x="190" y="100"/>
                    <a:pt x="190" y="100"/>
                  </a:cubicBezTo>
                  <a:cubicBezTo>
                    <a:pt x="190" y="100"/>
                    <a:pt x="190" y="100"/>
                    <a:pt x="190" y="100"/>
                  </a:cubicBezTo>
                  <a:cubicBezTo>
                    <a:pt x="190" y="101"/>
                    <a:pt x="190" y="101"/>
                    <a:pt x="190" y="101"/>
                  </a:cubicBezTo>
                  <a:cubicBezTo>
                    <a:pt x="189" y="102"/>
                    <a:pt x="189" y="102"/>
                    <a:pt x="189" y="102"/>
                  </a:cubicBezTo>
                  <a:cubicBezTo>
                    <a:pt x="189" y="103"/>
                    <a:pt x="189" y="103"/>
                    <a:pt x="189" y="103"/>
                  </a:cubicBezTo>
                  <a:cubicBezTo>
                    <a:pt x="189" y="104"/>
                    <a:pt x="189" y="104"/>
                    <a:pt x="189" y="104"/>
                  </a:cubicBezTo>
                  <a:cubicBezTo>
                    <a:pt x="189" y="104"/>
                    <a:pt x="189" y="104"/>
                    <a:pt x="189" y="104"/>
                  </a:cubicBezTo>
                  <a:cubicBezTo>
                    <a:pt x="188" y="104"/>
                    <a:pt x="188" y="104"/>
                    <a:pt x="188" y="104"/>
                  </a:cubicBezTo>
                  <a:cubicBezTo>
                    <a:pt x="186" y="106"/>
                    <a:pt x="186" y="106"/>
                    <a:pt x="186" y="106"/>
                  </a:cubicBezTo>
                  <a:cubicBezTo>
                    <a:pt x="182" y="109"/>
                    <a:pt x="182" y="109"/>
                    <a:pt x="182" y="109"/>
                  </a:cubicBezTo>
                  <a:cubicBezTo>
                    <a:pt x="181" y="110"/>
                    <a:pt x="181" y="110"/>
                    <a:pt x="181" y="110"/>
                  </a:cubicBezTo>
                  <a:cubicBezTo>
                    <a:pt x="182" y="115"/>
                    <a:pt x="182" y="115"/>
                    <a:pt x="182" y="115"/>
                  </a:cubicBezTo>
                  <a:cubicBezTo>
                    <a:pt x="183" y="116"/>
                    <a:pt x="183" y="116"/>
                    <a:pt x="183" y="116"/>
                  </a:cubicBezTo>
                  <a:cubicBezTo>
                    <a:pt x="185" y="116"/>
                    <a:pt x="185" y="116"/>
                    <a:pt x="185" y="116"/>
                  </a:cubicBezTo>
                  <a:cubicBezTo>
                    <a:pt x="186" y="116"/>
                    <a:pt x="186" y="116"/>
                    <a:pt x="186" y="116"/>
                  </a:cubicBezTo>
                  <a:cubicBezTo>
                    <a:pt x="186" y="114"/>
                    <a:pt x="186" y="114"/>
                    <a:pt x="186" y="114"/>
                  </a:cubicBezTo>
                  <a:cubicBezTo>
                    <a:pt x="186" y="113"/>
                    <a:pt x="186" y="113"/>
                    <a:pt x="186" y="113"/>
                  </a:cubicBezTo>
                  <a:cubicBezTo>
                    <a:pt x="187" y="111"/>
                    <a:pt x="187" y="111"/>
                    <a:pt x="187" y="111"/>
                  </a:cubicBezTo>
                  <a:cubicBezTo>
                    <a:pt x="187" y="110"/>
                    <a:pt x="187" y="110"/>
                    <a:pt x="187" y="110"/>
                  </a:cubicBezTo>
                  <a:cubicBezTo>
                    <a:pt x="190" y="110"/>
                    <a:pt x="190" y="110"/>
                    <a:pt x="190" y="110"/>
                  </a:cubicBezTo>
                  <a:cubicBezTo>
                    <a:pt x="190" y="110"/>
                    <a:pt x="190" y="110"/>
                    <a:pt x="190" y="110"/>
                  </a:cubicBezTo>
                  <a:cubicBezTo>
                    <a:pt x="191" y="117"/>
                    <a:pt x="191" y="117"/>
                    <a:pt x="191" y="117"/>
                  </a:cubicBezTo>
                  <a:cubicBezTo>
                    <a:pt x="192" y="119"/>
                    <a:pt x="192" y="119"/>
                    <a:pt x="192" y="119"/>
                  </a:cubicBezTo>
                  <a:cubicBezTo>
                    <a:pt x="193" y="123"/>
                    <a:pt x="193" y="123"/>
                    <a:pt x="193" y="123"/>
                  </a:cubicBezTo>
                  <a:cubicBezTo>
                    <a:pt x="194" y="123"/>
                    <a:pt x="194" y="123"/>
                    <a:pt x="194" y="123"/>
                  </a:cubicBezTo>
                  <a:cubicBezTo>
                    <a:pt x="195" y="124"/>
                    <a:pt x="195" y="124"/>
                    <a:pt x="195" y="124"/>
                  </a:cubicBezTo>
                  <a:cubicBezTo>
                    <a:pt x="196" y="124"/>
                    <a:pt x="196" y="124"/>
                    <a:pt x="196" y="124"/>
                  </a:cubicBezTo>
                  <a:cubicBezTo>
                    <a:pt x="197" y="121"/>
                    <a:pt x="197" y="121"/>
                    <a:pt x="197" y="121"/>
                  </a:cubicBezTo>
                  <a:cubicBezTo>
                    <a:pt x="196" y="117"/>
                    <a:pt x="196" y="117"/>
                    <a:pt x="196" y="117"/>
                  </a:cubicBezTo>
                  <a:cubicBezTo>
                    <a:pt x="197" y="115"/>
                    <a:pt x="197" y="115"/>
                    <a:pt x="197" y="115"/>
                  </a:cubicBezTo>
                  <a:cubicBezTo>
                    <a:pt x="198" y="113"/>
                    <a:pt x="198" y="113"/>
                    <a:pt x="198" y="113"/>
                  </a:cubicBezTo>
                  <a:cubicBezTo>
                    <a:pt x="198" y="109"/>
                    <a:pt x="198" y="109"/>
                    <a:pt x="198" y="109"/>
                  </a:cubicBezTo>
                  <a:cubicBezTo>
                    <a:pt x="198" y="108"/>
                    <a:pt x="198" y="108"/>
                    <a:pt x="198" y="108"/>
                  </a:cubicBezTo>
                  <a:cubicBezTo>
                    <a:pt x="198" y="108"/>
                    <a:pt x="198" y="108"/>
                    <a:pt x="198" y="108"/>
                  </a:cubicBezTo>
                  <a:cubicBezTo>
                    <a:pt x="198" y="108"/>
                    <a:pt x="198" y="108"/>
                    <a:pt x="198" y="108"/>
                  </a:cubicBezTo>
                  <a:cubicBezTo>
                    <a:pt x="198" y="108"/>
                    <a:pt x="198" y="108"/>
                    <a:pt x="198" y="108"/>
                  </a:cubicBezTo>
                  <a:cubicBezTo>
                    <a:pt x="201" y="107"/>
                    <a:pt x="201" y="107"/>
                    <a:pt x="201" y="107"/>
                  </a:cubicBezTo>
                  <a:cubicBezTo>
                    <a:pt x="202" y="108"/>
                    <a:pt x="202" y="108"/>
                    <a:pt x="202" y="108"/>
                  </a:cubicBezTo>
                  <a:cubicBezTo>
                    <a:pt x="204" y="108"/>
                    <a:pt x="204" y="108"/>
                    <a:pt x="204" y="108"/>
                  </a:cubicBezTo>
                  <a:cubicBezTo>
                    <a:pt x="205" y="107"/>
                    <a:pt x="205" y="107"/>
                    <a:pt x="205" y="107"/>
                  </a:cubicBezTo>
                  <a:cubicBezTo>
                    <a:pt x="207" y="102"/>
                    <a:pt x="207" y="102"/>
                    <a:pt x="207" y="102"/>
                  </a:cubicBezTo>
                  <a:cubicBezTo>
                    <a:pt x="208" y="99"/>
                    <a:pt x="208" y="99"/>
                    <a:pt x="208" y="99"/>
                  </a:cubicBezTo>
                  <a:cubicBezTo>
                    <a:pt x="208" y="98"/>
                    <a:pt x="208" y="98"/>
                    <a:pt x="208" y="98"/>
                  </a:cubicBezTo>
                  <a:cubicBezTo>
                    <a:pt x="208" y="96"/>
                    <a:pt x="208" y="96"/>
                    <a:pt x="208" y="96"/>
                  </a:cubicBezTo>
                  <a:cubicBezTo>
                    <a:pt x="208" y="96"/>
                    <a:pt x="208" y="96"/>
                    <a:pt x="208" y="96"/>
                  </a:cubicBezTo>
                  <a:cubicBezTo>
                    <a:pt x="209" y="95"/>
                    <a:pt x="209" y="95"/>
                    <a:pt x="209" y="95"/>
                  </a:cubicBezTo>
                  <a:cubicBezTo>
                    <a:pt x="210" y="92"/>
                    <a:pt x="210" y="92"/>
                    <a:pt x="210" y="92"/>
                  </a:cubicBezTo>
                  <a:cubicBezTo>
                    <a:pt x="210" y="88"/>
                    <a:pt x="210" y="88"/>
                    <a:pt x="210" y="88"/>
                  </a:cubicBezTo>
                  <a:cubicBezTo>
                    <a:pt x="211" y="86"/>
                    <a:pt x="211" y="86"/>
                    <a:pt x="211" y="86"/>
                  </a:cubicBezTo>
                  <a:cubicBezTo>
                    <a:pt x="211" y="86"/>
                    <a:pt x="211" y="86"/>
                    <a:pt x="211" y="86"/>
                  </a:cubicBezTo>
                  <a:cubicBezTo>
                    <a:pt x="217" y="83"/>
                    <a:pt x="217" y="83"/>
                    <a:pt x="217" y="83"/>
                  </a:cubicBezTo>
                  <a:cubicBezTo>
                    <a:pt x="218" y="81"/>
                    <a:pt x="218" y="81"/>
                    <a:pt x="218" y="81"/>
                  </a:cubicBezTo>
                  <a:cubicBezTo>
                    <a:pt x="221" y="80"/>
                    <a:pt x="221" y="80"/>
                    <a:pt x="221" y="80"/>
                  </a:cubicBezTo>
                  <a:cubicBezTo>
                    <a:pt x="223" y="80"/>
                    <a:pt x="223" y="80"/>
                    <a:pt x="223" y="80"/>
                  </a:cubicBezTo>
                  <a:cubicBezTo>
                    <a:pt x="226" y="82"/>
                    <a:pt x="226" y="82"/>
                    <a:pt x="226" y="82"/>
                  </a:cubicBezTo>
                  <a:cubicBezTo>
                    <a:pt x="226" y="81"/>
                    <a:pt x="226" y="81"/>
                    <a:pt x="226" y="81"/>
                  </a:cubicBezTo>
                  <a:cubicBezTo>
                    <a:pt x="225" y="79"/>
                    <a:pt x="225" y="79"/>
                    <a:pt x="225" y="79"/>
                  </a:cubicBezTo>
                  <a:lnTo>
                    <a:pt x="224" y="77"/>
                  </a:lnTo>
                  <a:close/>
                  <a:moveTo>
                    <a:pt x="85" y="36"/>
                  </a:moveTo>
                  <a:cubicBezTo>
                    <a:pt x="85" y="36"/>
                    <a:pt x="85" y="36"/>
                    <a:pt x="85" y="36"/>
                  </a:cubicBezTo>
                  <a:cubicBezTo>
                    <a:pt x="85" y="36"/>
                    <a:pt x="85" y="36"/>
                    <a:pt x="85" y="36"/>
                  </a:cubicBez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a:p>
          </p:txBody>
        </p:sp>
        <p:sp>
          <p:nvSpPr>
            <p:cNvPr id="1093" name="Freeform 17">
              <a:extLst>
                <a:ext uri="{FF2B5EF4-FFF2-40B4-BE49-F238E27FC236}">
                  <a16:creationId xmlns:a16="http://schemas.microsoft.com/office/drawing/2014/main" id="{887B52D6-7A85-4C2D-91C6-99C4A1D2F09F}"/>
                </a:ext>
              </a:extLst>
            </p:cNvPr>
            <p:cNvSpPr>
              <a:spLocks/>
            </p:cNvSpPr>
            <p:nvPr/>
          </p:nvSpPr>
          <p:spPr bwMode="auto">
            <a:xfrm>
              <a:off x="7917039" y="3866315"/>
              <a:ext cx="218555" cy="119756"/>
            </a:xfrm>
            <a:custGeom>
              <a:avLst/>
              <a:gdLst>
                <a:gd name="T0" fmla="*/ 8 w 62"/>
                <a:gd name="T1" fmla="*/ 2 h 34"/>
                <a:gd name="T2" fmla="*/ 8 w 62"/>
                <a:gd name="T3" fmla="*/ 2 h 34"/>
                <a:gd name="T4" fmla="*/ 2 w 62"/>
                <a:gd name="T5" fmla="*/ 6 h 34"/>
                <a:gd name="T6" fmla="*/ 2 w 62"/>
                <a:gd name="T7" fmla="*/ 7 h 34"/>
                <a:gd name="T8" fmla="*/ 2 w 62"/>
                <a:gd name="T9" fmla="*/ 7 h 34"/>
                <a:gd name="T10" fmla="*/ 0 w 62"/>
                <a:gd name="T11" fmla="*/ 14 h 34"/>
                <a:gd name="T12" fmla="*/ 9 w 62"/>
                <a:gd name="T13" fmla="*/ 16 h 34"/>
                <a:gd name="T14" fmla="*/ 16 w 62"/>
                <a:gd name="T15" fmla="*/ 21 h 34"/>
                <a:gd name="T16" fmla="*/ 22 w 62"/>
                <a:gd name="T17" fmla="*/ 24 h 34"/>
                <a:gd name="T18" fmla="*/ 34 w 62"/>
                <a:gd name="T19" fmla="*/ 25 h 34"/>
                <a:gd name="T20" fmla="*/ 41 w 62"/>
                <a:gd name="T21" fmla="*/ 30 h 34"/>
                <a:gd name="T22" fmla="*/ 48 w 62"/>
                <a:gd name="T23" fmla="*/ 33 h 34"/>
                <a:gd name="T24" fmla="*/ 54 w 62"/>
                <a:gd name="T25" fmla="*/ 33 h 34"/>
                <a:gd name="T26" fmla="*/ 54 w 62"/>
                <a:gd name="T27" fmla="*/ 33 h 34"/>
                <a:gd name="T28" fmla="*/ 56 w 62"/>
                <a:gd name="T29" fmla="*/ 34 h 34"/>
                <a:gd name="T30" fmla="*/ 57 w 62"/>
                <a:gd name="T31" fmla="*/ 33 h 34"/>
                <a:gd name="T32" fmla="*/ 59 w 62"/>
                <a:gd name="T33" fmla="*/ 33 h 34"/>
                <a:gd name="T34" fmla="*/ 60 w 62"/>
                <a:gd name="T35" fmla="*/ 33 h 34"/>
                <a:gd name="T36" fmla="*/ 61 w 62"/>
                <a:gd name="T37" fmla="*/ 32 h 34"/>
                <a:gd name="T38" fmla="*/ 61 w 62"/>
                <a:gd name="T39" fmla="*/ 32 h 34"/>
                <a:gd name="T40" fmla="*/ 61 w 62"/>
                <a:gd name="T41" fmla="*/ 32 h 34"/>
                <a:gd name="T42" fmla="*/ 61 w 62"/>
                <a:gd name="T43" fmla="*/ 31 h 34"/>
                <a:gd name="T44" fmla="*/ 61 w 62"/>
                <a:gd name="T45" fmla="*/ 31 h 34"/>
                <a:gd name="T46" fmla="*/ 62 w 62"/>
                <a:gd name="T47" fmla="*/ 31 h 34"/>
                <a:gd name="T48" fmla="*/ 61 w 62"/>
                <a:gd name="T49" fmla="*/ 28 h 34"/>
                <a:gd name="T50" fmla="*/ 60 w 62"/>
                <a:gd name="T51" fmla="*/ 27 h 34"/>
                <a:gd name="T52" fmla="*/ 61 w 62"/>
                <a:gd name="T53" fmla="*/ 27 h 34"/>
                <a:gd name="T54" fmla="*/ 61 w 62"/>
                <a:gd name="T55" fmla="*/ 27 h 34"/>
                <a:gd name="T56" fmla="*/ 61 w 62"/>
                <a:gd name="T57" fmla="*/ 27 h 34"/>
                <a:gd name="T58" fmla="*/ 62 w 62"/>
                <a:gd name="T59" fmla="*/ 22 h 34"/>
                <a:gd name="T60" fmla="*/ 62 w 62"/>
                <a:gd name="T61" fmla="*/ 21 h 34"/>
                <a:gd name="T62" fmla="*/ 49 w 62"/>
                <a:gd name="T63" fmla="*/ 20 h 34"/>
                <a:gd name="T64" fmla="*/ 41 w 62"/>
                <a:gd name="T65" fmla="*/ 18 h 34"/>
                <a:gd name="T66" fmla="*/ 34 w 62"/>
                <a:gd name="T67" fmla="*/ 14 h 34"/>
                <a:gd name="T68" fmla="*/ 28 w 62"/>
                <a:gd name="T69" fmla="*/ 10 h 34"/>
                <a:gd name="T70" fmla="*/ 21 w 62"/>
                <a:gd name="T71" fmla="*/ 6 h 34"/>
                <a:gd name="T72" fmla="*/ 14 w 62"/>
                <a:gd name="T73" fmla="*/ 0 h 34"/>
                <a:gd name="T74" fmla="*/ 8 w 62"/>
                <a:gd name="T75" fmla="*/ 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2" h="34">
                  <a:moveTo>
                    <a:pt x="8" y="2"/>
                  </a:moveTo>
                  <a:cubicBezTo>
                    <a:pt x="8" y="2"/>
                    <a:pt x="8" y="2"/>
                    <a:pt x="8" y="2"/>
                  </a:cubicBezTo>
                  <a:cubicBezTo>
                    <a:pt x="2" y="6"/>
                    <a:pt x="2" y="6"/>
                    <a:pt x="2" y="6"/>
                  </a:cubicBezTo>
                  <a:cubicBezTo>
                    <a:pt x="2" y="7"/>
                    <a:pt x="2" y="7"/>
                    <a:pt x="2" y="7"/>
                  </a:cubicBezTo>
                  <a:cubicBezTo>
                    <a:pt x="2" y="7"/>
                    <a:pt x="2" y="7"/>
                    <a:pt x="2" y="7"/>
                  </a:cubicBezTo>
                  <a:cubicBezTo>
                    <a:pt x="0" y="14"/>
                    <a:pt x="0" y="14"/>
                    <a:pt x="0" y="14"/>
                  </a:cubicBezTo>
                  <a:cubicBezTo>
                    <a:pt x="9" y="16"/>
                    <a:pt x="9" y="16"/>
                    <a:pt x="9" y="16"/>
                  </a:cubicBezTo>
                  <a:cubicBezTo>
                    <a:pt x="16" y="21"/>
                    <a:pt x="16" y="21"/>
                    <a:pt x="16" y="21"/>
                  </a:cubicBezTo>
                  <a:cubicBezTo>
                    <a:pt x="22" y="24"/>
                    <a:pt x="22" y="24"/>
                    <a:pt x="22" y="24"/>
                  </a:cubicBezTo>
                  <a:cubicBezTo>
                    <a:pt x="34" y="25"/>
                    <a:pt x="34" y="25"/>
                    <a:pt x="34" y="25"/>
                  </a:cubicBezTo>
                  <a:cubicBezTo>
                    <a:pt x="41" y="30"/>
                    <a:pt x="41" y="30"/>
                    <a:pt x="41" y="30"/>
                  </a:cubicBezTo>
                  <a:cubicBezTo>
                    <a:pt x="48" y="33"/>
                    <a:pt x="48" y="33"/>
                    <a:pt x="48" y="33"/>
                  </a:cubicBezTo>
                  <a:cubicBezTo>
                    <a:pt x="54" y="33"/>
                    <a:pt x="54" y="33"/>
                    <a:pt x="54" y="33"/>
                  </a:cubicBezTo>
                  <a:cubicBezTo>
                    <a:pt x="54" y="33"/>
                    <a:pt x="54" y="33"/>
                    <a:pt x="54" y="33"/>
                  </a:cubicBezTo>
                  <a:cubicBezTo>
                    <a:pt x="56" y="34"/>
                    <a:pt x="56" y="34"/>
                    <a:pt x="56" y="34"/>
                  </a:cubicBezTo>
                  <a:cubicBezTo>
                    <a:pt x="57" y="33"/>
                    <a:pt x="57" y="33"/>
                    <a:pt x="57" y="33"/>
                  </a:cubicBezTo>
                  <a:cubicBezTo>
                    <a:pt x="59" y="33"/>
                    <a:pt x="59" y="33"/>
                    <a:pt x="59" y="33"/>
                  </a:cubicBezTo>
                  <a:cubicBezTo>
                    <a:pt x="60" y="33"/>
                    <a:pt x="60" y="33"/>
                    <a:pt x="60" y="33"/>
                  </a:cubicBezTo>
                  <a:cubicBezTo>
                    <a:pt x="61" y="32"/>
                    <a:pt x="61" y="32"/>
                    <a:pt x="61" y="32"/>
                  </a:cubicBezTo>
                  <a:cubicBezTo>
                    <a:pt x="61" y="32"/>
                    <a:pt x="61" y="32"/>
                    <a:pt x="61" y="32"/>
                  </a:cubicBezTo>
                  <a:cubicBezTo>
                    <a:pt x="61" y="32"/>
                    <a:pt x="61" y="32"/>
                    <a:pt x="61" y="32"/>
                  </a:cubicBezTo>
                  <a:cubicBezTo>
                    <a:pt x="61" y="31"/>
                    <a:pt x="61" y="31"/>
                    <a:pt x="61" y="31"/>
                  </a:cubicBezTo>
                  <a:cubicBezTo>
                    <a:pt x="61" y="31"/>
                    <a:pt x="61" y="31"/>
                    <a:pt x="61" y="31"/>
                  </a:cubicBezTo>
                  <a:cubicBezTo>
                    <a:pt x="62" y="31"/>
                    <a:pt x="62" y="31"/>
                    <a:pt x="62" y="31"/>
                  </a:cubicBezTo>
                  <a:cubicBezTo>
                    <a:pt x="61" y="28"/>
                    <a:pt x="61" y="28"/>
                    <a:pt x="61" y="28"/>
                  </a:cubicBezTo>
                  <a:cubicBezTo>
                    <a:pt x="60" y="27"/>
                    <a:pt x="60" y="27"/>
                    <a:pt x="60" y="27"/>
                  </a:cubicBezTo>
                  <a:cubicBezTo>
                    <a:pt x="61" y="27"/>
                    <a:pt x="61" y="27"/>
                    <a:pt x="61" y="27"/>
                  </a:cubicBezTo>
                  <a:cubicBezTo>
                    <a:pt x="61" y="27"/>
                    <a:pt x="61" y="27"/>
                    <a:pt x="61" y="27"/>
                  </a:cubicBezTo>
                  <a:cubicBezTo>
                    <a:pt x="61" y="27"/>
                    <a:pt x="61" y="27"/>
                    <a:pt x="61" y="27"/>
                  </a:cubicBezTo>
                  <a:cubicBezTo>
                    <a:pt x="62" y="22"/>
                    <a:pt x="62" y="22"/>
                    <a:pt x="62" y="22"/>
                  </a:cubicBezTo>
                  <a:cubicBezTo>
                    <a:pt x="62" y="21"/>
                    <a:pt x="62" y="21"/>
                    <a:pt x="62" y="21"/>
                  </a:cubicBezTo>
                  <a:cubicBezTo>
                    <a:pt x="49" y="20"/>
                    <a:pt x="49" y="20"/>
                    <a:pt x="49" y="20"/>
                  </a:cubicBezTo>
                  <a:cubicBezTo>
                    <a:pt x="41" y="18"/>
                    <a:pt x="41" y="18"/>
                    <a:pt x="41" y="18"/>
                  </a:cubicBezTo>
                  <a:cubicBezTo>
                    <a:pt x="34" y="14"/>
                    <a:pt x="34" y="14"/>
                    <a:pt x="34" y="14"/>
                  </a:cubicBezTo>
                  <a:cubicBezTo>
                    <a:pt x="28" y="10"/>
                    <a:pt x="28" y="10"/>
                    <a:pt x="28" y="10"/>
                  </a:cubicBezTo>
                  <a:cubicBezTo>
                    <a:pt x="21" y="6"/>
                    <a:pt x="21" y="6"/>
                    <a:pt x="21" y="6"/>
                  </a:cubicBezTo>
                  <a:cubicBezTo>
                    <a:pt x="14" y="0"/>
                    <a:pt x="14" y="0"/>
                    <a:pt x="14" y="0"/>
                  </a:cubicBezTo>
                  <a:cubicBezTo>
                    <a:pt x="8" y="2"/>
                    <a:pt x="8" y="2"/>
                    <a:pt x="8" y="2"/>
                  </a:cubicBez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a:p>
          </p:txBody>
        </p:sp>
        <p:sp>
          <p:nvSpPr>
            <p:cNvPr id="1261" name="Iceland">
              <a:extLst>
                <a:ext uri="{FF2B5EF4-FFF2-40B4-BE49-F238E27FC236}">
                  <a16:creationId xmlns:a16="http://schemas.microsoft.com/office/drawing/2014/main" id="{4C29F803-1F0F-44A3-98F6-FA84903D1452}"/>
                </a:ext>
              </a:extLst>
            </p:cNvPr>
            <p:cNvSpPr>
              <a:spLocks/>
            </p:cNvSpPr>
            <p:nvPr/>
          </p:nvSpPr>
          <p:spPr bwMode="auto">
            <a:xfrm>
              <a:off x="5250628" y="2556332"/>
              <a:ext cx="274750" cy="162619"/>
            </a:xfrm>
            <a:custGeom>
              <a:avLst/>
              <a:gdLst>
                <a:gd name="T0" fmla="*/ 305 w 340"/>
                <a:gd name="T1" fmla="*/ 12 h 230"/>
                <a:gd name="T2" fmla="*/ 292 w 340"/>
                <a:gd name="T3" fmla="*/ 33 h 230"/>
                <a:gd name="T4" fmla="*/ 305 w 340"/>
                <a:gd name="T5" fmla="*/ 49 h 230"/>
                <a:gd name="T6" fmla="*/ 315 w 340"/>
                <a:gd name="T7" fmla="*/ 61 h 230"/>
                <a:gd name="T8" fmla="*/ 332 w 340"/>
                <a:gd name="T9" fmla="*/ 72 h 230"/>
                <a:gd name="T10" fmla="*/ 336 w 340"/>
                <a:gd name="T11" fmla="*/ 87 h 230"/>
                <a:gd name="T12" fmla="*/ 338 w 340"/>
                <a:gd name="T13" fmla="*/ 98 h 230"/>
                <a:gd name="T14" fmla="*/ 339 w 340"/>
                <a:gd name="T15" fmla="*/ 113 h 230"/>
                <a:gd name="T16" fmla="*/ 325 w 340"/>
                <a:gd name="T17" fmla="*/ 135 h 230"/>
                <a:gd name="T18" fmla="*/ 313 w 340"/>
                <a:gd name="T19" fmla="*/ 150 h 230"/>
                <a:gd name="T20" fmla="*/ 280 w 340"/>
                <a:gd name="T21" fmla="*/ 170 h 230"/>
                <a:gd name="T22" fmla="*/ 230 w 340"/>
                <a:gd name="T23" fmla="*/ 202 h 230"/>
                <a:gd name="T24" fmla="*/ 203 w 340"/>
                <a:gd name="T25" fmla="*/ 221 h 230"/>
                <a:gd name="T26" fmla="*/ 192 w 340"/>
                <a:gd name="T27" fmla="*/ 227 h 230"/>
                <a:gd name="T28" fmla="*/ 124 w 340"/>
                <a:gd name="T29" fmla="*/ 210 h 230"/>
                <a:gd name="T30" fmla="*/ 125 w 340"/>
                <a:gd name="T31" fmla="*/ 203 h 230"/>
                <a:gd name="T32" fmla="*/ 103 w 340"/>
                <a:gd name="T33" fmla="*/ 195 h 230"/>
                <a:gd name="T34" fmla="*/ 58 w 340"/>
                <a:gd name="T35" fmla="*/ 200 h 230"/>
                <a:gd name="T36" fmla="*/ 58 w 340"/>
                <a:gd name="T37" fmla="*/ 185 h 230"/>
                <a:gd name="T38" fmla="*/ 82 w 340"/>
                <a:gd name="T39" fmla="*/ 174 h 230"/>
                <a:gd name="T40" fmla="*/ 79 w 340"/>
                <a:gd name="T41" fmla="*/ 166 h 230"/>
                <a:gd name="T42" fmla="*/ 79 w 340"/>
                <a:gd name="T43" fmla="*/ 151 h 230"/>
                <a:gd name="T44" fmla="*/ 72 w 340"/>
                <a:gd name="T45" fmla="*/ 149 h 230"/>
                <a:gd name="T46" fmla="*/ 63 w 340"/>
                <a:gd name="T47" fmla="*/ 131 h 230"/>
                <a:gd name="T48" fmla="*/ 15 w 340"/>
                <a:gd name="T49" fmla="*/ 129 h 230"/>
                <a:gd name="T50" fmla="*/ 36 w 340"/>
                <a:gd name="T51" fmla="*/ 119 h 230"/>
                <a:gd name="T52" fmla="*/ 53 w 340"/>
                <a:gd name="T53" fmla="*/ 112 h 230"/>
                <a:gd name="T54" fmla="*/ 84 w 340"/>
                <a:gd name="T55" fmla="*/ 103 h 230"/>
                <a:gd name="T56" fmla="*/ 72 w 340"/>
                <a:gd name="T57" fmla="*/ 90 h 230"/>
                <a:gd name="T58" fmla="*/ 52 w 340"/>
                <a:gd name="T59" fmla="*/ 75 h 230"/>
                <a:gd name="T60" fmla="*/ 1 w 340"/>
                <a:gd name="T61" fmla="*/ 79 h 230"/>
                <a:gd name="T62" fmla="*/ 15 w 340"/>
                <a:gd name="T63" fmla="*/ 68 h 230"/>
                <a:gd name="T64" fmla="*/ 31 w 340"/>
                <a:gd name="T65" fmla="*/ 64 h 230"/>
                <a:gd name="T66" fmla="*/ 21 w 340"/>
                <a:gd name="T67" fmla="*/ 51 h 230"/>
                <a:gd name="T68" fmla="*/ 23 w 340"/>
                <a:gd name="T69" fmla="*/ 35 h 230"/>
                <a:gd name="T70" fmla="*/ 29 w 340"/>
                <a:gd name="T71" fmla="*/ 28 h 230"/>
                <a:gd name="T72" fmla="*/ 45 w 340"/>
                <a:gd name="T73" fmla="*/ 42 h 230"/>
                <a:gd name="T74" fmla="*/ 58 w 340"/>
                <a:gd name="T75" fmla="*/ 45 h 230"/>
                <a:gd name="T76" fmla="*/ 63 w 340"/>
                <a:gd name="T77" fmla="*/ 35 h 230"/>
                <a:gd name="T78" fmla="*/ 62 w 340"/>
                <a:gd name="T79" fmla="*/ 20 h 230"/>
                <a:gd name="T80" fmla="*/ 42 w 340"/>
                <a:gd name="T81" fmla="*/ 13 h 230"/>
                <a:gd name="T82" fmla="*/ 72 w 340"/>
                <a:gd name="T83" fmla="*/ 17 h 230"/>
                <a:gd name="T84" fmla="*/ 92 w 340"/>
                <a:gd name="T85" fmla="*/ 43 h 230"/>
                <a:gd name="T86" fmla="*/ 88 w 340"/>
                <a:gd name="T87" fmla="*/ 62 h 230"/>
                <a:gd name="T88" fmla="*/ 97 w 340"/>
                <a:gd name="T89" fmla="*/ 76 h 230"/>
                <a:gd name="T90" fmla="*/ 104 w 340"/>
                <a:gd name="T91" fmla="*/ 96 h 230"/>
                <a:gd name="T92" fmla="*/ 114 w 340"/>
                <a:gd name="T93" fmla="*/ 68 h 230"/>
                <a:gd name="T94" fmla="*/ 128 w 340"/>
                <a:gd name="T95" fmla="*/ 62 h 230"/>
                <a:gd name="T96" fmla="*/ 143 w 340"/>
                <a:gd name="T97" fmla="*/ 46 h 230"/>
                <a:gd name="T98" fmla="*/ 156 w 340"/>
                <a:gd name="T99" fmla="*/ 42 h 230"/>
                <a:gd name="T100" fmla="*/ 178 w 340"/>
                <a:gd name="T101" fmla="*/ 28 h 230"/>
                <a:gd name="T102" fmla="*/ 198 w 340"/>
                <a:gd name="T103" fmla="*/ 60 h 230"/>
                <a:gd name="T104" fmla="*/ 205 w 340"/>
                <a:gd name="T105" fmla="*/ 30 h 230"/>
                <a:gd name="T106" fmla="*/ 223 w 340"/>
                <a:gd name="T107" fmla="*/ 34 h 230"/>
                <a:gd name="T108" fmla="*/ 245 w 340"/>
                <a:gd name="T109" fmla="*/ 28 h 230"/>
                <a:gd name="T110" fmla="*/ 265 w 340"/>
                <a:gd name="T111" fmla="*/ 1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40" h="230">
                  <a:moveTo>
                    <a:pt x="278" y="23"/>
                  </a:moveTo>
                  <a:lnTo>
                    <a:pt x="278" y="23"/>
                  </a:lnTo>
                  <a:lnTo>
                    <a:pt x="282" y="23"/>
                  </a:lnTo>
                  <a:lnTo>
                    <a:pt x="288" y="21"/>
                  </a:lnTo>
                  <a:lnTo>
                    <a:pt x="290" y="19"/>
                  </a:lnTo>
                  <a:lnTo>
                    <a:pt x="296" y="13"/>
                  </a:lnTo>
                  <a:lnTo>
                    <a:pt x="300" y="11"/>
                  </a:lnTo>
                  <a:lnTo>
                    <a:pt x="305" y="12"/>
                  </a:lnTo>
                  <a:lnTo>
                    <a:pt x="308" y="11"/>
                  </a:lnTo>
                  <a:lnTo>
                    <a:pt x="308" y="12"/>
                  </a:lnTo>
                  <a:lnTo>
                    <a:pt x="305" y="14"/>
                  </a:lnTo>
                  <a:lnTo>
                    <a:pt x="302" y="15"/>
                  </a:lnTo>
                  <a:lnTo>
                    <a:pt x="298" y="19"/>
                  </a:lnTo>
                  <a:lnTo>
                    <a:pt x="294" y="27"/>
                  </a:lnTo>
                  <a:lnTo>
                    <a:pt x="292" y="31"/>
                  </a:lnTo>
                  <a:lnTo>
                    <a:pt x="292" y="33"/>
                  </a:lnTo>
                  <a:lnTo>
                    <a:pt x="295" y="36"/>
                  </a:lnTo>
                  <a:lnTo>
                    <a:pt x="299" y="38"/>
                  </a:lnTo>
                  <a:lnTo>
                    <a:pt x="302" y="36"/>
                  </a:lnTo>
                  <a:lnTo>
                    <a:pt x="303" y="37"/>
                  </a:lnTo>
                  <a:lnTo>
                    <a:pt x="305" y="39"/>
                  </a:lnTo>
                  <a:lnTo>
                    <a:pt x="306" y="41"/>
                  </a:lnTo>
                  <a:lnTo>
                    <a:pt x="306" y="44"/>
                  </a:lnTo>
                  <a:lnTo>
                    <a:pt x="305" y="49"/>
                  </a:lnTo>
                  <a:lnTo>
                    <a:pt x="303" y="53"/>
                  </a:lnTo>
                  <a:lnTo>
                    <a:pt x="300" y="57"/>
                  </a:lnTo>
                  <a:lnTo>
                    <a:pt x="301" y="59"/>
                  </a:lnTo>
                  <a:lnTo>
                    <a:pt x="303" y="59"/>
                  </a:lnTo>
                  <a:lnTo>
                    <a:pt x="313" y="57"/>
                  </a:lnTo>
                  <a:lnTo>
                    <a:pt x="314" y="57"/>
                  </a:lnTo>
                  <a:lnTo>
                    <a:pt x="315" y="58"/>
                  </a:lnTo>
                  <a:lnTo>
                    <a:pt x="315" y="61"/>
                  </a:lnTo>
                  <a:lnTo>
                    <a:pt x="316" y="63"/>
                  </a:lnTo>
                  <a:lnTo>
                    <a:pt x="317" y="65"/>
                  </a:lnTo>
                  <a:lnTo>
                    <a:pt x="316" y="67"/>
                  </a:lnTo>
                  <a:lnTo>
                    <a:pt x="312" y="73"/>
                  </a:lnTo>
                  <a:lnTo>
                    <a:pt x="317" y="69"/>
                  </a:lnTo>
                  <a:lnTo>
                    <a:pt x="321" y="68"/>
                  </a:lnTo>
                  <a:lnTo>
                    <a:pt x="329" y="70"/>
                  </a:lnTo>
                  <a:lnTo>
                    <a:pt x="332" y="72"/>
                  </a:lnTo>
                  <a:lnTo>
                    <a:pt x="333" y="76"/>
                  </a:lnTo>
                  <a:lnTo>
                    <a:pt x="336" y="75"/>
                  </a:lnTo>
                  <a:lnTo>
                    <a:pt x="337" y="75"/>
                  </a:lnTo>
                  <a:lnTo>
                    <a:pt x="338" y="77"/>
                  </a:lnTo>
                  <a:lnTo>
                    <a:pt x="339" y="80"/>
                  </a:lnTo>
                  <a:lnTo>
                    <a:pt x="337" y="83"/>
                  </a:lnTo>
                  <a:lnTo>
                    <a:pt x="337" y="86"/>
                  </a:lnTo>
                  <a:lnTo>
                    <a:pt x="336" y="87"/>
                  </a:lnTo>
                  <a:lnTo>
                    <a:pt x="333" y="88"/>
                  </a:lnTo>
                  <a:lnTo>
                    <a:pt x="333" y="89"/>
                  </a:lnTo>
                  <a:lnTo>
                    <a:pt x="334" y="92"/>
                  </a:lnTo>
                  <a:lnTo>
                    <a:pt x="335" y="94"/>
                  </a:lnTo>
                  <a:lnTo>
                    <a:pt x="337" y="94"/>
                  </a:lnTo>
                  <a:lnTo>
                    <a:pt x="338" y="95"/>
                  </a:lnTo>
                  <a:lnTo>
                    <a:pt x="338" y="97"/>
                  </a:lnTo>
                  <a:lnTo>
                    <a:pt x="338" y="98"/>
                  </a:lnTo>
                  <a:lnTo>
                    <a:pt x="337" y="99"/>
                  </a:lnTo>
                  <a:lnTo>
                    <a:pt x="336" y="100"/>
                  </a:lnTo>
                  <a:lnTo>
                    <a:pt x="334" y="102"/>
                  </a:lnTo>
                  <a:lnTo>
                    <a:pt x="340" y="105"/>
                  </a:lnTo>
                  <a:lnTo>
                    <a:pt x="340" y="107"/>
                  </a:lnTo>
                  <a:lnTo>
                    <a:pt x="340" y="109"/>
                  </a:lnTo>
                  <a:lnTo>
                    <a:pt x="340" y="111"/>
                  </a:lnTo>
                  <a:lnTo>
                    <a:pt x="339" y="113"/>
                  </a:lnTo>
                  <a:lnTo>
                    <a:pt x="337" y="115"/>
                  </a:lnTo>
                  <a:lnTo>
                    <a:pt x="334" y="115"/>
                  </a:lnTo>
                  <a:lnTo>
                    <a:pt x="331" y="116"/>
                  </a:lnTo>
                  <a:lnTo>
                    <a:pt x="332" y="119"/>
                  </a:lnTo>
                  <a:lnTo>
                    <a:pt x="332" y="122"/>
                  </a:lnTo>
                  <a:lnTo>
                    <a:pt x="331" y="126"/>
                  </a:lnTo>
                  <a:lnTo>
                    <a:pt x="328" y="132"/>
                  </a:lnTo>
                  <a:lnTo>
                    <a:pt x="325" y="135"/>
                  </a:lnTo>
                  <a:lnTo>
                    <a:pt x="322" y="137"/>
                  </a:lnTo>
                  <a:lnTo>
                    <a:pt x="317" y="136"/>
                  </a:lnTo>
                  <a:lnTo>
                    <a:pt x="315" y="135"/>
                  </a:lnTo>
                  <a:lnTo>
                    <a:pt x="315" y="139"/>
                  </a:lnTo>
                  <a:lnTo>
                    <a:pt x="312" y="142"/>
                  </a:lnTo>
                  <a:lnTo>
                    <a:pt x="313" y="145"/>
                  </a:lnTo>
                  <a:lnTo>
                    <a:pt x="314" y="146"/>
                  </a:lnTo>
                  <a:lnTo>
                    <a:pt x="313" y="150"/>
                  </a:lnTo>
                  <a:lnTo>
                    <a:pt x="312" y="153"/>
                  </a:lnTo>
                  <a:lnTo>
                    <a:pt x="309" y="156"/>
                  </a:lnTo>
                  <a:lnTo>
                    <a:pt x="307" y="158"/>
                  </a:lnTo>
                  <a:lnTo>
                    <a:pt x="302" y="161"/>
                  </a:lnTo>
                  <a:lnTo>
                    <a:pt x="298" y="165"/>
                  </a:lnTo>
                  <a:lnTo>
                    <a:pt x="295" y="167"/>
                  </a:lnTo>
                  <a:lnTo>
                    <a:pt x="287" y="167"/>
                  </a:lnTo>
                  <a:lnTo>
                    <a:pt x="280" y="170"/>
                  </a:lnTo>
                  <a:lnTo>
                    <a:pt x="269" y="176"/>
                  </a:lnTo>
                  <a:lnTo>
                    <a:pt x="262" y="180"/>
                  </a:lnTo>
                  <a:lnTo>
                    <a:pt x="257" y="186"/>
                  </a:lnTo>
                  <a:lnTo>
                    <a:pt x="250" y="194"/>
                  </a:lnTo>
                  <a:lnTo>
                    <a:pt x="244" y="198"/>
                  </a:lnTo>
                  <a:lnTo>
                    <a:pt x="241" y="199"/>
                  </a:lnTo>
                  <a:lnTo>
                    <a:pt x="235" y="199"/>
                  </a:lnTo>
                  <a:lnTo>
                    <a:pt x="230" y="202"/>
                  </a:lnTo>
                  <a:lnTo>
                    <a:pt x="213" y="206"/>
                  </a:lnTo>
                  <a:lnTo>
                    <a:pt x="208" y="208"/>
                  </a:lnTo>
                  <a:lnTo>
                    <a:pt x="207" y="211"/>
                  </a:lnTo>
                  <a:lnTo>
                    <a:pt x="204" y="214"/>
                  </a:lnTo>
                  <a:lnTo>
                    <a:pt x="204" y="215"/>
                  </a:lnTo>
                  <a:lnTo>
                    <a:pt x="205" y="216"/>
                  </a:lnTo>
                  <a:lnTo>
                    <a:pt x="206" y="217"/>
                  </a:lnTo>
                  <a:lnTo>
                    <a:pt x="203" y="221"/>
                  </a:lnTo>
                  <a:lnTo>
                    <a:pt x="199" y="224"/>
                  </a:lnTo>
                  <a:lnTo>
                    <a:pt x="197" y="224"/>
                  </a:lnTo>
                  <a:lnTo>
                    <a:pt x="195" y="221"/>
                  </a:lnTo>
                  <a:lnTo>
                    <a:pt x="194" y="221"/>
                  </a:lnTo>
                  <a:lnTo>
                    <a:pt x="194" y="222"/>
                  </a:lnTo>
                  <a:lnTo>
                    <a:pt x="194" y="222"/>
                  </a:lnTo>
                  <a:lnTo>
                    <a:pt x="195" y="225"/>
                  </a:lnTo>
                  <a:lnTo>
                    <a:pt x="192" y="227"/>
                  </a:lnTo>
                  <a:lnTo>
                    <a:pt x="181" y="230"/>
                  </a:lnTo>
                  <a:lnTo>
                    <a:pt x="163" y="227"/>
                  </a:lnTo>
                  <a:lnTo>
                    <a:pt x="155" y="225"/>
                  </a:lnTo>
                  <a:lnTo>
                    <a:pt x="146" y="221"/>
                  </a:lnTo>
                  <a:lnTo>
                    <a:pt x="141" y="220"/>
                  </a:lnTo>
                  <a:lnTo>
                    <a:pt x="133" y="219"/>
                  </a:lnTo>
                  <a:lnTo>
                    <a:pt x="127" y="214"/>
                  </a:lnTo>
                  <a:lnTo>
                    <a:pt x="124" y="210"/>
                  </a:lnTo>
                  <a:lnTo>
                    <a:pt x="124" y="209"/>
                  </a:lnTo>
                  <a:lnTo>
                    <a:pt x="124" y="207"/>
                  </a:lnTo>
                  <a:lnTo>
                    <a:pt x="125" y="206"/>
                  </a:lnTo>
                  <a:lnTo>
                    <a:pt x="126" y="205"/>
                  </a:lnTo>
                  <a:lnTo>
                    <a:pt x="128" y="205"/>
                  </a:lnTo>
                  <a:lnTo>
                    <a:pt x="128" y="205"/>
                  </a:lnTo>
                  <a:lnTo>
                    <a:pt x="127" y="202"/>
                  </a:lnTo>
                  <a:lnTo>
                    <a:pt x="125" y="203"/>
                  </a:lnTo>
                  <a:lnTo>
                    <a:pt x="121" y="207"/>
                  </a:lnTo>
                  <a:lnTo>
                    <a:pt x="119" y="207"/>
                  </a:lnTo>
                  <a:lnTo>
                    <a:pt x="117" y="205"/>
                  </a:lnTo>
                  <a:lnTo>
                    <a:pt x="117" y="203"/>
                  </a:lnTo>
                  <a:lnTo>
                    <a:pt x="112" y="202"/>
                  </a:lnTo>
                  <a:lnTo>
                    <a:pt x="108" y="200"/>
                  </a:lnTo>
                  <a:lnTo>
                    <a:pt x="104" y="196"/>
                  </a:lnTo>
                  <a:lnTo>
                    <a:pt x="103" y="195"/>
                  </a:lnTo>
                  <a:lnTo>
                    <a:pt x="105" y="193"/>
                  </a:lnTo>
                  <a:lnTo>
                    <a:pt x="105" y="192"/>
                  </a:lnTo>
                  <a:lnTo>
                    <a:pt x="104" y="192"/>
                  </a:lnTo>
                  <a:lnTo>
                    <a:pt x="101" y="193"/>
                  </a:lnTo>
                  <a:lnTo>
                    <a:pt x="96" y="197"/>
                  </a:lnTo>
                  <a:lnTo>
                    <a:pt x="94" y="198"/>
                  </a:lnTo>
                  <a:lnTo>
                    <a:pt x="65" y="199"/>
                  </a:lnTo>
                  <a:lnTo>
                    <a:pt x="58" y="200"/>
                  </a:lnTo>
                  <a:lnTo>
                    <a:pt x="57" y="200"/>
                  </a:lnTo>
                  <a:lnTo>
                    <a:pt x="55" y="198"/>
                  </a:lnTo>
                  <a:lnTo>
                    <a:pt x="54" y="191"/>
                  </a:lnTo>
                  <a:lnTo>
                    <a:pt x="54" y="187"/>
                  </a:lnTo>
                  <a:lnTo>
                    <a:pt x="54" y="185"/>
                  </a:lnTo>
                  <a:lnTo>
                    <a:pt x="55" y="182"/>
                  </a:lnTo>
                  <a:lnTo>
                    <a:pt x="57" y="183"/>
                  </a:lnTo>
                  <a:lnTo>
                    <a:pt x="58" y="185"/>
                  </a:lnTo>
                  <a:lnTo>
                    <a:pt x="60" y="187"/>
                  </a:lnTo>
                  <a:lnTo>
                    <a:pt x="61" y="189"/>
                  </a:lnTo>
                  <a:lnTo>
                    <a:pt x="71" y="185"/>
                  </a:lnTo>
                  <a:lnTo>
                    <a:pt x="75" y="183"/>
                  </a:lnTo>
                  <a:lnTo>
                    <a:pt x="77" y="181"/>
                  </a:lnTo>
                  <a:lnTo>
                    <a:pt x="79" y="177"/>
                  </a:lnTo>
                  <a:lnTo>
                    <a:pt x="81" y="175"/>
                  </a:lnTo>
                  <a:lnTo>
                    <a:pt x="82" y="174"/>
                  </a:lnTo>
                  <a:lnTo>
                    <a:pt x="84" y="168"/>
                  </a:lnTo>
                  <a:lnTo>
                    <a:pt x="86" y="165"/>
                  </a:lnTo>
                  <a:lnTo>
                    <a:pt x="87" y="163"/>
                  </a:lnTo>
                  <a:lnTo>
                    <a:pt x="89" y="162"/>
                  </a:lnTo>
                  <a:lnTo>
                    <a:pt x="94" y="161"/>
                  </a:lnTo>
                  <a:lnTo>
                    <a:pt x="91" y="160"/>
                  </a:lnTo>
                  <a:lnTo>
                    <a:pt x="88" y="160"/>
                  </a:lnTo>
                  <a:lnTo>
                    <a:pt x="79" y="166"/>
                  </a:lnTo>
                  <a:lnTo>
                    <a:pt x="75" y="166"/>
                  </a:lnTo>
                  <a:lnTo>
                    <a:pt x="76" y="165"/>
                  </a:lnTo>
                  <a:lnTo>
                    <a:pt x="77" y="163"/>
                  </a:lnTo>
                  <a:lnTo>
                    <a:pt x="80" y="160"/>
                  </a:lnTo>
                  <a:lnTo>
                    <a:pt x="78" y="160"/>
                  </a:lnTo>
                  <a:lnTo>
                    <a:pt x="77" y="159"/>
                  </a:lnTo>
                  <a:lnTo>
                    <a:pt x="77" y="156"/>
                  </a:lnTo>
                  <a:lnTo>
                    <a:pt x="79" y="151"/>
                  </a:lnTo>
                  <a:lnTo>
                    <a:pt x="86" y="145"/>
                  </a:lnTo>
                  <a:lnTo>
                    <a:pt x="89" y="144"/>
                  </a:lnTo>
                  <a:lnTo>
                    <a:pt x="90" y="143"/>
                  </a:lnTo>
                  <a:lnTo>
                    <a:pt x="89" y="142"/>
                  </a:lnTo>
                  <a:lnTo>
                    <a:pt x="87" y="142"/>
                  </a:lnTo>
                  <a:lnTo>
                    <a:pt x="79" y="148"/>
                  </a:lnTo>
                  <a:lnTo>
                    <a:pt x="74" y="150"/>
                  </a:lnTo>
                  <a:lnTo>
                    <a:pt x="72" y="149"/>
                  </a:lnTo>
                  <a:lnTo>
                    <a:pt x="69" y="147"/>
                  </a:lnTo>
                  <a:lnTo>
                    <a:pt x="68" y="146"/>
                  </a:lnTo>
                  <a:lnTo>
                    <a:pt x="67" y="143"/>
                  </a:lnTo>
                  <a:lnTo>
                    <a:pt x="67" y="142"/>
                  </a:lnTo>
                  <a:lnTo>
                    <a:pt x="70" y="137"/>
                  </a:lnTo>
                  <a:lnTo>
                    <a:pt x="69" y="136"/>
                  </a:lnTo>
                  <a:lnTo>
                    <a:pt x="68" y="135"/>
                  </a:lnTo>
                  <a:lnTo>
                    <a:pt x="63" y="131"/>
                  </a:lnTo>
                  <a:lnTo>
                    <a:pt x="55" y="131"/>
                  </a:lnTo>
                  <a:lnTo>
                    <a:pt x="35" y="129"/>
                  </a:lnTo>
                  <a:lnTo>
                    <a:pt x="31" y="130"/>
                  </a:lnTo>
                  <a:lnTo>
                    <a:pt x="24" y="134"/>
                  </a:lnTo>
                  <a:lnTo>
                    <a:pt x="20" y="135"/>
                  </a:lnTo>
                  <a:lnTo>
                    <a:pt x="19" y="134"/>
                  </a:lnTo>
                  <a:lnTo>
                    <a:pt x="17" y="132"/>
                  </a:lnTo>
                  <a:lnTo>
                    <a:pt x="15" y="129"/>
                  </a:lnTo>
                  <a:lnTo>
                    <a:pt x="14" y="126"/>
                  </a:lnTo>
                  <a:lnTo>
                    <a:pt x="15" y="123"/>
                  </a:lnTo>
                  <a:lnTo>
                    <a:pt x="17" y="122"/>
                  </a:lnTo>
                  <a:lnTo>
                    <a:pt x="19" y="121"/>
                  </a:lnTo>
                  <a:lnTo>
                    <a:pt x="24" y="122"/>
                  </a:lnTo>
                  <a:lnTo>
                    <a:pt x="31" y="120"/>
                  </a:lnTo>
                  <a:lnTo>
                    <a:pt x="35" y="119"/>
                  </a:lnTo>
                  <a:lnTo>
                    <a:pt x="36" y="119"/>
                  </a:lnTo>
                  <a:lnTo>
                    <a:pt x="39" y="116"/>
                  </a:lnTo>
                  <a:lnTo>
                    <a:pt x="40" y="116"/>
                  </a:lnTo>
                  <a:lnTo>
                    <a:pt x="42" y="117"/>
                  </a:lnTo>
                  <a:lnTo>
                    <a:pt x="42" y="118"/>
                  </a:lnTo>
                  <a:lnTo>
                    <a:pt x="49" y="116"/>
                  </a:lnTo>
                  <a:lnTo>
                    <a:pt x="51" y="114"/>
                  </a:lnTo>
                  <a:lnTo>
                    <a:pt x="52" y="113"/>
                  </a:lnTo>
                  <a:lnTo>
                    <a:pt x="53" y="112"/>
                  </a:lnTo>
                  <a:lnTo>
                    <a:pt x="56" y="114"/>
                  </a:lnTo>
                  <a:lnTo>
                    <a:pt x="58" y="114"/>
                  </a:lnTo>
                  <a:lnTo>
                    <a:pt x="62" y="113"/>
                  </a:lnTo>
                  <a:lnTo>
                    <a:pt x="67" y="112"/>
                  </a:lnTo>
                  <a:lnTo>
                    <a:pt x="80" y="112"/>
                  </a:lnTo>
                  <a:lnTo>
                    <a:pt x="82" y="110"/>
                  </a:lnTo>
                  <a:lnTo>
                    <a:pt x="83" y="108"/>
                  </a:lnTo>
                  <a:lnTo>
                    <a:pt x="84" y="103"/>
                  </a:lnTo>
                  <a:lnTo>
                    <a:pt x="84" y="102"/>
                  </a:lnTo>
                  <a:lnTo>
                    <a:pt x="76" y="107"/>
                  </a:lnTo>
                  <a:lnTo>
                    <a:pt x="74" y="106"/>
                  </a:lnTo>
                  <a:lnTo>
                    <a:pt x="65" y="104"/>
                  </a:lnTo>
                  <a:lnTo>
                    <a:pt x="61" y="101"/>
                  </a:lnTo>
                  <a:lnTo>
                    <a:pt x="62" y="99"/>
                  </a:lnTo>
                  <a:lnTo>
                    <a:pt x="67" y="94"/>
                  </a:lnTo>
                  <a:lnTo>
                    <a:pt x="72" y="90"/>
                  </a:lnTo>
                  <a:lnTo>
                    <a:pt x="80" y="86"/>
                  </a:lnTo>
                  <a:lnTo>
                    <a:pt x="82" y="84"/>
                  </a:lnTo>
                  <a:lnTo>
                    <a:pt x="82" y="83"/>
                  </a:lnTo>
                  <a:lnTo>
                    <a:pt x="77" y="79"/>
                  </a:lnTo>
                  <a:lnTo>
                    <a:pt x="67" y="80"/>
                  </a:lnTo>
                  <a:lnTo>
                    <a:pt x="65" y="76"/>
                  </a:lnTo>
                  <a:lnTo>
                    <a:pt x="57" y="74"/>
                  </a:lnTo>
                  <a:lnTo>
                    <a:pt x="52" y="75"/>
                  </a:lnTo>
                  <a:lnTo>
                    <a:pt x="49" y="73"/>
                  </a:lnTo>
                  <a:lnTo>
                    <a:pt x="42" y="76"/>
                  </a:lnTo>
                  <a:lnTo>
                    <a:pt x="27" y="81"/>
                  </a:lnTo>
                  <a:lnTo>
                    <a:pt x="21" y="84"/>
                  </a:lnTo>
                  <a:lnTo>
                    <a:pt x="18" y="86"/>
                  </a:lnTo>
                  <a:lnTo>
                    <a:pt x="14" y="83"/>
                  </a:lnTo>
                  <a:lnTo>
                    <a:pt x="8" y="80"/>
                  </a:lnTo>
                  <a:lnTo>
                    <a:pt x="1" y="79"/>
                  </a:lnTo>
                  <a:lnTo>
                    <a:pt x="0" y="77"/>
                  </a:lnTo>
                  <a:lnTo>
                    <a:pt x="4" y="71"/>
                  </a:lnTo>
                  <a:lnTo>
                    <a:pt x="7" y="70"/>
                  </a:lnTo>
                  <a:lnTo>
                    <a:pt x="10" y="70"/>
                  </a:lnTo>
                  <a:lnTo>
                    <a:pt x="15" y="74"/>
                  </a:lnTo>
                  <a:lnTo>
                    <a:pt x="19" y="76"/>
                  </a:lnTo>
                  <a:lnTo>
                    <a:pt x="14" y="70"/>
                  </a:lnTo>
                  <a:lnTo>
                    <a:pt x="15" y="68"/>
                  </a:lnTo>
                  <a:lnTo>
                    <a:pt x="14" y="64"/>
                  </a:lnTo>
                  <a:lnTo>
                    <a:pt x="13" y="63"/>
                  </a:lnTo>
                  <a:lnTo>
                    <a:pt x="11" y="59"/>
                  </a:lnTo>
                  <a:lnTo>
                    <a:pt x="12" y="58"/>
                  </a:lnTo>
                  <a:lnTo>
                    <a:pt x="14" y="57"/>
                  </a:lnTo>
                  <a:lnTo>
                    <a:pt x="18" y="59"/>
                  </a:lnTo>
                  <a:lnTo>
                    <a:pt x="27" y="65"/>
                  </a:lnTo>
                  <a:lnTo>
                    <a:pt x="31" y="64"/>
                  </a:lnTo>
                  <a:lnTo>
                    <a:pt x="34" y="62"/>
                  </a:lnTo>
                  <a:lnTo>
                    <a:pt x="37" y="60"/>
                  </a:lnTo>
                  <a:lnTo>
                    <a:pt x="36" y="59"/>
                  </a:lnTo>
                  <a:lnTo>
                    <a:pt x="28" y="59"/>
                  </a:lnTo>
                  <a:lnTo>
                    <a:pt x="24" y="57"/>
                  </a:lnTo>
                  <a:lnTo>
                    <a:pt x="22" y="55"/>
                  </a:lnTo>
                  <a:lnTo>
                    <a:pt x="20" y="52"/>
                  </a:lnTo>
                  <a:lnTo>
                    <a:pt x="21" y="51"/>
                  </a:lnTo>
                  <a:lnTo>
                    <a:pt x="23" y="50"/>
                  </a:lnTo>
                  <a:lnTo>
                    <a:pt x="30" y="50"/>
                  </a:lnTo>
                  <a:lnTo>
                    <a:pt x="25" y="44"/>
                  </a:lnTo>
                  <a:lnTo>
                    <a:pt x="22" y="41"/>
                  </a:lnTo>
                  <a:lnTo>
                    <a:pt x="22" y="39"/>
                  </a:lnTo>
                  <a:lnTo>
                    <a:pt x="22" y="37"/>
                  </a:lnTo>
                  <a:lnTo>
                    <a:pt x="22" y="36"/>
                  </a:lnTo>
                  <a:lnTo>
                    <a:pt x="23" y="35"/>
                  </a:lnTo>
                  <a:lnTo>
                    <a:pt x="31" y="39"/>
                  </a:lnTo>
                  <a:lnTo>
                    <a:pt x="32" y="39"/>
                  </a:lnTo>
                  <a:lnTo>
                    <a:pt x="31" y="37"/>
                  </a:lnTo>
                  <a:lnTo>
                    <a:pt x="27" y="34"/>
                  </a:lnTo>
                  <a:lnTo>
                    <a:pt x="27" y="32"/>
                  </a:lnTo>
                  <a:lnTo>
                    <a:pt x="29" y="31"/>
                  </a:lnTo>
                  <a:lnTo>
                    <a:pt x="29" y="30"/>
                  </a:lnTo>
                  <a:lnTo>
                    <a:pt x="29" y="28"/>
                  </a:lnTo>
                  <a:lnTo>
                    <a:pt x="32" y="27"/>
                  </a:lnTo>
                  <a:lnTo>
                    <a:pt x="34" y="27"/>
                  </a:lnTo>
                  <a:lnTo>
                    <a:pt x="37" y="28"/>
                  </a:lnTo>
                  <a:lnTo>
                    <a:pt x="44" y="34"/>
                  </a:lnTo>
                  <a:lnTo>
                    <a:pt x="45" y="36"/>
                  </a:lnTo>
                  <a:lnTo>
                    <a:pt x="45" y="38"/>
                  </a:lnTo>
                  <a:lnTo>
                    <a:pt x="45" y="41"/>
                  </a:lnTo>
                  <a:lnTo>
                    <a:pt x="45" y="42"/>
                  </a:lnTo>
                  <a:lnTo>
                    <a:pt x="48" y="41"/>
                  </a:lnTo>
                  <a:lnTo>
                    <a:pt x="51" y="42"/>
                  </a:lnTo>
                  <a:lnTo>
                    <a:pt x="52" y="42"/>
                  </a:lnTo>
                  <a:lnTo>
                    <a:pt x="55" y="38"/>
                  </a:lnTo>
                  <a:lnTo>
                    <a:pt x="56" y="39"/>
                  </a:lnTo>
                  <a:lnTo>
                    <a:pt x="58" y="41"/>
                  </a:lnTo>
                  <a:lnTo>
                    <a:pt x="58" y="42"/>
                  </a:lnTo>
                  <a:lnTo>
                    <a:pt x="58" y="45"/>
                  </a:lnTo>
                  <a:lnTo>
                    <a:pt x="58" y="50"/>
                  </a:lnTo>
                  <a:lnTo>
                    <a:pt x="58" y="51"/>
                  </a:lnTo>
                  <a:lnTo>
                    <a:pt x="60" y="48"/>
                  </a:lnTo>
                  <a:lnTo>
                    <a:pt x="63" y="48"/>
                  </a:lnTo>
                  <a:lnTo>
                    <a:pt x="64" y="46"/>
                  </a:lnTo>
                  <a:lnTo>
                    <a:pt x="64" y="41"/>
                  </a:lnTo>
                  <a:lnTo>
                    <a:pt x="64" y="36"/>
                  </a:lnTo>
                  <a:lnTo>
                    <a:pt x="63" y="35"/>
                  </a:lnTo>
                  <a:lnTo>
                    <a:pt x="52" y="29"/>
                  </a:lnTo>
                  <a:lnTo>
                    <a:pt x="50" y="27"/>
                  </a:lnTo>
                  <a:lnTo>
                    <a:pt x="48" y="24"/>
                  </a:lnTo>
                  <a:lnTo>
                    <a:pt x="48" y="23"/>
                  </a:lnTo>
                  <a:lnTo>
                    <a:pt x="50" y="21"/>
                  </a:lnTo>
                  <a:lnTo>
                    <a:pt x="54" y="21"/>
                  </a:lnTo>
                  <a:lnTo>
                    <a:pt x="61" y="21"/>
                  </a:lnTo>
                  <a:lnTo>
                    <a:pt x="62" y="20"/>
                  </a:lnTo>
                  <a:lnTo>
                    <a:pt x="61" y="19"/>
                  </a:lnTo>
                  <a:lnTo>
                    <a:pt x="57" y="17"/>
                  </a:lnTo>
                  <a:lnTo>
                    <a:pt x="56" y="17"/>
                  </a:lnTo>
                  <a:lnTo>
                    <a:pt x="56" y="15"/>
                  </a:lnTo>
                  <a:lnTo>
                    <a:pt x="52" y="16"/>
                  </a:lnTo>
                  <a:lnTo>
                    <a:pt x="47" y="16"/>
                  </a:lnTo>
                  <a:lnTo>
                    <a:pt x="42" y="15"/>
                  </a:lnTo>
                  <a:lnTo>
                    <a:pt x="42" y="13"/>
                  </a:lnTo>
                  <a:lnTo>
                    <a:pt x="44" y="11"/>
                  </a:lnTo>
                  <a:lnTo>
                    <a:pt x="48" y="8"/>
                  </a:lnTo>
                  <a:lnTo>
                    <a:pt x="49" y="7"/>
                  </a:lnTo>
                  <a:lnTo>
                    <a:pt x="55" y="7"/>
                  </a:lnTo>
                  <a:lnTo>
                    <a:pt x="60" y="6"/>
                  </a:lnTo>
                  <a:lnTo>
                    <a:pt x="64" y="7"/>
                  </a:lnTo>
                  <a:lnTo>
                    <a:pt x="67" y="11"/>
                  </a:lnTo>
                  <a:lnTo>
                    <a:pt x="72" y="17"/>
                  </a:lnTo>
                  <a:lnTo>
                    <a:pt x="78" y="21"/>
                  </a:lnTo>
                  <a:lnTo>
                    <a:pt x="79" y="22"/>
                  </a:lnTo>
                  <a:lnTo>
                    <a:pt x="82" y="25"/>
                  </a:lnTo>
                  <a:lnTo>
                    <a:pt x="89" y="34"/>
                  </a:lnTo>
                  <a:lnTo>
                    <a:pt x="96" y="39"/>
                  </a:lnTo>
                  <a:lnTo>
                    <a:pt x="96" y="40"/>
                  </a:lnTo>
                  <a:lnTo>
                    <a:pt x="95" y="41"/>
                  </a:lnTo>
                  <a:lnTo>
                    <a:pt x="92" y="43"/>
                  </a:lnTo>
                  <a:lnTo>
                    <a:pt x="93" y="44"/>
                  </a:lnTo>
                  <a:lnTo>
                    <a:pt x="96" y="45"/>
                  </a:lnTo>
                  <a:lnTo>
                    <a:pt x="99" y="49"/>
                  </a:lnTo>
                  <a:lnTo>
                    <a:pt x="99" y="50"/>
                  </a:lnTo>
                  <a:lnTo>
                    <a:pt x="97" y="60"/>
                  </a:lnTo>
                  <a:lnTo>
                    <a:pt x="95" y="63"/>
                  </a:lnTo>
                  <a:lnTo>
                    <a:pt x="94" y="64"/>
                  </a:lnTo>
                  <a:lnTo>
                    <a:pt x="88" y="62"/>
                  </a:lnTo>
                  <a:lnTo>
                    <a:pt x="89" y="65"/>
                  </a:lnTo>
                  <a:lnTo>
                    <a:pt x="94" y="68"/>
                  </a:lnTo>
                  <a:lnTo>
                    <a:pt x="95" y="70"/>
                  </a:lnTo>
                  <a:lnTo>
                    <a:pt x="94" y="72"/>
                  </a:lnTo>
                  <a:lnTo>
                    <a:pt x="95" y="73"/>
                  </a:lnTo>
                  <a:lnTo>
                    <a:pt x="96" y="72"/>
                  </a:lnTo>
                  <a:lnTo>
                    <a:pt x="97" y="73"/>
                  </a:lnTo>
                  <a:lnTo>
                    <a:pt x="97" y="76"/>
                  </a:lnTo>
                  <a:lnTo>
                    <a:pt x="96" y="78"/>
                  </a:lnTo>
                  <a:lnTo>
                    <a:pt x="95" y="81"/>
                  </a:lnTo>
                  <a:lnTo>
                    <a:pt x="95" y="81"/>
                  </a:lnTo>
                  <a:lnTo>
                    <a:pt x="97" y="81"/>
                  </a:lnTo>
                  <a:lnTo>
                    <a:pt x="99" y="82"/>
                  </a:lnTo>
                  <a:lnTo>
                    <a:pt x="101" y="85"/>
                  </a:lnTo>
                  <a:lnTo>
                    <a:pt x="103" y="93"/>
                  </a:lnTo>
                  <a:lnTo>
                    <a:pt x="104" y="96"/>
                  </a:lnTo>
                  <a:lnTo>
                    <a:pt x="105" y="94"/>
                  </a:lnTo>
                  <a:lnTo>
                    <a:pt x="106" y="87"/>
                  </a:lnTo>
                  <a:lnTo>
                    <a:pt x="107" y="84"/>
                  </a:lnTo>
                  <a:lnTo>
                    <a:pt x="108" y="84"/>
                  </a:lnTo>
                  <a:lnTo>
                    <a:pt x="108" y="83"/>
                  </a:lnTo>
                  <a:lnTo>
                    <a:pt x="109" y="81"/>
                  </a:lnTo>
                  <a:lnTo>
                    <a:pt x="110" y="74"/>
                  </a:lnTo>
                  <a:lnTo>
                    <a:pt x="114" y="68"/>
                  </a:lnTo>
                  <a:lnTo>
                    <a:pt x="116" y="67"/>
                  </a:lnTo>
                  <a:lnTo>
                    <a:pt x="118" y="66"/>
                  </a:lnTo>
                  <a:lnTo>
                    <a:pt x="119" y="67"/>
                  </a:lnTo>
                  <a:lnTo>
                    <a:pt x="122" y="73"/>
                  </a:lnTo>
                  <a:lnTo>
                    <a:pt x="124" y="74"/>
                  </a:lnTo>
                  <a:lnTo>
                    <a:pt x="125" y="73"/>
                  </a:lnTo>
                  <a:lnTo>
                    <a:pt x="127" y="69"/>
                  </a:lnTo>
                  <a:lnTo>
                    <a:pt x="128" y="62"/>
                  </a:lnTo>
                  <a:lnTo>
                    <a:pt x="129" y="54"/>
                  </a:lnTo>
                  <a:lnTo>
                    <a:pt x="128" y="45"/>
                  </a:lnTo>
                  <a:lnTo>
                    <a:pt x="128" y="38"/>
                  </a:lnTo>
                  <a:lnTo>
                    <a:pt x="130" y="34"/>
                  </a:lnTo>
                  <a:lnTo>
                    <a:pt x="133" y="33"/>
                  </a:lnTo>
                  <a:lnTo>
                    <a:pt x="136" y="35"/>
                  </a:lnTo>
                  <a:lnTo>
                    <a:pt x="139" y="37"/>
                  </a:lnTo>
                  <a:lnTo>
                    <a:pt x="143" y="46"/>
                  </a:lnTo>
                  <a:lnTo>
                    <a:pt x="147" y="51"/>
                  </a:lnTo>
                  <a:lnTo>
                    <a:pt x="150" y="56"/>
                  </a:lnTo>
                  <a:lnTo>
                    <a:pt x="152" y="58"/>
                  </a:lnTo>
                  <a:lnTo>
                    <a:pt x="155" y="58"/>
                  </a:lnTo>
                  <a:lnTo>
                    <a:pt x="156" y="58"/>
                  </a:lnTo>
                  <a:lnTo>
                    <a:pt x="157" y="57"/>
                  </a:lnTo>
                  <a:lnTo>
                    <a:pt x="157" y="55"/>
                  </a:lnTo>
                  <a:lnTo>
                    <a:pt x="156" y="42"/>
                  </a:lnTo>
                  <a:lnTo>
                    <a:pt x="157" y="38"/>
                  </a:lnTo>
                  <a:lnTo>
                    <a:pt x="159" y="35"/>
                  </a:lnTo>
                  <a:lnTo>
                    <a:pt x="165" y="33"/>
                  </a:lnTo>
                  <a:lnTo>
                    <a:pt x="168" y="31"/>
                  </a:lnTo>
                  <a:lnTo>
                    <a:pt x="171" y="28"/>
                  </a:lnTo>
                  <a:lnTo>
                    <a:pt x="173" y="27"/>
                  </a:lnTo>
                  <a:lnTo>
                    <a:pt x="175" y="27"/>
                  </a:lnTo>
                  <a:lnTo>
                    <a:pt x="178" y="28"/>
                  </a:lnTo>
                  <a:lnTo>
                    <a:pt x="180" y="30"/>
                  </a:lnTo>
                  <a:lnTo>
                    <a:pt x="183" y="35"/>
                  </a:lnTo>
                  <a:lnTo>
                    <a:pt x="188" y="43"/>
                  </a:lnTo>
                  <a:lnTo>
                    <a:pt x="193" y="50"/>
                  </a:lnTo>
                  <a:lnTo>
                    <a:pt x="196" y="59"/>
                  </a:lnTo>
                  <a:lnTo>
                    <a:pt x="197" y="61"/>
                  </a:lnTo>
                  <a:lnTo>
                    <a:pt x="197" y="61"/>
                  </a:lnTo>
                  <a:lnTo>
                    <a:pt x="198" y="60"/>
                  </a:lnTo>
                  <a:lnTo>
                    <a:pt x="199" y="58"/>
                  </a:lnTo>
                  <a:lnTo>
                    <a:pt x="199" y="54"/>
                  </a:lnTo>
                  <a:lnTo>
                    <a:pt x="197" y="48"/>
                  </a:lnTo>
                  <a:lnTo>
                    <a:pt x="192" y="34"/>
                  </a:lnTo>
                  <a:lnTo>
                    <a:pt x="192" y="31"/>
                  </a:lnTo>
                  <a:lnTo>
                    <a:pt x="193" y="29"/>
                  </a:lnTo>
                  <a:lnTo>
                    <a:pt x="196" y="28"/>
                  </a:lnTo>
                  <a:lnTo>
                    <a:pt x="205" y="30"/>
                  </a:lnTo>
                  <a:lnTo>
                    <a:pt x="207" y="32"/>
                  </a:lnTo>
                  <a:lnTo>
                    <a:pt x="213" y="41"/>
                  </a:lnTo>
                  <a:lnTo>
                    <a:pt x="215" y="43"/>
                  </a:lnTo>
                  <a:lnTo>
                    <a:pt x="216" y="43"/>
                  </a:lnTo>
                  <a:lnTo>
                    <a:pt x="216" y="42"/>
                  </a:lnTo>
                  <a:lnTo>
                    <a:pt x="218" y="41"/>
                  </a:lnTo>
                  <a:lnTo>
                    <a:pt x="220" y="39"/>
                  </a:lnTo>
                  <a:lnTo>
                    <a:pt x="223" y="34"/>
                  </a:lnTo>
                  <a:lnTo>
                    <a:pt x="228" y="25"/>
                  </a:lnTo>
                  <a:lnTo>
                    <a:pt x="229" y="25"/>
                  </a:lnTo>
                  <a:lnTo>
                    <a:pt x="231" y="26"/>
                  </a:lnTo>
                  <a:lnTo>
                    <a:pt x="234" y="28"/>
                  </a:lnTo>
                  <a:lnTo>
                    <a:pt x="235" y="30"/>
                  </a:lnTo>
                  <a:lnTo>
                    <a:pt x="238" y="31"/>
                  </a:lnTo>
                  <a:lnTo>
                    <a:pt x="241" y="31"/>
                  </a:lnTo>
                  <a:lnTo>
                    <a:pt x="245" y="28"/>
                  </a:lnTo>
                  <a:lnTo>
                    <a:pt x="249" y="26"/>
                  </a:lnTo>
                  <a:lnTo>
                    <a:pt x="251" y="21"/>
                  </a:lnTo>
                  <a:lnTo>
                    <a:pt x="251" y="19"/>
                  </a:lnTo>
                  <a:lnTo>
                    <a:pt x="247" y="6"/>
                  </a:lnTo>
                  <a:lnTo>
                    <a:pt x="249" y="3"/>
                  </a:lnTo>
                  <a:lnTo>
                    <a:pt x="256" y="0"/>
                  </a:lnTo>
                  <a:lnTo>
                    <a:pt x="263" y="0"/>
                  </a:lnTo>
                  <a:lnTo>
                    <a:pt x="265" y="1"/>
                  </a:lnTo>
                  <a:lnTo>
                    <a:pt x="269" y="7"/>
                  </a:lnTo>
                  <a:lnTo>
                    <a:pt x="272" y="10"/>
                  </a:lnTo>
                  <a:lnTo>
                    <a:pt x="273" y="13"/>
                  </a:lnTo>
                  <a:lnTo>
                    <a:pt x="273" y="19"/>
                  </a:lnTo>
                  <a:lnTo>
                    <a:pt x="275" y="21"/>
                  </a:lnTo>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grpSp>
      <p:sp>
        <p:nvSpPr>
          <p:cNvPr id="2" name="Title 1">
            <a:extLst>
              <a:ext uri="{FF2B5EF4-FFF2-40B4-BE49-F238E27FC236}">
                <a16:creationId xmlns:a16="http://schemas.microsoft.com/office/drawing/2014/main" id="{926F784E-485C-46E9-A476-2051D18874E2}"/>
              </a:ext>
            </a:extLst>
          </p:cNvPr>
          <p:cNvSpPr>
            <a:spLocks noGrp="1"/>
          </p:cNvSpPr>
          <p:nvPr>
            <p:ph type="title"/>
          </p:nvPr>
        </p:nvSpPr>
        <p:spPr>
          <a:xfrm>
            <a:off x="416796" y="357467"/>
            <a:ext cx="10744200" cy="866648"/>
          </a:xfrm>
        </p:spPr>
        <p:txBody>
          <a:bodyPr vert="horz" lIns="0" tIns="0" rIns="0" bIns="0" rtlCol="0" anchor="t" anchorCtr="0">
            <a:noAutofit/>
          </a:bodyPr>
          <a:lstStyle/>
          <a:p>
            <a:r>
              <a:rPr lang="en-US" dirty="0">
                <a:ea typeface="+mj-lt"/>
                <a:cs typeface="+mj-lt"/>
              </a:rPr>
              <a:t>Environmental </a:t>
            </a:r>
            <a:r>
              <a:rPr lang="en-US" sz="4800" dirty="0">
                <a:ea typeface="+mj-lt"/>
                <a:cs typeface="+mj-lt"/>
              </a:rPr>
              <a:t>Problems</a:t>
            </a:r>
            <a:r>
              <a:rPr lang="en-US" dirty="0">
                <a:ea typeface="+mj-lt"/>
                <a:cs typeface="+mj-lt"/>
              </a:rPr>
              <a:t> </a:t>
            </a:r>
            <a:endParaRPr lang="en-US" dirty="0"/>
          </a:p>
        </p:txBody>
      </p:sp>
      <p:sp>
        <p:nvSpPr>
          <p:cNvPr id="244" name="TextBox 243">
            <a:extLst>
              <a:ext uri="{FF2B5EF4-FFF2-40B4-BE49-F238E27FC236}">
                <a16:creationId xmlns:a16="http://schemas.microsoft.com/office/drawing/2014/main" id="{F930C5C1-F8F8-421A-AF4C-FB6CC675163C}"/>
              </a:ext>
            </a:extLst>
          </p:cNvPr>
          <p:cNvSpPr txBox="1"/>
          <p:nvPr/>
        </p:nvSpPr>
        <p:spPr>
          <a:xfrm>
            <a:off x="-4964491" y="1055241"/>
            <a:ext cx="4879445" cy="1785104"/>
          </a:xfrm>
          <a:prstGeom prst="rect">
            <a:avLst/>
          </a:prstGeom>
          <a:noFill/>
        </p:spPr>
        <p:txBody>
          <a:bodyPr wrap="square" lIns="0" tIns="0" rIns="0" bIns="0" rtlCol="0">
            <a:spAutoFit/>
          </a:bodyPr>
          <a:lstStyle/>
          <a:p>
            <a:r>
              <a:rPr lang="en-US" sz="4400" b="1" dirty="0">
                <a:ea typeface="+mj-lt"/>
                <a:cs typeface="+mj-lt"/>
              </a:rPr>
              <a:t>in</a:t>
            </a:r>
            <a:br>
              <a:rPr lang="en-US" sz="4400" b="1" dirty="0">
                <a:ea typeface="+mj-lt"/>
                <a:cs typeface="+mj-lt"/>
              </a:rPr>
            </a:br>
            <a:r>
              <a:rPr lang="en-US" sz="7200" b="1" dirty="0">
                <a:ea typeface="+mj-lt"/>
                <a:cs typeface="+mj-lt"/>
              </a:rPr>
              <a:t>Bangladesh</a:t>
            </a:r>
            <a:endParaRPr lang="en-US" sz="7200" b="1" kern="0" dirty="0"/>
          </a:p>
        </p:txBody>
      </p:sp>
    </p:spTree>
    <p:extLst>
      <p:ext uri="{BB962C8B-B14F-4D97-AF65-F5344CB8AC3E}">
        <p14:creationId xmlns:p14="http://schemas.microsoft.com/office/powerpoint/2010/main" val="166415984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1F74D4A-9E16-4275-90C5-F97189B724F9}"/>
              </a:ext>
            </a:extLst>
          </p:cNvPr>
          <p:cNvPicPr>
            <a:picLocks noChangeAspect="1"/>
          </p:cNvPicPr>
          <p:nvPr/>
        </p:nvPicPr>
        <p:blipFill>
          <a:blip r:embed="rId4">
            <a:duotone>
              <a:schemeClr val="accent2">
                <a:shade val="45000"/>
                <a:satMod val="135000"/>
              </a:schemeClr>
              <a:prstClr val="white"/>
            </a:duotone>
            <a:extLst>
              <a:ext uri="{BEBA8EAE-BF5A-486C-A8C5-ECC9F3942E4B}">
                <a14:imgProps xmlns:a14="http://schemas.microsoft.com/office/drawing/2010/main">
                  <a14:imgLayer r:embed="rId5">
                    <a14:imgEffect>
                      <a14:saturation sat="66000"/>
                    </a14:imgEffect>
                  </a14:imgLayer>
                </a14:imgProps>
              </a:ext>
            </a:extLst>
          </a:blip>
          <a:stretch>
            <a:fillRect/>
          </a:stretch>
        </p:blipFill>
        <p:spPr>
          <a:xfrm>
            <a:off x="6763109" y="2418469"/>
            <a:ext cx="7073659" cy="9088822"/>
          </a:xfrm>
          <a:prstGeom prst="rect">
            <a:avLst/>
          </a:prstGeom>
        </p:spPr>
      </p:pic>
      <p:graphicFrame>
        <p:nvGraphicFramePr>
          <p:cNvPr id="3" name="Object 2" hidden="1">
            <a:extLst>
              <a:ext uri="{FF2B5EF4-FFF2-40B4-BE49-F238E27FC236}">
                <a16:creationId xmlns:a16="http://schemas.microsoft.com/office/drawing/2014/main" id="{29F5A9FD-BD4B-41CD-9545-C14EE113DFB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8" name="think-cell Slide" r:id="rId6" imgW="360" imgH="360" progId="TCLayout.ActiveDocument.1">
                  <p:embed/>
                </p:oleObj>
              </mc:Choice>
              <mc:Fallback>
                <p:oleObj name="think-cell Slide" r:id="rId6" imgW="360" imgH="360" progId="TCLayout.ActiveDocument.1">
                  <p:embed/>
                  <p:pic>
                    <p:nvPicPr>
                      <p:cNvPr id="3" name="Object 2" hidden="1">
                        <a:extLst>
                          <a:ext uri="{FF2B5EF4-FFF2-40B4-BE49-F238E27FC236}">
                            <a16:creationId xmlns:a16="http://schemas.microsoft.com/office/drawing/2014/main" id="{29F5A9FD-BD4B-41CD-9545-C14EE113DFB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26F784E-485C-46E9-A476-2051D18874E2}"/>
              </a:ext>
            </a:extLst>
          </p:cNvPr>
          <p:cNvSpPr>
            <a:spLocks noGrp="1"/>
          </p:cNvSpPr>
          <p:nvPr>
            <p:ph type="title"/>
          </p:nvPr>
        </p:nvSpPr>
        <p:spPr>
          <a:xfrm>
            <a:off x="282770" y="366473"/>
            <a:ext cx="2180344" cy="688514"/>
          </a:xfrm>
        </p:spPr>
        <p:txBody>
          <a:bodyPr vert="horz" lIns="0" tIns="0" rIns="0" bIns="0" rtlCol="0" anchor="t" anchorCtr="0">
            <a:noAutofit/>
          </a:bodyPr>
          <a:lstStyle/>
          <a:p>
            <a:r>
              <a:rPr lang="en-US" sz="1200" dirty="0">
                <a:ea typeface="+mj-lt"/>
                <a:cs typeface="+mj-lt"/>
              </a:rPr>
              <a:t>Environmental Problems </a:t>
            </a:r>
            <a:br>
              <a:rPr lang="en-US" sz="1200" dirty="0">
                <a:ea typeface="+mj-lt"/>
                <a:cs typeface="+mj-lt"/>
              </a:rPr>
            </a:br>
            <a:br>
              <a:rPr lang="en-US" sz="1200" dirty="0">
                <a:ea typeface="+mj-lt"/>
                <a:cs typeface="+mj-lt"/>
              </a:rPr>
            </a:br>
            <a:endParaRPr lang="en-US" sz="1200" dirty="0"/>
          </a:p>
        </p:txBody>
      </p:sp>
      <p:sp>
        <p:nvSpPr>
          <p:cNvPr id="4" name="TextBox 3">
            <a:extLst>
              <a:ext uri="{FF2B5EF4-FFF2-40B4-BE49-F238E27FC236}">
                <a16:creationId xmlns:a16="http://schemas.microsoft.com/office/drawing/2014/main" id="{32DF85C0-3BEE-4729-9C07-A4274FBB1381}"/>
              </a:ext>
            </a:extLst>
          </p:cNvPr>
          <p:cNvSpPr txBox="1"/>
          <p:nvPr/>
        </p:nvSpPr>
        <p:spPr>
          <a:xfrm>
            <a:off x="282770" y="495287"/>
            <a:ext cx="4879445" cy="430887"/>
          </a:xfrm>
          <a:prstGeom prst="rect">
            <a:avLst/>
          </a:prstGeom>
          <a:noFill/>
        </p:spPr>
        <p:txBody>
          <a:bodyPr wrap="square" lIns="0" tIns="0" rIns="0" bIns="0" rtlCol="0">
            <a:spAutoFit/>
          </a:bodyPr>
          <a:lstStyle/>
          <a:p>
            <a:r>
              <a:rPr lang="en-US" sz="1400" b="1" dirty="0">
                <a:ea typeface="+mj-lt"/>
                <a:cs typeface="+mj-lt"/>
              </a:rPr>
              <a:t>in</a:t>
            </a:r>
            <a:br>
              <a:rPr lang="en-US" sz="1400" b="1" dirty="0">
                <a:ea typeface="+mj-lt"/>
                <a:cs typeface="+mj-lt"/>
              </a:rPr>
            </a:br>
            <a:r>
              <a:rPr lang="en-US" sz="1400" b="1" dirty="0">
                <a:ea typeface="+mj-lt"/>
                <a:cs typeface="+mj-lt"/>
              </a:rPr>
              <a:t>Bangladesh</a:t>
            </a:r>
            <a:endParaRPr lang="en-US" sz="1400" b="1" kern="0" dirty="0"/>
          </a:p>
        </p:txBody>
      </p:sp>
      <p:sp>
        <p:nvSpPr>
          <p:cNvPr id="7" name="Rectangle 6">
            <a:extLst>
              <a:ext uri="{FF2B5EF4-FFF2-40B4-BE49-F238E27FC236}">
                <a16:creationId xmlns:a16="http://schemas.microsoft.com/office/drawing/2014/main" id="{5237B00E-6671-4760-BC3C-ED234523374A}"/>
              </a:ext>
            </a:extLst>
          </p:cNvPr>
          <p:cNvSpPr/>
          <p:nvPr/>
        </p:nvSpPr>
        <p:spPr>
          <a:xfrm>
            <a:off x="5933128" y="690702"/>
            <a:ext cx="6109173" cy="707886"/>
          </a:xfrm>
          <a:prstGeom prst="rect">
            <a:avLst/>
          </a:prstGeom>
        </p:spPr>
        <p:txBody>
          <a:bodyPr wrap="none">
            <a:spAutoFit/>
          </a:bodyPr>
          <a:lstStyle/>
          <a:p>
            <a:r>
              <a:rPr lang="en-US" sz="4000" dirty="0">
                <a:solidFill>
                  <a:schemeClr val="accent2"/>
                </a:solidFill>
              </a:rPr>
              <a:t>|</a:t>
            </a:r>
            <a:r>
              <a:rPr lang="en-US" dirty="0">
                <a:solidFill>
                  <a:schemeClr val="accent2"/>
                </a:solidFill>
              </a:rPr>
              <a:t> </a:t>
            </a:r>
            <a:r>
              <a:rPr lang="en-US" sz="2400" dirty="0">
                <a:solidFill>
                  <a:schemeClr val="accent2"/>
                </a:solidFill>
              </a:rPr>
              <a:t>Effects of Global Problems in Bangladesh</a:t>
            </a:r>
            <a:endParaRPr lang="en-US" dirty="0">
              <a:solidFill>
                <a:schemeClr val="accent2"/>
              </a:solidFill>
            </a:endParaRPr>
          </a:p>
        </p:txBody>
      </p:sp>
    </p:spTree>
    <p:extLst>
      <p:ext uri="{BB962C8B-B14F-4D97-AF65-F5344CB8AC3E}">
        <p14:creationId xmlns:p14="http://schemas.microsoft.com/office/powerpoint/2010/main" val="3437648669"/>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1F74D4A-9E16-4275-90C5-F97189B724F9}"/>
              </a:ext>
            </a:extLst>
          </p:cNvPr>
          <p:cNvPicPr>
            <a:picLocks noChangeAspect="1"/>
          </p:cNvPicPr>
          <p:nvPr/>
        </p:nvPicPr>
        <p:blipFill>
          <a:blip r:embed="rId4">
            <a:duotone>
              <a:schemeClr val="accent2">
                <a:shade val="45000"/>
                <a:satMod val="135000"/>
              </a:schemeClr>
              <a:prstClr val="white"/>
            </a:duotone>
            <a:extLst>
              <a:ext uri="{BEBA8EAE-BF5A-486C-A8C5-ECC9F3942E4B}">
                <a14:imgProps xmlns:a14="http://schemas.microsoft.com/office/drawing/2010/main">
                  <a14:imgLayer r:embed="rId5">
                    <a14:imgEffect>
                      <a14:saturation sat="66000"/>
                    </a14:imgEffect>
                  </a14:imgLayer>
                </a14:imgProps>
              </a:ext>
            </a:extLst>
          </a:blip>
          <a:stretch>
            <a:fillRect/>
          </a:stretch>
        </p:blipFill>
        <p:spPr>
          <a:xfrm>
            <a:off x="3154110" y="464509"/>
            <a:ext cx="5330904" cy="6849586"/>
          </a:xfrm>
          <a:prstGeom prst="rect">
            <a:avLst/>
          </a:prstGeom>
        </p:spPr>
      </p:pic>
      <p:graphicFrame>
        <p:nvGraphicFramePr>
          <p:cNvPr id="3" name="Object 2" hidden="1">
            <a:extLst>
              <a:ext uri="{FF2B5EF4-FFF2-40B4-BE49-F238E27FC236}">
                <a16:creationId xmlns:a16="http://schemas.microsoft.com/office/drawing/2014/main" id="{29F5A9FD-BD4B-41CD-9545-C14EE113DFB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21" name="think-cell Slide" r:id="rId6" imgW="360" imgH="360" progId="TCLayout.ActiveDocument.1">
                  <p:embed/>
                </p:oleObj>
              </mc:Choice>
              <mc:Fallback>
                <p:oleObj name="think-cell Slide" r:id="rId6" imgW="360" imgH="360" progId="TCLayout.ActiveDocument.1">
                  <p:embed/>
                  <p:pic>
                    <p:nvPicPr>
                      <p:cNvPr id="3" name="Object 2" hidden="1">
                        <a:extLst>
                          <a:ext uri="{FF2B5EF4-FFF2-40B4-BE49-F238E27FC236}">
                            <a16:creationId xmlns:a16="http://schemas.microsoft.com/office/drawing/2014/main" id="{29F5A9FD-BD4B-41CD-9545-C14EE113DFB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26F784E-485C-46E9-A476-2051D18874E2}"/>
              </a:ext>
            </a:extLst>
          </p:cNvPr>
          <p:cNvSpPr>
            <a:spLocks noGrp="1"/>
          </p:cNvSpPr>
          <p:nvPr>
            <p:ph type="title"/>
          </p:nvPr>
        </p:nvSpPr>
        <p:spPr>
          <a:xfrm>
            <a:off x="282770" y="366473"/>
            <a:ext cx="2180344" cy="688514"/>
          </a:xfrm>
        </p:spPr>
        <p:txBody>
          <a:bodyPr vert="horz" lIns="0" tIns="0" rIns="0" bIns="0" rtlCol="0" anchor="t" anchorCtr="0">
            <a:noAutofit/>
          </a:bodyPr>
          <a:lstStyle/>
          <a:p>
            <a:r>
              <a:rPr lang="en-US" sz="1200" dirty="0">
                <a:ea typeface="+mj-lt"/>
                <a:cs typeface="+mj-lt"/>
              </a:rPr>
              <a:t>Environmental Problems </a:t>
            </a:r>
            <a:br>
              <a:rPr lang="en-US" sz="1200" dirty="0">
                <a:ea typeface="+mj-lt"/>
                <a:cs typeface="+mj-lt"/>
              </a:rPr>
            </a:br>
            <a:br>
              <a:rPr lang="en-US" sz="1200" dirty="0">
                <a:ea typeface="+mj-lt"/>
                <a:cs typeface="+mj-lt"/>
              </a:rPr>
            </a:br>
            <a:endParaRPr lang="en-US" sz="1200" dirty="0"/>
          </a:p>
        </p:txBody>
      </p:sp>
      <p:sp>
        <p:nvSpPr>
          <p:cNvPr id="4" name="TextBox 3">
            <a:extLst>
              <a:ext uri="{FF2B5EF4-FFF2-40B4-BE49-F238E27FC236}">
                <a16:creationId xmlns:a16="http://schemas.microsoft.com/office/drawing/2014/main" id="{32DF85C0-3BEE-4729-9C07-A4274FBB1381}"/>
              </a:ext>
            </a:extLst>
          </p:cNvPr>
          <p:cNvSpPr txBox="1"/>
          <p:nvPr/>
        </p:nvSpPr>
        <p:spPr>
          <a:xfrm>
            <a:off x="282770" y="495287"/>
            <a:ext cx="4879445" cy="430887"/>
          </a:xfrm>
          <a:prstGeom prst="rect">
            <a:avLst/>
          </a:prstGeom>
          <a:noFill/>
        </p:spPr>
        <p:txBody>
          <a:bodyPr wrap="square" lIns="0" tIns="0" rIns="0" bIns="0" rtlCol="0">
            <a:spAutoFit/>
          </a:bodyPr>
          <a:lstStyle/>
          <a:p>
            <a:r>
              <a:rPr lang="en-US" sz="1400" b="1" dirty="0">
                <a:ea typeface="+mj-lt"/>
                <a:cs typeface="+mj-lt"/>
              </a:rPr>
              <a:t>in</a:t>
            </a:r>
            <a:br>
              <a:rPr lang="en-US" sz="1400" b="1" dirty="0">
                <a:ea typeface="+mj-lt"/>
                <a:cs typeface="+mj-lt"/>
              </a:rPr>
            </a:br>
            <a:r>
              <a:rPr lang="en-US" sz="1400" b="1" dirty="0">
                <a:ea typeface="+mj-lt"/>
                <a:cs typeface="+mj-lt"/>
              </a:rPr>
              <a:t>Bangladesh</a:t>
            </a:r>
            <a:endParaRPr lang="en-US" sz="1400" b="1" kern="0" dirty="0"/>
          </a:p>
        </p:txBody>
      </p:sp>
      <p:sp>
        <p:nvSpPr>
          <p:cNvPr id="7" name="Rectangle 6">
            <a:extLst>
              <a:ext uri="{FF2B5EF4-FFF2-40B4-BE49-F238E27FC236}">
                <a16:creationId xmlns:a16="http://schemas.microsoft.com/office/drawing/2014/main" id="{5237B00E-6671-4760-BC3C-ED234523374A}"/>
              </a:ext>
            </a:extLst>
          </p:cNvPr>
          <p:cNvSpPr/>
          <p:nvPr/>
        </p:nvSpPr>
        <p:spPr>
          <a:xfrm>
            <a:off x="8089390" y="464509"/>
            <a:ext cx="3637278" cy="461665"/>
          </a:xfrm>
          <a:prstGeom prst="rect">
            <a:avLst/>
          </a:prstGeom>
        </p:spPr>
        <p:txBody>
          <a:bodyPr wrap="none">
            <a:spAutoFit/>
          </a:bodyPr>
          <a:lstStyle/>
          <a:p>
            <a:r>
              <a:rPr lang="en-US" sz="2400" dirty="0">
                <a:solidFill>
                  <a:schemeClr val="accent2"/>
                </a:solidFill>
              </a:rPr>
              <a:t>|</a:t>
            </a:r>
            <a:r>
              <a:rPr lang="en-US" sz="1100" dirty="0">
                <a:solidFill>
                  <a:schemeClr val="accent2"/>
                </a:solidFill>
              </a:rPr>
              <a:t> </a:t>
            </a:r>
            <a:r>
              <a:rPr lang="en-US" sz="1400" dirty="0">
                <a:solidFill>
                  <a:schemeClr val="accent2"/>
                </a:solidFill>
              </a:rPr>
              <a:t>Effects of Global Problems in Bangladesh</a:t>
            </a:r>
            <a:endParaRPr lang="en-US" sz="1100" dirty="0">
              <a:solidFill>
                <a:schemeClr val="accent2"/>
              </a:solidFill>
            </a:endParaRPr>
          </a:p>
        </p:txBody>
      </p:sp>
      <p:sp>
        <p:nvSpPr>
          <p:cNvPr id="5" name="Rectangle 4">
            <a:extLst>
              <a:ext uri="{FF2B5EF4-FFF2-40B4-BE49-F238E27FC236}">
                <a16:creationId xmlns:a16="http://schemas.microsoft.com/office/drawing/2014/main" id="{0D66DDC2-05E3-41E1-867D-2A445ACA572D}"/>
              </a:ext>
            </a:extLst>
          </p:cNvPr>
          <p:cNvSpPr/>
          <p:nvPr/>
        </p:nvSpPr>
        <p:spPr>
          <a:xfrm>
            <a:off x="4366846" y="2596640"/>
            <a:ext cx="2499946" cy="1015663"/>
          </a:xfrm>
          <a:prstGeom prst="rect">
            <a:avLst/>
          </a:prstGeom>
        </p:spPr>
        <p:txBody>
          <a:bodyPr wrap="square">
            <a:spAutoFit/>
          </a:bodyPr>
          <a:lstStyle/>
          <a:p>
            <a:r>
              <a:rPr lang="en-US" sz="2000" dirty="0">
                <a:solidFill>
                  <a:schemeClr val="bg1"/>
                </a:solidFill>
              </a:rPr>
              <a:t>Ozone Depletion</a:t>
            </a:r>
          </a:p>
          <a:p>
            <a:r>
              <a:rPr lang="en-US" sz="2000" dirty="0">
                <a:solidFill>
                  <a:schemeClr val="bg1"/>
                </a:solidFill>
              </a:rPr>
              <a:t>Greenhouse Effect </a:t>
            </a:r>
          </a:p>
          <a:p>
            <a:r>
              <a:rPr lang="en-US" sz="2000" dirty="0">
                <a:solidFill>
                  <a:schemeClr val="bg1"/>
                </a:solidFill>
              </a:rPr>
              <a:t>Global Warming</a:t>
            </a:r>
          </a:p>
        </p:txBody>
      </p:sp>
      <p:pic>
        <p:nvPicPr>
          <p:cNvPr id="9" name="Picture 8">
            <a:extLst>
              <a:ext uri="{FF2B5EF4-FFF2-40B4-BE49-F238E27FC236}">
                <a16:creationId xmlns:a16="http://schemas.microsoft.com/office/drawing/2014/main" id="{93FD1124-C88D-44E2-9626-BEF029EB7726}"/>
              </a:ext>
            </a:extLst>
          </p:cNvPr>
          <p:cNvPicPr>
            <a:picLocks noChangeAspect="1"/>
          </p:cNvPicPr>
          <p:nvPr/>
        </p:nvPicPr>
        <p:blipFill rotWithShape="1">
          <a:blip r:embed="rId8"/>
          <a:srcRect l="18758" t="5342" r="16678" b="8469"/>
          <a:stretch/>
        </p:blipFill>
        <p:spPr>
          <a:xfrm>
            <a:off x="597680" y="1563566"/>
            <a:ext cx="1865434" cy="1865434"/>
          </a:xfrm>
          <a:prstGeom prst="ellipse">
            <a:avLst/>
          </a:prstGeom>
        </p:spPr>
      </p:pic>
      <p:grpSp>
        <p:nvGrpSpPr>
          <p:cNvPr id="13" name="Group 12">
            <a:extLst>
              <a:ext uri="{FF2B5EF4-FFF2-40B4-BE49-F238E27FC236}">
                <a16:creationId xmlns:a16="http://schemas.microsoft.com/office/drawing/2014/main" id="{13429B39-4283-4C01-B314-2116CD39EFBC}"/>
              </a:ext>
            </a:extLst>
          </p:cNvPr>
          <p:cNvGrpSpPr/>
          <p:nvPr/>
        </p:nvGrpSpPr>
        <p:grpSpPr>
          <a:xfrm>
            <a:off x="282770" y="3608893"/>
            <a:ext cx="1011478" cy="1219102"/>
            <a:chOff x="797187" y="3999165"/>
            <a:chExt cx="1011478" cy="1219102"/>
          </a:xfrm>
        </p:grpSpPr>
        <p:pic>
          <p:nvPicPr>
            <p:cNvPr id="11" name="Picture 10">
              <a:extLst>
                <a:ext uri="{FF2B5EF4-FFF2-40B4-BE49-F238E27FC236}">
                  <a16:creationId xmlns:a16="http://schemas.microsoft.com/office/drawing/2014/main" id="{34677EB8-978B-435C-BCEC-63CFA714CCFA}"/>
                </a:ext>
              </a:extLst>
            </p:cNvPr>
            <p:cNvPicPr>
              <a:picLocks noChangeAspect="1"/>
            </p:cNvPicPr>
            <p:nvPr/>
          </p:nvPicPr>
          <p:blipFill>
            <a:blip r:embed="rId9"/>
            <a:stretch>
              <a:fillRect/>
            </a:stretch>
          </p:blipFill>
          <p:spPr>
            <a:xfrm>
              <a:off x="797187" y="3999165"/>
              <a:ext cx="1011478" cy="933319"/>
            </a:xfrm>
            <a:prstGeom prst="rect">
              <a:avLst/>
            </a:prstGeom>
          </p:spPr>
        </p:pic>
        <p:sp>
          <p:nvSpPr>
            <p:cNvPr id="12" name="TextBox 11">
              <a:extLst>
                <a:ext uri="{FF2B5EF4-FFF2-40B4-BE49-F238E27FC236}">
                  <a16:creationId xmlns:a16="http://schemas.microsoft.com/office/drawing/2014/main" id="{8F96A1B0-4632-490D-9E89-C3957FACA087}"/>
                </a:ext>
              </a:extLst>
            </p:cNvPr>
            <p:cNvSpPr txBox="1"/>
            <p:nvPr/>
          </p:nvSpPr>
          <p:spPr>
            <a:xfrm>
              <a:off x="1058753" y="5002823"/>
              <a:ext cx="314189" cy="215444"/>
            </a:xfrm>
            <a:prstGeom prst="rect">
              <a:avLst/>
            </a:prstGeom>
            <a:noFill/>
          </p:spPr>
          <p:txBody>
            <a:bodyPr wrap="none" lIns="0" tIns="0" rIns="0" bIns="0" rtlCol="0">
              <a:spAutoFit/>
            </a:bodyPr>
            <a:lstStyle/>
            <a:p>
              <a:pPr algn="l"/>
              <a:r>
                <a:rPr lang="en-US" sz="1400" kern="0" dirty="0"/>
                <a:t>CFC</a:t>
              </a:r>
            </a:p>
          </p:txBody>
        </p:sp>
      </p:grpSp>
      <p:pic>
        <p:nvPicPr>
          <p:cNvPr id="15" name="Picture 14">
            <a:extLst>
              <a:ext uri="{FF2B5EF4-FFF2-40B4-BE49-F238E27FC236}">
                <a16:creationId xmlns:a16="http://schemas.microsoft.com/office/drawing/2014/main" id="{7F01B130-CAD7-4647-A8A1-6482D12E9BDA}"/>
              </a:ext>
            </a:extLst>
          </p:cNvPr>
          <p:cNvPicPr>
            <a:picLocks noChangeAspect="1"/>
          </p:cNvPicPr>
          <p:nvPr/>
        </p:nvPicPr>
        <p:blipFill rotWithShape="1">
          <a:blip r:embed="rId10"/>
          <a:srcRect l="758" r="29067"/>
          <a:stretch/>
        </p:blipFill>
        <p:spPr>
          <a:xfrm>
            <a:off x="8815786" y="1547902"/>
            <a:ext cx="1556569" cy="1556569"/>
          </a:xfrm>
          <a:prstGeom prst="ellipse">
            <a:avLst/>
          </a:prstGeom>
        </p:spPr>
      </p:pic>
      <p:sp>
        <p:nvSpPr>
          <p:cNvPr id="16" name="Oval 15">
            <a:extLst>
              <a:ext uri="{FF2B5EF4-FFF2-40B4-BE49-F238E27FC236}">
                <a16:creationId xmlns:a16="http://schemas.microsoft.com/office/drawing/2014/main" id="{BA84AA17-C8BB-49C5-A282-B4805EEA4C81}"/>
              </a:ext>
            </a:extLst>
          </p:cNvPr>
          <p:cNvSpPr/>
          <p:nvPr/>
        </p:nvSpPr>
        <p:spPr>
          <a:xfrm>
            <a:off x="8721969" y="3418872"/>
            <a:ext cx="616797" cy="616797"/>
          </a:xfrm>
          <a:prstGeom prst="ellipse">
            <a:avLst/>
          </a:prstGeom>
          <a:solidFill>
            <a:schemeClr val="tx2">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US" sz="1200" kern="0" dirty="0">
                <a:solidFill>
                  <a:schemeClr val="bg1"/>
                </a:solidFill>
              </a:rPr>
              <a:t>CFC</a:t>
            </a:r>
          </a:p>
        </p:txBody>
      </p:sp>
      <p:sp>
        <p:nvSpPr>
          <p:cNvPr id="17" name="Oval 16">
            <a:extLst>
              <a:ext uri="{FF2B5EF4-FFF2-40B4-BE49-F238E27FC236}">
                <a16:creationId xmlns:a16="http://schemas.microsoft.com/office/drawing/2014/main" id="{222FAA49-A7A3-4EB4-962C-1611C5473488}"/>
              </a:ext>
            </a:extLst>
          </p:cNvPr>
          <p:cNvSpPr/>
          <p:nvPr/>
        </p:nvSpPr>
        <p:spPr>
          <a:xfrm>
            <a:off x="10465689" y="3668496"/>
            <a:ext cx="734346" cy="734346"/>
          </a:xfrm>
          <a:prstGeom prst="ellipse">
            <a:avLst/>
          </a:prstGeom>
          <a:solidFill>
            <a:schemeClr val="accent1">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US" sz="800" kern="0" dirty="0">
                <a:solidFill>
                  <a:schemeClr val="bg1"/>
                </a:solidFill>
              </a:rPr>
              <a:t>Carbon Dioxide</a:t>
            </a:r>
            <a:endParaRPr lang="en-US" sz="700" kern="0" dirty="0">
              <a:solidFill>
                <a:schemeClr val="bg1"/>
              </a:solidFill>
            </a:endParaRPr>
          </a:p>
        </p:txBody>
      </p:sp>
      <p:sp>
        <p:nvSpPr>
          <p:cNvPr id="19" name="Oval 18">
            <a:extLst>
              <a:ext uri="{FF2B5EF4-FFF2-40B4-BE49-F238E27FC236}">
                <a16:creationId xmlns:a16="http://schemas.microsoft.com/office/drawing/2014/main" id="{489724AA-B4DC-4DA5-8128-B4C66BB84B05}"/>
              </a:ext>
            </a:extLst>
          </p:cNvPr>
          <p:cNvSpPr/>
          <p:nvPr/>
        </p:nvSpPr>
        <p:spPr>
          <a:xfrm>
            <a:off x="9338766" y="3889302"/>
            <a:ext cx="778285" cy="778285"/>
          </a:xfrm>
          <a:prstGeom prst="ellipse">
            <a:avLst/>
          </a:prstGeom>
          <a:solidFill>
            <a:schemeClr val="accent3">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US" sz="1000" kern="0" dirty="0">
                <a:solidFill>
                  <a:schemeClr val="bg1"/>
                </a:solidFill>
              </a:rPr>
              <a:t>Ozone</a:t>
            </a:r>
          </a:p>
        </p:txBody>
      </p:sp>
      <p:sp>
        <p:nvSpPr>
          <p:cNvPr id="20" name="Oval 19">
            <a:extLst>
              <a:ext uri="{FF2B5EF4-FFF2-40B4-BE49-F238E27FC236}">
                <a16:creationId xmlns:a16="http://schemas.microsoft.com/office/drawing/2014/main" id="{042BD0E2-749A-4884-B2E0-06318E4E38BE}"/>
              </a:ext>
            </a:extLst>
          </p:cNvPr>
          <p:cNvSpPr/>
          <p:nvPr/>
        </p:nvSpPr>
        <p:spPr>
          <a:xfrm>
            <a:off x="10644320" y="2504343"/>
            <a:ext cx="950000" cy="950000"/>
          </a:xfrm>
          <a:prstGeom prst="ellipse">
            <a:avLst/>
          </a:prstGeom>
          <a:solidFill>
            <a:schemeClr val="accent2">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US" sz="1000" kern="0" dirty="0" err="1">
                <a:solidFill>
                  <a:schemeClr val="bg1"/>
                </a:solidFill>
              </a:rPr>
              <a:t>Methene</a:t>
            </a:r>
            <a:endParaRPr lang="en-US" sz="1000" kern="0" dirty="0">
              <a:solidFill>
                <a:schemeClr val="bg1"/>
              </a:solidFill>
            </a:endParaRPr>
          </a:p>
        </p:txBody>
      </p:sp>
      <p:pic>
        <p:nvPicPr>
          <p:cNvPr id="22" name="Picture 21">
            <a:extLst>
              <a:ext uri="{FF2B5EF4-FFF2-40B4-BE49-F238E27FC236}">
                <a16:creationId xmlns:a16="http://schemas.microsoft.com/office/drawing/2014/main" id="{56C8E14A-9449-445D-AB2F-BDD8304B6891}"/>
              </a:ext>
            </a:extLst>
          </p:cNvPr>
          <p:cNvPicPr>
            <a:picLocks noChangeAspect="1"/>
          </p:cNvPicPr>
          <p:nvPr/>
        </p:nvPicPr>
        <p:blipFill rotWithShape="1">
          <a:blip r:embed="rId11"/>
          <a:srcRect l="22600" t="2389" r="21726"/>
          <a:stretch/>
        </p:blipFill>
        <p:spPr>
          <a:xfrm>
            <a:off x="2561496" y="4951889"/>
            <a:ext cx="1185228" cy="1175090"/>
          </a:xfrm>
          <a:prstGeom prst="ellipse">
            <a:avLst/>
          </a:prstGeom>
        </p:spPr>
      </p:pic>
      <p:pic>
        <p:nvPicPr>
          <p:cNvPr id="24" name="Picture 23">
            <a:extLst>
              <a:ext uri="{FF2B5EF4-FFF2-40B4-BE49-F238E27FC236}">
                <a16:creationId xmlns:a16="http://schemas.microsoft.com/office/drawing/2014/main" id="{9E441543-4A0C-4622-A0AC-16BB455AD016}"/>
              </a:ext>
            </a:extLst>
          </p:cNvPr>
          <p:cNvPicPr>
            <a:picLocks noChangeAspect="1"/>
          </p:cNvPicPr>
          <p:nvPr/>
        </p:nvPicPr>
        <p:blipFill rotWithShape="1">
          <a:blip r:embed="rId12"/>
          <a:srcRect l="8934" t="10666" r="9270" b="18399"/>
          <a:stretch/>
        </p:blipFill>
        <p:spPr>
          <a:xfrm>
            <a:off x="3813846" y="5610253"/>
            <a:ext cx="1247747" cy="1247747"/>
          </a:xfrm>
          <a:prstGeom prst="ellipse">
            <a:avLst/>
          </a:prstGeom>
        </p:spPr>
      </p:pic>
    </p:spTree>
    <p:extLst>
      <p:ext uri="{BB962C8B-B14F-4D97-AF65-F5344CB8AC3E}">
        <p14:creationId xmlns:p14="http://schemas.microsoft.com/office/powerpoint/2010/main" val="1955215447"/>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p:cTn id="7" dur="500" fill="hold"/>
                                        <p:tgtEl>
                                          <p:spTgt spid="9"/>
                                        </p:tgtEl>
                                        <p:attrNameLst>
                                          <p:attrName>ppt_w</p:attrName>
                                        </p:attrNameLst>
                                      </p:cBhvr>
                                      <p:tavLst>
                                        <p:tav tm="0">
                                          <p:val>
                                            <p:fltVal val="0"/>
                                          </p:val>
                                        </p:tav>
                                        <p:tav tm="100000">
                                          <p:val>
                                            <p:strVal val="#ppt_w"/>
                                          </p:val>
                                        </p:tav>
                                      </p:tavLst>
                                    </p:anim>
                                    <p:anim calcmode="lin" valueType="num">
                                      <p:cBhvr>
                                        <p:cTn id="8" dur="500" fill="hold"/>
                                        <p:tgtEl>
                                          <p:spTgt spid="9"/>
                                        </p:tgtEl>
                                        <p:attrNameLst>
                                          <p:attrName>ppt_h</p:attrName>
                                        </p:attrNameLst>
                                      </p:cBhvr>
                                      <p:tavLst>
                                        <p:tav tm="0">
                                          <p:val>
                                            <p:fltVal val="0"/>
                                          </p:val>
                                        </p:tav>
                                        <p:tav tm="100000">
                                          <p:val>
                                            <p:strVal val="#ppt_h"/>
                                          </p:val>
                                        </p:tav>
                                      </p:tavLst>
                                    </p:anim>
                                    <p:animEffect transition="in" filter="fade">
                                      <p:cBhvr>
                                        <p:cTn id="9" dur="500"/>
                                        <p:tgtEl>
                                          <p:spTgt spid="9"/>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nodeType="clickEffect">
                                  <p:stCondLst>
                                    <p:cond delay="0"/>
                                  </p:stCondLst>
                                  <p:childTnLst>
                                    <p:set>
                                      <p:cBhvr>
                                        <p:cTn id="13" dur="1" fill="hold">
                                          <p:stCondLst>
                                            <p:cond delay="0"/>
                                          </p:stCondLst>
                                        </p:cTn>
                                        <p:tgtEl>
                                          <p:spTgt spid="13"/>
                                        </p:tgtEl>
                                        <p:attrNameLst>
                                          <p:attrName>style.visibility</p:attrName>
                                        </p:attrNameLst>
                                      </p:cBhvr>
                                      <p:to>
                                        <p:strVal val="visible"/>
                                      </p:to>
                                    </p:set>
                                    <p:anim calcmode="lin" valueType="num">
                                      <p:cBhvr>
                                        <p:cTn id="14" dur="500" fill="hold"/>
                                        <p:tgtEl>
                                          <p:spTgt spid="13"/>
                                        </p:tgtEl>
                                        <p:attrNameLst>
                                          <p:attrName>ppt_w</p:attrName>
                                        </p:attrNameLst>
                                      </p:cBhvr>
                                      <p:tavLst>
                                        <p:tav tm="0">
                                          <p:val>
                                            <p:fltVal val="0"/>
                                          </p:val>
                                        </p:tav>
                                        <p:tav tm="100000">
                                          <p:val>
                                            <p:strVal val="#ppt_w"/>
                                          </p:val>
                                        </p:tav>
                                      </p:tavLst>
                                    </p:anim>
                                    <p:anim calcmode="lin" valueType="num">
                                      <p:cBhvr>
                                        <p:cTn id="15" dur="500" fill="hold"/>
                                        <p:tgtEl>
                                          <p:spTgt spid="13"/>
                                        </p:tgtEl>
                                        <p:attrNameLst>
                                          <p:attrName>ppt_h</p:attrName>
                                        </p:attrNameLst>
                                      </p:cBhvr>
                                      <p:tavLst>
                                        <p:tav tm="0">
                                          <p:val>
                                            <p:fltVal val="0"/>
                                          </p:val>
                                        </p:tav>
                                        <p:tav tm="100000">
                                          <p:val>
                                            <p:strVal val="#ppt_h"/>
                                          </p:val>
                                        </p:tav>
                                      </p:tavLst>
                                    </p:anim>
                                    <p:animEffect transition="in" filter="fade">
                                      <p:cBhvr>
                                        <p:cTn id="16" dur="500"/>
                                        <p:tgtEl>
                                          <p:spTgt spid="13"/>
                                        </p:tgtEl>
                                      </p:cBhvr>
                                    </p:animEffect>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nodeType="clickEffect">
                                  <p:stCondLst>
                                    <p:cond delay="0"/>
                                  </p:stCondLst>
                                  <p:childTnLst>
                                    <p:set>
                                      <p:cBhvr>
                                        <p:cTn id="20" dur="1" fill="hold">
                                          <p:stCondLst>
                                            <p:cond delay="0"/>
                                          </p:stCondLst>
                                        </p:cTn>
                                        <p:tgtEl>
                                          <p:spTgt spid="15"/>
                                        </p:tgtEl>
                                        <p:attrNameLst>
                                          <p:attrName>style.visibility</p:attrName>
                                        </p:attrNameLst>
                                      </p:cBhvr>
                                      <p:to>
                                        <p:strVal val="visible"/>
                                      </p:to>
                                    </p:set>
                                    <p:anim calcmode="lin" valueType="num">
                                      <p:cBhvr>
                                        <p:cTn id="21" dur="500" fill="hold"/>
                                        <p:tgtEl>
                                          <p:spTgt spid="15"/>
                                        </p:tgtEl>
                                        <p:attrNameLst>
                                          <p:attrName>ppt_w</p:attrName>
                                        </p:attrNameLst>
                                      </p:cBhvr>
                                      <p:tavLst>
                                        <p:tav tm="0">
                                          <p:val>
                                            <p:fltVal val="0"/>
                                          </p:val>
                                        </p:tav>
                                        <p:tav tm="100000">
                                          <p:val>
                                            <p:strVal val="#ppt_w"/>
                                          </p:val>
                                        </p:tav>
                                      </p:tavLst>
                                    </p:anim>
                                    <p:anim calcmode="lin" valueType="num">
                                      <p:cBhvr>
                                        <p:cTn id="22" dur="500" fill="hold"/>
                                        <p:tgtEl>
                                          <p:spTgt spid="15"/>
                                        </p:tgtEl>
                                        <p:attrNameLst>
                                          <p:attrName>ppt_h</p:attrName>
                                        </p:attrNameLst>
                                      </p:cBhvr>
                                      <p:tavLst>
                                        <p:tav tm="0">
                                          <p:val>
                                            <p:fltVal val="0"/>
                                          </p:val>
                                        </p:tav>
                                        <p:tav tm="100000">
                                          <p:val>
                                            <p:strVal val="#ppt_h"/>
                                          </p:val>
                                        </p:tav>
                                      </p:tavLst>
                                    </p:anim>
                                    <p:animEffect transition="in" filter="fade">
                                      <p:cBhvr>
                                        <p:cTn id="23" dur="500"/>
                                        <p:tgtEl>
                                          <p:spTgt spid="15"/>
                                        </p:tgtEl>
                                      </p:cBhvr>
                                    </p:animEffect>
                                  </p:childTnLst>
                                </p:cTn>
                              </p:par>
                            </p:childTnLst>
                          </p:cTn>
                        </p:par>
                      </p:childTnLst>
                    </p:cTn>
                  </p:par>
                  <p:par>
                    <p:cTn id="24" fill="hold">
                      <p:stCondLst>
                        <p:cond delay="indefinite"/>
                      </p:stCondLst>
                      <p:childTnLst>
                        <p:par>
                          <p:cTn id="25" fill="hold">
                            <p:stCondLst>
                              <p:cond delay="0"/>
                            </p:stCondLst>
                            <p:childTnLst>
                              <p:par>
                                <p:cTn id="26" presetID="53" presetClass="entr" presetSubtype="16" fill="hold" grpId="0" nodeType="clickEffect">
                                  <p:stCondLst>
                                    <p:cond delay="0"/>
                                  </p:stCondLst>
                                  <p:childTnLst>
                                    <p:set>
                                      <p:cBhvr>
                                        <p:cTn id="27" dur="1" fill="hold">
                                          <p:stCondLst>
                                            <p:cond delay="0"/>
                                          </p:stCondLst>
                                        </p:cTn>
                                        <p:tgtEl>
                                          <p:spTgt spid="16"/>
                                        </p:tgtEl>
                                        <p:attrNameLst>
                                          <p:attrName>style.visibility</p:attrName>
                                        </p:attrNameLst>
                                      </p:cBhvr>
                                      <p:to>
                                        <p:strVal val="visible"/>
                                      </p:to>
                                    </p:set>
                                    <p:anim calcmode="lin" valueType="num">
                                      <p:cBhvr>
                                        <p:cTn id="28" dur="500" fill="hold"/>
                                        <p:tgtEl>
                                          <p:spTgt spid="16"/>
                                        </p:tgtEl>
                                        <p:attrNameLst>
                                          <p:attrName>ppt_w</p:attrName>
                                        </p:attrNameLst>
                                      </p:cBhvr>
                                      <p:tavLst>
                                        <p:tav tm="0">
                                          <p:val>
                                            <p:fltVal val="0"/>
                                          </p:val>
                                        </p:tav>
                                        <p:tav tm="100000">
                                          <p:val>
                                            <p:strVal val="#ppt_w"/>
                                          </p:val>
                                        </p:tav>
                                      </p:tavLst>
                                    </p:anim>
                                    <p:anim calcmode="lin" valueType="num">
                                      <p:cBhvr>
                                        <p:cTn id="29" dur="500" fill="hold"/>
                                        <p:tgtEl>
                                          <p:spTgt spid="16"/>
                                        </p:tgtEl>
                                        <p:attrNameLst>
                                          <p:attrName>ppt_h</p:attrName>
                                        </p:attrNameLst>
                                      </p:cBhvr>
                                      <p:tavLst>
                                        <p:tav tm="0">
                                          <p:val>
                                            <p:fltVal val="0"/>
                                          </p:val>
                                        </p:tav>
                                        <p:tav tm="100000">
                                          <p:val>
                                            <p:strVal val="#ppt_h"/>
                                          </p:val>
                                        </p:tav>
                                      </p:tavLst>
                                    </p:anim>
                                    <p:animEffect transition="in" filter="fade">
                                      <p:cBhvr>
                                        <p:cTn id="30" dur="500"/>
                                        <p:tgtEl>
                                          <p:spTgt spid="16"/>
                                        </p:tgtEl>
                                      </p:cBhvr>
                                    </p:animEffect>
                                  </p:childTnLst>
                                </p:cTn>
                              </p:par>
                              <p:par>
                                <p:cTn id="31" presetID="53" presetClass="entr" presetSubtype="16" fill="hold" grpId="0" nodeType="withEffect">
                                  <p:stCondLst>
                                    <p:cond delay="0"/>
                                  </p:stCondLst>
                                  <p:childTnLst>
                                    <p:set>
                                      <p:cBhvr>
                                        <p:cTn id="32" dur="1" fill="hold">
                                          <p:stCondLst>
                                            <p:cond delay="0"/>
                                          </p:stCondLst>
                                        </p:cTn>
                                        <p:tgtEl>
                                          <p:spTgt spid="19"/>
                                        </p:tgtEl>
                                        <p:attrNameLst>
                                          <p:attrName>style.visibility</p:attrName>
                                        </p:attrNameLst>
                                      </p:cBhvr>
                                      <p:to>
                                        <p:strVal val="visible"/>
                                      </p:to>
                                    </p:set>
                                    <p:anim calcmode="lin" valueType="num">
                                      <p:cBhvr>
                                        <p:cTn id="33" dur="500" fill="hold"/>
                                        <p:tgtEl>
                                          <p:spTgt spid="19"/>
                                        </p:tgtEl>
                                        <p:attrNameLst>
                                          <p:attrName>ppt_w</p:attrName>
                                        </p:attrNameLst>
                                      </p:cBhvr>
                                      <p:tavLst>
                                        <p:tav tm="0">
                                          <p:val>
                                            <p:fltVal val="0"/>
                                          </p:val>
                                        </p:tav>
                                        <p:tav tm="100000">
                                          <p:val>
                                            <p:strVal val="#ppt_w"/>
                                          </p:val>
                                        </p:tav>
                                      </p:tavLst>
                                    </p:anim>
                                    <p:anim calcmode="lin" valueType="num">
                                      <p:cBhvr>
                                        <p:cTn id="34" dur="500" fill="hold"/>
                                        <p:tgtEl>
                                          <p:spTgt spid="19"/>
                                        </p:tgtEl>
                                        <p:attrNameLst>
                                          <p:attrName>ppt_h</p:attrName>
                                        </p:attrNameLst>
                                      </p:cBhvr>
                                      <p:tavLst>
                                        <p:tav tm="0">
                                          <p:val>
                                            <p:fltVal val="0"/>
                                          </p:val>
                                        </p:tav>
                                        <p:tav tm="100000">
                                          <p:val>
                                            <p:strVal val="#ppt_h"/>
                                          </p:val>
                                        </p:tav>
                                      </p:tavLst>
                                    </p:anim>
                                    <p:animEffect transition="in" filter="fade">
                                      <p:cBhvr>
                                        <p:cTn id="35" dur="500"/>
                                        <p:tgtEl>
                                          <p:spTgt spid="19"/>
                                        </p:tgtEl>
                                      </p:cBhvr>
                                    </p:animEffect>
                                  </p:childTnLst>
                                </p:cTn>
                              </p:par>
                              <p:par>
                                <p:cTn id="36" presetID="53" presetClass="entr" presetSubtype="16" fill="hold" grpId="0" nodeType="withEffect">
                                  <p:stCondLst>
                                    <p:cond delay="0"/>
                                  </p:stCondLst>
                                  <p:childTnLst>
                                    <p:set>
                                      <p:cBhvr>
                                        <p:cTn id="37" dur="1" fill="hold">
                                          <p:stCondLst>
                                            <p:cond delay="0"/>
                                          </p:stCondLst>
                                        </p:cTn>
                                        <p:tgtEl>
                                          <p:spTgt spid="17"/>
                                        </p:tgtEl>
                                        <p:attrNameLst>
                                          <p:attrName>style.visibility</p:attrName>
                                        </p:attrNameLst>
                                      </p:cBhvr>
                                      <p:to>
                                        <p:strVal val="visible"/>
                                      </p:to>
                                    </p:set>
                                    <p:anim calcmode="lin" valueType="num">
                                      <p:cBhvr>
                                        <p:cTn id="38" dur="500" fill="hold"/>
                                        <p:tgtEl>
                                          <p:spTgt spid="17"/>
                                        </p:tgtEl>
                                        <p:attrNameLst>
                                          <p:attrName>ppt_w</p:attrName>
                                        </p:attrNameLst>
                                      </p:cBhvr>
                                      <p:tavLst>
                                        <p:tav tm="0">
                                          <p:val>
                                            <p:fltVal val="0"/>
                                          </p:val>
                                        </p:tav>
                                        <p:tav tm="100000">
                                          <p:val>
                                            <p:strVal val="#ppt_w"/>
                                          </p:val>
                                        </p:tav>
                                      </p:tavLst>
                                    </p:anim>
                                    <p:anim calcmode="lin" valueType="num">
                                      <p:cBhvr>
                                        <p:cTn id="39" dur="500" fill="hold"/>
                                        <p:tgtEl>
                                          <p:spTgt spid="17"/>
                                        </p:tgtEl>
                                        <p:attrNameLst>
                                          <p:attrName>ppt_h</p:attrName>
                                        </p:attrNameLst>
                                      </p:cBhvr>
                                      <p:tavLst>
                                        <p:tav tm="0">
                                          <p:val>
                                            <p:fltVal val="0"/>
                                          </p:val>
                                        </p:tav>
                                        <p:tav tm="100000">
                                          <p:val>
                                            <p:strVal val="#ppt_h"/>
                                          </p:val>
                                        </p:tav>
                                      </p:tavLst>
                                    </p:anim>
                                    <p:animEffect transition="in" filter="fade">
                                      <p:cBhvr>
                                        <p:cTn id="40" dur="500"/>
                                        <p:tgtEl>
                                          <p:spTgt spid="17"/>
                                        </p:tgtEl>
                                      </p:cBhvr>
                                    </p:animEffect>
                                  </p:childTnLst>
                                </p:cTn>
                              </p:par>
                              <p:par>
                                <p:cTn id="41" presetID="53" presetClass="entr" presetSubtype="16" fill="hold" grpId="0" nodeType="withEffect">
                                  <p:stCondLst>
                                    <p:cond delay="0"/>
                                  </p:stCondLst>
                                  <p:childTnLst>
                                    <p:set>
                                      <p:cBhvr>
                                        <p:cTn id="42" dur="1" fill="hold">
                                          <p:stCondLst>
                                            <p:cond delay="0"/>
                                          </p:stCondLst>
                                        </p:cTn>
                                        <p:tgtEl>
                                          <p:spTgt spid="20"/>
                                        </p:tgtEl>
                                        <p:attrNameLst>
                                          <p:attrName>style.visibility</p:attrName>
                                        </p:attrNameLst>
                                      </p:cBhvr>
                                      <p:to>
                                        <p:strVal val="visible"/>
                                      </p:to>
                                    </p:set>
                                    <p:anim calcmode="lin" valueType="num">
                                      <p:cBhvr>
                                        <p:cTn id="43" dur="500" fill="hold"/>
                                        <p:tgtEl>
                                          <p:spTgt spid="20"/>
                                        </p:tgtEl>
                                        <p:attrNameLst>
                                          <p:attrName>ppt_w</p:attrName>
                                        </p:attrNameLst>
                                      </p:cBhvr>
                                      <p:tavLst>
                                        <p:tav tm="0">
                                          <p:val>
                                            <p:fltVal val="0"/>
                                          </p:val>
                                        </p:tav>
                                        <p:tav tm="100000">
                                          <p:val>
                                            <p:strVal val="#ppt_w"/>
                                          </p:val>
                                        </p:tav>
                                      </p:tavLst>
                                    </p:anim>
                                    <p:anim calcmode="lin" valueType="num">
                                      <p:cBhvr>
                                        <p:cTn id="44" dur="500" fill="hold"/>
                                        <p:tgtEl>
                                          <p:spTgt spid="20"/>
                                        </p:tgtEl>
                                        <p:attrNameLst>
                                          <p:attrName>ppt_h</p:attrName>
                                        </p:attrNameLst>
                                      </p:cBhvr>
                                      <p:tavLst>
                                        <p:tav tm="0">
                                          <p:val>
                                            <p:fltVal val="0"/>
                                          </p:val>
                                        </p:tav>
                                        <p:tav tm="100000">
                                          <p:val>
                                            <p:strVal val="#ppt_h"/>
                                          </p:val>
                                        </p:tav>
                                      </p:tavLst>
                                    </p:anim>
                                    <p:animEffect transition="in" filter="fade">
                                      <p:cBhvr>
                                        <p:cTn id="45" dur="500"/>
                                        <p:tgtEl>
                                          <p:spTgt spid="20"/>
                                        </p:tgtEl>
                                      </p:cBhvr>
                                    </p:animEffect>
                                  </p:childTnLst>
                                </p:cTn>
                              </p:par>
                            </p:childTnLst>
                          </p:cTn>
                        </p:par>
                      </p:childTnLst>
                    </p:cTn>
                  </p:par>
                  <p:par>
                    <p:cTn id="46" fill="hold">
                      <p:stCondLst>
                        <p:cond delay="indefinite"/>
                      </p:stCondLst>
                      <p:childTnLst>
                        <p:par>
                          <p:cTn id="47" fill="hold">
                            <p:stCondLst>
                              <p:cond delay="0"/>
                            </p:stCondLst>
                            <p:childTnLst>
                              <p:par>
                                <p:cTn id="48" presetID="53" presetClass="entr" presetSubtype="16" fill="hold" nodeType="clickEffect">
                                  <p:stCondLst>
                                    <p:cond delay="0"/>
                                  </p:stCondLst>
                                  <p:childTnLst>
                                    <p:set>
                                      <p:cBhvr>
                                        <p:cTn id="49" dur="1" fill="hold">
                                          <p:stCondLst>
                                            <p:cond delay="0"/>
                                          </p:stCondLst>
                                        </p:cTn>
                                        <p:tgtEl>
                                          <p:spTgt spid="22"/>
                                        </p:tgtEl>
                                        <p:attrNameLst>
                                          <p:attrName>style.visibility</p:attrName>
                                        </p:attrNameLst>
                                      </p:cBhvr>
                                      <p:to>
                                        <p:strVal val="visible"/>
                                      </p:to>
                                    </p:set>
                                    <p:anim calcmode="lin" valueType="num">
                                      <p:cBhvr>
                                        <p:cTn id="50" dur="500" fill="hold"/>
                                        <p:tgtEl>
                                          <p:spTgt spid="22"/>
                                        </p:tgtEl>
                                        <p:attrNameLst>
                                          <p:attrName>ppt_w</p:attrName>
                                        </p:attrNameLst>
                                      </p:cBhvr>
                                      <p:tavLst>
                                        <p:tav tm="0">
                                          <p:val>
                                            <p:fltVal val="0"/>
                                          </p:val>
                                        </p:tav>
                                        <p:tav tm="100000">
                                          <p:val>
                                            <p:strVal val="#ppt_w"/>
                                          </p:val>
                                        </p:tav>
                                      </p:tavLst>
                                    </p:anim>
                                    <p:anim calcmode="lin" valueType="num">
                                      <p:cBhvr>
                                        <p:cTn id="51" dur="500" fill="hold"/>
                                        <p:tgtEl>
                                          <p:spTgt spid="22"/>
                                        </p:tgtEl>
                                        <p:attrNameLst>
                                          <p:attrName>ppt_h</p:attrName>
                                        </p:attrNameLst>
                                      </p:cBhvr>
                                      <p:tavLst>
                                        <p:tav tm="0">
                                          <p:val>
                                            <p:fltVal val="0"/>
                                          </p:val>
                                        </p:tav>
                                        <p:tav tm="100000">
                                          <p:val>
                                            <p:strVal val="#ppt_h"/>
                                          </p:val>
                                        </p:tav>
                                      </p:tavLst>
                                    </p:anim>
                                    <p:animEffect transition="in" filter="fade">
                                      <p:cBhvr>
                                        <p:cTn id="52" dur="500"/>
                                        <p:tgtEl>
                                          <p:spTgt spid="22"/>
                                        </p:tgtEl>
                                      </p:cBhvr>
                                    </p:animEffect>
                                  </p:childTnLst>
                                </p:cTn>
                              </p:par>
                            </p:childTnLst>
                          </p:cTn>
                        </p:par>
                      </p:childTnLst>
                    </p:cTn>
                  </p:par>
                  <p:par>
                    <p:cTn id="53" fill="hold">
                      <p:stCondLst>
                        <p:cond delay="indefinite"/>
                      </p:stCondLst>
                      <p:childTnLst>
                        <p:par>
                          <p:cTn id="54" fill="hold">
                            <p:stCondLst>
                              <p:cond delay="0"/>
                            </p:stCondLst>
                            <p:childTnLst>
                              <p:par>
                                <p:cTn id="55" presetID="53" presetClass="entr" presetSubtype="16" fill="hold" nodeType="clickEffect">
                                  <p:stCondLst>
                                    <p:cond delay="0"/>
                                  </p:stCondLst>
                                  <p:childTnLst>
                                    <p:set>
                                      <p:cBhvr>
                                        <p:cTn id="56" dur="1" fill="hold">
                                          <p:stCondLst>
                                            <p:cond delay="0"/>
                                          </p:stCondLst>
                                        </p:cTn>
                                        <p:tgtEl>
                                          <p:spTgt spid="24"/>
                                        </p:tgtEl>
                                        <p:attrNameLst>
                                          <p:attrName>style.visibility</p:attrName>
                                        </p:attrNameLst>
                                      </p:cBhvr>
                                      <p:to>
                                        <p:strVal val="visible"/>
                                      </p:to>
                                    </p:set>
                                    <p:anim calcmode="lin" valueType="num">
                                      <p:cBhvr>
                                        <p:cTn id="57" dur="500" fill="hold"/>
                                        <p:tgtEl>
                                          <p:spTgt spid="24"/>
                                        </p:tgtEl>
                                        <p:attrNameLst>
                                          <p:attrName>ppt_w</p:attrName>
                                        </p:attrNameLst>
                                      </p:cBhvr>
                                      <p:tavLst>
                                        <p:tav tm="0">
                                          <p:val>
                                            <p:fltVal val="0"/>
                                          </p:val>
                                        </p:tav>
                                        <p:tav tm="100000">
                                          <p:val>
                                            <p:strVal val="#ppt_w"/>
                                          </p:val>
                                        </p:tav>
                                      </p:tavLst>
                                    </p:anim>
                                    <p:anim calcmode="lin" valueType="num">
                                      <p:cBhvr>
                                        <p:cTn id="58" dur="500" fill="hold"/>
                                        <p:tgtEl>
                                          <p:spTgt spid="24"/>
                                        </p:tgtEl>
                                        <p:attrNameLst>
                                          <p:attrName>ppt_h</p:attrName>
                                        </p:attrNameLst>
                                      </p:cBhvr>
                                      <p:tavLst>
                                        <p:tav tm="0">
                                          <p:val>
                                            <p:fltVal val="0"/>
                                          </p:val>
                                        </p:tav>
                                        <p:tav tm="100000">
                                          <p:val>
                                            <p:strVal val="#ppt_h"/>
                                          </p:val>
                                        </p:tav>
                                      </p:tavLst>
                                    </p:anim>
                                    <p:animEffect transition="in" filter="fade">
                                      <p:cBhvr>
                                        <p:cTn id="59"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7" grpId="0" animBg="1"/>
      <p:bldP spid="19" grpId="0" animBg="1"/>
      <p:bldP spid="20"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1F74D4A-9E16-4275-90C5-F97189B724F9}"/>
              </a:ext>
            </a:extLst>
          </p:cNvPr>
          <p:cNvPicPr>
            <a:picLocks noChangeAspect="1"/>
          </p:cNvPicPr>
          <p:nvPr/>
        </p:nvPicPr>
        <p:blipFill>
          <a:blip r:embed="rId4">
            <a:duotone>
              <a:schemeClr val="accent2">
                <a:shade val="45000"/>
                <a:satMod val="135000"/>
              </a:schemeClr>
              <a:prstClr val="white"/>
            </a:duotone>
            <a:extLst>
              <a:ext uri="{BEBA8EAE-BF5A-486C-A8C5-ECC9F3942E4B}">
                <a14:imgProps xmlns:a14="http://schemas.microsoft.com/office/drawing/2010/main">
                  <a14:imgLayer r:embed="rId5">
                    <a14:imgEffect>
                      <a14:saturation sat="66000"/>
                    </a14:imgEffect>
                  </a14:imgLayer>
                </a14:imgProps>
              </a:ext>
            </a:extLst>
          </a:blip>
          <a:stretch>
            <a:fillRect/>
          </a:stretch>
        </p:blipFill>
        <p:spPr>
          <a:xfrm>
            <a:off x="1173146" y="-2800350"/>
            <a:ext cx="11241452" cy="14443947"/>
          </a:xfrm>
          <a:prstGeom prst="rect">
            <a:avLst/>
          </a:prstGeom>
        </p:spPr>
      </p:pic>
      <p:graphicFrame>
        <p:nvGraphicFramePr>
          <p:cNvPr id="3" name="Object 2" hidden="1">
            <a:extLst>
              <a:ext uri="{FF2B5EF4-FFF2-40B4-BE49-F238E27FC236}">
                <a16:creationId xmlns:a16="http://schemas.microsoft.com/office/drawing/2014/main" id="{29F5A9FD-BD4B-41CD-9545-C14EE113DFB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4" name="think-cell Slide" r:id="rId6" imgW="360" imgH="360" progId="TCLayout.ActiveDocument.1">
                  <p:embed/>
                </p:oleObj>
              </mc:Choice>
              <mc:Fallback>
                <p:oleObj name="think-cell Slide" r:id="rId6" imgW="360" imgH="360" progId="TCLayout.ActiveDocument.1">
                  <p:embed/>
                  <p:pic>
                    <p:nvPicPr>
                      <p:cNvPr id="3" name="Object 2" hidden="1">
                        <a:extLst>
                          <a:ext uri="{FF2B5EF4-FFF2-40B4-BE49-F238E27FC236}">
                            <a16:creationId xmlns:a16="http://schemas.microsoft.com/office/drawing/2014/main" id="{29F5A9FD-BD4B-41CD-9545-C14EE113DFB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26F784E-485C-46E9-A476-2051D18874E2}"/>
              </a:ext>
            </a:extLst>
          </p:cNvPr>
          <p:cNvSpPr>
            <a:spLocks noGrp="1"/>
          </p:cNvSpPr>
          <p:nvPr>
            <p:ph type="title"/>
          </p:nvPr>
        </p:nvSpPr>
        <p:spPr>
          <a:xfrm>
            <a:off x="282770" y="366473"/>
            <a:ext cx="2180344" cy="688514"/>
          </a:xfrm>
        </p:spPr>
        <p:txBody>
          <a:bodyPr vert="horz" lIns="0" tIns="0" rIns="0" bIns="0" rtlCol="0" anchor="t" anchorCtr="0">
            <a:noAutofit/>
          </a:bodyPr>
          <a:lstStyle/>
          <a:p>
            <a:r>
              <a:rPr lang="en-US" sz="1200" dirty="0">
                <a:ea typeface="+mj-lt"/>
                <a:cs typeface="+mj-lt"/>
              </a:rPr>
              <a:t>Environmental Problems </a:t>
            </a:r>
            <a:br>
              <a:rPr lang="en-US" sz="1200" dirty="0">
                <a:ea typeface="+mj-lt"/>
                <a:cs typeface="+mj-lt"/>
              </a:rPr>
            </a:br>
            <a:br>
              <a:rPr lang="en-US" sz="1200" dirty="0">
                <a:ea typeface="+mj-lt"/>
                <a:cs typeface="+mj-lt"/>
              </a:rPr>
            </a:br>
            <a:endParaRPr lang="en-US" sz="1200" dirty="0"/>
          </a:p>
        </p:txBody>
      </p:sp>
      <p:sp>
        <p:nvSpPr>
          <p:cNvPr id="4" name="TextBox 3">
            <a:extLst>
              <a:ext uri="{FF2B5EF4-FFF2-40B4-BE49-F238E27FC236}">
                <a16:creationId xmlns:a16="http://schemas.microsoft.com/office/drawing/2014/main" id="{32DF85C0-3BEE-4729-9C07-A4274FBB1381}"/>
              </a:ext>
            </a:extLst>
          </p:cNvPr>
          <p:cNvSpPr txBox="1"/>
          <p:nvPr/>
        </p:nvSpPr>
        <p:spPr>
          <a:xfrm>
            <a:off x="282770" y="495287"/>
            <a:ext cx="4879445" cy="430887"/>
          </a:xfrm>
          <a:prstGeom prst="rect">
            <a:avLst/>
          </a:prstGeom>
          <a:noFill/>
        </p:spPr>
        <p:txBody>
          <a:bodyPr wrap="square" lIns="0" tIns="0" rIns="0" bIns="0" rtlCol="0">
            <a:spAutoFit/>
          </a:bodyPr>
          <a:lstStyle/>
          <a:p>
            <a:r>
              <a:rPr lang="en-US" sz="1400" b="1" dirty="0">
                <a:ea typeface="+mj-lt"/>
                <a:cs typeface="+mj-lt"/>
              </a:rPr>
              <a:t>in</a:t>
            </a:r>
            <a:br>
              <a:rPr lang="en-US" sz="1400" b="1" dirty="0">
                <a:ea typeface="+mj-lt"/>
                <a:cs typeface="+mj-lt"/>
              </a:rPr>
            </a:br>
            <a:r>
              <a:rPr lang="en-US" sz="1400" b="1" dirty="0">
                <a:ea typeface="+mj-lt"/>
                <a:cs typeface="+mj-lt"/>
              </a:rPr>
              <a:t>Bangladesh</a:t>
            </a:r>
            <a:endParaRPr lang="en-US" sz="1400" b="1" kern="0" dirty="0"/>
          </a:p>
        </p:txBody>
      </p:sp>
      <p:sp>
        <p:nvSpPr>
          <p:cNvPr id="7" name="Rectangle 6">
            <a:extLst>
              <a:ext uri="{FF2B5EF4-FFF2-40B4-BE49-F238E27FC236}">
                <a16:creationId xmlns:a16="http://schemas.microsoft.com/office/drawing/2014/main" id="{5237B00E-6671-4760-BC3C-ED234523374A}"/>
              </a:ext>
            </a:extLst>
          </p:cNvPr>
          <p:cNvSpPr/>
          <p:nvPr/>
        </p:nvSpPr>
        <p:spPr>
          <a:xfrm>
            <a:off x="8089390" y="464509"/>
            <a:ext cx="3637278" cy="461665"/>
          </a:xfrm>
          <a:prstGeom prst="rect">
            <a:avLst/>
          </a:prstGeom>
        </p:spPr>
        <p:txBody>
          <a:bodyPr wrap="none">
            <a:spAutoFit/>
          </a:bodyPr>
          <a:lstStyle/>
          <a:p>
            <a:r>
              <a:rPr lang="en-US" sz="2400" dirty="0">
                <a:solidFill>
                  <a:schemeClr val="accent2"/>
                </a:solidFill>
              </a:rPr>
              <a:t>|</a:t>
            </a:r>
            <a:r>
              <a:rPr lang="en-US" sz="1100" dirty="0">
                <a:solidFill>
                  <a:schemeClr val="accent2"/>
                </a:solidFill>
              </a:rPr>
              <a:t> </a:t>
            </a:r>
            <a:r>
              <a:rPr lang="en-US" sz="1400" dirty="0">
                <a:solidFill>
                  <a:schemeClr val="accent2"/>
                </a:solidFill>
              </a:rPr>
              <a:t>Effects of Global Problems in Bangladesh</a:t>
            </a:r>
            <a:endParaRPr lang="en-US" sz="1100" dirty="0">
              <a:solidFill>
                <a:schemeClr val="accent2"/>
              </a:solidFill>
            </a:endParaRPr>
          </a:p>
        </p:txBody>
      </p:sp>
      <p:pic>
        <p:nvPicPr>
          <p:cNvPr id="10" name="Picture 9">
            <a:extLst>
              <a:ext uri="{FF2B5EF4-FFF2-40B4-BE49-F238E27FC236}">
                <a16:creationId xmlns:a16="http://schemas.microsoft.com/office/drawing/2014/main" id="{416693A1-D940-44B8-9A60-4E0F477B8A54}"/>
              </a:ext>
            </a:extLst>
          </p:cNvPr>
          <p:cNvPicPr>
            <a:picLocks noChangeAspect="1"/>
          </p:cNvPicPr>
          <p:nvPr/>
        </p:nvPicPr>
        <p:blipFill rotWithShape="1">
          <a:blip r:embed="rId8"/>
          <a:srcRect l="17500" r="17500"/>
          <a:stretch/>
        </p:blipFill>
        <p:spPr>
          <a:xfrm>
            <a:off x="2722492" y="1398588"/>
            <a:ext cx="1358537" cy="1358537"/>
          </a:xfrm>
          <a:prstGeom prst="ellipse">
            <a:avLst/>
          </a:prstGeom>
        </p:spPr>
      </p:pic>
      <p:pic>
        <p:nvPicPr>
          <p:cNvPr id="18" name="Picture 17">
            <a:extLst>
              <a:ext uri="{FF2B5EF4-FFF2-40B4-BE49-F238E27FC236}">
                <a16:creationId xmlns:a16="http://schemas.microsoft.com/office/drawing/2014/main" id="{8AFEBA20-81DB-4DF6-95B9-F9894CB55367}"/>
              </a:ext>
            </a:extLst>
          </p:cNvPr>
          <p:cNvPicPr>
            <a:picLocks noChangeAspect="1"/>
          </p:cNvPicPr>
          <p:nvPr/>
        </p:nvPicPr>
        <p:blipFill rotWithShape="1">
          <a:blip r:embed="rId9"/>
          <a:srcRect l="17625" r="23625"/>
          <a:stretch/>
        </p:blipFill>
        <p:spPr>
          <a:xfrm>
            <a:off x="6905115" y="1224326"/>
            <a:ext cx="2204674" cy="2204674"/>
          </a:xfrm>
          <a:prstGeom prst="ellipse">
            <a:avLst/>
          </a:prstGeom>
        </p:spPr>
      </p:pic>
      <p:pic>
        <p:nvPicPr>
          <p:cNvPr id="23" name="Picture 22">
            <a:extLst>
              <a:ext uri="{FF2B5EF4-FFF2-40B4-BE49-F238E27FC236}">
                <a16:creationId xmlns:a16="http://schemas.microsoft.com/office/drawing/2014/main" id="{F84949B2-387F-4428-A9FE-A25BC7C3D373}"/>
              </a:ext>
            </a:extLst>
          </p:cNvPr>
          <p:cNvPicPr>
            <a:picLocks noChangeAspect="1"/>
          </p:cNvPicPr>
          <p:nvPr/>
        </p:nvPicPr>
        <p:blipFill rotWithShape="1">
          <a:blip r:embed="rId10"/>
          <a:srcRect l="16667" t="-439" r="16667" b="439"/>
          <a:stretch/>
        </p:blipFill>
        <p:spPr>
          <a:xfrm>
            <a:off x="4300945" y="3429000"/>
            <a:ext cx="1971881" cy="1971881"/>
          </a:xfrm>
          <a:prstGeom prst="ellipse">
            <a:avLst/>
          </a:prstGeom>
        </p:spPr>
      </p:pic>
    </p:spTree>
    <p:extLst>
      <p:ext uri="{BB962C8B-B14F-4D97-AF65-F5344CB8AC3E}">
        <p14:creationId xmlns:p14="http://schemas.microsoft.com/office/powerpoint/2010/main" val="2838667421"/>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500" fill="hold"/>
                                        <p:tgtEl>
                                          <p:spTgt spid="10"/>
                                        </p:tgtEl>
                                        <p:attrNameLst>
                                          <p:attrName>ppt_w</p:attrName>
                                        </p:attrNameLst>
                                      </p:cBhvr>
                                      <p:tavLst>
                                        <p:tav tm="0">
                                          <p:val>
                                            <p:fltVal val="0"/>
                                          </p:val>
                                        </p:tav>
                                        <p:tav tm="100000">
                                          <p:val>
                                            <p:strVal val="#ppt_w"/>
                                          </p:val>
                                        </p:tav>
                                      </p:tavLst>
                                    </p:anim>
                                    <p:anim calcmode="lin" valueType="num">
                                      <p:cBhvr>
                                        <p:cTn id="8" dur="500" fill="hold"/>
                                        <p:tgtEl>
                                          <p:spTgt spid="10"/>
                                        </p:tgtEl>
                                        <p:attrNameLst>
                                          <p:attrName>ppt_h</p:attrName>
                                        </p:attrNameLst>
                                      </p:cBhvr>
                                      <p:tavLst>
                                        <p:tav tm="0">
                                          <p:val>
                                            <p:fltVal val="0"/>
                                          </p:val>
                                        </p:tav>
                                        <p:tav tm="100000">
                                          <p:val>
                                            <p:strVal val="#ppt_h"/>
                                          </p:val>
                                        </p:tav>
                                      </p:tavLst>
                                    </p:anim>
                                    <p:animEffect transition="in" filter="fade">
                                      <p:cBhvr>
                                        <p:cTn id="9" dur="500"/>
                                        <p:tgtEl>
                                          <p:spTgt spid="10"/>
                                        </p:tgtEl>
                                      </p:cBhvr>
                                    </p:animEffect>
                                  </p:childTnLst>
                                </p:cTn>
                              </p:par>
                              <p:par>
                                <p:cTn id="10" presetID="53" presetClass="entr" presetSubtype="16" fill="hold" nodeType="withEffect">
                                  <p:stCondLst>
                                    <p:cond delay="0"/>
                                  </p:stCondLst>
                                  <p:childTnLst>
                                    <p:set>
                                      <p:cBhvr>
                                        <p:cTn id="11" dur="1" fill="hold">
                                          <p:stCondLst>
                                            <p:cond delay="0"/>
                                          </p:stCondLst>
                                        </p:cTn>
                                        <p:tgtEl>
                                          <p:spTgt spid="18"/>
                                        </p:tgtEl>
                                        <p:attrNameLst>
                                          <p:attrName>style.visibility</p:attrName>
                                        </p:attrNameLst>
                                      </p:cBhvr>
                                      <p:to>
                                        <p:strVal val="visible"/>
                                      </p:to>
                                    </p:set>
                                    <p:anim calcmode="lin" valueType="num">
                                      <p:cBhvr>
                                        <p:cTn id="12" dur="500" fill="hold"/>
                                        <p:tgtEl>
                                          <p:spTgt spid="18"/>
                                        </p:tgtEl>
                                        <p:attrNameLst>
                                          <p:attrName>ppt_w</p:attrName>
                                        </p:attrNameLst>
                                      </p:cBhvr>
                                      <p:tavLst>
                                        <p:tav tm="0">
                                          <p:val>
                                            <p:fltVal val="0"/>
                                          </p:val>
                                        </p:tav>
                                        <p:tav tm="100000">
                                          <p:val>
                                            <p:strVal val="#ppt_w"/>
                                          </p:val>
                                        </p:tav>
                                      </p:tavLst>
                                    </p:anim>
                                    <p:anim calcmode="lin" valueType="num">
                                      <p:cBhvr>
                                        <p:cTn id="13" dur="500" fill="hold"/>
                                        <p:tgtEl>
                                          <p:spTgt spid="18"/>
                                        </p:tgtEl>
                                        <p:attrNameLst>
                                          <p:attrName>ppt_h</p:attrName>
                                        </p:attrNameLst>
                                      </p:cBhvr>
                                      <p:tavLst>
                                        <p:tav tm="0">
                                          <p:val>
                                            <p:fltVal val="0"/>
                                          </p:val>
                                        </p:tav>
                                        <p:tav tm="100000">
                                          <p:val>
                                            <p:strVal val="#ppt_h"/>
                                          </p:val>
                                        </p:tav>
                                      </p:tavLst>
                                    </p:anim>
                                    <p:animEffect transition="in" filter="fade">
                                      <p:cBhvr>
                                        <p:cTn id="14" dur="500"/>
                                        <p:tgtEl>
                                          <p:spTgt spid="18"/>
                                        </p:tgtEl>
                                      </p:cBhvr>
                                    </p:animEffect>
                                  </p:childTnLst>
                                </p:cTn>
                              </p:par>
                              <p:par>
                                <p:cTn id="15" presetID="53" presetClass="entr" presetSubtype="16" fill="hold" nodeType="withEffect">
                                  <p:stCondLst>
                                    <p:cond delay="0"/>
                                  </p:stCondLst>
                                  <p:childTnLst>
                                    <p:set>
                                      <p:cBhvr>
                                        <p:cTn id="16" dur="1" fill="hold">
                                          <p:stCondLst>
                                            <p:cond delay="0"/>
                                          </p:stCondLst>
                                        </p:cTn>
                                        <p:tgtEl>
                                          <p:spTgt spid="23"/>
                                        </p:tgtEl>
                                        <p:attrNameLst>
                                          <p:attrName>style.visibility</p:attrName>
                                        </p:attrNameLst>
                                      </p:cBhvr>
                                      <p:to>
                                        <p:strVal val="visible"/>
                                      </p:to>
                                    </p:set>
                                    <p:anim calcmode="lin" valueType="num">
                                      <p:cBhvr>
                                        <p:cTn id="17" dur="500" fill="hold"/>
                                        <p:tgtEl>
                                          <p:spTgt spid="23"/>
                                        </p:tgtEl>
                                        <p:attrNameLst>
                                          <p:attrName>ppt_w</p:attrName>
                                        </p:attrNameLst>
                                      </p:cBhvr>
                                      <p:tavLst>
                                        <p:tav tm="0">
                                          <p:val>
                                            <p:fltVal val="0"/>
                                          </p:val>
                                        </p:tav>
                                        <p:tav tm="100000">
                                          <p:val>
                                            <p:strVal val="#ppt_w"/>
                                          </p:val>
                                        </p:tav>
                                      </p:tavLst>
                                    </p:anim>
                                    <p:anim calcmode="lin" valueType="num">
                                      <p:cBhvr>
                                        <p:cTn id="18" dur="500" fill="hold"/>
                                        <p:tgtEl>
                                          <p:spTgt spid="23"/>
                                        </p:tgtEl>
                                        <p:attrNameLst>
                                          <p:attrName>ppt_h</p:attrName>
                                        </p:attrNameLst>
                                      </p:cBhvr>
                                      <p:tavLst>
                                        <p:tav tm="0">
                                          <p:val>
                                            <p:fltVal val="0"/>
                                          </p:val>
                                        </p:tav>
                                        <p:tav tm="100000">
                                          <p:val>
                                            <p:strVal val="#ppt_h"/>
                                          </p:val>
                                        </p:tav>
                                      </p:tavLst>
                                    </p:anim>
                                    <p:animEffect transition="in" filter="fade">
                                      <p:cBhvr>
                                        <p:cTn id="19"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1F74D4A-9E16-4275-90C5-F97189B724F9}"/>
              </a:ext>
            </a:extLst>
          </p:cNvPr>
          <p:cNvPicPr>
            <a:picLocks noChangeAspect="1"/>
          </p:cNvPicPr>
          <p:nvPr/>
        </p:nvPicPr>
        <p:blipFill>
          <a:blip r:embed="rId4">
            <a:duotone>
              <a:schemeClr val="accent2">
                <a:shade val="45000"/>
                <a:satMod val="135000"/>
              </a:schemeClr>
              <a:prstClr val="white"/>
            </a:duotone>
            <a:extLst>
              <a:ext uri="{BEBA8EAE-BF5A-486C-A8C5-ECC9F3942E4B}">
                <a14:imgProps xmlns:a14="http://schemas.microsoft.com/office/drawing/2010/main">
                  <a14:imgLayer r:embed="rId5">
                    <a14:imgEffect>
                      <a14:saturation sat="66000"/>
                    </a14:imgEffect>
                  </a14:imgLayer>
                </a14:imgProps>
              </a:ext>
            </a:extLst>
          </a:blip>
          <a:stretch>
            <a:fillRect/>
          </a:stretch>
        </p:blipFill>
        <p:spPr>
          <a:xfrm>
            <a:off x="1549401" y="-1166573"/>
            <a:ext cx="11920310" cy="15316200"/>
          </a:xfrm>
          <a:prstGeom prst="rect">
            <a:avLst/>
          </a:prstGeom>
        </p:spPr>
      </p:pic>
      <p:graphicFrame>
        <p:nvGraphicFramePr>
          <p:cNvPr id="3" name="Object 2" hidden="1">
            <a:extLst>
              <a:ext uri="{FF2B5EF4-FFF2-40B4-BE49-F238E27FC236}">
                <a16:creationId xmlns:a16="http://schemas.microsoft.com/office/drawing/2014/main" id="{29F5A9FD-BD4B-41CD-9545-C14EE113DFB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8" name="think-cell Slide" r:id="rId6" imgW="360" imgH="360" progId="TCLayout.ActiveDocument.1">
                  <p:embed/>
                </p:oleObj>
              </mc:Choice>
              <mc:Fallback>
                <p:oleObj name="think-cell Slide" r:id="rId6" imgW="360" imgH="360" progId="TCLayout.ActiveDocument.1">
                  <p:embed/>
                  <p:pic>
                    <p:nvPicPr>
                      <p:cNvPr id="3" name="Object 2" hidden="1">
                        <a:extLst>
                          <a:ext uri="{FF2B5EF4-FFF2-40B4-BE49-F238E27FC236}">
                            <a16:creationId xmlns:a16="http://schemas.microsoft.com/office/drawing/2014/main" id="{29F5A9FD-BD4B-41CD-9545-C14EE113DFB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26F784E-485C-46E9-A476-2051D18874E2}"/>
              </a:ext>
            </a:extLst>
          </p:cNvPr>
          <p:cNvSpPr>
            <a:spLocks noGrp="1"/>
          </p:cNvSpPr>
          <p:nvPr>
            <p:ph type="title"/>
          </p:nvPr>
        </p:nvSpPr>
        <p:spPr>
          <a:xfrm>
            <a:off x="282770" y="366473"/>
            <a:ext cx="2180344" cy="688514"/>
          </a:xfrm>
        </p:spPr>
        <p:txBody>
          <a:bodyPr vert="horz" lIns="0" tIns="0" rIns="0" bIns="0" rtlCol="0" anchor="t" anchorCtr="0">
            <a:noAutofit/>
          </a:bodyPr>
          <a:lstStyle/>
          <a:p>
            <a:r>
              <a:rPr lang="en-US" sz="1200" dirty="0">
                <a:ea typeface="+mj-lt"/>
                <a:cs typeface="+mj-lt"/>
              </a:rPr>
              <a:t>Environmental Problems </a:t>
            </a:r>
            <a:br>
              <a:rPr lang="en-US" sz="1200" dirty="0">
                <a:ea typeface="+mj-lt"/>
                <a:cs typeface="+mj-lt"/>
              </a:rPr>
            </a:br>
            <a:br>
              <a:rPr lang="en-US" sz="1200" dirty="0">
                <a:ea typeface="+mj-lt"/>
                <a:cs typeface="+mj-lt"/>
              </a:rPr>
            </a:br>
            <a:endParaRPr lang="en-US" sz="1200" dirty="0"/>
          </a:p>
        </p:txBody>
      </p:sp>
      <p:sp>
        <p:nvSpPr>
          <p:cNvPr id="4" name="TextBox 3">
            <a:extLst>
              <a:ext uri="{FF2B5EF4-FFF2-40B4-BE49-F238E27FC236}">
                <a16:creationId xmlns:a16="http://schemas.microsoft.com/office/drawing/2014/main" id="{32DF85C0-3BEE-4729-9C07-A4274FBB1381}"/>
              </a:ext>
            </a:extLst>
          </p:cNvPr>
          <p:cNvSpPr txBox="1"/>
          <p:nvPr/>
        </p:nvSpPr>
        <p:spPr>
          <a:xfrm>
            <a:off x="282770" y="495287"/>
            <a:ext cx="4879445" cy="430887"/>
          </a:xfrm>
          <a:prstGeom prst="rect">
            <a:avLst/>
          </a:prstGeom>
          <a:noFill/>
        </p:spPr>
        <p:txBody>
          <a:bodyPr wrap="square" lIns="0" tIns="0" rIns="0" bIns="0" rtlCol="0">
            <a:spAutoFit/>
          </a:bodyPr>
          <a:lstStyle/>
          <a:p>
            <a:r>
              <a:rPr lang="en-US" sz="1400" b="1" dirty="0">
                <a:ea typeface="+mj-lt"/>
                <a:cs typeface="+mj-lt"/>
              </a:rPr>
              <a:t>in</a:t>
            </a:r>
            <a:br>
              <a:rPr lang="en-US" sz="1400" b="1" dirty="0">
                <a:ea typeface="+mj-lt"/>
                <a:cs typeface="+mj-lt"/>
              </a:rPr>
            </a:br>
            <a:r>
              <a:rPr lang="en-US" sz="1400" b="1" dirty="0">
                <a:ea typeface="+mj-lt"/>
                <a:cs typeface="+mj-lt"/>
              </a:rPr>
              <a:t>Bangladesh</a:t>
            </a:r>
            <a:endParaRPr lang="en-US" sz="1400" b="1" kern="0" dirty="0"/>
          </a:p>
        </p:txBody>
      </p:sp>
      <p:sp>
        <p:nvSpPr>
          <p:cNvPr id="7" name="Rectangle 6">
            <a:extLst>
              <a:ext uri="{FF2B5EF4-FFF2-40B4-BE49-F238E27FC236}">
                <a16:creationId xmlns:a16="http://schemas.microsoft.com/office/drawing/2014/main" id="{5237B00E-6671-4760-BC3C-ED234523374A}"/>
              </a:ext>
            </a:extLst>
          </p:cNvPr>
          <p:cNvSpPr/>
          <p:nvPr/>
        </p:nvSpPr>
        <p:spPr>
          <a:xfrm>
            <a:off x="9232449" y="587620"/>
            <a:ext cx="3592318" cy="677108"/>
          </a:xfrm>
          <a:prstGeom prst="rect">
            <a:avLst/>
          </a:prstGeom>
        </p:spPr>
        <p:txBody>
          <a:bodyPr wrap="square">
            <a:spAutoFit/>
          </a:bodyPr>
          <a:lstStyle/>
          <a:p>
            <a:r>
              <a:rPr lang="en-US" sz="2400" dirty="0">
                <a:solidFill>
                  <a:schemeClr val="accent2"/>
                </a:solidFill>
              </a:rPr>
              <a:t>|</a:t>
            </a:r>
            <a:r>
              <a:rPr lang="en-US" sz="1100" dirty="0">
                <a:solidFill>
                  <a:schemeClr val="accent2"/>
                </a:solidFill>
              </a:rPr>
              <a:t> </a:t>
            </a:r>
            <a:r>
              <a:rPr lang="en-US" sz="1400" dirty="0">
                <a:solidFill>
                  <a:schemeClr val="accent2"/>
                </a:solidFill>
              </a:rPr>
              <a:t>Effects of Global Problems in Bangladesh</a:t>
            </a:r>
            <a:endParaRPr lang="en-US" sz="1100" dirty="0">
              <a:solidFill>
                <a:schemeClr val="accent2"/>
              </a:solidFill>
            </a:endParaRPr>
          </a:p>
        </p:txBody>
      </p:sp>
    </p:spTree>
    <p:extLst>
      <p:ext uri="{BB962C8B-B14F-4D97-AF65-F5344CB8AC3E}">
        <p14:creationId xmlns:p14="http://schemas.microsoft.com/office/powerpoint/2010/main" val="17168484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1F74D4A-9E16-4275-90C5-F97189B724F9}"/>
              </a:ext>
            </a:extLst>
          </p:cNvPr>
          <p:cNvPicPr>
            <a:picLocks noChangeAspect="1"/>
          </p:cNvPicPr>
          <p:nvPr/>
        </p:nvPicPr>
        <p:blipFill>
          <a:blip r:embed="rId4">
            <a:duotone>
              <a:schemeClr val="accent2">
                <a:shade val="45000"/>
                <a:satMod val="135000"/>
              </a:schemeClr>
              <a:prstClr val="white"/>
            </a:duotone>
            <a:extLst>
              <a:ext uri="{BEBA8EAE-BF5A-486C-A8C5-ECC9F3942E4B}">
                <a14:imgProps xmlns:a14="http://schemas.microsoft.com/office/drawing/2010/main">
                  <a14:imgLayer r:embed="rId5">
                    <a14:imgEffect>
                      <a14:saturation sat="66000"/>
                    </a14:imgEffect>
                  </a14:imgLayer>
                </a14:imgProps>
              </a:ext>
            </a:extLst>
          </a:blip>
          <a:stretch>
            <a:fillRect/>
          </a:stretch>
        </p:blipFill>
        <p:spPr>
          <a:xfrm>
            <a:off x="1181100" y="-1339457"/>
            <a:ext cx="12759852" cy="16394913"/>
          </a:xfrm>
          <a:prstGeom prst="rect">
            <a:avLst/>
          </a:prstGeom>
        </p:spPr>
      </p:pic>
      <p:graphicFrame>
        <p:nvGraphicFramePr>
          <p:cNvPr id="3" name="Object 2" hidden="1">
            <a:extLst>
              <a:ext uri="{FF2B5EF4-FFF2-40B4-BE49-F238E27FC236}">
                <a16:creationId xmlns:a16="http://schemas.microsoft.com/office/drawing/2014/main" id="{29F5A9FD-BD4B-41CD-9545-C14EE113DFB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2" name="think-cell Slide" r:id="rId6" imgW="360" imgH="360" progId="TCLayout.ActiveDocument.1">
                  <p:embed/>
                </p:oleObj>
              </mc:Choice>
              <mc:Fallback>
                <p:oleObj name="think-cell Slide" r:id="rId6" imgW="360" imgH="360" progId="TCLayout.ActiveDocument.1">
                  <p:embed/>
                  <p:pic>
                    <p:nvPicPr>
                      <p:cNvPr id="3" name="Object 2" hidden="1">
                        <a:extLst>
                          <a:ext uri="{FF2B5EF4-FFF2-40B4-BE49-F238E27FC236}">
                            <a16:creationId xmlns:a16="http://schemas.microsoft.com/office/drawing/2014/main" id="{29F5A9FD-BD4B-41CD-9545-C14EE113DFB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26F784E-485C-46E9-A476-2051D18874E2}"/>
              </a:ext>
            </a:extLst>
          </p:cNvPr>
          <p:cNvSpPr>
            <a:spLocks noGrp="1"/>
          </p:cNvSpPr>
          <p:nvPr>
            <p:ph type="title"/>
          </p:nvPr>
        </p:nvSpPr>
        <p:spPr>
          <a:xfrm>
            <a:off x="282770" y="366473"/>
            <a:ext cx="2180344" cy="688514"/>
          </a:xfrm>
        </p:spPr>
        <p:txBody>
          <a:bodyPr vert="horz" lIns="0" tIns="0" rIns="0" bIns="0" rtlCol="0" anchor="t" anchorCtr="0">
            <a:noAutofit/>
          </a:bodyPr>
          <a:lstStyle/>
          <a:p>
            <a:r>
              <a:rPr lang="en-US" sz="1200" dirty="0">
                <a:ea typeface="+mj-lt"/>
                <a:cs typeface="+mj-lt"/>
              </a:rPr>
              <a:t>Environmental Problems </a:t>
            </a:r>
            <a:br>
              <a:rPr lang="en-US" sz="1200" dirty="0">
                <a:ea typeface="+mj-lt"/>
                <a:cs typeface="+mj-lt"/>
              </a:rPr>
            </a:br>
            <a:br>
              <a:rPr lang="en-US" sz="1200" dirty="0">
                <a:ea typeface="+mj-lt"/>
                <a:cs typeface="+mj-lt"/>
              </a:rPr>
            </a:br>
            <a:endParaRPr lang="en-US" sz="1200" dirty="0"/>
          </a:p>
        </p:txBody>
      </p:sp>
      <p:sp>
        <p:nvSpPr>
          <p:cNvPr id="4" name="TextBox 3">
            <a:extLst>
              <a:ext uri="{FF2B5EF4-FFF2-40B4-BE49-F238E27FC236}">
                <a16:creationId xmlns:a16="http://schemas.microsoft.com/office/drawing/2014/main" id="{32DF85C0-3BEE-4729-9C07-A4274FBB1381}"/>
              </a:ext>
            </a:extLst>
          </p:cNvPr>
          <p:cNvSpPr txBox="1"/>
          <p:nvPr/>
        </p:nvSpPr>
        <p:spPr>
          <a:xfrm>
            <a:off x="282770" y="495287"/>
            <a:ext cx="4879445" cy="430887"/>
          </a:xfrm>
          <a:prstGeom prst="rect">
            <a:avLst/>
          </a:prstGeom>
          <a:noFill/>
        </p:spPr>
        <p:txBody>
          <a:bodyPr wrap="square" lIns="0" tIns="0" rIns="0" bIns="0" rtlCol="0">
            <a:spAutoFit/>
          </a:bodyPr>
          <a:lstStyle/>
          <a:p>
            <a:r>
              <a:rPr lang="en-US" sz="1400" b="1" dirty="0">
                <a:ea typeface="+mj-lt"/>
                <a:cs typeface="+mj-lt"/>
              </a:rPr>
              <a:t>in</a:t>
            </a:r>
            <a:br>
              <a:rPr lang="en-US" sz="1400" b="1" dirty="0">
                <a:ea typeface="+mj-lt"/>
                <a:cs typeface="+mj-lt"/>
              </a:rPr>
            </a:br>
            <a:r>
              <a:rPr lang="en-US" sz="1400" b="1" dirty="0">
                <a:ea typeface="+mj-lt"/>
                <a:cs typeface="+mj-lt"/>
              </a:rPr>
              <a:t>Bangladesh</a:t>
            </a:r>
            <a:endParaRPr lang="en-US" sz="1400" b="1" kern="0" dirty="0"/>
          </a:p>
        </p:txBody>
      </p:sp>
      <p:sp>
        <p:nvSpPr>
          <p:cNvPr id="7" name="Rectangle 6">
            <a:extLst>
              <a:ext uri="{FF2B5EF4-FFF2-40B4-BE49-F238E27FC236}">
                <a16:creationId xmlns:a16="http://schemas.microsoft.com/office/drawing/2014/main" id="{5237B00E-6671-4760-BC3C-ED234523374A}"/>
              </a:ext>
            </a:extLst>
          </p:cNvPr>
          <p:cNvSpPr/>
          <p:nvPr/>
        </p:nvSpPr>
        <p:spPr>
          <a:xfrm>
            <a:off x="9232449" y="587620"/>
            <a:ext cx="3592318" cy="677108"/>
          </a:xfrm>
          <a:prstGeom prst="rect">
            <a:avLst/>
          </a:prstGeom>
        </p:spPr>
        <p:txBody>
          <a:bodyPr wrap="square">
            <a:spAutoFit/>
          </a:bodyPr>
          <a:lstStyle/>
          <a:p>
            <a:r>
              <a:rPr lang="en-US" sz="2400" dirty="0">
                <a:solidFill>
                  <a:schemeClr val="accent2"/>
                </a:solidFill>
              </a:rPr>
              <a:t>|</a:t>
            </a:r>
            <a:r>
              <a:rPr lang="en-US" sz="1100" dirty="0">
                <a:solidFill>
                  <a:schemeClr val="accent2"/>
                </a:solidFill>
              </a:rPr>
              <a:t> </a:t>
            </a:r>
            <a:r>
              <a:rPr lang="en-US" sz="1400" dirty="0">
                <a:solidFill>
                  <a:schemeClr val="accent2"/>
                </a:solidFill>
              </a:rPr>
              <a:t>Effects of Global Problems in Bangladesh</a:t>
            </a:r>
            <a:endParaRPr lang="en-US" sz="1100" dirty="0">
              <a:solidFill>
                <a:schemeClr val="accent2"/>
              </a:solidFill>
            </a:endParaRPr>
          </a:p>
        </p:txBody>
      </p:sp>
      <p:pic>
        <p:nvPicPr>
          <p:cNvPr id="14" name="Picture 13">
            <a:extLst>
              <a:ext uri="{FF2B5EF4-FFF2-40B4-BE49-F238E27FC236}">
                <a16:creationId xmlns:a16="http://schemas.microsoft.com/office/drawing/2014/main" id="{B5A2F489-BE01-48FF-9AA6-93B457C9B599}"/>
              </a:ext>
            </a:extLst>
          </p:cNvPr>
          <p:cNvPicPr>
            <a:picLocks noChangeAspect="1"/>
          </p:cNvPicPr>
          <p:nvPr/>
        </p:nvPicPr>
        <p:blipFill rotWithShape="1">
          <a:blip r:embed="rId8"/>
          <a:srcRect l="21310" r="21310"/>
          <a:stretch/>
        </p:blipFill>
        <p:spPr>
          <a:xfrm>
            <a:off x="4862665" y="2912251"/>
            <a:ext cx="1668498" cy="1668498"/>
          </a:xfrm>
          <a:prstGeom prst="ellipse">
            <a:avLst/>
          </a:prstGeom>
        </p:spPr>
      </p:pic>
    </p:spTree>
    <p:extLst>
      <p:ext uri="{BB962C8B-B14F-4D97-AF65-F5344CB8AC3E}">
        <p14:creationId xmlns:p14="http://schemas.microsoft.com/office/powerpoint/2010/main" val="3239569887"/>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p:cTn id="7" dur="500" fill="hold"/>
                                        <p:tgtEl>
                                          <p:spTgt spid="14"/>
                                        </p:tgtEl>
                                        <p:attrNameLst>
                                          <p:attrName>ppt_w</p:attrName>
                                        </p:attrNameLst>
                                      </p:cBhvr>
                                      <p:tavLst>
                                        <p:tav tm="0">
                                          <p:val>
                                            <p:fltVal val="0"/>
                                          </p:val>
                                        </p:tav>
                                        <p:tav tm="100000">
                                          <p:val>
                                            <p:strVal val="#ppt_w"/>
                                          </p:val>
                                        </p:tav>
                                      </p:tavLst>
                                    </p:anim>
                                    <p:anim calcmode="lin" valueType="num">
                                      <p:cBhvr>
                                        <p:cTn id="8" dur="500" fill="hold"/>
                                        <p:tgtEl>
                                          <p:spTgt spid="14"/>
                                        </p:tgtEl>
                                        <p:attrNameLst>
                                          <p:attrName>ppt_h</p:attrName>
                                        </p:attrNameLst>
                                      </p:cBhvr>
                                      <p:tavLst>
                                        <p:tav tm="0">
                                          <p:val>
                                            <p:fltVal val="0"/>
                                          </p:val>
                                        </p:tav>
                                        <p:tav tm="100000">
                                          <p:val>
                                            <p:strVal val="#ppt_h"/>
                                          </p:val>
                                        </p:tav>
                                      </p:tavLst>
                                    </p:anim>
                                    <p:animEffect transition="in" filter="fade">
                                      <p:cBhvr>
                                        <p:cTn id="9"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1F74D4A-9E16-4275-90C5-F97189B724F9}"/>
              </a:ext>
            </a:extLst>
          </p:cNvPr>
          <p:cNvPicPr>
            <a:picLocks noChangeAspect="1"/>
          </p:cNvPicPr>
          <p:nvPr/>
        </p:nvPicPr>
        <p:blipFill>
          <a:blip r:embed="rId4">
            <a:duotone>
              <a:schemeClr val="accent2">
                <a:shade val="45000"/>
                <a:satMod val="135000"/>
              </a:schemeClr>
              <a:prstClr val="white"/>
            </a:duotone>
            <a:extLst>
              <a:ext uri="{BEBA8EAE-BF5A-486C-A8C5-ECC9F3942E4B}">
                <a14:imgProps xmlns:a14="http://schemas.microsoft.com/office/drawing/2010/main">
                  <a14:imgLayer r:embed="rId5">
                    <a14:imgEffect>
                      <a14:saturation sat="66000"/>
                    </a14:imgEffect>
                  </a14:imgLayer>
                </a14:imgProps>
              </a:ext>
            </a:extLst>
          </a:blip>
          <a:stretch>
            <a:fillRect/>
          </a:stretch>
        </p:blipFill>
        <p:spPr>
          <a:xfrm>
            <a:off x="-188340" y="-8116695"/>
            <a:ext cx="14075789" cy="18085738"/>
          </a:xfrm>
          <a:prstGeom prst="rect">
            <a:avLst/>
          </a:prstGeom>
        </p:spPr>
      </p:pic>
      <p:graphicFrame>
        <p:nvGraphicFramePr>
          <p:cNvPr id="3" name="Object 2" hidden="1">
            <a:extLst>
              <a:ext uri="{FF2B5EF4-FFF2-40B4-BE49-F238E27FC236}">
                <a16:creationId xmlns:a16="http://schemas.microsoft.com/office/drawing/2014/main" id="{29F5A9FD-BD4B-41CD-9545-C14EE113DFB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6" name="think-cell Slide" r:id="rId6" imgW="360" imgH="360" progId="TCLayout.ActiveDocument.1">
                  <p:embed/>
                </p:oleObj>
              </mc:Choice>
              <mc:Fallback>
                <p:oleObj name="think-cell Slide" r:id="rId6" imgW="360" imgH="360" progId="TCLayout.ActiveDocument.1">
                  <p:embed/>
                  <p:pic>
                    <p:nvPicPr>
                      <p:cNvPr id="3" name="Object 2" hidden="1">
                        <a:extLst>
                          <a:ext uri="{FF2B5EF4-FFF2-40B4-BE49-F238E27FC236}">
                            <a16:creationId xmlns:a16="http://schemas.microsoft.com/office/drawing/2014/main" id="{29F5A9FD-BD4B-41CD-9545-C14EE113DFB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26F784E-485C-46E9-A476-2051D18874E2}"/>
              </a:ext>
            </a:extLst>
          </p:cNvPr>
          <p:cNvSpPr>
            <a:spLocks noGrp="1"/>
          </p:cNvSpPr>
          <p:nvPr>
            <p:ph type="title"/>
          </p:nvPr>
        </p:nvSpPr>
        <p:spPr>
          <a:xfrm>
            <a:off x="282770" y="366473"/>
            <a:ext cx="2180344" cy="688514"/>
          </a:xfrm>
        </p:spPr>
        <p:txBody>
          <a:bodyPr vert="horz" lIns="0" tIns="0" rIns="0" bIns="0" rtlCol="0" anchor="t" anchorCtr="0">
            <a:noAutofit/>
          </a:bodyPr>
          <a:lstStyle/>
          <a:p>
            <a:r>
              <a:rPr lang="en-US" sz="1200" dirty="0">
                <a:ea typeface="+mj-lt"/>
                <a:cs typeface="+mj-lt"/>
              </a:rPr>
              <a:t>Environmental Problems </a:t>
            </a:r>
            <a:br>
              <a:rPr lang="en-US" sz="1200" dirty="0">
                <a:ea typeface="+mj-lt"/>
                <a:cs typeface="+mj-lt"/>
              </a:rPr>
            </a:br>
            <a:br>
              <a:rPr lang="en-US" sz="1200" dirty="0">
                <a:ea typeface="+mj-lt"/>
                <a:cs typeface="+mj-lt"/>
              </a:rPr>
            </a:br>
            <a:endParaRPr lang="en-US" sz="1200" dirty="0"/>
          </a:p>
        </p:txBody>
      </p:sp>
      <p:sp>
        <p:nvSpPr>
          <p:cNvPr id="4" name="TextBox 3">
            <a:extLst>
              <a:ext uri="{FF2B5EF4-FFF2-40B4-BE49-F238E27FC236}">
                <a16:creationId xmlns:a16="http://schemas.microsoft.com/office/drawing/2014/main" id="{32DF85C0-3BEE-4729-9C07-A4274FBB1381}"/>
              </a:ext>
            </a:extLst>
          </p:cNvPr>
          <p:cNvSpPr txBox="1"/>
          <p:nvPr/>
        </p:nvSpPr>
        <p:spPr>
          <a:xfrm>
            <a:off x="282770" y="495287"/>
            <a:ext cx="4879445" cy="430887"/>
          </a:xfrm>
          <a:prstGeom prst="rect">
            <a:avLst/>
          </a:prstGeom>
          <a:noFill/>
        </p:spPr>
        <p:txBody>
          <a:bodyPr wrap="square" lIns="0" tIns="0" rIns="0" bIns="0" rtlCol="0">
            <a:spAutoFit/>
          </a:bodyPr>
          <a:lstStyle/>
          <a:p>
            <a:r>
              <a:rPr lang="en-US" sz="1400" b="1" dirty="0">
                <a:ea typeface="+mj-lt"/>
                <a:cs typeface="+mj-lt"/>
              </a:rPr>
              <a:t>in</a:t>
            </a:r>
            <a:br>
              <a:rPr lang="en-US" sz="1400" b="1" dirty="0">
                <a:ea typeface="+mj-lt"/>
                <a:cs typeface="+mj-lt"/>
              </a:rPr>
            </a:br>
            <a:r>
              <a:rPr lang="en-US" sz="1400" b="1" dirty="0">
                <a:ea typeface="+mj-lt"/>
                <a:cs typeface="+mj-lt"/>
              </a:rPr>
              <a:t>Bangladesh</a:t>
            </a:r>
            <a:endParaRPr lang="en-US" sz="1400" b="1" kern="0" dirty="0"/>
          </a:p>
        </p:txBody>
      </p:sp>
      <p:sp>
        <p:nvSpPr>
          <p:cNvPr id="7" name="Rectangle 6">
            <a:extLst>
              <a:ext uri="{FF2B5EF4-FFF2-40B4-BE49-F238E27FC236}">
                <a16:creationId xmlns:a16="http://schemas.microsoft.com/office/drawing/2014/main" id="{5237B00E-6671-4760-BC3C-ED234523374A}"/>
              </a:ext>
            </a:extLst>
          </p:cNvPr>
          <p:cNvSpPr/>
          <p:nvPr/>
        </p:nvSpPr>
        <p:spPr>
          <a:xfrm>
            <a:off x="9213399" y="495287"/>
            <a:ext cx="3592318" cy="677108"/>
          </a:xfrm>
          <a:prstGeom prst="rect">
            <a:avLst/>
          </a:prstGeom>
        </p:spPr>
        <p:txBody>
          <a:bodyPr wrap="square">
            <a:spAutoFit/>
          </a:bodyPr>
          <a:lstStyle/>
          <a:p>
            <a:r>
              <a:rPr lang="en-US" sz="2400" dirty="0">
                <a:solidFill>
                  <a:schemeClr val="accent2"/>
                </a:solidFill>
              </a:rPr>
              <a:t>|</a:t>
            </a:r>
            <a:r>
              <a:rPr lang="en-US" sz="1100" dirty="0">
                <a:solidFill>
                  <a:schemeClr val="accent2"/>
                </a:solidFill>
              </a:rPr>
              <a:t> </a:t>
            </a:r>
            <a:r>
              <a:rPr lang="en-US" sz="1400" dirty="0">
                <a:solidFill>
                  <a:schemeClr val="accent2"/>
                </a:solidFill>
              </a:rPr>
              <a:t>Effects of Global Problems in       Bangladesh</a:t>
            </a:r>
            <a:endParaRPr lang="en-US" sz="1100" dirty="0">
              <a:solidFill>
                <a:schemeClr val="accent2"/>
              </a:solidFill>
            </a:endParaRPr>
          </a:p>
        </p:txBody>
      </p:sp>
      <p:pic>
        <p:nvPicPr>
          <p:cNvPr id="10" name="Picture 9">
            <a:extLst>
              <a:ext uri="{FF2B5EF4-FFF2-40B4-BE49-F238E27FC236}">
                <a16:creationId xmlns:a16="http://schemas.microsoft.com/office/drawing/2014/main" id="{EB0AB68F-36D0-4343-8096-28658D4D6017}"/>
              </a:ext>
            </a:extLst>
          </p:cNvPr>
          <p:cNvPicPr>
            <a:picLocks noChangeAspect="1"/>
          </p:cNvPicPr>
          <p:nvPr/>
        </p:nvPicPr>
        <p:blipFill rotWithShape="1">
          <a:blip r:embed="rId8"/>
          <a:srcRect l="16667" r="16667"/>
          <a:stretch/>
        </p:blipFill>
        <p:spPr>
          <a:xfrm>
            <a:off x="3700474" y="2168644"/>
            <a:ext cx="2185976" cy="2185976"/>
          </a:xfrm>
          <a:prstGeom prst="ellipse">
            <a:avLst/>
          </a:prstGeom>
        </p:spPr>
      </p:pic>
    </p:spTree>
    <p:extLst>
      <p:ext uri="{BB962C8B-B14F-4D97-AF65-F5344CB8AC3E}">
        <p14:creationId xmlns:p14="http://schemas.microsoft.com/office/powerpoint/2010/main" val="2372606004"/>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500" fill="hold"/>
                                        <p:tgtEl>
                                          <p:spTgt spid="10"/>
                                        </p:tgtEl>
                                        <p:attrNameLst>
                                          <p:attrName>ppt_w</p:attrName>
                                        </p:attrNameLst>
                                      </p:cBhvr>
                                      <p:tavLst>
                                        <p:tav tm="0">
                                          <p:val>
                                            <p:fltVal val="0"/>
                                          </p:val>
                                        </p:tav>
                                        <p:tav tm="100000">
                                          <p:val>
                                            <p:strVal val="#ppt_w"/>
                                          </p:val>
                                        </p:tav>
                                      </p:tavLst>
                                    </p:anim>
                                    <p:anim calcmode="lin" valueType="num">
                                      <p:cBhvr>
                                        <p:cTn id="8" dur="500" fill="hold"/>
                                        <p:tgtEl>
                                          <p:spTgt spid="10"/>
                                        </p:tgtEl>
                                        <p:attrNameLst>
                                          <p:attrName>ppt_h</p:attrName>
                                        </p:attrNameLst>
                                      </p:cBhvr>
                                      <p:tavLst>
                                        <p:tav tm="0">
                                          <p:val>
                                            <p:fltVal val="0"/>
                                          </p:val>
                                        </p:tav>
                                        <p:tav tm="100000">
                                          <p:val>
                                            <p:strVal val="#ppt_h"/>
                                          </p:val>
                                        </p:tav>
                                      </p:tavLst>
                                    </p:anim>
                                    <p:animEffect transition="in" filter="fade">
                                      <p:cBhvr>
                                        <p:cTn id="9"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1F74D4A-9E16-4275-90C5-F97189B724F9}"/>
              </a:ext>
            </a:extLst>
          </p:cNvPr>
          <p:cNvPicPr>
            <a:picLocks noChangeAspect="1"/>
          </p:cNvPicPr>
          <p:nvPr/>
        </p:nvPicPr>
        <p:blipFill>
          <a:blip r:embed="rId4">
            <a:duotone>
              <a:schemeClr val="accent2">
                <a:shade val="45000"/>
                <a:satMod val="135000"/>
              </a:schemeClr>
              <a:prstClr val="white"/>
            </a:duotone>
            <a:extLst>
              <a:ext uri="{BEBA8EAE-BF5A-486C-A8C5-ECC9F3942E4B}">
                <a14:imgProps xmlns:a14="http://schemas.microsoft.com/office/drawing/2010/main">
                  <a14:imgLayer r:embed="rId5">
                    <a14:imgEffect>
                      <a14:saturation sat="66000"/>
                    </a14:imgEffect>
                  </a14:imgLayer>
                </a14:imgProps>
              </a:ext>
            </a:extLst>
          </a:blip>
          <a:stretch>
            <a:fillRect/>
          </a:stretch>
        </p:blipFill>
        <p:spPr>
          <a:xfrm>
            <a:off x="-4315403" y="-8676396"/>
            <a:ext cx="14075789" cy="18085738"/>
          </a:xfrm>
          <a:prstGeom prst="rect">
            <a:avLst/>
          </a:prstGeom>
        </p:spPr>
      </p:pic>
      <p:graphicFrame>
        <p:nvGraphicFramePr>
          <p:cNvPr id="3" name="Object 2" hidden="1">
            <a:extLst>
              <a:ext uri="{FF2B5EF4-FFF2-40B4-BE49-F238E27FC236}">
                <a16:creationId xmlns:a16="http://schemas.microsoft.com/office/drawing/2014/main" id="{29F5A9FD-BD4B-41CD-9545-C14EE113DFB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40" name="think-cell Slide" r:id="rId6" imgW="360" imgH="360" progId="TCLayout.ActiveDocument.1">
                  <p:embed/>
                </p:oleObj>
              </mc:Choice>
              <mc:Fallback>
                <p:oleObj name="think-cell Slide" r:id="rId6" imgW="360" imgH="360" progId="TCLayout.ActiveDocument.1">
                  <p:embed/>
                  <p:pic>
                    <p:nvPicPr>
                      <p:cNvPr id="3" name="Object 2" hidden="1">
                        <a:extLst>
                          <a:ext uri="{FF2B5EF4-FFF2-40B4-BE49-F238E27FC236}">
                            <a16:creationId xmlns:a16="http://schemas.microsoft.com/office/drawing/2014/main" id="{29F5A9FD-BD4B-41CD-9545-C14EE113DFB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26F784E-485C-46E9-A476-2051D18874E2}"/>
              </a:ext>
            </a:extLst>
          </p:cNvPr>
          <p:cNvSpPr>
            <a:spLocks noGrp="1"/>
          </p:cNvSpPr>
          <p:nvPr>
            <p:ph type="title"/>
          </p:nvPr>
        </p:nvSpPr>
        <p:spPr>
          <a:xfrm>
            <a:off x="282770" y="366473"/>
            <a:ext cx="2180344" cy="688514"/>
          </a:xfrm>
        </p:spPr>
        <p:txBody>
          <a:bodyPr vert="horz" lIns="0" tIns="0" rIns="0" bIns="0" rtlCol="0" anchor="t" anchorCtr="0">
            <a:noAutofit/>
          </a:bodyPr>
          <a:lstStyle/>
          <a:p>
            <a:r>
              <a:rPr lang="en-US" sz="1200" dirty="0">
                <a:ea typeface="+mj-lt"/>
                <a:cs typeface="+mj-lt"/>
              </a:rPr>
              <a:t>Environmental Problems </a:t>
            </a:r>
            <a:br>
              <a:rPr lang="en-US" sz="1200" dirty="0">
                <a:ea typeface="+mj-lt"/>
                <a:cs typeface="+mj-lt"/>
              </a:rPr>
            </a:br>
            <a:br>
              <a:rPr lang="en-US" sz="1200" dirty="0">
                <a:ea typeface="+mj-lt"/>
                <a:cs typeface="+mj-lt"/>
              </a:rPr>
            </a:br>
            <a:endParaRPr lang="en-US" sz="1200" dirty="0"/>
          </a:p>
        </p:txBody>
      </p:sp>
      <p:sp>
        <p:nvSpPr>
          <p:cNvPr id="4" name="TextBox 3">
            <a:extLst>
              <a:ext uri="{FF2B5EF4-FFF2-40B4-BE49-F238E27FC236}">
                <a16:creationId xmlns:a16="http://schemas.microsoft.com/office/drawing/2014/main" id="{32DF85C0-3BEE-4729-9C07-A4274FBB1381}"/>
              </a:ext>
            </a:extLst>
          </p:cNvPr>
          <p:cNvSpPr txBox="1"/>
          <p:nvPr/>
        </p:nvSpPr>
        <p:spPr>
          <a:xfrm>
            <a:off x="282770" y="495287"/>
            <a:ext cx="4879445" cy="430887"/>
          </a:xfrm>
          <a:prstGeom prst="rect">
            <a:avLst/>
          </a:prstGeom>
          <a:noFill/>
        </p:spPr>
        <p:txBody>
          <a:bodyPr wrap="square" lIns="0" tIns="0" rIns="0" bIns="0" rtlCol="0">
            <a:spAutoFit/>
          </a:bodyPr>
          <a:lstStyle/>
          <a:p>
            <a:r>
              <a:rPr lang="en-US" sz="1400" b="1" dirty="0">
                <a:ea typeface="+mj-lt"/>
                <a:cs typeface="+mj-lt"/>
              </a:rPr>
              <a:t>in</a:t>
            </a:r>
            <a:br>
              <a:rPr lang="en-US" sz="1400" b="1" dirty="0">
                <a:ea typeface="+mj-lt"/>
                <a:cs typeface="+mj-lt"/>
              </a:rPr>
            </a:br>
            <a:r>
              <a:rPr lang="en-US" sz="1400" b="1" dirty="0">
                <a:ea typeface="+mj-lt"/>
                <a:cs typeface="+mj-lt"/>
              </a:rPr>
              <a:t>Bangladesh</a:t>
            </a:r>
            <a:endParaRPr lang="en-US" sz="1400" b="1" kern="0" dirty="0"/>
          </a:p>
        </p:txBody>
      </p:sp>
      <p:sp>
        <p:nvSpPr>
          <p:cNvPr id="7" name="Rectangle 6">
            <a:extLst>
              <a:ext uri="{FF2B5EF4-FFF2-40B4-BE49-F238E27FC236}">
                <a16:creationId xmlns:a16="http://schemas.microsoft.com/office/drawing/2014/main" id="{5237B00E-6671-4760-BC3C-ED234523374A}"/>
              </a:ext>
            </a:extLst>
          </p:cNvPr>
          <p:cNvSpPr/>
          <p:nvPr/>
        </p:nvSpPr>
        <p:spPr>
          <a:xfrm>
            <a:off x="9232449" y="587620"/>
            <a:ext cx="3592318" cy="677108"/>
          </a:xfrm>
          <a:prstGeom prst="rect">
            <a:avLst/>
          </a:prstGeom>
        </p:spPr>
        <p:txBody>
          <a:bodyPr wrap="square">
            <a:spAutoFit/>
          </a:bodyPr>
          <a:lstStyle/>
          <a:p>
            <a:r>
              <a:rPr lang="en-US" sz="2400" dirty="0">
                <a:solidFill>
                  <a:schemeClr val="accent2"/>
                </a:solidFill>
              </a:rPr>
              <a:t>|</a:t>
            </a:r>
            <a:r>
              <a:rPr lang="en-US" sz="1100" dirty="0">
                <a:solidFill>
                  <a:schemeClr val="accent2"/>
                </a:solidFill>
              </a:rPr>
              <a:t> </a:t>
            </a:r>
            <a:r>
              <a:rPr lang="en-US" sz="1400" dirty="0">
                <a:solidFill>
                  <a:schemeClr val="accent2"/>
                </a:solidFill>
              </a:rPr>
              <a:t>Effects of Global Problems in Bangladesh</a:t>
            </a:r>
            <a:endParaRPr lang="en-US" sz="1100" dirty="0">
              <a:solidFill>
                <a:schemeClr val="accent2"/>
              </a:solidFill>
            </a:endParaRPr>
          </a:p>
        </p:txBody>
      </p:sp>
      <p:pic>
        <p:nvPicPr>
          <p:cNvPr id="12" name="Picture 11">
            <a:extLst>
              <a:ext uri="{FF2B5EF4-FFF2-40B4-BE49-F238E27FC236}">
                <a16:creationId xmlns:a16="http://schemas.microsoft.com/office/drawing/2014/main" id="{0E4B45E3-F451-47FE-B28C-A50B8D2BCA88}"/>
              </a:ext>
            </a:extLst>
          </p:cNvPr>
          <p:cNvPicPr>
            <a:picLocks noChangeAspect="1"/>
          </p:cNvPicPr>
          <p:nvPr/>
        </p:nvPicPr>
        <p:blipFill rotWithShape="1">
          <a:blip r:embed="rId8"/>
          <a:srcRect l="16771" r="16771"/>
          <a:stretch/>
        </p:blipFill>
        <p:spPr>
          <a:xfrm>
            <a:off x="6096000" y="2426779"/>
            <a:ext cx="2545272" cy="2545272"/>
          </a:xfrm>
          <a:prstGeom prst="ellipse">
            <a:avLst/>
          </a:prstGeom>
        </p:spPr>
      </p:pic>
    </p:spTree>
    <p:extLst>
      <p:ext uri="{BB962C8B-B14F-4D97-AF65-F5344CB8AC3E}">
        <p14:creationId xmlns:p14="http://schemas.microsoft.com/office/powerpoint/2010/main" val="2635609971"/>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p:cTn id="7" dur="500" fill="hold"/>
                                        <p:tgtEl>
                                          <p:spTgt spid="12"/>
                                        </p:tgtEl>
                                        <p:attrNameLst>
                                          <p:attrName>ppt_w</p:attrName>
                                        </p:attrNameLst>
                                      </p:cBhvr>
                                      <p:tavLst>
                                        <p:tav tm="0">
                                          <p:val>
                                            <p:fltVal val="0"/>
                                          </p:val>
                                        </p:tav>
                                        <p:tav tm="100000">
                                          <p:val>
                                            <p:strVal val="#ppt_w"/>
                                          </p:val>
                                        </p:tav>
                                      </p:tavLst>
                                    </p:anim>
                                    <p:anim calcmode="lin" valueType="num">
                                      <p:cBhvr>
                                        <p:cTn id="8" dur="500" fill="hold"/>
                                        <p:tgtEl>
                                          <p:spTgt spid="12"/>
                                        </p:tgtEl>
                                        <p:attrNameLst>
                                          <p:attrName>ppt_h</p:attrName>
                                        </p:attrNameLst>
                                      </p:cBhvr>
                                      <p:tavLst>
                                        <p:tav tm="0">
                                          <p:val>
                                            <p:fltVal val="0"/>
                                          </p:val>
                                        </p:tav>
                                        <p:tav tm="100000">
                                          <p:val>
                                            <p:strVal val="#ppt_h"/>
                                          </p:val>
                                        </p:tav>
                                      </p:tavLst>
                                    </p:anim>
                                    <p:animEffect transition="in" filter="fade">
                                      <p:cBhvr>
                                        <p:cTn id="9"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1F74D4A-9E16-4275-90C5-F97189B724F9}"/>
              </a:ext>
            </a:extLst>
          </p:cNvPr>
          <p:cNvPicPr>
            <a:picLocks noChangeAspect="1"/>
          </p:cNvPicPr>
          <p:nvPr/>
        </p:nvPicPr>
        <p:blipFill>
          <a:blip r:embed="rId4">
            <a:duotone>
              <a:schemeClr val="accent2">
                <a:shade val="45000"/>
                <a:satMod val="135000"/>
              </a:schemeClr>
              <a:prstClr val="white"/>
            </a:duotone>
            <a:extLst>
              <a:ext uri="{BEBA8EAE-BF5A-486C-A8C5-ECC9F3942E4B}">
                <a14:imgProps xmlns:a14="http://schemas.microsoft.com/office/drawing/2010/main">
                  <a14:imgLayer r:embed="rId5">
                    <a14:imgEffect>
                      <a14:saturation sat="66000"/>
                    </a14:imgEffect>
                  </a14:imgLayer>
                </a14:imgProps>
              </a:ext>
            </a:extLst>
          </a:blip>
          <a:stretch>
            <a:fillRect/>
          </a:stretch>
        </p:blipFill>
        <p:spPr>
          <a:xfrm>
            <a:off x="0" y="-6827117"/>
            <a:ext cx="12595460" cy="16183689"/>
          </a:xfrm>
          <a:prstGeom prst="rect">
            <a:avLst/>
          </a:prstGeom>
        </p:spPr>
      </p:pic>
      <p:graphicFrame>
        <p:nvGraphicFramePr>
          <p:cNvPr id="3" name="Object 2" hidden="1">
            <a:extLst>
              <a:ext uri="{FF2B5EF4-FFF2-40B4-BE49-F238E27FC236}">
                <a16:creationId xmlns:a16="http://schemas.microsoft.com/office/drawing/2014/main" id="{29F5A9FD-BD4B-41CD-9545-C14EE113DFB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4" name="think-cell Slide" r:id="rId6" imgW="360" imgH="360" progId="TCLayout.ActiveDocument.1">
                  <p:embed/>
                </p:oleObj>
              </mc:Choice>
              <mc:Fallback>
                <p:oleObj name="think-cell Slide" r:id="rId6" imgW="360" imgH="360" progId="TCLayout.ActiveDocument.1">
                  <p:embed/>
                  <p:pic>
                    <p:nvPicPr>
                      <p:cNvPr id="3" name="Object 2" hidden="1">
                        <a:extLst>
                          <a:ext uri="{FF2B5EF4-FFF2-40B4-BE49-F238E27FC236}">
                            <a16:creationId xmlns:a16="http://schemas.microsoft.com/office/drawing/2014/main" id="{29F5A9FD-BD4B-41CD-9545-C14EE113DFB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26F784E-485C-46E9-A476-2051D18874E2}"/>
              </a:ext>
            </a:extLst>
          </p:cNvPr>
          <p:cNvSpPr>
            <a:spLocks noGrp="1"/>
          </p:cNvSpPr>
          <p:nvPr>
            <p:ph type="title"/>
          </p:nvPr>
        </p:nvSpPr>
        <p:spPr>
          <a:xfrm>
            <a:off x="282770" y="366473"/>
            <a:ext cx="2180344" cy="688514"/>
          </a:xfrm>
        </p:spPr>
        <p:txBody>
          <a:bodyPr vert="horz" lIns="0" tIns="0" rIns="0" bIns="0" rtlCol="0" anchor="t" anchorCtr="0">
            <a:noAutofit/>
          </a:bodyPr>
          <a:lstStyle/>
          <a:p>
            <a:r>
              <a:rPr lang="en-US" sz="1200" dirty="0">
                <a:ea typeface="+mj-lt"/>
                <a:cs typeface="+mj-lt"/>
              </a:rPr>
              <a:t>Environmental Problems </a:t>
            </a:r>
            <a:br>
              <a:rPr lang="en-US" sz="1200" dirty="0">
                <a:ea typeface="+mj-lt"/>
                <a:cs typeface="+mj-lt"/>
              </a:rPr>
            </a:br>
            <a:br>
              <a:rPr lang="en-US" sz="1200" dirty="0">
                <a:ea typeface="+mj-lt"/>
                <a:cs typeface="+mj-lt"/>
              </a:rPr>
            </a:br>
            <a:endParaRPr lang="en-US" sz="1200" dirty="0"/>
          </a:p>
        </p:txBody>
      </p:sp>
      <p:sp>
        <p:nvSpPr>
          <p:cNvPr id="4" name="TextBox 3">
            <a:extLst>
              <a:ext uri="{FF2B5EF4-FFF2-40B4-BE49-F238E27FC236}">
                <a16:creationId xmlns:a16="http://schemas.microsoft.com/office/drawing/2014/main" id="{32DF85C0-3BEE-4729-9C07-A4274FBB1381}"/>
              </a:ext>
            </a:extLst>
          </p:cNvPr>
          <p:cNvSpPr txBox="1"/>
          <p:nvPr/>
        </p:nvSpPr>
        <p:spPr>
          <a:xfrm>
            <a:off x="282770" y="495287"/>
            <a:ext cx="4879445" cy="430887"/>
          </a:xfrm>
          <a:prstGeom prst="rect">
            <a:avLst/>
          </a:prstGeom>
          <a:noFill/>
        </p:spPr>
        <p:txBody>
          <a:bodyPr wrap="square" lIns="0" tIns="0" rIns="0" bIns="0" rtlCol="0">
            <a:spAutoFit/>
          </a:bodyPr>
          <a:lstStyle/>
          <a:p>
            <a:r>
              <a:rPr lang="en-US" sz="1400" b="1" dirty="0">
                <a:ea typeface="+mj-lt"/>
                <a:cs typeface="+mj-lt"/>
              </a:rPr>
              <a:t>in</a:t>
            </a:r>
            <a:br>
              <a:rPr lang="en-US" sz="1400" b="1" dirty="0">
                <a:ea typeface="+mj-lt"/>
                <a:cs typeface="+mj-lt"/>
              </a:rPr>
            </a:br>
            <a:r>
              <a:rPr lang="en-US" sz="1400" b="1" dirty="0">
                <a:ea typeface="+mj-lt"/>
                <a:cs typeface="+mj-lt"/>
              </a:rPr>
              <a:t>Bangladesh</a:t>
            </a:r>
            <a:endParaRPr lang="en-US" sz="1400" b="1" kern="0" dirty="0"/>
          </a:p>
        </p:txBody>
      </p:sp>
      <p:sp>
        <p:nvSpPr>
          <p:cNvPr id="7" name="Rectangle 6">
            <a:extLst>
              <a:ext uri="{FF2B5EF4-FFF2-40B4-BE49-F238E27FC236}">
                <a16:creationId xmlns:a16="http://schemas.microsoft.com/office/drawing/2014/main" id="{5237B00E-6671-4760-BC3C-ED234523374A}"/>
              </a:ext>
            </a:extLst>
          </p:cNvPr>
          <p:cNvSpPr/>
          <p:nvPr/>
        </p:nvSpPr>
        <p:spPr>
          <a:xfrm>
            <a:off x="9232449" y="587620"/>
            <a:ext cx="3592318" cy="677108"/>
          </a:xfrm>
          <a:prstGeom prst="rect">
            <a:avLst/>
          </a:prstGeom>
        </p:spPr>
        <p:txBody>
          <a:bodyPr wrap="square">
            <a:spAutoFit/>
          </a:bodyPr>
          <a:lstStyle/>
          <a:p>
            <a:r>
              <a:rPr lang="en-US" sz="2400" dirty="0">
                <a:solidFill>
                  <a:schemeClr val="accent2"/>
                </a:solidFill>
              </a:rPr>
              <a:t>|</a:t>
            </a:r>
            <a:r>
              <a:rPr lang="en-US" sz="1100" dirty="0">
                <a:solidFill>
                  <a:schemeClr val="accent2"/>
                </a:solidFill>
              </a:rPr>
              <a:t> </a:t>
            </a:r>
            <a:r>
              <a:rPr lang="en-US" sz="1400" dirty="0">
                <a:solidFill>
                  <a:schemeClr val="accent2"/>
                </a:solidFill>
              </a:rPr>
              <a:t>Effects of Global Problems in Bangladesh</a:t>
            </a:r>
            <a:endParaRPr lang="en-US" sz="1100" dirty="0">
              <a:solidFill>
                <a:schemeClr val="accent2"/>
              </a:solidFill>
            </a:endParaRPr>
          </a:p>
        </p:txBody>
      </p:sp>
      <p:pic>
        <p:nvPicPr>
          <p:cNvPr id="8" name="Picture 7">
            <a:extLst>
              <a:ext uri="{FF2B5EF4-FFF2-40B4-BE49-F238E27FC236}">
                <a16:creationId xmlns:a16="http://schemas.microsoft.com/office/drawing/2014/main" id="{98CD5866-B4AD-4E5E-8DC2-49F5FE6346AA}"/>
              </a:ext>
            </a:extLst>
          </p:cNvPr>
          <p:cNvPicPr>
            <a:picLocks noChangeAspect="1"/>
          </p:cNvPicPr>
          <p:nvPr/>
        </p:nvPicPr>
        <p:blipFill rotWithShape="1">
          <a:blip r:embed="rId8"/>
          <a:srcRect l="1036" r="61714"/>
          <a:stretch/>
        </p:blipFill>
        <p:spPr>
          <a:xfrm>
            <a:off x="4618683" y="680057"/>
            <a:ext cx="1892300" cy="1892300"/>
          </a:xfrm>
          <a:prstGeom prst="ellipse">
            <a:avLst/>
          </a:prstGeom>
        </p:spPr>
      </p:pic>
      <p:pic>
        <p:nvPicPr>
          <p:cNvPr id="10" name="Picture 9">
            <a:extLst>
              <a:ext uri="{FF2B5EF4-FFF2-40B4-BE49-F238E27FC236}">
                <a16:creationId xmlns:a16="http://schemas.microsoft.com/office/drawing/2014/main" id="{6ADFCC27-C918-4A7D-B4D8-9A634D9B6593}"/>
              </a:ext>
            </a:extLst>
          </p:cNvPr>
          <p:cNvPicPr>
            <a:picLocks noChangeAspect="1"/>
          </p:cNvPicPr>
          <p:nvPr/>
        </p:nvPicPr>
        <p:blipFill rotWithShape="1">
          <a:blip r:embed="rId9"/>
          <a:srcRect l="16727" t="-1018" r="16727" b="1018"/>
          <a:stretch/>
        </p:blipFill>
        <p:spPr>
          <a:xfrm>
            <a:off x="9304583" y="3429000"/>
            <a:ext cx="1743075" cy="1743075"/>
          </a:xfrm>
          <a:prstGeom prst="ellipse">
            <a:avLst/>
          </a:prstGeom>
        </p:spPr>
      </p:pic>
      <p:pic>
        <p:nvPicPr>
          <p:cNvPr id="13" name="Picture 12">
            <a:extLst>
              <a:ext uri="{FF2B5EF4-FFF2-40B4-BE49-F238E27FC236}">
                <a16:creationId xmlns:a16="http://schemas.microsoft.com/office/drawing/2014/main" id="{55AA7051-7DDB-419B-BC03-E7B0DBDF6DBA}"/>
              </a:ext>
            </a:extLst>
          </p:cNvPr>
          <p:cNvPicPr>
            <a:picLocks noChangeAspect="1"/>
          </p:cNvPicPr>
          <p:nvPr/>
        </p:nvPicPr>
        <p:blipFill rotWithShape="1">
          <a:blip r:embed="rId10"/>
          <a:srcRect l="13281" t="28781" r="24719" b="1405"/>
          <a:stretch/>
        </p:blipFill>
        <p:spPr>
          <a:xfrm>
            <a:off x="5564833" y="3203387"/>
            <a:ext cx="2189551" cy="2194299"/>
          </a:xfrm>
          <a:prstGeom prst="ellipse">
            <a:avLst/>
          </a:prstGeom>
        </p:spPr>
      </p:pic>
      <p:pic>
        <p:nvPicPr>
          <p:cNvPr id="15" name="Picture 14">
            <a:extLst>
              <a:ext uri="{FF2B5EF4-FFF2-40B4-BE49-F238E27FC236}">
                <a16:creationId xmlns:a16="http://schemas.microsoft.com/office/drawing/2014/main" id="{C4D3B181-6623-481B-A0D5-57C655CB0757}"/>
              </a:ext>
            </a:extLst>
          </p:cNvPr>
          <p:cNvPicPr>
            <a:picLocks noChangeAspect="1"/>
          </p:cNvPicPr>
          <p:nvPr/>
        </p:nvPicPr>
        <p:blipFill rotWithShape="1">
          <a:blip r:embed="rId11"/>
          <a:srcRect l="43592" r="214"/>
          <a:stretch/>
        </p:blipFill>
        <p:spPr>
          <a:xfrm>
            <a:off x="1595284" y="2786429"/>
            <a:ext cx="2419350" cy="2419350"/>
          </a:xfrm>
          <a:prstGeom prst="ellipse">
            <a:avLst/>
          </a:prstGeom>
        </p:spPr>
      </p:pic>
    </p:spTree>
    <p:extLst>
      <p:ext uri="{BB962C8B-B14F-4D97-AF65-F5344CB8AC3E}">
        <p14:creationId xmlns:p14="http://schemas.microsoft.com/office/powerpoint/2010/main" val="4210587085"/>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p:cTn id="7" dur="500" fill="hold"/>
                                        <p:tgtEl>
                                          <p:spTgt spid="13"/>
                                        </p:tgtEl>
                                        <p:attrNameLst>
                                          <p:attrName>ppt_w</p:attrName>
                                        </p:attrNameLst>
                                      </p:cBhvr>
                                      <p:tavLst>
                                        <p:tav tm="0">
                                          <p:val>
                                            <p:fltVal val="0"/>
                                          </p:val>
                                        </p:tav>
                                        <p:tav tm="100000">
                                          <p:val>
                                            <p:strVal val="#ppt_w"/>
                                          </p:val>
                                        </p:tav>
                                      </p:tavLst>
                                    </p:anim>
                                    <p:anim calcmode="lin" valueType="num">
                                      <p:cBhvr>
                                        <p:cTn id="8" dur="500" fill="hold"/>
                                        <p:tgtEl>
                                          <p:spTgt spid="13"/>
                                        </p:tgtEl>
                                        <p:attrNameLst>
                                          <p:attrName>ppt_h</p:attrName>
                                        </p:attrNameLst>
                                      </p:cBhvr>
                                      <p:tavLst>
                                        <p:tav tm="0">
                                          <p:val>
                                            <p:fltVal val="0"/>
                                          </p:val>
                                        </p:tav>
                                        <p:tav tm="100000">
                                          <p:val>
                                            <p:strVal val="#ppt_h"/>
                                          </p:val>
                                        </p:tav>
                                      </p:tavLst>
                                    </p:anim>
                                    <p:animEffect transition="in" filter="fade">
                                      <p:cBhvr>
                                        <p:cTn id="9" dur="500"/>
                                        <p:tgtEl>
                                          <p:spTgt spid="13"/>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nodeType="clickEffect">
                                  <p:stCondLst>
                                    <p:cond delay="0"/>
                                  </p:stCondLst>
                                  <p:childTnLst>
                                    <p:set>
                                      <p:cBhvr>
                                        <p:cTn id="13" dur="1" fill="hold">
                                          <p:stCondLst>
                                            <p:cond delay="0"/>
                                          </p:stCondLst>
                                        </p:cTn>
                                        <p:tgtEl>
                                          <p:spTgt spid="8"/>
                                        </p:tgtEl>
                                        <p:attrNameLst>
                                          <p:attrName>style.visibility</p:attrName>
                                        </p:attrNameLst>
                                      </p:cBhvr>
                                      <p:to>
                                        <p:strVal val="visible"/>
                                      </p:to>
                                    </p:set>
                                    <p:anim calcmode="lin" valueType="num">
                                      <p:cBhvr>
                                        <p:cTn id="14" dur="500" fill="hold"/>
                                        <p:tgtEl>
                                          <p:spTgt spid="8"/>
                                        </p:tgtEl>
                                        <p:attrNameLst>
                                          <p:attrName>ppt_w</p:attrName>
                                        </p:attrNameLst>
                                      </p:cBhvr>
                                      <p:tavLst>
                                        <p:tav tm="0">
                                          <p:val>
                                            <p:fltVal val="0"/>
                                          </p:val>
                                        </p:tav>
                                        <p:tav tm="100000">
                                          <p:val>
                                            <p:strVal val="#ppt_w"/>
                                          </p:val>
                                        </p:tav>
                                      </p:tavLst>
                                    </p:anim>
                                    <p:anim calcmode="lin" valueType="num">
                                      <p:cBhvr>
                                        <p:cTn id="15" dur="500" fill="hold"/>
                                        <p:tgtEl>
                                          <p:spTgt spid="8"/>
                                        </p:tgtEl>
                                        <p:attrNameLst>
                                          <p:attrName>ppt_h</p:attrName>
                                        </p:attrNameLst>
                                      </p:cBhvr>
                                      <p:tavLst>
                                        <p:tav tm="0">
                                          <p:val>
                                            <p:fltVal val="0"/>
                                          </p:val>
                                        </p:tav>
                                        <p:tav tm="100000">
                                          <p:val>
                                            <p:strVal val="#ppt_h"/>
                                          </p:val>
                                        </p:tav>
                                      </p:tavLst>
                                    </p:anim>
                                    <p:animEffect transition="in" filter="fade">
                                      <p:cBhvr>
                                        <p:cTn id="16" dur="500"/>
                                        <p:tgtEl>
                                          <p:spTgt spid="8"/>
                                        </p:tgtEl>
                                      </p:cBhvr>
                                    </p:animEffect>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nodeType="clickEffect">
                                  <p:stCondLst>
                                    <p:cond delay="0"/>
                                  </p:stCondLst>
                                  <p:childTnLst>
                                    <p:set>
                                      <p:cBhvr>
                                        <p:cTn id="20" dur="1" fill="hold">
                                          <p:stCondLst>
                                            <p:cond delay="0"/>
                                          </p:stCondLst>
                                        </p:cTn>
                                        <p:tgtEl>
                                          <p:spTgt spid="15"/>
                                        </p:tgtEl>
                                        <p:attrNameLst>
                                          <p:attrName>style.visibility</p:attrName>
                                        </p:attrNameLst>
                                      </p:cBhvr>
                                      <p:to>
                                        <p:strVal val="visible"/>
                                      </p:to>
                                    </p:set>
                                    <p:anim calcmode="lin" valueType="num">
                                      <p:cBhvr>
                                        <p:cTn id="21" dur="500" fill="hold"/>
                                        <p:tgtEl>
                                          <p:spTgt spid="15"/>
                                        </p:tgtEl>
                                        <p:attrNameLst>
                                          <p:attrName>ppt_w</p:attrName>
                                        </p:attrNameLst>
                                      </p:cBhvr>
                                      <p:tavLst>
                                        <p:tav tm="0">
                                          <p:val>
                                            <p:fltVal val="0"/>
                                          </p:val>
                                        </p:tav>
                                        <p:tav tm="100000">
                                          <p:val>
                                            <p:strVal val="#ppt_w"/>
                                          </p:val>
                                        </p:tav>
                                      </p:tavLst>
                                    </p:anim>
                                    <p:anim calcmode="lin" valueType="num">
                                      <p:cBhvr>
                                        <p:cTn id="22" dur="500" fill="hold"/>
                                        <p:tgtEl>
                                          <p:spTgt spid="15"/>
                                        </p:tgtEl>
                                        <p:attrNameLst>
                                          <p:attrName>ppt_h</p:attrName>
                                        </p:attrNameLst>
                                      </p:cBhvr>
                                      <p:tavLst>
                                        <p:tav tm="0">
                                          <p:val>
                                            <p:fltVal val="0"/>
                                          </p:val>
                                        </p:tav>
                                        <p:tav tm="100000">
                                          <p:val>
                                            <p:strVal val="#ppt_h"/>
                                          </p:val>
                                        </p:tav>
                                      </p:tavLst>
                                    </p:anim>
                                    <p:animEffect transition="in" filter="fade">
                                      <p:cBhvr>
                                        <p:cTn id="23" dur="500"/>
                                        <p:tgtEl>
                                          <p:spTgt spid="15"/>
                                        </p:tgtEl>
                                      </p:cBhvr>
                                    </p:animEffect>
                                  </p:childTnLst>
                                </p:cTn>
                              </p:par>
                            </p:childTnLst>
                          </p:cTn>
                        </p:par>
                      </p:childTnLst>
                    </p:cTn>
                  </p:par>
                  <p:par>
                    <p:cTn id="24" fill="hold">
                      <p:stCondLst>
                        <p:cond delay="indefinite"/>
                      </p:stCondLst>
                      <p:childTnLst>
                        <p:par>
                          <p:cTn id="25" fill="hold">
                            <p:stCondLst>
                              <p:cond delay="0"/>
                            </p:stCondLst>
                            <p:childTnLst>
                              <p:par>
                                <p:cTn id="26" presetID="53" presetClass="entr" presetSubtype="16" fill="hold" nodeType="clickEffect">
                                  <p:stCondLst>
                                    <p:cond delay="0"/>
                                  </p:stCondLst>
                                  <p:childTnLst>
                                    <p:set>
                                      <p:cBhvr>
                                        <p:cTn id="27" dur="1" fill="hold">
                                          <p:stCondLst>
                                            <p:cond delay="0"/>
                                          </p:stCondLst>
                                        </p:cTn>
                                        <p:tgtEl>
                                          <p:spTgt spid="10"/>
                                        </p:tgtEl>
                                        <p:attrNameLst>
                                          <p:attrName>style.visibility</p:attrName>
                                        </p:attrNameLst>
                                      </p:cBhvr>
                                      <p:to>
                                        <p:strVal val="visible"/>
                                      </p:to>
                                    </p:set>
                                    <p:anim calcmode="lin" valueType="num">
                                      <p:cBhvr>
                                        <p:cTn id="28" dur="500" fill="hold"/>
                                        <p:tgtEl>
                                          <p:spTgt spid="10"/>
                                        </p:tgtEl>
                                        <p:attrNameLst>
                                          <p:attrName>ppt_w</p:attrName>
                                        </p:attrNameLst>
                                      </p:cBhvr>
                                      <p:tavLst>
                                        <p:tav tm="0">
                                          <p:val>
                                            <p:fltVal val="0"/>
                                          </p:val>
                                        </p:tav>
                                        <p:tav tm="100000">
                                          <p:val>
                                            <p:strVal val="#ppt_w"/>
                                          </p:val>
                                        </p:tav>
                                      </p:tavLst>
                                    </p:anim>
                                    <p:anim calcmode="lin" valueType="num">
                                      <p:cBhvr>
                                        <p:cTn id="29" dur="500" fill="hold"/>
                                        <p:tgtEl>
                                          <p:spTgt spid="10"/>
                                        </p:tgtEl>
                                        <p:attrNameLst>
                                          <p:attrName>ppt_h</p:attrName>
                                        </p:attrNameLst>
                                      </p:cBhvr>
                                      <p:tavLst>
                                        <p:tav tm="0">
                                          <p:val>
                                            <p:fltVal val="0"/>
                                          </p:val>
                                        </p:tav>
                                        <p:tav tm="100000">
                                          <p:val>
                                            <p:strVal val="#ppt_h"/>
                                          </p:val>
                                        </p:tav>
                                      </p:tavLst>
                                    </p:anim>
                                    <p:animEffect transition="in" filter="fade">
                                      <p:cBhvr>
                                        <p:cTn id="30"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9F5A9FD-BD4B-41CD-9545-C14EE113DFB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0"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a16="http://schemas.microsoft.com/office/drawing/2014/main" id="{29F5A9FD-BD4B-41CD-9545-C14EE113DF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262" name="Group 1261">
            <a:extLst>
              <a:ext uri="{FF2B5EF4-FFF2-40B4-BE49-F238E27FC236}">
                <a16:creationId xmlns:a16="http://schemas.microsoft.com/office/drawing/2014/main" id="{0DED1D56-538D-44D4-A6EE-2AD1F41E9699}"/>
              </a:ext>
            </a:extLst>
          </p:cNvPr>
          <p:cNvGrpSpPr/>
          <p:nvPr/>
        </p:nvGrpSpPr>
        <p:grpSpPr>
          <a:xfrm>
            <a:off x="-40812187" y="-16120545"/>
            <a:ext cx="64256387" cy="36796143"/>
            <a:chOff x="1433110" y="1700344"/>
            <a:chExt cx="9366611" cy="4630922"/>
          </a:xfrm>
          <a:solidFill>
            <a:schemeClr val="bg1">
              <a:lumMod val="75000"/>
            </a:schemeClr>
          </a:solidFill>
        </p:grpSpPr>
        <p:sp>
          <p:nvSpPr>
            <p:cNvPr id="831" name="Freeform 5">
              <a:extLst>
                <a:ext uri="{FF2B5EF4-FFF2-40B4-BE49-F238E27FC236}">
                  <a16:creationId xmlns:a16="http://schemas.microsoft.com/office/drawing/2014/main" id="{C5D40F70-E3B5-42E4-A2C8-E63FCAB070E2}"/>
                </a:ext>
              </a:extLst>
            </p:cNvPr>
            <p:cNvSpPr>
              <a:spLocks/>
            </p:cNvSpPr>
            <p:nvPr/>
          </p:nvSpPr>
          <p:spPr bwMode="gray">
            <a:xfrm>
              <a:off x="3913019" y="1700344"/>
              <a:ext cx="1588331" cy="1188437"/>
            </a:xfrm>
            <a:custGeom>
              <a:avLst/>
              <a:gdLst>
                <a:gd name="T0" fmla="*/ 676 w 962"/>
                <a:gd name="T1" fmla="*/ 508 h 716"/>
                <a:gd name="T2" fmla="*/ 628 w 962"/>
                <a:gd name="T3" fmla="*/ 526 h 716"/>
                <a:gd name="T4" fmla="*/ 546 w 962"/>
                <a:gd name="T5" fmla="*/ 572 h 716"/>
                <a:gd name="T6" fmla="*/ 510 w 962"/>
                <a:gd name="T7" fmla="*/ 592 h 716"/>
                <a:gd name="T8" fmla="*/ 502 w 962"/>
                <a:gd name="T9" fmla="*/ 636 h 716"/>
                <a:gd name="T10" fmla="*/ 482 w 962"/>
                <a:gd name="T11" fmla="*/ 664 h 716"/>
                <a:gd name="T12" fmla="*/ 428 w 962"/>
                <a:gd name="T13" fmla="*/ 702 h 716"/>
                <a:gd name="T14" fmla="*/ 390 w 962"/>
                <a:gd name="T15" fmla="*/ 700 h 716"/>
                <a:gd name="T16" fmla="*/ 348 w 962"/>
                <a:gd name="T17" fmla="*/ 634 h 716"/>
                <a:gd name="T18" fmla="*/ 340 w 962"/>
                <a:gd name="T19" fmla="*/ 600 h 716"/>
                <a:gd name="T20" fmla="*/ 312 w 962"/>
                <a:gd name="T21" fmla="*/ 546 h 716"/>
                <a:gd name="T22" fmla="*/ 312 w 962"/>
                <a:gd name="T23" fmla="*/ 516 h 716"/>
                <a:gd name="T24" fmla="*/ 346 w 962"/>
                <a:gd name="T25" fmla="*/ 522 h 716"/>
                <a:gd name="T26" fmla="*/ 356 w 962"/>
                <a:gd name="T27" fmla="*/ 466 h 716"/>
                <a:gd name="T28" fmla="*/ 296 w 962"/>
                <a:gd name="T29" fmla="*/ 436 h 716"/>
                <a:gd name="T30" fmla="*/ 330 w 962"/>
                <a:gd name="T31" fmla="*/ 414 h 716"/>
                <a:gd name="T32" fmla="*/ 274 w 962"/>
                <a:gd name="T33" fmla="*/ 414 h 716"/>
                <a:gd name="T34" fmla="*/ 238 w 962"/>
                <a:gd name="T35" fmla="*/ 306 h 716"/>
                <a:gd name="T36" fmla="*/ 148 w 962"/>
                <a:gd name="T37" fmla="*/ 262 h 716"/>
                <a:gd name="T38" fmla="*/ 100 w 962"/>
                <a:gd name="T39" fmla="*/ 272 h 716"/>
                <a:gd name="T40" fmla="*/ 68 w 962"/>
                <a:gd name="T41" fmla="*/ 256 h 716"/>
                <a:gd name="T42" fmla="*/ 24 w 962"/>
                <a:gd name="T43" fmla="*/ 240 h 716"/>
                <a:gd name="T44" fmla="*/ 102 w 962"/>
                <a:gd name="T45" fmla="*/ 222 h 716"/>
                <a:gd name="T46" fmla="*/ 8 w 962"/>
                <a:gd name="T47" fmla="*/ 206 h 716"/>
                <a:gd name="T48" fmla="*/ 58 w 962"/>
                <a:gd name="T49" fmla="*/ 180 h 716"/>
                <a:gd name="T50" fmla="*/ 124 w 962"/>
                <a:gd name="T51" fmla="*/ 134 h 716"/>
                <a:gd name="T52" fmla="*/ 128 w 962"/>
                <a:gd name="T53" fmla="*/ 102 h 716"/>
                <a:gd name="T54" fmla="*/ 182 w 962"/>
                <a:gd name="T55" fmla="*/ 70 h 716"/>
                <a:gd name="T56" fmla="*/ 230 w 962"/>
                <a:gd name="T57" fmla="*/ 68 h 716"/>
                <a:gd name="T58" fmla="*/ 296 w 962"/>
                <a:gd name="T59" fmla="*/ 50 h 716"/>
                <a:gd name="T60" fmla="*/ 344 w 962"/>
                <a:gd name="T61" fmla="*/ 66 h 716"/>
                <a:gd name="T62" fmla="*/ 374 w 962"/>
                <a:gd name="T63" fmla="*/ 44 h 716"/>
                <a:gd name="T64" fmla="*/ 400 w 962"/>
                <a:gd name="T65" fmla="*/ 40 h 716"/>
                <a:gd name="T66" fmla="*/ 478 w 962"/>
                <a:gd name="T67" fmla="*/ 14 h 716"/>
                <a:gd name="T68" fmla="*/ 618 w 962"/>
                <a:gd name="T69" fmla="*/ 0 h 716"/>
                <a:gd name="T70" fmla="*/ 756 w 962"/>
                <a:gd name="T71" fmla="*/ 18 h 716"/>
                <a:gd name="T72" fmla="*/ 738 w 962"/>
                <a:gd name="T73" fmla="*/ 56 h 716"/>
                <a:gd name="T74" fmla="*/ 754 w 962"/>
                <a:gd name="T75" fmla="*/ 66 h 716"/>
                <a:gd name="T76" fmla="*/ 760 w 962"/>
                <a:gd name="T77" fmla="*/ 76 h 716"/>
                <a:gd name="T78" fmla="*/ 806 w 962"/>
                <a:gd name="T79" fmla="*/ 66 h 716"/>
                <a:gd name="T80" fmla="*/ 792 w 962"/>
                <a:gd name="T81" fmla="*/ 102 h 716"/>
                <a:gd name="T82" fmla="*/ 884 w 962"/>
                <a:gd name="T83" fmla="*/ 68 h 716"/>
                <a:gd name="T84" fmla="*/ 948 w 962"/>
                <a:gd name="T85" fmla="*/ 90 h 716"/>
                <a:gd name="T86" fmla="*/ 872 w 962"/>
                <a:gd name="T87" fmla="*/ 110 h 716"/>
                <a:gd name="T88" fmla="*/ 888 w 962"/>
                <a:gd name="T89" fmla="*/ 130 h 716"/>
                <a:gd name="T90" fmla="*/ 866 w 962"/>
                <a:gd name="T91" fmla="*/ 138 h 716"/>
                <a:gd name="T92" fmla="*/ 842 w 962"/>
                <a:gd name="T93" fmla="*/ 170 h 716"/>
                <a:gd name="T94" fmla="*/ 848 w 962"/>
                <a:gd name="T95" fmla="*/ 212 h 716"/>
                <a:gd name="T96" fmla="*/ 840 w 962"/>
                <a:gd name="T97" fmla="*/ 228 h 716"/>
                <a:gd name="T98" fmla="*/ 860 w 962"/>
                <a:gd name="T99" fmla="*/ 258 h 716"/>
                <a:gd name="T100" fmla="*/ 814 w 962"/>
                <a:gd name="T101" fmla="*/ 248 h 716"/>
                <a:gd name="T102" fmla="*/ 848 w 962"/>
                <a:gd name="T103" fmla="*/ 296 h 716"/>
                <a:gd name="T104" fmla="*/ 850 w 962"/>
                <a:gd name="T105" fmla="*/ 324 h 716"/>
                <a:gd name="T106" fmla="*/ 830 w 962"/>
                <a:gd name="T107" fmla="*/ 350 h 716"/>
                <a:gd name="T108" fmla="*/ 756 w 962"/>
                <a:gd name="T109" fmla="*/ 360 h 716"/>
                <a:gd name="T110" fmla="*/ 800 w 962"/>
                <a:gd name="T111" fmla="*/ 400 h 716"/>
                <a:gd name="T112" fmla="*/ 804 w 962"/>
                <a:gd name="T113" fmla="*/ 410 h 716"/>
                <a:gd name="T114" fmla="*/ 756 w 962"/>
                <a:gd name="T115" fmla="*/ 416 h 716"/>
                <a:gd name="T116" fmla="*/ 778 w 962"/>
                <a:gd name="T117" fmla="*/ 45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62" h="716">
                  <a:moveTo>
                    <a:pt x="790" y="462"/>
                  </a:moveTo>
                  <a:lnTo>
                    <a:pt x="752" y="484"/>
                  </a:lnTo>
                  <a:lnTo>
                    <a:pt x="736" y="496"/>
                  </a:lnTo>
                  <a:lnTo>
                    <a:pt x="676" y="508"/>
                  </a:lnTo>
                  <a:lnTo>
                    <a:pt x="658" y="512"/>
                  </a:lnTo>
                  <a:lnTo>
                    <a:pt x="646" y="506"/>
                  </a:lnTo>
                  <a:lnTo>
                    <a:pt x="642" y="514"/>
                  </a:lnTo>
                  <a:lnTo>
                    <a:pt x="628" y="526"/>
                  </a:lnTo>
                  <a:lnTo>
                    <a:pt x="608" y="552"/>
                  </a:lnTo>
                  <a:lnTo>
                    <a:pt x="582" y="564"/>
                  </a:lnTo>
                  <a:lnTo>
                    <a:pt x="560" y="572"/>
                  </a:lnTo>
                  <a:lnTo>
                    <a:pt x="546" y="572"/>
                  </a:lnTo>
                  <a:lnTo>
                    <a:pt x="524" y="576"/>
                  </a:lnTo>
                  <a:lnTo>
                    <a:pt x="518" y="582"/>
                  </a:lnTo>
                  <a:lnTo>
                    <a:pt x="518" y="588"/>
                  </a:lnTo>
                  <a:lnTo>
                    <a:pt x="510" y="592"/>
                  </a:lnTo>
                  <a:lnTo>
                    <a:pt x="512" y="606"/>
                  </a:lnTo>
                  <a:lnTo>
                    <a:pt x="504" y="612"/>
                  </a:lnTo>
                  <a:lnTo>
                    <a:pt x="508" y="620"/>
                  </a:lnTo>
                  <a:lnTo>
                    <a:pt x="502" y="636"/>
                  </a:lnTo>
                  <a:lnTo>
                    <a:pt x="486" y="648"/>
                  </a:lnTo>
                  <a:lnTo>
                    <a:pt x="474" y="650"/>
                  </a:lnTo>
                  <a:lnTo>
                    <a:pt x="480" y="658"/>
                  </a:lnTo>
                  <a:lnTo>
                    <a:pt x="482" y="664"/>
                  </a:lnTo>
                  <a:lnTo>
                    <a:pt x="476" y="686"/>
                  </a:lnTo>
                  <a:lnTo>
                    <a:pt x="462" y="716"/>
                  </a:lnTo>
                  <a:lnTo>
                    <a:pt x="444" y="714"/>
                  </a:lnTo>
                  <a:lnTo>
                    <a:pt x="428" y="702"/>
                  </a:lnTo>
                  <a:lnTo>
                    <a:pt x="426" y="690"/>
                  </a:lnTo>
                  <a:lnTo>
                    <a:pt x="416" y="694"/>
                  </a:lnTo>
                  <a:lnTo>
                    <a:pt x="406" y="694"/>
                  </a:lnTo>
                  <a:lnTo>
                    <a:pt x="390" y="700"/>
                  </a:lnTo>
                  <a:lnTo>
                    <a:pt x="374" y="672"/>
                  </a:lnTo>
                  <a:lnTo>
                    <a:pt x="356" y="654"/>
                  </a:lnTo>
                  <a:lnTo>
                    <a:pt x="362" y="644"/>
                  </a:lnTo>
                  <a:lnTo>
                    <a:pt x="348" y="634"/>
                  </a:lnTo>
                  <a:lnTo>
                    <a:pt x="348" y="618"/>
                  </a:lnTo>
                  <a:lnTo>
                    <a:pt x="360" y="604"/>
                  </a:lnTo>
                  <a:lnTo>
                    <a:pt x="354" y="594"/>
                  </a:lnTo>
                  <a:lnTo>
                    <a:pt x="340" y="600"/>
                  </a:lnTo>
                  <a:lnTo>
                    <a:pt x="324" y="588"/>
                  </a:lnTo>
                  <a:lnTo>
                    <a:pt x="312" y="572"/>
                  </a:lnTo>
                  <a:lnTo>
                    <a:pt x="304" y="560"/>
                  </a:lnTo>
                  <a:lnTo>
                    <a:pt x="312" y="546"/>
                  </a:lnTo>
                  <a:lnTo>
                    <a:pt x="316" y="540"/>
                  </a:lnTo>
                  <a:lnTo>
                    <a:pt x="304" y="540"/>
                  </a:lnTo>
                  <a:lnTo>
                    <a:pt x="302" y="528"/>
                  </a:lnTo>
                  <a:lnTo>
                    <a:pt x="312" y="516"/>
                  </a:lnTo>
                  <a:lnTo>
                    <a:pt x="318" y="516"/>
                  </a:lnTo>
                  <a:lnTo>
                    <a:pt x="336" y="520"/>
                  </a:lnTo>
                  <a:lnTo>
                    <a:pt x="342" y="522"/>
                  </a:lnTo>
                  <a:lnTo>
                    <a:pt x="346" y="522"/>
                  </a:lnTo>
                  <a:lnTo>
                    <a:pt x="348" y="520"/>
                  </a:lnTo>
                  <a:lnTo>
                    <a:pt x="344" y="500"/>
                  </a:lnTo>
                  <a:lnTo>
                    <a:pt x="344" y="478"/>
                  </a:lnTo>
                  <a:lnTo>
                    <a:pt x="356" y="466"/>
                  </a:lnTo>
                  <a:lnTo>
                    <a:pt x="352" y="456"/>
                  </a:lnTo>
                  <a:lnTo>
                    <a:pt x="330" y="456"/>
                  </a:lnTo>
                  <a:lnTo>
                    <a:pt x="310" y="444"/>
                  </a:lnTo>
                  <a:lnTo>
                    <a:pt x="296" y="436"/>
                  </a:lnTo>
                  <a:lnTo>
                    <a:pt x="318" y="434"/>
                  </a:lnTo>
                  <a:lnTo>
                    <a:pt x="342" y="442"/>
                  </a:lnTo>
                  <a:lnTo>
                    <a:pt x="344" y="430"/>
                  </a:lnTo>
                  <a:lnTo>
                    <a:pt x="330" y="414"/>
                  </a:lnTo>
                  <a:lnTo>
                    <a:pt x="320" y="410"/>
                  </a:lnTo>
                  <a:lnTo>
                    <a:pt x="304" y="400"/>
                  </a:lnTo>
                  <a:lnTo>
                    <a:pt x="296" y="412"/>
                  </a:lnTo>
                  <a:lnTo>
                    <a:pt x="274" y="414"/>
                  </a:lnTo>
                  <a:lnTo>
                    <a:pt x="274" y="398"/>
                  </a:lnTo>
                  <a:lnTo>
                    <a:pt x="288" y="378"/>
                  </a:lnTo>
                  <a:lnTo>
                    <a:pt x="264" y="332"/>
                  </a:lnTo>
                  <a:lnTo>
                    <a:pt x="238" y="306"/>
                  </a:lnTo>
                  <a:lnTo>
                    <a:pt x="228" y="294"/>
                  </a:lnTo>
                  <a:lnTo>
                    <a:pt x="226" y="284"/>
                  </a:lnTo>
                  <a:lnTo>
                    <a:pt x="196" y="274"/>
                  </a:lnTo>
                  <a:lnTo>
                    <a:pt x="148" y="262"/>
                  </a:lnTo>
                  <a:lnTo>
                    <a:pt x="138" y="266"/>
                  </a:lnTo>
                  <a:lnTo>
                    <a:pt x="118" y="274"/>
                  </a:lnTo>
                  <a:lnTo>
                    <a:pt x="106" y="264"/>
                  </a:lnTo>
                  <a:lnTo>
                    <a:pt x="100" y="272"/>
                  </a:lnTo>
                  <a:lnTo>
                    <a:pt x="94" y="276"/>
                  </a:lnTo>
                  <a:lnTo>
                    <a:pt x="76" y="272"/>
                  </a:lnTo>
                  <a:lnTo>
                    <a:pt x="52" y="262"/>
                  </a:lnTo>
                  <a:lnTo>
                    <a:pt x="68" y="256"/>
                  </a:lnTo>
                  <a:lnTo>
                    <a:pt x="76" y="252"/>
                  </a:lnTo>
                  <a:lnTo>
                    <a:pt x="62" y="250"/>
                  </a:lnTo>
                  <a:lnTo>
                    <a:pt x="42" y="250"/>
                  </a:lnTo>
                  <a:lnTo>
                    <a:pt x="24" y="240"/>
                  </a:lnTo>
                  <a:lnTo>
                    <a:pt x="30" y="234"/>
                  </a:lnTo>
                  <a:lnTo>
                    <a:pt x="60" y="234"/>
                  </a:lnTo>
                  <a:lnTo>
                    <a:pt x="100" y="230"/>
                  </a:lnTo>
                  <a:lnTo>
                    <a:pt x="102" y="222"/>
                  </a:lnTo>
                  <a:lnTo>
                    <a:pt x="84" y="222"/>
                  </a:lnTo>
                  <a:lnTo>
                    <a:pt x="62" y="224"/>
                  </a:lnTo>
                  <a:lnTo>
                    <a:pt x="40" y="220"/>
                  </a:lnTo>
                  <a:lnTo>
                    <a:pt x="8" y="206"/>
                  </a:lnTo>
                  <a:lnTo>
                    <a:pt x="0" y="196"/>
                  </a:lnTo>
                  <a:lnTo>
                    <a:pt x="8" y="188"/>
                  </a:lnTo>
                  <a:lnTo>
                    <a:pt x="32" y="184"/>
                  </a:lnTo>
                  <a:lnTo>
                    <a:pt x="58" y="180"/>
                  </a:lnTo>
                  <a:lnTo>
                    <a:pt x="76" y="170"/>
                  </a:lnTo>
                  <a:lnTo>
                    <a:pt x="106" y="170"/>
                  </a:lnTo>
                  <a:lnTo>
                    <a:pt x="122" y="156"/>
                  </a:lnTo>
                  <a:lnTo>
                    <a:pt x="124" y="134"/>
                  </a:lnTo>
                  <a:lnTo>
                    <a:pt x="112" y="140"/>
                  </a:lnTo>
                  <a:lnTo>
                    <a:pt x="82" y="128"/>
                  </a:lnTo>
                  <a:lnTo>
                    <a:pt x="102" y="114"/>
                  </a:lnTo>
                  <a:lnTo>
                    <a:pt x="128" y="102"/>
                  </a:lnTo>
                  <a:lnTo>
                    <a:pt x="160" y="92"/>
                  </a:lnTo>
                  <a:lnTo>
                    <a:pt x="184" y="100"/>
                  </a:lnTo>
                  <a:lnTo>
                    <a:pt x="190" y="80"/>
                  </a:lnTo>
                  <a:lnTo>
                    <a:pt x="182" y="70"/>
                  </a:lnTo>
                  <a:lnTo>
                    <a:pt x="212" y="66"/>
                  </a:lnTo>
                  <a:lnTo>
                    <a:pt x="222" y="76"/>
                  </a:lnTo>
                  <a:lnTo>
                    <a:pt x="238" y="80"/>
                  </a:lnTo>
                  <a:lnTo>
                    <a:pt x="230" y="68"/>
                  </a:lnTo>
                  <a:lnTo>
                    <a:pt x="226" y="62"/>
                  </a:lnTo>
                  <a:lnTo>
                    <a:pt x="224" y="60"/>
                  </a:lnTo>
                  <a:lnTo>
                    <a:pt x="224" y="58"/>
                  </a:lnTo>
                  <a:lnTo>
                    <a:pt x="296" y="50"/>
                  </a:lnTo>
                  <a:lnTo>
                    <a:pt x="304" y="70"/>
                  </a:lnTo>
                  <a:lnTo>
                    <a:pt x="316" y="66"/>
                  </a:lnTo>
                  <a:lnTo>
                    <a:pt x="312" y="48"/>
                  </a:lnTo>
                  <a:lnTo>
                    <a:pt x="344" y="66"/>
                  </a:lnTo>
                  <a:lnTo>
                    <a:pt x="366" y="66"/>
                  </a:lnTo>
                  <a:lnTo>
                    <a:pt x="350" y="56"/>
                  </a:lnTo>
                  <a:lnTo>
                    <a:pt x="358" y="44"/>
                  </a:lnTo>
                  <a:lnTo>
                    <a:pt x="374" y="44"/>
                  </a:lnTo>
                  <a:lnTo>
                    <a:pt x="404" y="56"/>
                  </a:lnTo>
                  <a:lnTo>
                    <a:pt x="442" y="74"/>
                  </a:lnTo>
                  <a:lnTo>
                    <a:pt x="450" y="68"/>
                  </a:lnTo>
                  <a:lnTo>
                    <a:pt x="400" y="40"/>
                  </a:lnTo>
                  <a:lnTo>
                    <a:pt x="422" y="34"/>
                  </a:lnTo>
                  <a:lnTo>
                    <a:pt x="424" y="24"/>
                  </a:lnTo>
                  <a:lnTo>
                    <a:pt x="450" y="16"/>
                  </a:lnTo>
                  <a:lnTo>
                    <a:pt x="478" y="14"/>
                  </a:lnTo>
                  <a:lnTo>
                    <a:pt x="510" y="18"/>
                  </a:lnTo>
                  <a:lnTo>
                    <a:pt x="534" y="16"/>
                  </a:lnTo>
                  <a:lnTo>
                    <a:pt x="562" y="4"/>
                  </a:lnTo>
                  <a:lnTo>
                    <a:pt x="618" y="0"/>
                  </a:lnTo>
                  <a:lnTo>
                    <a:pt x="680" y="0"/>
                  </a:lnTo>
                  <a:lnTo>
                    <a:pt x="716" y="4"/>
                  </a:lnTo>
                  <a:lnTo>
                    <a:pt x="746" y="12"/>
                  </a:lnTo>
                  <a:lnTo>
                    <a:pt x="756" y="18"/>
                  </a:lnTo>
                  <a:lnTo>
                    <a:pt x="760" y="24"/>
                  </a:lnTo>
                  <a:lnTo>
                    <a:pt x="814" y="38"/>
                  </a:lnTo>
                  <a:lnTo>
                    <a:pt x="800" y="48"/>
                  </a:lnTo>
                  <a:lnTo>
                    <a:pt x="738" y="56"/>
                  </a:lnTo>
                  <a:lnTo>
                    <a:pt x="676" y="58"/>
                  </a:lnTo>
                  <a:lnTo>
                    <a:pt x="668" y="70"/>
                  </a:lnTo>
                  <a:lnTo>
                    <a:pt x="694" y="64"/>
                  </a:lnTo>
                  <a:lnTo>
                    <a:pt x="754" y="66"/>
                  </a:lnTo>
                  <a:lnTo>
                    <a:pt x="740" y="76"/>
                  </a:lnTo>
                  <a:lnTo>
                    <a:pt x="726" y="80"/>
                  </a:lnTo>
                  <a:lnTo>
                    <a:pt x="734" y="82"/>
                  </a:lnTo>
                  <a:lnTo>
                    <a:pt x="760" y="76"/>
                  </a:lnTo>
                  <a:lnTo>
                    <a:pt x="774" y="68"/>
                  </a:lnTo>
                  <a:lnTo>
                    <a:pt x="782" y="58"/>
                  </a:lnTo>
                  <a:lnTo>
                    <a:pt x="800" y="58"/>
                  </a:lnTo>
                  <a:lnTo>
                    <a:pt x="806" y="66"/>
                  </a:lnTo>
                  <a:lnTo>
                    <a:pt x="806" y="82"/>
                  </a:lnTo>
                  <a:lnTo>
                    <a:pt x="774" y="104"/>
                  </a:lnTo>
                  <a:lnTo>
                    <a:pt x="770" y="114"/>
                  </a:lnTo>
                  <a:lnTo>
                    <a:pt x="792" y="102"/>
                  </a:lnTo>
                  <a:lnTo>
                    <a:pt x="820" y="86"/>
                  </a:lnTo>
                  <a:lnTo>
                    <a:pt x="836" y="74"/>
                  </a:lnTo>
                  <a:lnTo>
                    <a:pt x="868" y="84"/>
                  </a:lnTo>
                  <a:lnTo>
                    <a:pt x="884" y="68"/>
                  </a:lnTo>
                  <a:lnTo>
                    <a:pt x="914" y="66"/>
                  </a:lnTo>
                  <a:lnTo>
                    <a:pt x="946" y="70"/>
                  </a:lnTo>
                  <a:lnTo>
                    <a:pt x="962" y="80"/>
                  </a:lnTo>
                  <a:lnTo>
                    <a:pt x="948" y="90"/>
                  </a:lnTo>
                  <a:lnTo>
                    <a:pt x="922" y="98"/>
                  </a:lnTo>
                  <a:lnTo>
                    <a:pt x="916" y="106"/>
                  </a:lnTo>
                  <a:lnTo>
                    <a:pt x="906" y="110"/>
                  </a:lnTo>
                  <a:lnTo>
                    <a:pt x="872" y="110"/>
                  </a:lnTo>
                  <a:lnTo>
                    <a:pt x="852" y="116"/>
                  </a:lnTo>
                  <a:lnTo>
                    <a:pt x="870" y="120"/>
                  </a:lnTo>
                  <a:lnTo>
                    <a:pt x="896" y="122"/>
                  </a:lnTo>
                  <a:lnTo>
                    <a:pt x="888" y="130"/>
                  </a:lnTo>
                  <a:lnTo>
                    <a:pt x="850" y="128"/>
                  </a:lnTo>
                  <a:lnTo>
                    <a:pt x="832" y="132"/>
                  </a:lnTo>
                  <a:lnTo>
                    <a:pt x="840" y="140"/>
                  </a:lnTo>
                  <a:lnTo>
                    <a:pt x="866" y="138"/>
                  </a:lnTo>
                  <a:lnTo>
                    <a:pt x="876" y="138"/>
                  </a:lnTo>
                  <a:lnTo>
                    <a:pt x="868" y="146"/>
                  </a:lnTo>
                  <a:lnTo>
                    <a:pt x="844" y="152"/>
                  </a:lnTo>
                  <a:lnTo>
                    <a:pt x="842" y="170"/>
                  </a:lnTo>
                  <a:lnTo>
                    <a:pt x="822" y="180"/>
                  </a:lnTo>
                  <a:lnTo>
                    <a:pt x="812" y="208"/>
                  </a:lnTo>
                  <a:lnTo>
                    <a:pt x="822" y="210"/>
                  </a:lnTo>
                  <a:lnTo>
                    <a:pt x="848" y="212"/>
                  </a:lnTo>
                  <a:lnTo>
                    <a:pt x="836" y="220"/>
                  </a:lnTo>
                  <a:lnTo>
                    <a:pt x="836" y="224"/>
                  </a:lnTo>
                  <a:lnTo>
                    <a:pt x="838" y="226"/>
                  </a:lnTo>
                  <a:lnTo>
                    <a:pt x="840" y="228"/>
                  </a:lnTo>
                  <a:lnTo>
                    <a:pt x="854" y="234"/>
                  </a:lnTo>
                  <a:lnTo>
                    <a:pt x="868" y="238"/>
                  </a:lnTo>
                  <a:lnTo>
                    <a:pt x="864" y="250"/>
                  </a:lnTo>
                  <a:lnTo>
                    <a:pt x="860" y="258"/>
                  </a:lnTo>
                  <a:lnTo>
                    <a:pt x="858" y="260"/>
                  </a:lnTo>
                  <a:lnTo>
                    <a:pt x="846" y="252"/>
                  </a:lnTo>
                  <a:lnTo>
                    <a:pt x="836" y="244"/>
                  </a:lnTo>
                  <a:lnTo>
                    <a:pt x="814" y="248"/>
                  </a:lnTo>
                  <a:lnTo>
                    <a:pt x="814" y="262"/>
                  </a:lnTo>
                  <a:lnTo>
                    <a:pt x="834" y="268"/>
                  </a:lnTo>
                  <a:lnTo>
                    <a:pt x="850" y="280"/>
                  </a:lnTo>
                  <a:lnTo>
                    <a:pt x="848" y="296"/>
                  </a:lnTo>
                  <a:lnTo>
                    <a:pt x="828" y="298"/>
                  </a:lnTo>
                  <a:lnTo>
                    <a:pt x="840" y="312"/>
                  </a:lnTo>
                  <a:lnTo>
                    <a:pt x="846" y="320"/>
                  </a:lnTo>
                  <a:lnTo>
                    <a:pt x="850" y="324"/>
                  </a:lnTo>
                  <a:lnTo>
                    <a:pt x="850" y="328"/>
                  </a:lnTo>
                  <a:lnTo>
                    <a:pt x="838" y="334"/>
                  </a:lnTo>
                  <a:lnTo>
                    <a:pt x="826" y="336"/>
                  </a:lnTo>
                  <a:lnTo>
                    <a:pt x="830" y="350"/>
                  </a:lnTo>
                  <a:lnTo>
                    <a:pt x="812" y="356"/>
                  </a:lnTo>
                  <a:lnTo>
                    <a:pt x="790" y="356"/>
                  </a:lnTo>
                  <a:lnTo>
                    <a:pt x="768" y="354"/>
                  </a:lnTo>
                  <a:lnTo>
                    <a:pt x="756" y="360"/>
                  </a:lnTo>
                  <a:lnTo>
                    <a:pt x="768" y="372"/>
                  </a:lnTo>
                  <a:lnTo>
                    <a:pt x="800" y="372"/>
                  </a:lnTo>
                  <a:lnTo>
                    <a:pt x="804" y="382"/>
                  </a:lnTo>
                  <a:lnTo>
                    <a:pt x="800" y="400"/>
                  </a:lnTo>
                  <a:lnTo>
                    <a:pt x="782" y="386"/>
                  </a:lnTo>
                  <a:lnTo>
                    <a:pt x="774" y="386"/>
                  </a:lnTo>
                  <a:lnTo>
                    <a:pt x="776" y="392"/>
                  </a:lnTo>
                  <a:lnTo>
                    <a:pt x="804" y="410"/>
                  </a:lnTo>
                  <a:lnTo>
                    <a:pt x="810" y="446"/>
                  </a:lnTo>
                  <a:lnTo>
                    <a:pt x="790" y="444"/>
                  </a:lnTo>
                  <a:lnTo>
                    <a:pt x="770" y="430"/>
                  </a:lnTo>
                  <a:lnTo>
                    <a:pt x="756" y="416"/>
                  </a:lnTo>
                  <a:lnTo>
                    <a:pt x="750" y="414"/>
                  </a:lnTo>
                  <a:lnTo>
                    <a:pt x="750" y="432"/>
                  </a:lnTo>
                  <a:lnTo>
                    <a:pt x="756" y="446"/>
                  </a:lnTo>
                  <a:lnTo>
                    <a:pt x="778" y="452"/>
                  </a:lnTo>
                  <a:lnTo>
                    <a:pt x="804" y="454"/>
                  </a:lnTo>
                  <a:lnTo>
                    <a:pt x="790" y="46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32" name="Freeform 6">
              <a:extLst>
                <a:ext uri="{FF2B5EF4-FFF2-40B4-BE49-F238E27FC236}">
                  <a16:creationId xmlns:a16="http://schemas.microsoft.com/office/drawing/2014/main" id="{8E5B52BC-7A1C-483C-A91A-8260AEEB8924}"/>
                </a:ext>
              </a:extLst>
            </p:cNvPr>
            <p:cNvSpPr>
              <a:spLocks/>
            </p:cNvSpPr>
            <p:nvPr/>
          </p:nvSpPr>
          <p:spPr bwMode="gray">
            <a:xfrm>
              <a:off x="2747362" y="3801687"/>
              <a:ext cx="795816" cy="507908"/>
            </a:xfrm>
            <a:custGeom>
              <a:avLst/>
              <a:gdLst>
                <a:gd name="T0" fmla="*/ 76 w 482"/>
                <a:gd name="T1" fmla="*/ 18 h 306"/>
                <a:gd name="T2" fmla="*/ 146 w 482"/>
                <a:gd name="T3" fmla="*/ 18 h 306"/>
                <a:gd name="T4" fmla="*/ 196 w 482"/>
                <a:gd name="T5" fmla="*/ 38 h 306"/>
                <a:gd name="T6" fmla="*/ 226 w 482"/>
                <a:gd name="T7" fmla="*/ 62 h 306"/>
                <a:gd name="T8" fmla="*/ 258 w 482"/>
                <a:gd name="T9" fmla="*/ 58 h 306"/>
                <a:gd name="T10" fmla="*/ 282 w 482"/>
                <a:gd name="T11" fmla="*/ 96 h 306"/>
                <a:gd name="T12" fmla="*/ 318 w 482"/>
                <a:gd name="T13" fmla="*/ 116 h 306"/>
                <a:gd name="T14" fmla="*/ 308 w 482"/>
                <a:gd name="T15" fmla="*/ 152 h 306"/>
                <a:gd name="T16" fmla="*/ 312 w 482"/>
                <a:gd name="T17" fmla="*/ 192 h 306"/>
                <a:gd name="T18" fmla="*/ 338 w 482"/>
                <a:gd name="T19" fmla="*/ 234 h 306"/>
                <a:gd name="T20" fmla="*/ 376 w 482"/>
                <a:gd name="T21" fmla="*/ 244 h 306"/>
                <a:gd name="T22" fmla="*/ 424 w 482"/>
                <a:gd name="T23" fmla="*/ 220 h 306"/>
                <a:gd name="T24" fmla="*/ 442 w 482"/>
                <a:gd name="T25" fmla="*/ 192 h 306"/>
                <a:gd name="T26" fmla="*/ 482 w 482"/>
                <a:gd name="T27" fmla="*/ 194 h 306"/>
                <a:gd name="T28" fmla="*/ 470 w 482"/>
                <a:gd name="T29" fmla="*/ 220 h 306"/>
                <a:gd name="T30" fmla="*/ 464 w 482"/>
                <a:gd name="T31" fmla="*/ 246 h 306"/>
                <a:gd name="T32" fmla="*/ 452 w 482"/>
                <a:gd name="T33" fmla="*/ 246 h 306"/>
                <a:gd name="T34" fmla="*/ 416 w 482"/>
                <a:gd name="T35" fmla="*/ 254 h 306"/>
                <a:gd name="T36" fmla="*/ 424 w 482"/>
                <a:gd name="T37" fmla="*/ 272 h 306"/>
                <a:gd name="T38" fmla="*/ 412 w 482"/>
                <a:gd name="T39" fmla="*/ 282 h 306"/>
                <a:gd name="T40" fmla="*/ 402 w 482"/>
                <a:gd name="T41" fmla="*/ 288 h 306"/>
                <a:gd name="T42" fmla="*/ 392 w 482"/>
                <a:gd name="T43" fmla="*/ 300 h 306"/>
                <a:gd name="T44" fmla="*/ 364 w 482"/>
                <a:gd name="T45" fmla="*/ 280 h 306"/>
                <a:gd name="T46" fmla="*/ 338 w 482"/>
                <a:gd name="T47" fmla="*/ 284 h 306"/>
                <a:gd name="T48" fmla="*/ 298 w 482"/>
                <a:gd name="T49" fmla="*/ 276 h 306"/>
                <a:gd name="T50" fmla="*/ 254 w 482"/>
                <a:gd name="T51" fmla="*/ 260 h 306"/>
                <a:gd name="T52" fmla="*/ 218 w 482"/>
                <a:gd name="T53" fmla="*/ 240 h 306"/>
                <a:gd name="T54" fmla="*/ 186 w 482"/>
                <a:gd name="T55" fmla="*/ 212 h 306"/>
                <a:gd name="T56" fmla="*/ 192 w 482"/>
                <a:gd name="T57" fmla="*/ 186 h 306"/>
                <a:gd name="T58" fmla="*/ 156 w 482"/>
                <a:gd name="T59" fmla="*/ 146 h 306"/>
                <a:gd name="T60" fmla="*/ 126 w 482"/>
                <a:gd name="T61" fmla="*/ 120 h 306"/>
                <a:gd name="T62" fmla="*/ 100 w 482"/>
                <a:gd name="T63" fmla="*/ 86 h 306"/>
                <a:gd name="T64" fmla="*/ 72 w 482"/>
                <a:gd name="T65" fmla="*/ 48 h 306"/>
                <a:gd name="T66" fmla="*/ 50 w 482"/>
                <a:gd name="T67" fmla="*/ 20 h 306"/>
                <a:gd name="T68" fmla="*/ 40 w 482"/>
                <a:gd name="T69" fmla="*/ 38 h 306"/>
                <a:gd name="T70" fmla="*/ 64 w 482"/>
                <a:gd name="T71" fmla="*/ 76 h 306"/>
                <a:gd name="T72" fmla="*/ 90 w 482"/>
                <a:gd name="T73" fmla="*/ 108 h 306"/>
                <a:gd name="T74" fmla="*/ 106 w 482"/>
                <a:gd name="T75" fmla="*/ 146 h 306"/>
                <a:gd name="T76" fmla="*/ 120 w 482"/>
                <a:gd name="T77" fmla="*/ 156 h 306"/>
                <a:gd name="T78" fmla="*/ 108 w 482"/>
                <a:gd name="T79" fmla="*/ 158 h 306"/>
                <a:gd name="T80" fmla="*/ 84 w 482"/>
                <a:gd name="T81" fmla="*/ 134 h 306"/>
                <a:gd name="T82" fmla="*/ 72 w 482"/>
                <a:gd name="T83" fmla="*/ 108 h 306"/>
                <a:gd name="T84" fmla="*/ 48 w 482"/>
                <a:gd name="T85" fmla="*/ 98 h 306"/>
                <a:gd name="T86" fmla="*/ 42 w 482"/>
                <a:gd name="T87" fmla="*/ 84 h 306"/>
                <a:gd name="T88" fmla="*/ 46 w 482"/>
                <a:gd name="T89" fmla="*/ 74 h 306"/>
                <a:gd name="T90" fmla="*/ 30 w 482"/>
                <a:gd name="T91" fmla="*/ 56 h 306"/>
                <a:gd name="T92" fmla="*/ 12 w 482"/>
                <a:gd name="T93" fmla="*/ 2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2" h="306">
                  <a:moveTo>
                    <a:pt x="0" y="2"/>
                  </a:moveTo>
                  <a:lnTo>
                    <a:pt x="32" y="0"/>
                  </a:lnTo>
                  <a:lnTo>
                    <a:pt x="76" y="18"/>
                  </a:lnTo>
                  <a:lnTo>
                    <a:pt x="92" y="24"/>
                  </a:lnTo>
                  <a:lnTo>
                    <a:pt x="138" y="24"/>
                  </a:lnTo>
                  <a:lnTo>
                    <a:pt x="146" y="18"/>
                  </a:lnTo>
                  <a:lnTo>
                    <a:pt x="166" y="14"/>
                  </a:lnTo>
                  <a:lnTo>
                    <a:pt x="186" y="30"/>
                  </a:lnTo>
                  <a:lnTo>
                    <a:pt x="196" y="38"/>
                  </a:lnTo>
                  <a:lnTo>
                    <a:pt x="198" y="54"/>
                  </a:lnTo>
                  <a:lnTo>
                    <a:pt x="214" y="64"/>
                  </a:lnTo>
                  <a:lnTo>
                    <a:pt x="226" y="62"/>
                  </a:lnTo>
                  <a:lnTo>
                    <a:pt x="228" y="52"/>
                  </a:lnTo>
                  <a:lnTo>
                    <a:pt x="236" y="48"/>
                  </a:lnTo>
                  <a:lnTo>
                    <a:pt x="258" y="58"/>
                  </a:lnTo>
                  <a:lnTo>
                    <a:pt x="264" y="72"/>
                  </a:lnTo>
                  <a:lnTo>
                    <a:pt x="274" y="84"/>
                  </a:lnTo>
                  <a:lnTo>
                    <a:pt x="282" y="96"/>
                  </a:lnTo>
                  <a:lnTo>
                    <a:pt x="290" y="108"/>
                  </a:lnTo>
                  <a:lnTo>
                    <a:pt x="306" y="114"/>
                  </a:lnTo>
                  <a:lnTo>
                    <a:pt x="318" y="116"/>
                  </a:lnTo>
                  <a:lnTo>
                    <a:pt x="314" y="124"/>
                  </a:lnTo>
                  <a:lnTo>
                    <a:pt x="310" y="136"/>
                  </a:lnTo>
                  <a:lnTo>
                    <a:pt x="308" y="152"/>
                  </a:lnTo>
                  <a:lnTo>
                    <a:pt x="308" y="162"/>
                  </a:lnTo>
                  <a:lnTo>
                    <a:pt x="308" y="174"/>
                  </a:lnTo>
                  <a:lnTo>
                    <a:pt x="312" y="192"/>
                  </a:lnTo>
                  <a:lnTo>
                    <a:pt x="322" y="210"/>
                  </a:lnTo>
                  <a:lnTo>
                    <a:pt x="330" y="222"/>
                  </a:lnTo>
                  <a:lnTo>
                    <a:pt x="338" y="234"/>
                  </a:lnTo>
                  <a:lnTo>
                    <a:pt x="348" y="240"/>
                  </a:lnTo>
                  <a:lnTo>
                    <a:pt x="360" y="244"/>
                  </a:lnTo>
                  <a:lnTo>
                    <a:pt x="376" y="244"/>
                  </a:lnTo>
                  <a:lnTo>
                    <a:pt x="396" y="240"/>
                  </a:lnTo>
                  <a:lnTo>
                    <a:pt x="416" y="236"/>
                  </a:lnTo>
                  <a:lnTo>
                    <a:pt x="424" y="220"/>
                  </a:lnTo>
                  <a:lnTo>
                    <a:pt x="424" y="210"/>
                  </a:lnTo>
                  <a:lnTo>
                    <a:pt x="428" y="200"/>
                  </a:lnTo>
                  <a:lnTo>
                    <a:pt x="442" y="192"/>
                  </a:lnTo>
                  <a:lnTo>
                    <a:pt x="452" y="192"/>
                  </a:lnTo>
                  <a:lnTo>
                    <a:pt x="470" y="192"/>
                  </a:lnTo>
                  <a:lnTo>
                    <a:pt x="482" y="194"/>
                  </a:lnTo>
                  <a:lnTo>
                    <a:pt x="478" y="206"/>
                  </a:lnTo>
                  <a:lnTo>
                    <a:pt x="472" y="214"/>
                  </a:lnTo>
                  <a:lnTo>
                    <a:pt x="470" y="220"/>
                  </a:lnTo>
                  <a:lnTo>
                    <a:pt x="468" y="232"/>
                  </a:lnTo>
                  <a:lnTo>
                    <a:pt x="468" y="244"/>
                  </a:lnTo>
                  <a:lnTo>
                    <a:pt x="464" y="246"/>
                  </a:lnTo>
                  <a:lnTo>
                    <a:pt x="460" y="240"/>
                  </a:lnTo>
                  <a:lnTo>
                    <a:pt x="456" y="242"/>
                  </a:lnTo>
                  <a:lnTo>
                    <a:pt x="452" y="246"/>
                  </a:lnTo>
                  <a:lnTo>
                    <a:pt x="446" y="252"/>
                  </a:lnTo>
                  <a:lnTo>
                    <a:pt x="434" y="252"/>
                  </a:lnTo>
                  <a:lnTo>
                    <a:pt x="416" y="254"/>
                  </a:lnTo>
                  <a:lnTo>
                    <a:pt x="414" y="258"/>
                  </a:lnTo>
                  <a:lnTo>
                    <a:pt x="416" y="266"/>
                  </a:lnTo>
                  <a:lnTo>
                    <a:pt x="424" y="272"/>
                  </a:lnTo>
                  <a:lnTo>
                    <a:pt x="428" y="278"/>
                  </a:lnTo>
                  <a:lnTo>
                    <a:pt x="424" y="280"/>
                  </a:lnTo>
                  <a:lnTo>
                    <a:pt x="412" y="282"/>
                  </a:lnTo>
                  <a:lnTo>
                    <a:pt x="408" y="280"/>
                  </a:lnTo>
                  <a:lnTo>
                    <a:pt x="406" y="284"/>
                  </a:lnTo>
                  <a:lnTo>
                    <a:pt x="402" y="288"/>
                  </a:lnTo>
                  <a:lnTo>
                    <a:pt x="400" y="294"/>
                  </a:lnTo>
                  <a:lnTo>
                    <a:pt x="398" y="306"/>
                  </a:lnTo>
                  <a:lnTo>
                    <a:pt x="392" y="300"/>
                  </a:lnTo>
                  <a:lnTo>
                    <a:pt x="382" y="290"/>
                  </a:lnTo>
                  <a:lnTo>
                    <a:pt x="372" y="284"/>
                  </a:lnTo>
                  <a:lnTo>
                    <a:pt x="364" y="280"/>
                  </a:lnTo>
                  <a:lnTo>
                    <a:pt x="356" y="278"/>
                  </a:lnTo>
                  <a:lnTo>
                    <a:pt x="346" y="280"/>
                  </a:lnTo>
                  <a:lnTo>
                    <a:pt x="338" y="284"/>
                  </a:lnTo>
                  <a:lnTo>
                    <a:pt x="328" y="286"/>
                  </a:lnTo>
                  <a:lnTo>
                    <a:pt x="312" y="282"/>
                  </a:lnTo>
                  <a:lnTo>
                    <a:pt x="298" y="276"/>
                  </a:lnTo>
                  <a:lnTo>
                    <a:pt x="282" y="270"/>
                  </a:lnTo>
                  <a:lnTo>
                    <a:pt x="264" y="264"/>
                  </a:lnTo>
                  <a:lnTo>
                    <a:pt x="254" y="260"/>
                  </a:lnTo>
                  <a:lnTo>
                    <a:pt x="246" y="248"/>
                  </a:lnTo>
                  <a:lnTo>
                    <a:pt x="232" y="248"/>
                  </a:lnTo>
                  <a:lnTo>
                    <a:pt x="218" y="240"/>
                  </a:lnTo>
                  <a:lnTo>
                    <a:pt x="204" y="232"/>
                  </a:lnTo>
                  <a:lnTo>
                    <a:pt x="192" y="222"/>
                  </a:lnTo>
                  <a:lnTo>
                    <a:pt x="186" y="212"/>
                  </a:lnTo>
                  <a:lnTo>
                    <a:pt x="186" y="202"/>
                  </a:lnTo>
                  <a:lnTo>
                    <a:pt x="192" y="196"/>
                  </a:lnTo>
                  <a:lnTo>
                    <a:pt x="192" y="186"/>
                  </a:lnTo>
                  <a:lnTo>
                    <a:pt x="178" y="168"/>
                  </a:lnTo>
                  <a:lnTo>
                    <a:pt x="168" y="156"/>
                  </a:lnTo>
                  <a:lnTo>
                    <a:pt x="156" y="146"/>
                  </a:lnTo>
                  <a:lnTo>
                    <a:pt x="146" y="134"/>
                  </a:lnTo>
                  <a:lnTo>
                    <a:pt x="134" y="126"/>
                  </a:lnTo>
                  <a:lnTo>
                    <a:pt x="126" y="120"/>
                  </a:lnTo>
                  <a:lnTo>
                    <a:pt x="126" y="106"/>
                  </a:lnTo>
                  <a:lnTo>
                    <a:pt x="110" y="96"/>
                  </a:lnTo>
                  <a:lnTo>
                    <a:pt x="100" y="86"/>
                  </a:lnTo>
                  <a:lnTo>
                    <a:pt x="88" y="70"/>
                  </a:lnTo>
                  <a:lnTo>
                    <a:pt x="78" y="60"/>
                  </a:lnTo>
                  <a:lnTo>
                    <a:pt x="72" y="48"/>
                  </a:lnTo>
                  <a:lnTo>
                    <a:pt x="66" y="34"/>
                  </a:lnTo>
                  <a:lnTo>
                    <a:pt x="64" y="28"/>
                  </a:lnTo>
                  <a:lnTo>
                    <a:pt x="50" y="20"/>
                  </a:lnTo>
                  <a:lnTo>
                    <a:pt x="38" y="20"/>
                  </a:lnTo>
                  <a:lnTo>
                    <a:pt x="36" y="26"/>
                  </a:lnTo>
                  <a:lnTo>
                    <a:pt x="40" y="38"/>
                  </a:lnTo>
                  <a:lnTo>
                    <a:pt x="46" y="52"/>
                  </a:lnTo>
                  <a:lnTo>
                    <a:pt x="56" y="62"/>
                  </a:lnTo>
                  <a:lnTo>
                    <a:pt x="64" y="76"/>
                  </a:lnTo>
                  <a:lnTo>
                    <a:pt x="72" y="86"/>
                  </a:lnTo>
                  <a:lnTo>
                    <a:pt x="80" y="96"/>
                  </a:lnTo>
                  <a:lnTo>
                    <a:pt x="90" y="108"/>
                  </a:lnTo>
                  <a:lnTo>
                    <a:pt x="98" y="124"/>
                  </a:lnTo>
                  <a:lnTo>
                    <a:pt x="104" y="136"/>
                  </a:lnTo>
                  <a:lnTo>
                    <a:pt x="106" y="146"/>
                  </a:lnTo>
                  <a:lnTo>
                    <a:pt x="114" y="146"/>
                  </a:lnTo>
                  <a:lnTo>
                    <a:pt x="118" y="152"/>
                  </a:lnTo>
                  <a:lnTo>
                    <a:pt x="120" y="156"/>
                  </a:lnTo>
                  <a:lnTo>
                    <a:pt x="122" y="166"/>
                  </a:lnTo>
                  <a:lnTo>
                    <a:pt x="114" y="170"/>
                  </a:lnTo>
                  <a:lnTo>
                    <a:pt x="108" y="158"/>
                  </a:lnTo>
                  <a:lnTo>
                    <a:pt x="100" y="152"/>
                  </a:lnTo>
                  <a:lnTo>
                    <a:pt x="92" y="144"/>
                  </a:lnTo>
                  <a:lnTo>
                    <a:pt x="84" y="134"/>
                  </a:lnTo>
                  <a:lnTo>
                    <a:pt x="82" y="126"/>
                  </a:lnTo>
                  <a:lnTo>
                    <a:pt x="80" y="116"/>
                  </a:lnTo>
                  <a:lnTo>
                    <a:pt x="72" y="108"/>
                  </a:lnTo>
                  <a:lnTo>
                    <a:pt x="66" y="104"/>
                  </a:lnTo>
                  <a:lnTo>
                    <a:pt x="56" y="102"/>
                  </a:lnTo>
                  <a:lnTo>
                    <a:pt x="48" y="98"/>
                  </a:lnTo>
                  <a:lnTo>
                    <a:pt x="40" y="90"/>
                  </a:lnTo>
                  <a:lnTo>
                    <a:pt x="38" y="86"/>
                  </a:lnTo>
                  <a:lnTo>
                    <a:pt x="42" y="84"/>
                  </a:lnTo>
                  <a:lnTo>
                    <a:pt x="46" y="84"/>
                  </a:lnTo>
                  <a:lnTo>
                    <a:pt x="48" y="80"/>
                  </a:lnTo>
                  <a:lnTo>
                    <a:pt x="46" y="74"/>
                  </a:lnTo>
                  <a:lnTo>
                    <a:pt x="42" y="64"/>
                  </a:lnTo>
                  <a:lnTo>
                    <a:pt x="38" y="60"/>
                  </a:lnTo>
                  <a:lnTo>
                    <a:pt x="30" y="56"/>
                  </a:lnTo>
                  <a:lnTo>
                    <a:pt x="22" y="46"/>
                  </a:lnTo>
                  <a:lnTo>
                    <a:pt x="16" y="32"/>
                  </a:lnTo>
                  <a:lnTo>
                    <a:pt x="12" y="24"/>
                  </a:lnTo>
                  <a:lnTo>
                    <a:pt x="8" y="14"/>
                  </a:lnTo>
                  <a:lnTo>
                    <a:pt x="0" y="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33" name="Freeform 7">
              <a:extLst>
                <a:ext uri="{FF2B5EF4-FFF2-40B4-BE49-F238E27FC236}">
                  <a16:creationId xmlns:a16="http://schemas.microsoft.com/office/drawing/2014/main" id="{EC534E24-B8F6-4E13-8E18-0EF783E64EF6}"/>
                </a:ext>
              </a:extLst>
            </p:cNvPr>
            <p:cNvSpPr>
              <a:spLocks/>
            </p:cNvSpPr>
            <p:nvPr/>
          </p:nvSpPr>
          <p:spPr bwMode="gray">
            <a:xfrm>
              <a:off x="2522817" y="2234809"/>
              <a:ext cx="274078" cy="172622"/>
            </a:xfrm>
            <a:custGeom>
              <a:avLst/>
              <a:gdLst>
                <a:gd name="T0" fmla="*/ 20 w 166"/>
                <a:gd name="T1" fmla="*/ 6 h 104"/>
                <a:gd name="T2" fmla="*/ 20 w 166"/>
                <a:gd name="T3" fmla="*/ 14 h 104"/>
                <a:gd name="T4" fmla="*/ 28 w 166"/>
                <a:gd name="T5" fmla="*/ 22 h 104"/>
                <a:gd name="T6" fmla="*/ 28 w 166"/>
                <a:gd name="T7" fmla="*/ 28 h 104"/>
                <a:gd name="T8" fmla="*/ 24 w 166"/>
                <a:gd name="T9" fmla="*/ 34 h 104"/>
                <a:gd name="T10" fmla="*/ 20 w 166"/>
                <a:gd name="T11" fmla="*/ 44 h 104"/>
                <a:gd name="T12" fmla="*/ 12 w 166"/>
                <a:gd name="T13" fmla="*/ 54 h 104"/>
                <a:gd name="T14" fmla="*/ 8 w 166"/>
                <a:gd name="T15" fmla="*/ 68 h 104"/>
                <a:gd name="T16" fmla="*/ 0 w 166"/>
                <a:gd name="T17" fmla="*/ 76 h 104"/>
                <a:gd name="T18" fmla="*/ 12 w 166"/>
                <a:gd name="T19" fmla="*/ 80 h 104"/>
                <a:gd name="T20" fmla="*/ 20 w 166"/>
                <a:gd name="T21" fmla="*/ 84 h 104"/>
                <a:gd name="T22" fmla="*/ 32 w 166"/>
                <a:gd name="T23" fmla="*/ 92 h 104"/>
                <a:gd name="T24" fmla="*/ 42 w 166"/>
                <a:gd name="T25" fmla="*/ 104 h 104"/>
                <a:gd name="T26" fmla="*/ 54 w 166"/>
                <a:gd name="T27" fmla="*/ 100 h 104"/>
                <a:gd name="T28" fmla="*/ 68 w 166"/>
                <a:gd name="T29" fmla="*/ 92 h 104"/>
                <a:gd name="T30" fmla="*/ 80 w 166"/>
                <a:gd name="T31" fmla="*/ 92 h 104"/>
                <a:gd name="T32" fmla="*/ 86 w 166"/>
                <a:gd name="T33" fmla="*/ 82 h 104"/>
                <a:gd name="T34" fmla="*/ 90 w 166"/>
                <a:gd name="T35" fmla="*/ 72 h 104"/>
                <a:gd name="T36" fmla="*/ 102 w 166"/>
                <a:gd name="T37" fmla="*/ 66 h 104"/>
                <a:gd name="T38" fmla="*/ 106 w 166"/>
                <a:gd name="T39" fmla="*/ 58 h 104"/>
                <a:gd name="T40" fmla="*/ 120 w 166"/>
                <a:gd name="T41" fmla="*/ 50 h 104"/>
                <a:gd name="T42" fmla="*/ 140 w 166"/>
                <a:gd name="T43" fmla="*/ 40 h 104"/>
                <a:gd name="T44" fmla="*/ 166 w 166"/>
                <a:gd name="T45" fmla="*/ 32 h 104"/>
                <a:gd name="T46" fmla="*/ 158 w 166"/>
                <a:gd name="T47" fmla="*/ 26 h 104"/>
                <a:gd name="T48" fmla="*/ 142 w 166"/>
                <a:gd name="T49" fmla="*/ 16 h 104"/>
                <a:gd name="T50" fmla="*/ 128 w 166"/>
                <a:gd name="T51" fmla="*/ 8 h 104"/>
                <a:gd name="T52" fmla="*/ 114 w 166"/>
                <a:gd name="T53" fmla="*/ 10 h 104"/>
                <a:gd name="T54" fmla="*/ 106 w 166"/>
                <a:gd name="T55" fmla="*/ 16 h 104"/>
                <a:gd name="T56" fmla="*/ 94 w 166"/>
                <a:gd name="T57" fmla="*/ 14 h 104"/>
                <a:gd name="T58" fmla="*/ 74 w 166"/>
                <a:gd name="T59" fmla="*/ 6 h 104"/>
                <a:gd name="T60" fmla="*/ 72 w 166"/>
                <a:gd name="T61" fmla="*/ 0 h 104"/>
                <a:gd name="T62" fmla="*/ 54 w 166"/>
                <a:gd name="T63" fmla="*/ 0 h 104"/>
                <a:gd name="T64" fmla="*/ 52 w 166"/>
                <a:gd name="T65" fmla="*/ 6 h 104"/>
                <a:gd name="T66" fmla="*/ 34 w 166"/>
                <a:gd name="T67" fmla="*/ 4 h 104"/>
                <a:gd name="T68" fmla="*/ 20 w 166"/>
                <a:gd name="T69" fmla="*/ 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6" h="104">
                  <a:moveTo>
                    <a:pt x="20" y="6"/>
                  </a:moveTo>
                  <a:lnTo>
                    <a:pt x="20" y="14"/>
                  </a:lnTo>
                  <a:lnTo>
                    <a:pt x="28" y="22"/>
                  </a:lnTo>
                  <a:lnTo>
                    <a:pt x="28" y="28"/>
                  </a:lnTo>
                  <a:lnTo>
                    <a:pt x="24" y="34"/>
                  </a:lnTo>
                  <a:lnTo>
                    <a:pt x="20" y="44"/>
                  </a:lnTo>
                  <a:lnTo>
                    <a:pt x="12" y="54"/>
                  </a:lnTo>
                  <a:lnTo>
                    <a:pt x="8" y="68"/>
                  </a:lnTo>
                  <a:lnTo>
                    <a:pt x="0" y="76"/>
                  </a:lnTo>
                  <a:lnTo>
                    <a:pt x="12" y="80"/>
                  </a:lnTo>
                  <a:lnTo>
                    <a:pt x="20" y="84"/>
                  </a:lnTo>
                  <a:lnTo>
                    <a:pt x="32" y="92"/>
                  </a:lnTo>
                  <a:lnTo>
                    <a:pt x="42" y="104"/>
                  </a:lnTo>
                  <a:lnTo>
                    <a:pt x="54" y="100"/>
                  </a:lnTo>
                  <a:lnTo>
                    <a:pt x="68" y="92"/>
                  </a:lnTo>
                  <a:lnTo>
                    <a:pt x="80" y="92"/>
                  </a:lnTo>
                  <a:lnTo>
                    <a:pt x="86" y="82"/>
                  </a:lnTo>
                  <a:lnTo>
                    <a:pt x="90" y="72"/>
                  </a:lnTo>
                  <a:lnTo>
                    <a:pt x="102" y="66"/>
                  </a:lnTo>
                  <a:lnTo>
                    <a:pt x="106" y="58"/>
                  </a:lnTo>
                  <a:lnTo>
                    <a:pt x="120" y="50"/>
                  </a:lnTo>
                  <a:lnTo>
                    <a:pt x="140" y="40"/>
                  </a:lnTo>
                  <a:lnTo>
                    <a:pt x="166" y="32"/>
                  </a:lnTo>
                  <a:lnTo>
                    <a:pt x="158" y="26"/>
                  </a:lnTo>
                  <a:lnTo>
                    <a:pt x="142" y="16"/>
                  </a:lnTo>
                  <a:lnTo>
                    <a:pt x="128" y="8"/>
                  </a:lnTo>
                  <a:lnTo>
                    <a:pt x="114" y="10"/>
                  </a:lnTo>
                  <a:lnTo>
                    <a:pt x="106" y="16"/>
                  </a:lnTo>
                  <a:lnTo>
                    <a:pt x="94" y="14"/>
                  </a:lnTo>
                  <a:lnTo>
                    <a:pt x="74" y="6"/>
                  </a:lnTo>
                  <a:lnTo>
                    <a:pt x="72" y="0"/>
                  </a:lnTo>
                  <a:lnTo>
                    <a:pt x="54" y="0"/>
                  </a:lnTo>
                  <a:lnTo>
                    <a:pt x="52" y="6"/>
                  </a:lnTo>
                  <a:lnTo>
                    <a:pt x="34" y="4"/>
                  </a:lnTo>
                  <a:lnTo>
                    <a:pt x="20" y="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34" name="Freeform 8">
              <a:extLst>
                <a:ext uri="{FF2B5EF4-FFF2-40B4-BE49-F238E27FC236}">
                  <a16:creationId xmlns:a16="http://schemas.microsoft.com/office/drawing/2014/main" id="{C6769CAE-FA19-4928-BA59-82540F483109}"/>
                </a:ext>
              </a:extLst>
            </p:cNvPr>
            <p:cNvSpPr>
              <a:spLocks/>
            </p:cNvSpPr>
            <p:nvPr/>
          </p:nvSpPr>
          <p:spPr bwMode="gray">
            <a:xfrm>
              <a:off x="2704436" y="2297882"/>
              <a:ext cx="468905" cy="225737"/>
            </a:xfrm>
            <a:custGeom>
              <a:avLst/>
              <a:gdLst>
                <a:gd name="T0" fmla="*/ 104 w 284"/>
                <a:gd name="T1" fmla="*/ 82 h 136"/>
                <a:gd name="T2" fmla="*/ 52 w 284"/>
                <a:gd name="T3" fmla="*/ 78 h 136"/>
                <a:gd name="T4" fmla="*/ 10 w 284"/>
                <a:gd name="T5" fmla="*/ 74 h 136"/>
                <a:gd name="T6" fmla="*/ 30 w 284"/>
                <a:gd name="T7" fmla="*/ 62 h 136"/>
                <a:gd name="T8" fmla="*/ 56 w 284"/>
                <a:gd name="T9" fmla="*/ 54 h 136"/>
                <a:gd name="T10" fmla="*/ 34 w 284"/>
                <a:gd name="T11" fmla="*/ 56 h 136"/>
                <a:gd name="T12" fmla="*/ 14 w 284"/>
                <a:gd name="T13" fmla="*/ 52 h 136"/>
                <a:gd name="T14" fmla="*/ 0 w 284"/>
                <a:gd name="T15" fmla="*/ 42 h 136"/>
                <a:gd name="T16" fmla="*/ 12 w 284"/>
                <a:gd name="T17" fmla="*/ 30 h 136"/>
                <a:gd name="T18" fmla="*/ 26 w 284"/>
                <a:gd name="T19" fmla="*/ 14 h 136"/>
                <a:gd name="T20" fmla="*/ 74 w 284"/>
                <a:gd name="T21" fmla="*/ 0 h 136"/>
                <a:gd name="T22" fmla="*/ 74 w 284"/>
                <a:gd name="T23" fmla="*/ 12 h 136"/>
                <a:gd name="T24" fmla="*/ 84 w 284"/>
                <a:gd name="T25" fmla="*/ 22 h 136"/>
                <a:gd name="T26" fmla="*/ 106 w 284"/>
                <a:gd name="T27" fmla="*/ 12 h 136"/>
                <a:gd name="T28" fmla="*/ 118 w 284"/>
                <a:gd name="T29" fmla="*/ 24 h 136"/>
                <a:gd name="T30" fmla="*/ 128 w 284"/>
                <a:gd name="T31" fmla="*/ 26 h 136"/>
                <a:gd name="T32" fmla="*/ 144 w 284"/>
                <a:gd name="T33" fmla="*/ 18 h 136"/>
                <a:gd name="T34" fmla="*/ 142 w 284"/>
                <a:gd name="T35" fmla="*/ 10 h 136"/>
                <a:gd name="T36" fmla="*/ 162 w 284"/>
                <a:gd name="T37" fmla="*/ 26 h 136"/>
                <a:gd name="T38" fmla="*/ 172 w 284"/>
                <a:gd name="T39" fmla="*/ 48 h 136"/>
                <a:gd name="T40" fmla="*/ 176 w 284"/>
                <a:gd name="T41" fmla="*/ 34 h 136"/>
                <a:gd name="T42" fmla="*/ 170 w 284"/>
                <a:gd name="T43" fmla="*/ 4 h 136"/>
                <a:gd name="T44" fmla="*/ 192 w 284"/>
                <a:gd name="T45" fmla="*/ 4 h 136"/>
                <a:gd name="T46" fmla="*/ 216 w 284"/>
                <a:gd name="T47" fmla="*/ 24 h 136"/>
                <a:gd name="T48" fmla="*/ 230 w 284"/>
                <a:gd name="T49" fmla="*/ 52 h 136"/>
                <a:gd name="T50" fmla="*/ 228 w 284"/>
                <a:gd name="T51" fmla="*/ 66 h 136"/>
                <a:gd name="T52" fmla="*/ 248 w 284"/>
                <a:gd name="T53" fmla="*/ 82 h 136"/>
                <a:gd name="T54" fmla="*/ 268 w 284"/>
                <a:gd name="T55" fmla="*/ 90 h 136"/>
                <a:gd name="T56" fmla="*/ 280 w 284"/>
                <a:gd name="T57" fmla="*/ 104 h 136"/>
                <a:gd name="T58" fmla="*/ 254 w 284"/>
                <a:gd name="T59" fmla="*/ 106 h 136"/>
                <a:gd name="T60" fmla="*/ 268 w 284"/>
                <a:gd name="T61" fmla="*/ 116 h 136"/>
                <a:gd name="T62" fmla="*/ 262 w 284"/>
                <a:gd name="T63" fmla="*/ 128 h 136"/>
                <a:gd name="T64" fmla="*/ 216 w 284"/>
                <a:gd name="T65" fmla="*/ 128 h 136"/>
                <a:gd name="T66" fmla="*/ 202 w 284"/>
                <a:gd name="T67" fmla="*/ 122 h 136"/>
                <a:gd name="T68" fmla="*/ 184 w 284"/>
                <a:gd name="T69" fmla="*/ 122 h 136"/>
                <a:gd name="T70" fmla="*/ 152 w 284"/>
                <a:gd name="T71" fmla="*/ 134 h 136"/>
                <a:gd name="T72" fmla="*/ 84 w 284"/>
                <a:gd name="T73" fmla="*/ 130 h 136"/>
                <a:gd name="T74" fmla="*/ 40 w 284"/>
                <a:gd name="T75" fmla="*/ 118 h 136"/>
                <a:gd name="T76" fmla="*/ 30 w 284"/>
                <a:gd name="T77" fmla="*/ 92 h 136"/>
                <a:gd name="T78" fmla="*/ 80 w 284"/>
                <a:gd name="T79" fmla="*/ 88 h 136"/>
                <a:gd name="T80" fmla="*/ 110 w 284"/>
                <a:gd name="T81" fmla="*/ 9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84" h="136">
                  <a:moveTo>
                    <a:pt x="110" y="90"/>
                  </a:moveTo>
                  <a:lnTo>
                    <a:pt x="104" y="82"/>
                  </a:lnTo>
                  <a:lnTo>
                    <a:pt x="86" y="76"/>
                  </a:lnTo>
                  <a:lnTo>
                    <a:pt x="52" y="78"/>
                  </a:lnTo>
                  <a:lnTo>
                    <a:pt x="28" y="80"/>
                  </a:lnTo>
                  <a:lnTo>
                    <a:pt x="10" y="74"/>
                  </a:lnTo>
                  <a:lnTo>
                    <a:pt x="14" y="62"/>
                  </a:lnTo>
                  <a:lnTo>
                    <a:pt x="30" y="62"/>
                  </a:lnTo>
                  <a:lnTo>
                    <a:pt x="46" y="58"/>
                  </a:lnTo>
                  <a:lnTo>
                    <a:pt x="56" y="54"/>
                  </a:lnTo>
                  <a:lnTo>
                    <a:pt x="46" y="52"/>
                  </a:lnTo>
                  <a:lnTo>
                    <a:pt x="34" y="56"/>
                  </a:lnTo>
                  <a:lnTo>
                    <a:pt x="20" y="56"/>
                  </a:lnTo>
                  <a:lnTo>
                    <a:pt x="14" y="52"/>
                  </a:lnTo>
                  <a:lnTo>
                    <a:pt x="0" y="50"/>
                  </a:lnTo>
                  <a:lnTo>
                    <a:pt x="0" y="42"/>
                  </a:lnTo>
                  <a:lnTo>
                    <a:pt x="8" y="36"/>
                  </a:lnTo>
                  <a:lnTo>
                    <a:pt x="12" y="30"/>
                  </a:lnTo>
                  <a:lnTo>
                    <a:pt x="10" y="22"/>
                  </a:lnTo>
                  <a:lnTo>
                    <a:pt x="26" y="14"/>
                  </a:lnTo>
                  <a:lnTo>
                    <a:pt x="50" y="4"/>
                  </a:lnTo>
                  <a:lnTo>
                    <a:pt x="74" y="0"/>
                  </a:lnTo>
                  <a:lnTo>
                    <a:pt x="76" y="8"/>
                  </a:lnTo>
                  <a:lnTo>
                    <a:pt x="74" y="12"/>
                  </a:lnTo>
                  <a:lnTo>
                    <a:pt x="70" y="18"/>
                  </a:lnTo>
                  <a:lnTo>
                    <a:pt x="84" y="22"/>
                  </a:lnTo>
                  <a:lnTo>
                    <a:pt x="90" y="8"/>
                  </a:lnTo>
                  <a:lnTo>
                    <a:pt x="106" y="12"/>
                  </a:lnTo>
                  <a:lnTo>
                    <a:pt x="122" y="18"/>
                  </a:lnTo>
                  <a:lnTo>
                    <a:pt x="118" y="24"/>
                  </a:lnTo>
                  <a:lnTo>
                    <a:pt x="120" y="28"/>
                  </a:lnTo>
                  <a:lnTo>
                    <a:pt x="128" y="26"/>
                  </a:lnTo>
                  <a:lnTo>
                    <a:pt x="142" y="26"/>
                  </a:lnTo>
                  <a:lnTo>
                    <a:pt x="144" y="18"/>
                  </a:lnTo>
                  <a:lnTo>
                    <a:pt x="136" y="12"/>
                  </a:lnTo>
                  <a:lnTo>
                    <a:pt x="142" y="10"/>
                  </a:lnTo>
                  <a:lnTo>
                    <a:pt x="154" y="16"/>
                  </a:lnTo>
                  <a:lnTo>
                    <a:pt x="162" y="26"/>
                  </a:lnTo>
                  <a:lnTo>
                    <a:pt x="166" y="38"/>
                  </a:lnTo>
                  <a:lnTo>
                    <a:pt x="172" y="48"/>
                  </a:lnTo>
                  <a:lnTo>
                    <a:pt x="182" y="44"/>
                  </a:lnTo>
                  <a:lnTo>
                    <a:pt x="176" y="34"/>
                  </a:lnTo>
                  <a:lnTo>
                    <a:pt x="172" y="16"/>
                  </a:lnTo>
                  <a:lnTo>
                    <a:pt x="170" y="4"/>
                  </a:lnTo>
                  <a:lnTo>
                    <a:pt x="178" y="0"/>
                  </a:lnTo>
                  <a:lnTo>
                    <a:pt x="192" y="4"/>
                  </a:lnTo>
                  <a:lnTo>
                    <a:pt x="206" y="12"/>
                  </a:lnTo>
                  <a:lnTo>
                    <a:pt x="216" y="24"/>
                  </a:lnTo>
                  <a:lnTo>
                    <a:pt x="222" y="40"/>
                  </a:lnTo>
                  <a:lnTo>
                    <a:pt x="230" y="52"/>
                  </a:lnTo>
                  <a:lnTo>
                    <a:pt x="230" y="60"/>
                  </a:lnTo>
                  <a:lnTo>
                    <a:pt x="228" y="66"/>
                  </a:lnTo>
                  <a:lnTo>
                    <a:pt x="238" y="78"/>
                  </a:lnTo>
                  <a:lnTo>
                    <a:pt x="248" y="82"/>
                  </a:lnTo>
                  <a:lnTo>
                    <a:pt x="260" y="84"/>
                  </a:lnTo>
                  <a:lnTo>
                    <a:pt x="268" y="90"/>
                  </a:lnTo>
                  <a:lnTo>
                    <a:pt x="284" y="100"/>
                  </a:lnTo>
                  <a:lnTo>
                    <a:pt x="280" y="104"/>
                  </a:lnTo>
                  <a:lnTo>
                    <a:pt x="264" y="104"/>
                  </a:lnTo>
                  <a:lnTo>
                    <a:pt x="254" y="106"/>
                  </a:lnTo>
                  <a:lnTo>
                    <a:pt x="256" y="112"/>
                  </a:lnTo>
                  <a:lnTo>
                    <a:pt x="268" y="116"/>
                  </a:lnTo>
                  <a:lnTo>
                    <a:pt x="272" y="126"/>
                  </a:lnTo>
                  <a:lnTo>
                    <a:pt x="262" y="128"/>
                  </a:lnTo>
                  <a:lnTo>
                    <a:pt x="240" y="130"/>
                  </a:lnTo>
                  <a:lnTo>
                    <a:pt x="216" y="128"/>
                  </a:lnTo>
                  <a:lnTo>
                    <a:pt x="212" y="122"/>
                  </a:lnTo>
                  <a:lnTo>
                    <a:pt x="202" y="122"/>
                  </a:lnTo>
                  <a:lnTo>
                    <a:pt x="196" y="108"/>
                  </a:lnTo>
                  <a:lnTo>
                    <a:pt x="184" y="122"/>
                  </a:lnTo>
                  <a:lnTo>
                    <a:pt x="168" y="126"/>
                  </a:lnTo>
                  <a:lnTo>
                    <a:pt x="152" y="134"/>
                  </a:lnTo>
                  <a:lnTo>
                    <a:pt x="90" y="136"/>
                  </a:lnTo>
                  <a:lnTo>
                    <a:pt x="84" y="130"/>
                  </a:lnTo>
                  <a:lnTo>
                    <a:pt x="82" y="118"/>
                  </a:lnTo>
                  <a:lnTo>
                    <a:pt x="40" y="118"/>
                  </a:lnTo>
                  <a:lnTo>
                    <a:pt x="22" y="100"/>
                  </a:lnTo>
                  <a:lnTo>
                    <a:pt x="30" y="92"/>
                  </a:lnTo>
                  <a:lnTo>
                    <a:pt x="48" y="90"/>
                  </a:lnTo>
                  <a:lnTo>
                    <a:pt x="80" y="88"/>
                  </a:lnTo>
                  <a:lnTo>
                    <a:pt x="98" y="90"/>
                  </a:lnTo>
                  <a:lnTo>
                    <a:pt x="110" y="9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35" name="Freeform 9">
              <a:extLst>
                <a:ext uri="{FF2B5EF4-FFF2-40B4-BE49-F238E27FC236}">
                  <a16:creationId xmlns:a16="http://schemas.microsoft.com/office/drawing/2014/main" id="{DDFF69A7-7DD5-4E81-AADD-DC25432E6D5A}"/>
                </a:ext>
              </a:extLst>
            </p:cNvPr>
            <p:cNvSpPr>
              <a:spLocks/>
            </p:cNvSpPr>
            <p:nvPr/>
          </p:nvSpPr>
          <p:spPr bwMode="gray">
            <a:xfrm>
              <a:off x="2740758" y="2108662"/>
              <a:ext cx="313704" cy="136106"/>
            </a:xfrm>
            <a:custGeom>
              <a:avLst/>
              <a:gdLst>
                <a:gd name="T0" fmla="*/ 98 w 190"/>
                <a:gd name="T1" fmla="*/ 56 h 82"/>
                <a:gd name="T2" fmla="*/ 80 w 190"/>
                <a:gd name="T3" fmla="*/ 56 h 82"/>
                <a:gd name="T4" fmla="*/ 58 w 190"/>
                <a:gd name="T5" fmla="*/ 56 h 82"/>
                <a:gd name="T6" fmla="*/ 62 w 190"/>
                <a:gd name="T7" fmla="*/ 48 h 82"/>
                <a:gd name="T8" fmla="*/ 52 w 190"/>
                <a:gd name="T9" fmla="*/ 50 h 82"/>
                <a:gd name="T10" fmla="*/ 48 w 190"/>
                <a:gd name="T11" fmla="*/ 58 h 82"/>
                <a:gd name="T12" fmla="*/ 30 w 190"/>
                <a:gd name="T13" fmla="*/ 62 h 82"/>
                <a:gd name="T14" fmla="*/ 20 w 190"/>
                <a:gd name="T15" fmla="*/ 58 h 82"/>
                <a:gd name="T16" fmla="*/ 2 w 190"/>
                <a:gd name="T17" fmla="*/ 56 h 82"/>
                <a:gd name="T18" fmla="*/ 0 w 190"/>
                <a:gd name="T19" fmla="*/ 48 h 82"/>
                <a:gd name="T20" fmla="*/ 18 w 190"/>
                <a:gd name="T21" fmla="*/ 46 h 82"/>
                <a:gd name="T22" fmla="*/ 4 w 190"/>
                <a:gd name="T23" fmla="*/ 42 h 82"/>
                <a:gd name="T24" fmla="*/ 10 w 190"/>
                <a:gd name="T25" fmla="*/ 36 h 82"/>
                <a:gd name="T26" fmla="*/ 34 w 190"/>
                <a:gd name="T27" fmla="*/ 34 h 82"/>
                <a:gd name="T28" fmla="*/ 16 w 190"/>
                <a:gd name="T29" fmla="*/ 30 h 82"/>
                <a:gd name="T30" fmla="*/ 18 w 190"/>
                <a:gd name="T31" fmla="*/ 24 h 82"/>
                <a:gd name="T32" fmla="*/ 26 w 190"/>
                <a:gd name="T33" fmla="*/ 20 h 82"/>
                <a:gd name="T34" fmla="*/ 34 w 190"/>
                <a:gd name="T35" fmla="*/ 16 h 82"/>
                <a:gd name="T36" fmla="*/ 50 w 190"/>
                <a:gd name="T37" fmla="*/ 14 h 82"/>
                <a:gd name="T38" fmla="*/ 58 w 190"/>
                <a:gd name="T39" fmla="*/ 22 h 82"/>
                <a:gd name="T40" fmla="*/ 66 w 190"/>
                <a:gd name="T41" fmla="*/ 20 h 82"/>
                <a:gd name="T42" fmla="*/ 74 w 190"/>
                <a:gd name="T43" fmla="*/ 20 h 82"/>
                <a:gd name="T44" fmla="*/ 88 w 190"/>
                <a:gd name="T45" fmla="*/ 28 h 82"/>
                <a:gd name="T46" fmla="*/ 98 w 190"/>
                <a:gd name="T47" fmla="*/ 36 h 82"/>
                <a:gd name="T48" fmla="*/ 98 w 190"/>
                <a:gd name="T49" fmla="*/ 40 h 82"/>
                <a:gd name="T50" fmla="*/ 98 w 190"/>
                <a:gd name="T51" fmla="*/ 42 h 82"/>
                <a:gd name="T52" fmla="*/ 100 w 190"/>
                <a:gd name="T53" fmla="*/ 44 h 82"/>
                <a:gd name="T54" fmla="*/ 136 w 190"/>
                <a:gd name="T55" fmla="*/ 44 h 82"/>
                <a:gd name="T56" fmla="*/ 136 w 190"/>
                <a:gd name="T57" fmla="*/ 38 h 82"/>
                <a:gd name="T58" fmla="*/ 118 w 190"/>
                <a:gd name="T59" fmla="*/ 34 h 82"/>
                <a:gd name="T60" fmla="*/ 130 w 190"/>
                <a:gd name="T61" fmla="*/ 28 h 82"/>
                <a:gd name="T62" fmla="*/ 128 w 190"/>
                <a:gd name="T63" fmla="*/ 24 h 82"/>
                <a:gd name="T64" fmla="*/ 116 w 190"/>
                <a:gd name="T65" fmla="*/ 20 h 82"/>
                <a:gd name="T66" fmla="*/ 122 w 190"/>
                <a:gd name="T67" fmla="*/ 10 h 82"/>
                <a:gd name="T68" fmla="*/ 130 w 190"/>
                <a:gd name="T69" fmla="*/ 0 h 82"/>
                <a:gd name="T70" fmla="*/ 140 w 190"/>
                <a:gd name="T71" fmla="*/ 2 h 82"/>
                <a:gd name="T72" fmla="*/ 142 w 190"/>
                <a:gd name="T73" fmla="*/ 8 h 82"/>
                <a:gd name="T74" fmla="*/ 148 w 190"/>
                <a:gd name="T75" fmla="*/ 16 h 82"/>
                <a:gd name="T76" fmla="*/ 146 w 190"/>
                <a:gd name="T77" fmla="*/ 22 h 82"/>
                <a:gd name="T78" fmla="*/ 148 w 190"/>
                <a:gd name="T79" fmla="*/ 30 h 82"/>
                <a:gd name="T80" fmla="*/ 162 w 190"/>
                <a:gd name="T81" fmla="*/ 34 h 82"/>
                <a:gd name="T82" fmla="*/ 168 w 190"/>
                <a:gd name="T83" fmla="*/ 34 h 82"/>
                <a:gd name="T84" fmla="*/ 172 w 190"/>
                <a:gd name="T85" fmla="*/ 28 h 82"/>
                <a:gd name="T86" fmla="*/ 184 w 190"/>
                <a:gd name="T87" fmla="*/ 28 h 82"/>
                <a:gd name="T88" fmla="*/ 190 w 190"/>
                <a:gd name="T89" fmla="*/ 34 h 82"/>
                <a:gd name="T90" fmla="*/ 190 w 190"/>
                <a:gd name="T91" fmla="*/ 48 h 82"/>
                <a:gd name="T92" fmla="*/ 182 w 190"/>
                <a:gd name="T93" fmla="*/ 58 h 82"/>
                <a:gd name="T94" fmla="*/ 168 w 190"/>
                <a:gd name="T95" fmla="*/ 64 h 82"/>
                <a:gd name="T96" fmla="*/ 148 w 190"/>
                <a:gd name="T97" fmla="*/ 58 h 82"/>
                <a:gd name="T98" fmla="*/ 134 w 190"/>
                <a:gd name="T99" fmla="*/ 64 h 82"/>
                <a:gd name="T100" fmla="*/ 114 w 190"/>
                <a:gd name="T101" fmla="*/ 66 h 82"/>
                <a:gd name="T102" fmla="*/ 96 w 190"/>
                <a:gd name="T103" fmla="*/ 76 h 82"/>
                <a:gd name="T104" fmla="*/ 74 w 190"/>
                <a:gd name="T105" fmla="*/ 82 h 82"/>
                <a:gd name="T106" fmla="*/ 58 w 190"/>
                <a:gd name="T107" fmla="*/ 78 h 82"/>
                <a:gd name="T108" fmla="*/ 50 w 190"/>
                <a:gd name="T109" fmla="*/ 70 h 82"/>
                <a:gd name="T110" fmla="*/ 62 w 190"/>
                <a:gd name="T111" fmla="*/ 64 h 82"/>
                <a:gd name="T112" fmla="*/ 80 w 190"/>
                <a:gd name="T113" fmla="*/ 64 h 82"/>
                <a:gd name="T114" fmla="*/ 96 w 190"/>
                <a:gd name="T115" fmla="*/ 62 h 82"/>
                <a:gd name="T116" fmla="*/ 98 w 190"/>
                <a:gd name="T117" fmla="*/ 5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0" h="82">
                  <a:moveTo>
                    <a:pt x="98" y="56"/>
                  </a:moveTo>
                  <a:lnTo>
                    <a:pt x="80" y="56"/>
                  </a:lnTo>
                  <a:lnTo>
                    <a:pt x="58" y="56"/>
                  </a:lnTo>
                  <a:lnTo>
                    <a:pt x="62" y="48"/>
                  </a:lnTo>
                  <a:lnTo>
                    <a:pt x="52" y="50"/>
                  </a:lnTo>
                  <a:lnTo>
                    <a:pt x="48" y="58"/>
                  </a:lnTo>
                  <a:lnTo>
                    <a:pt x="30" y="62"/>
                  </a:lnTo>
                  <a:lnTo>
                    <a:pt x="20" y="58"/>
                  </a:lnTo>
                  <a:lnTo>
                    <a:pt x="2" y="56"/>
                  </a:lnTo>
                  <a:lnTo>
                    <a:pt x="0" y="48"/>
                  </a:lnTo>
                  <a:lnTo>
                    <a:pt x="18" y="46"/>
                  </a:lnTo>
                  <a:lnTo>
                    <a:pt x="4" y="42"/>
                  </a:lnTo>
                  <a:lnTo>
                    <a:pt x="10" y="36"/>
                  </a:lnTo>
                  <a:lnTo>
                    <a:pt x="34" y="34"/>
                  </a:lnTo>
                  <a:lnTo>
                    <a:pt x="16" y="30"/>
                  </a:lnTo>
                  <a:lnTo>
                    <a:pt x="18" y="24"/>
                  </a:lnTo>
                  <a:lnTo>
                    <a:pt x="26" y="20"/>
                  </a:lnTo>
                  <a:lnTo>
                    <a:pt x="34" y="16"/>
                  </a:lnTo>
                  <a:lnTo>
                    <a:pt x="50" y="14"/>
                  </a:lnTo>
                  <a:lnTo>
                    <a:pt x="58" y="22"/>
                  </a:lnTo>
                  <a:lnTo>
                    <a:pt x="66" y="20"/>
                  </a:lnTo>
                  <a:lnTo>
                    <a:pt x="74" y="20"/>
                  </a:lnTo>
                  <a:lnTo>
                    <a:pt x="88" y="28"/>
                  </a:lnTo>
                  <a:lnTo>
                    <a:pt x="98" y="36"/>
                  </a:lnTo>
                  <a:lnTo>
                    <a:pt x="98" y="40"/>
                  </a:lnTo>
                  <a:lnTo>
                    <a:pt x="98" y="42"/>
                  </a:lnTo>
                  <a:lnTo>
                    <a:pt x="100" y="44"/>
                  </a:lnTo>
                  <a:lnTo>
                    <a:pt x="136" y="44"/>
                  </a:lnTo>
                  <a:lnTo>
                    <a:pt x="136" y="38"/>
                  </a:lnTo>
                  <a:lnTo>
                    <a:pt x="118" y="34"/>
                  </a:lnTo>
                  <a:lnTo>
                    <a:pt x="130" y="28"/>
                  </a:lnTo>
                  <a:lnTo>
                    <a:pt x="128" y="24"/>
                  </a:lnTo>
                  <a:lnTo>
                    <a:pt x="116" y="20"/>
                  </a:lnTo>
                  <a:lnTo>
                    <a:pt x="122" y="10"/>
                  </a:lnTo>
                  <a:lnTo>
                    <a:pt x="130" y="0"/>
                  </a:lnTo>
                  <a:lnTo>
                    <a:pt x="140" y="2"/>
                  </a:lnTo>
                  <a:lnTo>
                    <a:pt x="142" y="8"/>
                  </a:lnTo>
                  <a:lnTo>
                    <a:pt x="148" y="16"/>
                  </a:lnTo>
                  <a:lnTo>
                    <a:pt x="146" y="22"/>
                  </a:lnTo>
                  <a:lnTo>
                    <a:pt x="148" y="30"/>
                  </a:lnTo>
                  <a:lnTo>
                    <a:pt x="162" y="34"/>
                  </a:lnTo>
                  <a:lnTo>
                    <a:pt x="168" y="34"/>
                  </a:lnTo>
                  <a:lnTo>
                    <a:pt x="172" y="28"/>
                  </a:lnTo>
                  <a:lnTo>
                    <a:pt x="184" y="28"/>
                  </a:lnTo>
                  <a:lnTo>
                    <a:pt x="190" y="34"/>
                  </a:lnTo>
                  <a:lnTo>
                    <a:pt x="190" y="48"/>
                  </a:lnTo>
                  <a:lnTo>
                    <a:pt x="182" y="58"/>
                  </a:lnTo>
                  <a:lnTo>
                    <a:pt x="168" y="64"/>
                  </a:lnTo>
                  <a:lnTo>
                    <a:pt x="148" y="58"/>
                  </a:lnTo>
                  <a:lnTo>
                    <a:pt x="134" y="64"/>
                  </a:lnTo>
                  <a:lnTo>
                    <a:pt x="114" y="66"/>
                  </a:lnTo>
                  <a:lnTo>
                    <a:pt x="96" y="76"/>
                  </a:lnTo>
                  <a:lnTo>
                    <a:pt x="74" y="82"/>
                  </a:lnTo>
                  <a:lnTo>
                    <a:pt x="58" y="78"/>
                  </a:lnTo>
                  <a:lnTo>
                    <a:pt x="50" y="70"/>
                  </a:lnTo>
                  <a:lnTo>
                    <a:pt x="62" y="64"/>
                  </a:lnTo>
                  <a:lnTo>
                    <a:pt x="80" y="64"/>
                  </a:lnTo>
                  <a:lnTo>
                    <a:pt x="96" y="62"/>
                  </a:lnTo>
                  <a:lnTo>
                    <a:pt x="98" y="5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36" name="Freeform 10">
              <a:extLst>
                <a:ext uri="{FF2B5EF4-FFF2-40B4-BE49-F238E27FC236}">
                  <a16:creationId xmlns:a16="http://schemas.microsoft.com/office/drawing/2014/main" id="{8CAD7C37-F847-4097-80A5-0C3B9B897D00}"/>
                </a:ext>
              </a:extLst>
            </p:cNvPr>
            <p:cNvSpPr>
              <a:spLocks/>
            </p:cNvSpPr>
            <p:nvPr/>
          </p:nvSpPr>
          <p:spPr bwMode="gray">
            <a:xfrm>
              <a:off x="3054462" y="1965917"/>
              <a:ext cx="175013" cy="92950"/>
            </a:xfrm>
            <a:custGeom>
              <a:avLst/>
              <a:gdLst>
                <a:gd name="T0" fmla="*/ 0 w 106"/>
                <a:gd name="T1" fmla="*/ 12 h 56"/>
                <a:gd name="T2" fmla="*/ 16 w 106"/>
                <a:gd name="T3" fmla="*/ 16 h 56"/>
                <a:gd name="T4" fmla="*/ 26 w 106"/>
                <a:gd name="T5" fmla="*/ 20 h 56"/>
                <a:gd name="T6" fmla="*/ 34 w 106"/>
                <a:gd name="T7" fmla="*/ 28 h 56"/>
                <a:gd name="T8" fmla="*/ 32 w 106"/>
                <a:gd name="T9" fmla="*/ 30 h 56"/>
                <a:gd name="T10" fmla="*/ 18 w 106"/>
                <a:gd name="T11" fmla="*/ 28 h 56"/>
                <a:gd name="T12" fmla="*/ 10 w 106"/>
                <a:gd name="T13" fmla="*/ 30 h 56"/>
                <a:gd name="T14" fmla="*/ 8 w 106"/>
                <a:gd name="T15" fmla="*/ 40 h 56"/>
                <a:gd name="T16" fmla="*/ 20 w 106"/>
                <a:gd name="T17" fmla="*/ 42 h 56"/>
                <a:gd name="T18" fmla="*/ 34 w 106"/>
                <a:gd name="T19" fmla="*/ 40 h 56"/>
                <a:gd name="T20" fmla="*/ 50 w 106"/>
                <a:gd name="T21" fmla="*/ 38 h 56"/>
                <a:gd name="T22" fmla="*/ 66 w 106"/>
                <a:gd name="T23" fmla="*/ 40 h 56"/>
                <a:gd name="T24" fmla="*/ 74 w 106"/>
                <a:gd name="T25" fmla="*/ 46 h 56"/>
                <a:gd name="T26" fmla="*/ 82 w 106"/>
                <a:gd name="T27" fmla="*/ 56 h 56"/>
                <a:gd name="T28" fmla="*/ 98 w 106"/>
                <a:gd name="T29" fmla="*/ 56 h 56"/>
                <a:gd name="T30" fmla="*/ 106 w 106"/>
                <a:gd name="T31" fmla="*/ 48 h 56"/>
                <a:gd name="T32" fmla="*/ 94 w 106"/>
                <a:gd name="T33" fmla="*/ 38 h 56"/>
                <a:gd name="T34" fmla="*/ 90 w 106"/>
                <a:gd name="T35" fmla="*/ 28 h 56"/>
                <a:gd name="T36" fmla="*/ 80 w 106"/>
                <a:gd name="T37" fmla="*/ 20 h 56"/>
                <a:gd name="T38" fmla="*/ 70 w 106"/>
                <a:gd name="T39" fmla="*/ 18 h 56"/>
                <a:gd name="T40" fmla="*/ 64 w 106"/>
                <a:gd name="T41" fmla="*/ 12 h 56"/>
                <a:gd name="T42" fmla="*/ 50 w 106"/>
                <a:gd name="T43" fmla="*/ 10 h 56"/>
                <a:gd name="T44" fmla="*/ 44 w 106"/>
                <a:gd name="T45" fmla="*/ 20 h 56"/>
                <a:gd name="T46" fmla="*/ 42 w 106"/>
                <a:gd name="T47" fmla="*/ 10 h 56"/>
                <a:gd name="T48" fmla="*/ 40 w 106"/>
                <a:gd name="T49" fmla="*/ 2 h 56"/>
                <a:gd name="T50" fmla="*/ 18 w 106"/>
                <a:gd name="T51" fmla="*/ 0 h 56"/>
                <a:gd name="T52" fmla="*/ 0 w 106"/>
                <a:gd name="T53" fmla="*/ 2 h 56"/>
                <a:gd name="T54" fmla="*/ 0 w 106"/>
                <a:gd name="T55" fmla="*/ 1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6" h="56">
                  <a:moveTo>
                    <a:pt x="0" y="12"/>
                  </a:moveTo>
                  <a:lnTo>
                    <a:pt x="16" y="16"/>
                  </a:lnTo>
                  <a:lnTo>
                    <a:pt x="26" y="20"/>
                  </a:lnTo>
                  <a:lnTo>
                    <a:pt x="34" y="28"/>
                  </a:lnTo>
                  <a:lnTo>
                    <a:pt x="32" y="30"/>
                  </a:lnTo>
                  <a:lnTo>
                    <a:pt x="18" y="28"/>
                  </a:lnTo>
                  <a:lnTo>
                    <a:pt x="10" y="30"/>
                  </a:lnTo>
                  <a:lnTo>
                    <a:pt x="8" y="40"/>
                  </a:lnTo>
                  <a:lnTo>
                    <a:pt x="20" y="42"/>
                  </a:lnTo>
                  <a:lnTo>
                    <a:pt x="34" y="40"/>
                  </a:lnTo>
                  <a:lnTo>
                    <a:pt x="50" y="38"/>
                  </a:lnTo>
                  <a:lnTo>
                    <a:pt x="66" y="40"/>
                  </a:lnTo>
                  <a:lnTo>
                    <a:pt x="74" y="46"/>
                  </a:lnTo>
                  <a:lnTo>
                    <a:pt x="82" y="56"/>
                  </a:lnTo>
                  <a:lnTo>
                    <a:pt x="98" y="56"/>
                  </a:lnTo>
                  <a:lnTo>
                    <a:pt x="106" y="48"/>
                  </a:lnTo>
                  <a:lnTo>
                    <a:pt x="94" y="38"/>
                  </a:lnTo>
                  <a:lnTo>
                    <a:pt x="90" y="28"/>
                  </a:lnTo>
                  <a:lnTo>
                    <a:pt x="80" y="20"/>
                  </a:lnTo>
                  <a:lnTo>
                    <a:pt x="70" y="18"/>
                  </a:lnTo>
                  <a:lnTo>
                    <a:pt x="64" y="12"/>
                  </a:lnTo>
                  <a:lnTo>
                    <a:pt x="50" y="10"/>
                  </a:lnTo>
                  <a:lnTo>
                    <a:pt x="44" y="20"/>
                  </a:lnTo>
                  <a:lnTo>
                    <a:pt x="42" y="10"/>
                  </a:lnTo>
                  <a:lnTo>
                    <a:pt x="40" y="2"/>
                  </a:lnTo>
                  <a:lnTo>
                    <a:pt x="18" y="0"/>
                  </a:lnTo>
                  <a:lnTo>
                    <a:pt x="0" y="2"/>
                  </a:lnTo>
                  <a:lnTo>
                    <a:pt x="0" y="1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37" name="Freeform 11">
              <a:extLst>
                <a:ext uri="{FF2B5EF4-FFF2-40B4-BE49-F238E27FC236}">
                  <a16:creationId xmlns:a16="http://schemas.microsoft.com/office/drawing/2014/main" id="{563BD35E-B9F3-4DD8-A94C-5ECAE81589E7}"/>
                </a:ext>
              </a:extLst>
            </p:cNvPr>
            <p:cNvSpPr>
              <a:spLocks/>
            </p:cNvSpPr>
            <p:nvPr/>
          </p:nvSpPr>
          <p:spPr bwMode="gray">
            <a:xfrm>
              <a:off x="3080879" y="2118621"/>
              <a:ext cx="184920" cy="92950"/>
            </a:xfrm>
            <a:custGeom>
              <a:avLst/>
              <a:gdLst>
                <a:gd name="T0" fmla="*/ 104 w 112"/>
                <a:gd name="T1" fmla="*/ 52 h 56"/>
                <a:gd name="T2" fmla="*/ 92 w 112"/>
                <a:gd name="T3" fmla="*/ 54 h 56"/>
                <a:gd name="T4" fmla="*/ 70 w 112"/>
                <a:gd name="T5" fmla="*/ 56 h 56"/>
                <a:gd name="T6" fmla="*/ 66 w 112"/>
                <a:gd name="T7" fmla="*/ 44 h 56"/>
                <a:gd name="T8" fmla="*/ 74 w 112"/>
                <a:gd name="T9" fmla="*/ 36 h 56"/>
                <a:gd name="T10" fmla="*/ 68 w 112"/>
                <a:gd name="T11" fmla="*/ 36 h 56"/>
                <a:gd name="T12" fmla="*/ 58 w 112"/>
                <a:gd name="T13" fmla="*/ 34 h 56"/>
                <a:gd name="T14" fmla="*/ 48 w 112"/>
                <a:gd name="T15" fmla="*/ 34 h 56"/>
                <a:gd name="T16" fmla="*/ 36 w 112"/>
                <a:gd name="T17" fmla="*/ 38 h 56"/>
                <a:gd name="T18" fmla="*/ 26 w 112"/>
                <a:gd name="T19" fmla="*/ 34 h 56"/>
                <a:gd name="T20" fmla="*/ 8 w 112"/>
                <a:gd name="T21" fmla="*/ 20 h 56"/>
                <a:gd name="T22" fmla="*/ 0 w 112"/>
                <a:gd name="T23" fmla="*/ 4 h 56"/>
                <a:gd name="T24" fmla="*/ 8 w 112"/>
                <a:gd name="T25" fmla="*/ 0 h 56"/>
                <a:gd name="T26" fmla="*/ 18 w 112"/>
                <a:gd name="T27" fmla="*/ 6 h 56"/>
                <a:gd name="T28" fmla="*/ 26 w 112"/>
                <a:gd name="T29" fmla="*/ 14 h 56"/>
                <a:gd name="T30" fmla="*/ 40 w 112"/>
                <a:gd name="T31" fmla="*/ 26 h 56"/>
                <a:gd name="T32" fmla="*/ 48 w 112"/>
                <a:gd name="T33" fmla="*/ 24 h 56"/>
                <a:gd name="T34" fmla="*/ 40 w 112"/>
                <a:gd name="T35" fmla="*/ 16 h 56"/>
                <a:gd name="T36" fmla="*/ 40 w 112"/>
                <a:gd name="T37" fmla="*/ 10 h 56"/>
                <a:gd name="T38" fmla="*/ 48 w 112"/>
                <a:gd name="T39" fmla="*/ 8 h 56"/>
                <a:gd name="T40" fmla="*/ 58 w 112"/>
                <a:gd name="T41" fmla="*/ 16 h 56"/>
                <a:gd name="T42" fmla="*/ 70 w 112"/>
                <a:gd name="T43" fmla="*/ 26 h 56"/>
                <a:gd name="T44" fmla="*/ 74 w 112"/>
                <a:gd name="T45" fmla="*/ 20 h 56"/>
                <a:gd name="T46" fmla="*/ 68 w 112"/>
                <a:gd name="T47" fmla="*/ 12 h 56"/>
                <a:gd name="T48" fmla="*/ 62 w 112"/>
                <a:gd name="T49" fmla="*/ 4 h 56"/>
                <a:gd name="T50" fmla="*/ 64 w 112"/>
                <a:gd name="T51" fmla="*/ 0 h 56"/>
                <a:gd name="T52" fmla="*/ 78 w 112"/>
                <a:gd name="T53" fmla="*/ 2 h 56"/>
                <a:gd name="T54" fmla="*/ 84 w 112"/>
                <a:gd name="T55" fmla="*/ 8 h 56"/>
                <a:gd name="T56" fmla="*/ 92 w 112"/>
                <a:gd name="T57" fmla="*/ 4 h 56"/>
                <a:gd name="T58" fmla="*/ 104 w 112"/>
                <a:gd name="T59" fmla="*/ 4 h 56"/>
                <a:gd name="T60" fmla="*/ 108 w 112"/>
                <a:gd name="T61" fmla="*/ 10 h 56"/>
                <a:gd name="T62" fmla="*/ 110 w 112"/>
                <a:gd name="T63" fmla="*/ 28 h 56"/>
                <a:gd name="T64" fmla="*/ 112 w 112"/>
                <a:gd name="T65" fmla="*/ 36 h 56"/>
                <a:gd name="T66" fmla="*/ 104 w 112"/>
                <a:gd name="T67" fmla="*/ 40 h 56"/>
                <a:gd name="T68" fmla="*/ 104 w 112"/>
                <a:gd name="T69" fmla="*/ 5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2" h="56">
                  <a:moveTo>
                    <a:pt x="104" y="52"/>
                  </a:moveTo>
                  <a:lnTo>
                    <a:pt x="92" y="54"/>
                  </a:lnTo>
                  <a:lnTo>
                    <a:pt x="70" y="56"/>
                  </a:lnTo>
                  <a:lnTo>
                    <a:pt x="66" y="44"/>
                  </a:lnTo>
                  <a:lnTo>
                    <a:pt x="74" y="36"/>
                  </a:lnTo>
                  <a:lnTo>
                    <a:pt x="68" y="36"/>
                  </a:lnTo>
                  <a:lnTo>
                    <a:pt x="58" y="34"/>
                  </a:lnTo>
                  <a:lnTo>
                    <a:pt x="48" y="34"/>
                  </a:lnTo>
                  <a:lnTo>
                    <a:pt x="36" y="38"/>
                  </a:lnTo>
                  <a:lnTo>
                    <a:pt x="26" y="34"/>
                  </a:lnTo>
                  <a:lnTo>
                    <a:pt x="8" y="20"/>
                  </a:lnTo>
                  <a:lnTo>
                    <a:pt x="0" y="4"/>
                  </a:lnTo>
                  <a:lnTo>
                    <a:pt x="8" y="0"/>
                  </a:lnTo>
                  <a:lnTo>
                    <a:pt x="18" y="6"/>
                  </a:lnTo>
                  <a:lnTo>
                    <a:pt x="26" y="14"/>
                  </a:lnTo>
                  <a:lnTo>
                    <a:pt x="40" y="26"/>
                  </a:lnTo>
                  <a:lnTo>
                    <a:pt x="48" y="24"/>
                  </a:lnTo>
                  <a:lnTo>
                    <a:pt x="40" y="16"/>
                  </a:lnTo>
                  <a:lnTo>
                    <a:pt x="40" y="10"/>
                  </a:lnTo>
                  <a:lnTo>
                    <a:pt x="48" y="8"/>
                  </a:lnTo>
                  <a:lnTo>
                    <a:pt x="58" y="16"/>
                  </a:lnTo>
                  <a:lnTo>
                    <a:pt x="70" y="26"/>
                  </a:lnTo>
                  <a:lnTo>
                    <a:pt x="74" y="20"/>
                  </a:lnTo>
                  <a:lnTo>
                    <a:pt x="68" y="12"/>
                  </a:lnTo>
                  <a:lnTo>
                    <a:pt x="62" y="4"/>
                  </a:lnTo>
                  <a:lnTo>
                    <a:pt x="64" y="0"/>
                  </a:lnTo>
                  <a:lnTo>
                    <a:pt x="78" y="2"/>
                  </a:lnTo>
                  <a:lnTo>
                    <a:pt x="84" y="8"/>
                  </a:lnTo>
                  <a:lnTo>
                    <a:pt x="92" y="4"/>
                  </a:lnTo>
                  <a:lnTo>
                    <a:pt x="104" y="4"/>
                  </a:lnTo>
                  <a:lnTo>
                    <a:pt x="108" y="10"/>
                  </a:lnTo>
                  <a:lnTo>
                    <a:pt x="110" y="28"/>
                  </a:lnTo>
                  <a:lnTo>
                    <a:pt x="112" y="36"/>
                  </a:lnTo>
                  <a:lnTo>
                    <a:pt x="104" y="40"/>
                  </a:lnTo>
                  <a:lnTo>
                    <a:pt x="104" y="5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38" name="Freeform 12">
              <a:extLst>
                <a:ext uri="{FF2B5EF4-FFF2-40B4-BE49-F238E27FC236}">
                  <a16:creationId xmlns:a16="http://schemas.microsoft.com/office/drawing/2014/main" id="{BE52E3FE-4ADC-41C2-8BE7-38362B513F4C}"/>
                </a:ext>
              </a:extLst>
            </p:cNvPr>
            <p:cNvSpPr>
              <a:spLocks/>
            </p:cNvSpPr>
            <p:nvPr/>
          </p:nvSpPr>
          <p:spPr bwMode="gray">
            <a:xfrm>
              <a:off x="3288915" y="2095383"/>
              <a:ext cx="445789" cy="139426"/>
            </a:xfrm>
            <a:custGeom>
              <a:avLst/>
              <a:gdLst>
                <a:gd name="T0" fmla="*/ 48 w 270"/>
                <a:gd name="T1" fmla="*/ 26 h 84"/>
                <a:gd name="T2" fmla="*/ 34 w 270"/>
                <a:gd name="T3" fmla="*/ 28 h 84"/>
                <a:gd name="T4" fmla="*/ 20 w 270"/>
                <a:gd name="T5" fmla="*/ 26 h 84"/>
                <a:gd name="T6" fmla="*/ 6 w 270"/>
                <a:gd name="T7" fmla="*/ 20 h 84"/>
                <a:gd name="T8" fmla="*/ 0 w 270"/>
                <a:gd name="T9" fmla="*/ 14 h 84"/>
                <a:gd name="T10" fmla="*/ 2 w 270"/>
                <a:gd name="T11" fmla="*/ 4 h 84"/>
                <a:gd name="T12" fmla="*/ 14 w 270"/>
                <a:gd name="T13" fmla="*/ 0 h 84"/>
                <a:gd name="T14" fmla="*/ 32 w 270"/>
                <a:gd name="T15" fmla="*/ 6 h 84"/>
                <a:gd name="T16" fmla="*/ 48 w 270"/>
                <a:gd name="T17" fmla="*/ 10 h 84"/>
                <a:gd name="T18" fmla="*/ 54 w 270"/>
                <a:gd name="T19" fmla="*/ 18 h 84"/>
                <a:gd name="T20" fmla="*/ 70 w 270"/>
                <a:gd name="T21" fmla="*/ 18 h 84"/>
                <a:gd name="T22" fmla="*/ 88 w 270"/>
                <a:gd name="T23" fmla="*/ 14 h 84"/>
                <a:gd name="T24" fmla="*/ 96 w 270"/>
                <a:gd name="T25" fmla="*/ 24 h 84"/>
                <a:gd name="T26" fmla="*/ 96 w 270"/>
                <a:gd name="T27" fmla="*/ 34 h 84"/>
                <a:gd name="T28" fmla="*/ 100 w 270"/>
                <a:gd name="T29" fmla="*/ 40 h 84"/>
                <a:gd name="T30" fmla="*/ 120 w 270"/>
                <a:gd name="T31" fmla="*/ 52 h 84"/>
                <a:gd name="T32" fmla="*/ 150 w 270"/>
                <a:gd name="T33" fmla="*/ 52 h 84"/>
                <a:gd name="T34" fmla="*/ 172 w 270"/>
                <a:gd name="T35" fmla="*/ 54 h 84"/>
                <a:gd name="T36" fmla="*/ 198 w 270"/>
                <a:gd name="T37" fmla="*/ 44 h 84"/>
                <a:gd name="T38" fmla="*/ 236 w 270"/>
                <a:gd name="T39" fmla="*/ 46 h 84"/>
                <a:gd name="T40" fmla="*/ 256 w 270"/>
                <a:gd name="T41" fmla="*/ 50 h 84"/>
                <a:gd name="T42" fmla="*/ 270 w 270"/>
                <a:gd name="T43" fmla="*/ 56 h 84"/>
                <a:gd name="T44" fmla="*/ 268 w 270"/>
                <a:gd name="T45" fmla="*/ 66 h 84"/>
                <a:gd name="T46" fmla="*/ 262 w 270"/>
                <a:gd name="T47" fmla="*/ 70 h 84"/>
                <a:gd name="T48" fmla="*/ 260 w 270"/>
                <a:gd name="T49" fmla="*/ 82 h 84"/>
                <a:gd name="T50" fmla="*/ 222 w 270"/>
                <a:gd name="T51" fmla="*/ 84 h 84"/>
                <a:gd name="T52" fmla="*/ 212 w 270"/>
                <a:gd name="T53" fmla="*/ 76 h 84"/>
                <a:gd name="T54" fmla="*/ 206 w 270"/>
                <a:gd name="T55" fmla="*/ 84 h 84"/>
                <a:gd name="T56" fmla="*/ 132 w 270"/>
                <a:gd name="T57" fmla="*/ 84 h 84"/>
                <a:gd name="T58" fmla="*/ 130 w 270"/>
                <a:gd name="T59" fmla="*/ 74 h 84"/>
                <a:gd name="T60" fmla="*/ 126 w 270"/>
                <a:gd name="T61" fmla="*/ 72 h 84"/>
                <a:gd name="T62" fmla="*/ 120 w 270"/>
                <a:gd name="T63" fmla="*/ 78 h 84"/>
                <a:gd name="T64" fmla="*/ 116 w 270"/>
                <a:gd name="T65" fmla="*/ 84 h 84"/>
                <a:gd name="T66" fmla="*/ 92 w 270"/>
                <a:gd name="T67" fmla="*/ 80 h 84"/>
                <a:gd name="T68" fmla="*/ 88 w 270"/>
                <a:gd name="T69" fmla="*/ 74 h 84"/>
                <a:gd name="T70" fmla="*/ 84 w 270"/>
                <a:gd name="T71" fmla="*/ 78 h 84"/>
                <a:gd name="T72" fmla="*/ 78 w 270"/>
                <a:gd name="T73" fmla="*/ 78 h 84"/>
                <a:gd name="T74" fmla="*/ 72 w 270"/>
                <a:gd name="T75" fmla="*/ 70 h 84"/>
                <a:gd name="T76" fmla="*/ 68 w 270"/>
                <a:gd name="T77" fmla="*/ 58 h 84"/>
                <a:gd name="T78" fmla="*/ 68 w 270"/>
                <a:gd name="T79" fmla="*/ 54 h 84"/>
                <a:gd name="T80" fmla="*/ 72 w 270"/>
                <a:gd name="T81" fmla="*/ 48 h 84"/>
                <a:gd name="T82" fmla="*/ 64 w 270"/>
                <a:gd name="T83" fmla="*/ 38 h 84"/>
                <a:gd name="T84" fmla="*/ 58 w 270"/>
                <a:gd name="T85" fmla="*/ 28 h 84"/>
                <a:gd name="T86" fmla="*/ 48 w 270"/>
                <a:gd name="T87" fmla="*/ 2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0" h="84">
                  <a:moveTo>
                    <a:pt x="48" y="26"/>
                  </a:moveTo>
                  <a:lnTo>
                    <a:pt x="34" y="28"/>
                  </a:lnTo>
                  <a:lnTo>
                    <a:pt x="20" y="26"/>
                  </a:lnTo>
                  <a:lnTo>
                    <a:pt x="6" y="20"/>
                  </a:lnTo>
                  <a:lnTo>
                    <a:pt x="0" y="14"/>
                  </a:lnTo>
                  <a:lnTo>
                    <a:pt x="2" y="4"/>
                  </a:lnTo>
                  <a:lnTo>
                    <a:pt x="14" y="0"/>
                  </a:lnTo>
                  <a:lnTo>
                    <a:pt x="32" y="6"/>
                  </a:lnTo>
                  <a:lnTo>
                    <a:pt x="48" y="10"/>
                  </a:lnTo>
                  <a:lnTo>
                    <a:pt x="54" y="18"/>
                  </a:lnTo>
                  <a:lnTo>
                    <a:pt x="70" y="18"/>
                  </a:lnTo>
                  <a:lnTo>
                    <a:pt x="88" y="14"/>
                  </a:lnTo>
                  <a:lnTo>
                    <a:pt x="96" y="24"/>
                  </a:lnTo>
                  <a:lnTo>
                    <a:pt x="96" y="34"/>
                  </a:lnTo>
                  <a:lnTo>
                    <a:pt x="100" y="40"/>
                  </a:lnTo>
                  <a:lnTo>
                    <a:pt x="120" y="52"/>
                  </a:lnTo>
                  <a:lnTo>
                    <a:pt x="150" y="52"/>
                  </a:lnTo>
                  <a:lnTo>
                    <a:pt x="172" y="54"/>
                  </a:lnTo>
                  <a:lnTo>
                    <a:pt x="198" y="44"/>
                  </a:lnTo>
                  <a:lnTo>
                    <a:pt x="236" y="46"/>
                  </a:lnTo>
                  <a:lnTo>
                    <a:pt x="256" y="50"/>
                  </a:lnTo>
                  <a:lnTo>
                    <a:pt x="270" y="56"/>
                  </a:lnTo>
                  <a:lnTo>
                    <a:pt x="268" y="66"/>
                  </a:lnTo>
                  <a:lnTo>
                    <a:pt x="262" y="70"/>
                  </a:lnTo>
                  <a:lnTo>
                    <a:pt x="260" y="82"/>
                  </a:lnTo>
                  <a:lnTo>
                    <a:pt x="222" y="84"/>
                  </a:lnTo>
                  <a:lnTo>
                    <a:pt x="212" y="76"/>
                  </a:lnTo>
                  <a:lnTo>
                    <a:pt x="206" y="84"/>
                  </a:lnTo>
                  <a:lnTo>
                    <a:pt x="132" y="84"/>
                  </a:lnTo>
                  <a:lnTo>
                    <a:pt x="130" y="74"/>
                  </a:lnTo>
                  <a:lnTo>
                    <a:pt x="126" y="72"/>
                  </a:lnTo>
                  <a:lnTo>
                    <a:pt x="120" y="78"/>
                  </a:lnTo>
                  <a:lnTo>
                    <a:pt x="116" y="84"/>
                  </a:lnTo>
                  <a:lnTo>
                    <a:pt x="92" y="80"/>
                  </a:lnTo>
                  <a:lnTo>
                    <a:pt x="88" y="74"/>
                  </a:lnTo>
                  <a:lnTo>
                    <a:pt x="84" y="78"/>
                  </a:lnTo>
                  <a:lnTo>
                    <a:pt x="78" y="78"/>
                  </a:lnTo>
                  <a:lnTo>
                    <a:pt x="72" y="70"/>
                  </a:lnTo>
                  <a:lnTo>
                    <a:pt x="68" y="58"/>
                  </a:lnTo>
                  <a:lnTo>
                    <a:pt x="68" y="54"/>
                  </a:lnTo>
                  <a:lnTo>
                    <a:pt x="72" y="48"/>
                  </a:lnTo>
                  <a:lnTo>
                    <a:pt x="64" y="38"/>
                  </a:lnTo>
                  <a:lnTo>
                    <a:pt x="58" y="28"/>
                  </a:lnTo>
                  <a:lnTo>
                    <a:pt x="48" y="2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39" name="Freeform 13">
              <a:extLst>
                <a:ext uri="{FF2B5EF4-FFF2-40B4-BE49-F238E27FC236}">
                  <a16:creationId xmlns:a16="http://schemas.microsoft.com/office/drawing/2014/main" id="{B0F2475A-63E7-41FA-B682-9E7649504009}"/>
                </a:ext>
              </a:extLst>
            </p:cNvPr>
            <p:cNvSpPr>
              <a:spLocks/>
            </p:cNvSpPr>
            <p:nvPr/>
          </p:nvSpPr>
          <p:spPr bwMode="gray">
            <a:xfrm>
              <a:off x="3312029" y="2258046"/>
              <a:ext cx="148597" cy="106229"/>
            </a:xfrm>
            <a:custGeom>
              <a:avLst/>
              <a:gdLst>
                <a:gd name="T0" fmla="*/ 8 w 90"/>
                <a:gd name="T1" fmla="*/ 2 h 64"/>
                <a:gd name="T2" fmla="*/ 0 w 90"/>
                <a:gd name="T3" fmla="*/ 14 h 64"/>
                <a:gd name="T4" fmla="*/ 4 w 90"/>
                <a:gd name="T5" fmla="*/ 36 h 64"/>
                <a:gd name="T6" fmla="*/ 8 w 90"/>
                <a:gd name="T7" fmla="*/ 50 h 64"/>
                <a:gd name="T8" fmla="*/ 12 w 90"/>
                <a:gd name="T9" fmla="*/ 62 h 64"/>
                <a:gd name="T10" fmla="*/ 24 w 90"/>
                <a:gd name="T11" fmla="*/ 64 h 64"/>
                <a:gd name="T12" fmla="*/ 34 w 90"/>
                <a:gd name="T13" fmla="*/ 52 h 64"/>
                <a:gd name="T14" fmla="*/ 30 w 90"/>
                <a:gd name="T15" fmla="*/ 42 h 64"/>
                <a:gd name="T16" fmla="*/ 42 w 90"/>
                <a:gd name="T17" fmla="*/ 40 h 64"/>
                <a:gd name="T18" fmla="*/ 60 w 90"/>
                <a:gd name="T19" fmla="*/ 40 h 64"/>
                <a:gd name="T20" fmla="*/ 78 w 90"/>
                <a:gd name="T21" fmla="*/ 18 h 64"/>
                <a:gd name="T22" fmla="*/ 90 w 90"/>
                <a:gd name="T23" fmla="*/ 2 h 64"/>
                <a:gd name="T24" fmla="*/ 60 w 90"/>
                <a:gd name="T25" fmla="*/ 2 h 64"/>
                <a:gd name="T26" fmla="*/ 42 w 90"/>
                <a:gd name="T27" fmla="*/ 0 h 64"/>
                <a:gd name="T28" fmla="*/ 20 w 90"/>
                <a:gd name="T29" fmla="*/ 0 h 64"/>
                <a:gd name="T30" fmla="*/ 8 w 90"/>
                <a:gd name="T31" fmla="*/ 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0" h="64">
                  <a:moveTo>
                    <a:pt x="8" y="2"/>
                  </a:moveTo>
                  <a:lnTo>
                    <a:pt x="0" y="14"/>
                  </a:lnTo>
                  <a:lnTo>
                    <a:pt x="4" y="36"/>
                  </a:lnTo>
                  <a:lnTo>
                    <a:pt x="8" y="50"/>
                  </a:lnTo>
                  <a:lnTo>
                    <a:pt x="12" y="62"/>
                  </a:lnTo>
                  <a:lnTo>
                    <a:pt x="24" y="64"/>
                  </a:lnTo>
                  <a:lnTo>
                    <a:pt x="34" y="52"/>
                  </a:lnTo>
                  <a:lnTo>
                    <a:pt x="30" y="42"/>
                  </a:lnTo>
                  <a:lnTo>
                    <a:pt x="42" y="40"/>
                  </a:lnTo>
                  <a:lnTo>
                    <a:pt x="60" y="40"/>
                  </a:lnTo>
                  <a:lnTo>
                    <a:pt x="78" y="18"/>
                  </a:lnTo>
                  <a:lnTo>
                    <a:pt x="90" y="2"/>
                  </a:lnTo>
                  <a:lnTo>
                    <a:pt x="60" y="2"/>
                  </a:lnTo>
                  <a:lnTo>
                    <a:pt x="42" y="0"/>
                  </a:lnTo>
                  <a:lnTo>
                    <a:pt x="20" y="0"/>
                  </a:lnTo>
                  <a:lnTo>
                    <a:pt x="8" y="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40" name="Freeform 14">
              <a:extLst>
                <a:ext uri="{FF2B5EF4-FFF2-40B4-BE49-F238E27FC236}">
                  <a16:creationId xmlns:a16="http://schemas.microsoft.com/office/drawing/2014/main" id="{B54EF728-3FB3-4502-A7D9-D55EE97DCB79}"/>
                </a:ext>
              </a:extLst>
            </p:cNvPr>
            <p:cNvSpPr>
              <a:spLocks/>
            </p:cNvSpPr>
            <p:nvPr/>
          </p:nvSpPr>
          <p:spPr bwMode="gray">
            <a:xfrm>
              <a:off x="3411094" y="1730220"/>
              <a:ext cx="809025" cy="418277"/>
            </a:xfrm>
            <a:custGeom>
              <a:avLst/>
              <a:gdLst>
                <a:gd name="T0" fmla="*/ 370 w 490"/>
                <a:gd name="T1" fmla="*/ 94 h 252"/>
                <a:gd name="T2" fmla="*/ 324 w 490"/>
                <a:gd name="T3" fmla="*/ 130 h 252"/>
                <a:gd name="T4" fmla="*/ 280 w 490"/>
                <a:gd name="T5" fmla="*/ 126 h 252"/>
                <a:gd name="T6" fmla="*/ 296 w 490"/>
                <a:gd name="T7" fmla="*/ 138 h 252"/>
                <a:gd name="T8" fmla="*/ 264 w 490"/>
                <a:gd name="T9" fmla="*/ 140 h 252"/>
                <a:gd name="T10" fmla="*/ 254 w 490"/>
                <a:gd name="T11" fmla="*/ 148 h 252"/>
                <a:gd name="T12" fmla="*/ 254 w 490"/>
                <a:gd name="T13" fmla="*/ 154 h 252"/>
                <a:gd name="T14" fmla="*/ 268 w 490"/>
                <a:gd name="T15" fmla="*/ 170 h 252"/>
                <a:gd name="T16" fmla="*/ 260 w 490"/>
                <a:gd name="T17" fmla="*/ 184 h 252"/>
                <a:gd name="T18" fmla="*/ 220 w 490"/>
                <a:gd name="T19" fmla="*/ 206 h 252"/>
                <a:gd name="T20" fmla="*/ 164 w 490"/>
                <a:gd name="T21" fmla="*/ 216 h 252"/>
                <a:gd name="T22" fmla="*/ 206 w 490"/>
                <a:gd name="T23" fmla="*/ 232 h 252"/>
                <a:gd name="T24" fmla="*/ 224 w 490"/>
                <a:gd name="T25" fmla="*/ 236 h 252"/>
                <a:gd name="T26" fmla="*/ 172 w 490"/>
                <a:gd name="T27" fmla="*/ 252 h 252"/>
                <a:gd name="T28" fmla="*/ 138 w 490"/>
                <a:gd name="T29" fmla="*/ 238 h 252"/>
                <a:gd name="T30" fmla="*/ 88 w 490"/>
                <a:gd name="T31" fmla="*/ 244 h 252"/>
                <a:gd name="T32" fmla="*/ 62 w 490"/>
                <a:gd name="T33" fmla="*/ 244 h 252"/>
                <a:gd name="T34" fmla="*/ 42 w 490"/>
                <a:gd name="T35" fmla="*/ 224 h 252"/>
                <a:gd name="T36" fmla="*/ 80 w 490"/>
                <a:gd name="T37" fmla="*/ 212 h 252"/>
                <a:gd name="T38" fmla="*/ 88 w 490"/>
                <a:gd name="T39" fmla="*/ 196 h 252"/>
                <a:gd name="T40" fmla="*/ 132 w 490"/>
                <a:gd name="T41" fmla="*/ 212 h 252"/>
                <a:gd name="T42" fmla="*/ 140 w 490"/>
                <a:gd name="T43" fmla="*/ 194 h 252"/>
                <a:gd name="T44" fmla="*/ 108 w 490"/>
                <a:gd name="T45" fmla="*/ 194 h 252"/>
                <a:gd name="T46" fmla="*/ 106 w 490"/>
                <a:gd name="T47" fmla="*/ 180 h 252"/>
                <a:gd name="T48" fmla="*/ 68 w 490"/>
                <a:gd name="T49" fmla="*/ 176 h 252"/>
                <a:gd name="T50" fmla="*/ 114 w 490"/>
                <a:gd name="T51" fmla="*/ 160 h 252"/>
                <a:gd name="T52" fmla="*/ 160 w 490"/>
                <a:gd name="T53" fmla="*/ 158 h 252"/>
                <a:gd name="T54" fmla="*/ 114 w 490"/>
                <a:gd name="T55" fmla="*/ 138 h 252"/>
                <a:gd name="T56" fmla="*/ 86 w 490"/>
                <a:gd name="T57" fmla="*/ 114 h 252"/>
                <a:gd name="T58" fmla="*/ 144 w 490"/>
                <a:gd name="T59" fmla="*/ 120 h 252"/>
                <a:gd name="T60" fmla="*/ 166 w 490"/>
                <a:gd name="T61" fmla="*/ 126 h 252"/>
                <a:gd name="T62" fmla="*/ 168 w 490"/>
                <a:gd name="T63" fmla="*/ 104 h 252"/>
                <a:gd name="T64" fmla="*/ 208 w 490"/>
                <a:gd name="T65" fmla="*/ 86 h 252"/>
                <a:gd name="T66" fmla="*/ 226 w 490"/>
                <a:gd name="T67" fmla="*/ 68 h 252"/>
                <a:gd name="T68" fmla="*/ 162 w 490"/>
                <a:gd name="T69" fmla="*/ 96 h 252"/>
                <a:gd name="T70" fmla="*/ 128 w 490"/>
                <a:gd name="T71" fmla="*/ 100 h 252"/>
                <a:gd name="T72" fmla="*/ 98 w 490"/>
                <a:gd name="T73" fmla="*/ 82 h 252"/>
                <a:gd name="T74" fmla="*/ 62 w 490"/>
                <a:gd name="T75" fmla="*/ 78 h 252"/>
                <a:gd name="T76" fmla="*/ 48 w 490"/>
                <a:gd name="T77" fmla="*/ 66 h 252"/>
                <a:gd name="T78" fmla="*/ 32 w 490"/>
                <a:gd name="T79" fmla="*/ 66 h 252"/>
                <a:gd name="T80" fmla="*/ 20 w 490"/>
                <a:gd name="T81" fmla="*/ 56 h 252"/>
                <a:gd name="T82" fmla="*/ 36 w 490"/>
                <a:gd name="T83" fmla="*/ 50 h 252"/>
                <a:gd name="T84" fmla="*/ 80 w 490"/>
                <a:gd name="T85" fmla="*/ 46 h 252"/>
                <a:gd name="T86" fmla="*/ 102 w 490"/>
                <a:gd name="T87" fmla="*/ 28 h 252"/>
                <a:gd name="T88" fmla="*/ 168 w 490"/>
                <a:gd name="T89" fmla="*/ 40 h 252"/>
                <a:gd name="T90" fmla="*/ 164 w 490"/>
                <a:gd name="T91" fmla="*/ 18 h 252"/>
                <a:gd name="T92" fmla="*/ 216 w 490"/>
                <a:gd name="T93" fmla="*/ 10 h 252"/>
                <a:gd name="T94" fmla="*/ 254 w 490"/>
                <a:gd name="T95" fmla="*/ 22 h 252"/>
                <a:gd name="T96" fmla="*/ 278 w 490"/>
                <a:gd name="T97" fmla="*/ 4 h 252"/>
                <a:gd name="T98" fmla="*/ 298 w 490"/>
                <a:gd name="T99" fmla="*/ 2 h 252"/>
                <a:gd name="T100" fmla="*/ 350 w 490"/>
                <a:gd name="T101" fmla="*/ 2 h 252"/>
                <a:gd name="T102" fmla="*/ 388 w 490"/>
                <a:gd name="T103" fmla="*/ 16 h 252"/>
                <a:gd name="T104" fmla="*/ 452 w 490"/>
                <a:gd name="T105" fmla="*/ 14 h 252"/>
                <a:gd name="T106" fmla="*/ 482 w 490"/>
                <a:gd name="T107" fmla="*/ 40 h 252"/>
                <a:gd name="T108" fmla="*/ 376 w 490"/>
                <a:gd name="T109" fmla="*/ 62 h 252"/>
                <a:gd name="T110" fmla="*/ 398 w 490"/>
                <a:gd name="T111" fmla="*/ 7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0" h="252">
                  <a:moveTo>
                    <a:pt x="434" y="68"/>
                  </a:moveTo>
                  <a:lnTo>
                    <a:pt x="412" y="76"/>
                  </a:lnTo>
                  <a:lnTo>
                    <a:pt x="396" y="86"/>
                  </a:lnTo>
                  <a:lnTo>
                    <a:pt x="370" y="94"/>
                  </a:lnTo>
                  <a:lnTo>
                    <a:pt x="352" y="108"/>
                  </a:lnTo>
                  <a:lnTo>
                    <a:pt x="340" y="108"/>
                  </a:lnTo>
                  <a:lnTo>
                    <a:pt x="336" y="120"/>
                  </a:lnTo>
                  <a:lnTo>
                    <a:pt x="324" y="130"/>
                  </a:lnTo>
                  <a:lnTo>
                    <a:pt x="308" y="134"/>
                  </a:lnTo>
                  <a:lnTo>
                    <a:pt x="300" y="128"/>
                  </a:lnTo>
                  <a:lnTo>
                    <a:pt x="286" y="124"/>
                  </a:lnTo>
                  <a:lnTo>
                    <a:pt x="280" y="126"/>
                  </a:lnTo>
                  <a:lnTo>
                    <a:pt x="288" y="130"/>
                  </a:lnTo>
                  <a:lnTo>
                    <a:pt x="296" y="132"/>
                  </a:lnTo>
                  <a:lnTo>
                    <a:pt x="296" y="136"/>
                  </a:lnTo>
                  <a:lnTo>
                    <a:pt x="296" y="138"/>
                  </a:lnTo>
                  <a:lnTo>
                    <a:pt x="294" y="138"/>
                  </a:lnTo>
                  <a:lnTo>
                    <a:pt x="286" y="138"/>
                  </a:lnTo>
                  <a:lnTo>
                    <a:pt x="276" y="142"/>
                  </a:lnTo>
                  <a:lnTo>
                    <a:pt x="264" y="140"/>
                  </a:lnTo>
                  <a:lnTo>
                    <a:pt x="246" y="138"/>
                  </a:lnTo>
                  <a:lnTo>
                    <a:pt x="234" y="142"/>
                  </a:lnTo>
                  <a:lnTo>
                    <a:pt x="240" y="148"/>
                  </a:lnTo>
                  <a:lnTo>
                    <a:pt x="254" y="148"/>
                  </a:lnTo>
                  <a:lnTo>
                    <a:pt x="272" y="148"/>
                  </a:lnTo>
                  <a:lnTo>
                    <a:pt x="276" y="154"/>
                  </a:lnTo>
                  <a:lnTo>
                    <a:pt x="268" y="154"/>
                  </a:lnTo>
                  <a:lnTo>
                    <a:pt x="254" y="154"/>
                  </a:lnTo>
                  <a:lnTo>
                    <a:pt x="256" y="160"/>
                  </a:lnTo>
                  <a:lnTo>
                    <a:pt x="272" y="162"/>
                  </a:lnTo>
                  <a:lnTo>
                    <a:pt x="272" y="168"/>
                  </a:lnTo>
                  <a:lnTo>
                    <a:pt x="268" y="170"/>
                  </a:lnTo>
                  <a:lnTo>
                    <a:pt x="250" y="168"/>
                  </a:lnTo>
                  <a:lnTo>
                    <a:pt x="254" y="174"/>
                  </a:lnTo>
                  <a:lnTo>
                    <a:pt x="266" y="180"/>
                  </a:lnTo>
                  <a:lnTo>
                    <a:pt x="260" y="184"/>
                  </a:lnTo>
                  <a:lnTo>
                    <a:pt x="258" y="188"/>
                  </a:lnTo>
                  <a:lnTo>
                    <a:pt x="254" y="192"/>
                  </a:lnTo>
                  <a:lnTo>
                    <a:pt x="224" y="194"/>
                  </a:lnTo>
                  <a:lnTo>
                    <a:pt x="220" y="206"/>
                  </a:lnTo>
                  <a:lnTo>
                    <a:pt x="210" y="212"/>
                  </a:lnTo>
                  <a:lnTo>
                    <a:pt x="186" y="212"/>
                  </a:lnTo>
                  <a:lnTo>
                    <a:pt x="166" y="208"/>
                  </a:lnTo>
                  <a:lnTo>
                    <a:pt x="164" y="216"/>
                  </a:lnTo>
                  <a:lnTo>
                    <a:pt x="180" y="220"/>
                  </a:lnTo>
                  <a:lnTo>
                    <a:pt x="202" y="220"/>
                  </a:lnTo>
                  <a:lnTo>
                    <a:pt x="204" y="226"/>
                  </a:lnTo>
                  <a:lnTo>
                    <a:pt x="206" y="232"/>
                  </a:lnTo>
                  <a:lnTo>
                    <a:pt x="214" y="226"/>
                  </a:lnTo>
                  <a:lnTo>
                    <a:pt x="218" y="222"/>
                  </a:lnTo>
                  <a:lnTo>
                    <a:pt x="222" y="226"/>
                  </a:lnTo>
                  <a:lnTo>
                    <a:pt x="224" y="236"/>
                  </a:lnTo>
                  <a:lnTo>
                    <a:pt x="218" y="240"/>
                  </a:lnTo>
                  <a:lnTo>
                    <a:pt x="204" y="244"/>
                  </a:lnTo>
                  <a:lnTo>
                    <a:pt x="188" y="250"/>
                  </a:lnTo>
                  <a:lnTo>
                    <a:pt x="172" y="252"/>
                  </a:lnTo>
                  <a:lnTo>
                    <a:pt x="172" y="244"/>
                  </a:lnTo>
                  <a:lnTo>
                    <a:pt x="162" y="240"/>
                  </a:lnTo>
                  <a:lnTo>
                    <a:pt x="150" y="242"/>
                  </a:lnTo>
                  <a:lnTo>
                    <a:pt x="138" y="238"/>
                  </a:lnTo>
                  <a:lnTo>
                    <a:pt x="132" y="244"/>
                  </a:lnTo>
                  <a:lnTo>
                    <a:pt x="124" y="238"/>
                  </a:lnTo>
                  <a:lnTo>
                    <a:pt x="120" y="244"/>
                  </a:lnTo>
                  <a:lnTo>
                    <a:pt x="88" y="244"/>
                  </a:lnTo>
                  <a:lnTo>
                    <a:pt x="82" y="238"/>
                  </a:lnTo>
                  <a:lnTo>
                    <a:pt x="72" y="244"/>
                  </a:lnTo>
                  <a:lnTo>
                    <a:pt x="68" y="240"/>
                  </a:lnTo>
                  <a:lnTo>
                    <a:pt x="62" y="244"/>
                  </a:lnTo>
                  <a:lnTo>
                    <a:pt x="56" y="236"/>
                  </a:lnTo>
                  <a:lnTo>
                    <a:pt x="46" y="244"/>
                  </a:lnTo>
                  <a:lnTo>
                    <a:pt x="38" y="236"/>
                  </a:lnTo>
                  <a:lnTo>
                    <a:pt x="42" y="224"/>
                  </a:lnTo>
                  <a:lnTo>
                    <a:pt x="56" y="220"/>
                  </a:lnTo>
                  <a:lnTo>
                    <a:pt x="72" y="220"/>
                  </a:lnTo>
                  <a:lnTo>
                    <a:pt x="84" y="220"/>
                  </a:lnTo>
                  <a:lnTo>
                    <a:pt x="80" y="212"/>
                  </a:lnTo>
                  <a:lnTo>
                    <a:pt x="70" y="212"/>
                  </a:lnTo>
                  <a:lnTo>
                    <a:pt x="62" y="204"/>
                  </a:lnTo>
                  <a:lnTo>
                    <a:pt x="62" y="196"/>
                  </a:lnTo>
                  <a:lnTo>
                    <a:pt x="88" y="196"/>
                  </a:lnTo>
                  <a:lnTo>
                    <a:pt x="94" y="204"/>
                  </a:lnTo>
                  <a:lnTo>
                    <a:pt x="102" y="210"/>
                  </a:lnTo>
                  <a:lnTo>
                    <a:pt x="120" y="212"/>
                  </a:lnTo>
                  <a:lnTo>
                    <a:pt x="132" y="212"/>
                  </a:lnTo>
                  <a:lnTo>
                    <a:pt x="146" y="202"/>
                  </a:lnTo>
                  <a:lnTo>
                    <a:pt x="152" y="190"/>
                  </a:lnTo>
                  <a:lnTo>
                    <a:pt x="148" y="188"/>
                  </a:lnTo>
                  <a:lnTo>
                    <a:pt x="140" y="194"/>
                  </a:lnTo>
                  <a:lnTo>
                    <a:pt x="132" y="202"/>
                  </a:lnTo>
                  <a:lnTo>
                    <a:pt x="122" y="206"/>
                  </a:lnTo>
                  <a:lnTo>
                    <a:pt x="104" y="200"/>
                  </a:lnTo>
                  <a:lnTo>
                    <a:pt x="108" y="194"/>
                  </a:lnTo>
                  <a:lnTo>
                    <a:pt x="118" y="186"/>
                  </a:lnTo>
                  <a:lnTo>
                    <a:pt x="116" y="182"/>
                  </a:lnTo>
                  <a:lnTo>
                    <a:pt x="114" y="174"/>
                  </a:lnTo>
                  <a:lnTo>
                    <a:pt x="106" y="180"/>
                  </a:lnTo>
                  <a:lnTo>
                    <a:pt x="100" y="186"/>
                  </a:lnTo>
                  <a:lnTo>
                    <a:pt x="88" y="182"/>
                  </a:lnTo>
                  <a:lnTo>
                    <a:pt x="76" y="184"/>
                  </a:lnTo>
                  <a:lnTo>
                    <a:pt x="68" y="176"/>
                  </a:lnTo>
                  <a:lnTo>
                    <a:pt x="78" y="166"/>
                  </a:lnTo>
                  <a:lnTo>
                    <a:pt x="86" y="162"/>
                  </a:lnTo>
                  <a:lnTo>
                    <a:pt x="104" y="162"/>
                  </a:lnTo>
                  <a:lnTo>
                    <a:pt x="114" y="160"/>
                  </a:lnTo>
                  <a:lnTo>
                    <a:pt x="126" y="162"/>
                  </a:lnTo>
                  <a:lnTo>
                    <a:pt x="138" y="166"/>
                  </a:lnTo>
                  <a:lnTo>
                    <a:pt x="150" y="166"/>
                  </a:lnTo>
                  <a:lnTo>
                    <a:pt x="160" y="158"/>
                  </a:lnTo>
                  <a:lnTo>
                    <a:pt x="154" y="156"/>
                  </a:lnTo>
                  <a:lnTo>
                    <a:pt x="142" y="158"/>
                  </a:lnTo>
                  <a:lnTo>
                    <a:pt x="126" y="154"/>
                  </a:lnTo>
                  <a:lnTo>
                    <a:pt x="114" y="138"/>
                  </a:lnTo>
                  <a:lnTo>
                    <a:pt x="106" y="130"/>
                  </a:lnTo>
                  <a:lnTo>
                    <a:pt x="94" y="130"/>
                  </a:lnTo>
                  <a:lnTo>
                    <a:pt x="86" y="128"/>
                  </a:lnTo>
                  <a:lnTo>
                    <a:pt x="86" y="114"/>
                  </a:lnTo>
                  <a:lnTo>
                    <a:pt x="90" y="106"/>
                  </a:lnTo>
                  <a:lnTo>
                    <a:pt x="108" y="112"/>
                  </a:lnTo>
                  <a:lnTo>
                    <a:pt x="130" y="110"/>
                  </a:lnTo>
                  <a:lnTo>
                    <a:pt x="144" y="120"/>
                  </a:lnTo>
                  <a:lnTo>
                    <a:pt x="156" y="128"/>
                  </a:lnTo>
                  <a:lnTo>
                    <a:pt x="166" y="134"/>
                  </a:lnTo>
                  <a:lnTo>
                    <a:pt x="180" y="130"/>
                  </a:lnTo>
                  <a:lnTo>
                    <a:pt x="166" y="126"/>
                  </a:lnTo>
                  <a:lnTo>
                    <a:pt x="156" y="118"/>
                  </a:lnTo>
                  <a:lnTo>
                    <a:pt x="140" y="110"/>
                  </a:lnTo>
                  <a:lnTo>
                    <a:pt x="146" y="104"/>
                  </a:lnTo>
                  <a:lnTo>
                    <a:pt x="168" y="104"/>
                  </a:lnTo>
                  <a:lnTo>
                    <a:pt x="194" y="102"/>
                  </a:lnTo>
                  <a:lnTo>
                    <a:pt x="206" y="94"/>
                  </a:lnTo>
                  <a:lnTo>
                    <a:pt x="216" y="88"/>
                  </a:lnTo>
                  <a:lnTo>
                    <a:pt x="208" y="86"/>
                  </a:lnTo>
                  <a:lnTo>
                    <a:pt x="216" y="80"/>
                  </a:lnTo>
                  <a:lnTo>
                    <a:pt x="224" y="74"/>
                  </a:lnTo>
                  <a:lnTo>
                    <a:pt x="232" y="70"/>
                  </a:lnTo>
                  <a:lnTo>
                    <a:pt x="226" y="68"/>
                  </a:lnTo>
                  <a:lnTo>
                    <a:pt x="206" y="76"/>
                  </a:lnTo>
                  <a:lnTo>
                    <a:pt x="196" y="86"/>
                  </a:lnTo>
                  <a:lnTo>
                    <a:pt x="182" y="96"/>
                  </a:lnTo>
                  <a:lnTo>
                    <a:pt x="162" y="96"/>
                  </a:lnTo>
                  <a:lnTo>
                    <a:pt x="144" y="98"/>
                  </a:lnTo>
                  <a:lnTo>
                    <a:pt x="138" y="92"/>
                  </a:lnTo>
                  <a:lnTo>
                    <a:pt x="132" y="92"/>
                  </a:lnTo>
                  <a:lnTo>
                    <a:pt x="128" y="100"/>
                  </a:lnTo>
                  <a:lnTo>
                    <a:pt x="110" y="102"/>
                  </a:lnTo>
                  <a:lnTo>
                    <a:pt x="84" y="98"/>
                  </a:lnTo>
                  <a:lnTo>
                    <a:pt x="90" y="88"/>
                  </a:lnTo>
                  <a:lnTo>
                    <a:pt x="98" y="82"/>
                  </a:lnTo>
                  <a:lnTo>
                    <a:pt x="104" y="76"/>
                  </a:lnTo>
                  <a:lnTo>
                    <a:pt x="96" y="72"/>
                  </a:lnTo>
                  <a:lnTo>
                    <a:pt x="80" y="78"/>
                  </a:lnTo>
                  <a:lnTo>
                    <a:pt x="62" y="78"/>
                  </a:lnTo>
                  <a:lnTo>
                    <a:pt x="38" y="80"/>
                  </a:lnTo>
                  <a:lnTo>
                    <a:pt x="26" y="76"/>
                  </a:lnTo>
                  <a:lnTo>
                    <a:pt x="34" y="72"/>
                  </a:lnTo>
                  <a:lnTo>
                    <a:pt x="48" y="66"/>
                  </a:lnTo>
                  <a:lnTo>
                    <a:pt x="60" y="64"/>
                  </a:lnTo>
                  <a:lnTo>
                    <a:pt x="52" y="62"/>
                  </a:lnTo>
                  <a:lnTo>
                    <a:pt x="40" y="62"/>
                  </a:lnTo>
                  <a:lnTo>
                    <a:pt x="32" y="66"/>
                  </a:lnTo>
                  <a:lnTo>
                    <a:pt x="20" y="70"/>
                  </a:lnTo>
                  <a:lnTo>
                    <a:pt x="22" y="64"/>
                  </a:lnTo>
                  <a:lnTo>
                    <a:pt x="28" y="60"/>
                  </a:lnTo>
                  <a:lnTo>
                    <a:pt x="20" y="56"/>
                  </a:lnTo>
                  <a:lnTo>
                    <a:pt x="14" y="60"/>
                  </a:lnTo>
                  <a:lnTo>
                    <a:pt x="0" y="60"/>
                  </a:lnTo>
                  <a:lnTo>
                    <a:pt x="12" y="50"/>
                  </a:lnTo>
                  <a:lnTo>
                    <a:pt x="36" y="50"/>
                  </a:lnTo>
                  <a:lnTo>
                    <a:pt x="46" y="46"/>
                  </a:lnTo>
                  <a:lnTo>
                    <a:pt x="54" y="42"/>
                  </a:lnTo>
                  <a:lnTo>
                    <a:pt x="72" y="42"/>
                  </a:lnTo>
                  <a:lnTo>
                    <a:pt x="80" y="46"/>
                  </a:lnTo>
                  <a:lnTo>
                    <a:pt x="94" y="46"/>
                  </a:lnTo>
                  <a:lnTo>
                    <a:pt x="106" y="46"/>
                  </a:lnTo>
                  <a:lnTo>
                    <a:pt x="98" y="36"/>
                  </a:lnTo>
                  <a:lnTo>
                    <a:pt x="102" y="28"/>
                  </a:lnTo>
                  <a:lnTo>
                    <a:pt x="118" y="28"/>
                  </a:lnTo>
                  <a:lnTo>
                    <a:pt x="130" y="34"/>
                  </a:lnTo>
                  <a:lnTo>
                    <a:pt x="148" y="38"/>
                  </a:lnTo>
                  <a:lnTo>
                    <a:pt x="168" y="40"/>
                  </a:lnTo>
                  <a:lnTo>
                    <a:pt x="156" y="32"/>
                  </a:lnTo>
                  <a:lnTo>
                    <a:pt x="146" y="26"/>
                  </a:lnTo>
                  <a:lnTo>
                    <a:pt x="150" y="20"/>
                  </a:lnTo>
                  <a:lnTo>
                    <a:pt x="164" y="18"/>
                  </a:lnTo>
                  <a:lnTo>
                    <a:pt x="170" y="14"/>
                  </a:lnTo>
                  <a:lnTo>
                    <a:pt x="184" y="14"/>
                  </a:lnTo>
                  <a:lnTo>
                    <a:pt x="198" y="8"/>
                  </a:lnTo>
                  <a:lnTo>
                    <a:pt x="216" y="10"/>
                  </a:lnTo>
                  <a:lnTo>
                    <a:pt x="228" y="14"/>
                  </a:lnTo>
                  <a:lnTo>
                    <a:pt x="236" y="18"/>
                  </a:lnTo>
                  <a:lnTo>
                    <a:pt x="246" y="26"/>
                  </a:lnTo>
                  <a:lnTo>
                    <a:pt x="254" y="22"/>
                  </a:lnTo>
                  <a:lnTo>
                    <a:pt x="246" y="14"/>
                  </a:lnTo>
                  <a:lnTo>
                    <a:pt x="238" y="6"/>
                  </a:lnTo>
                  <a:lnTo>
                    <a:pt x="236" y="0"/>
                  </a:lnTo>
                  <a:lnTo>
                    <a:pt x="278" y="4"/>
                  </a:lnTo>
                  <a:lnTo>
                    <a:pt x="284" y="12"/>
                  </a:lnTo>
                  <a:lnTo>
                    <a:pt x="304" y="18"/>
                  </a:lnTo>
                  <a:lnTo>
                    <a:pt x="296" y="10"/>
                  </a:lnTo>
                  <a:lnTo>
                    <a:pt x="298" y="2"/>
                  </a:lnTo>
                  <a:lnTo>
                    <a:pt x="318" y="4"/>
                  </a:lnTo>
                  <a:lnTo>
                    <a:pt x="326" y="10"/>
                  </a:lnTo>
                  <a:lnTo>
                    <a:pt x="330" y="4"/>
                  </a:lnTo>
                  <a:lnTo>
                    <a:pt x="350" y="2"/>
                  </a:lnTo>
                  <a:lnTo>
                    <a:pt x="366" y="6"/>
                  </a:lnTo>
                  <a:lnTo>
                    <a:pt x="406" y="8"/>
                  </a:lnTo>
                  <a:lnTo>
                    <a:pt x="404" y="12"/>
                  </a:lnTo>
                  <a:lnTo>
                    <a:pt x="388" y="16"/>
                  </a:lnTo>
                  <a:lnTo>
                    <a:pt x="388" y="20"/>
                  </a:lnTo>
                  <a:lnTo>
                    <a:pt x="410" y="14"/>
                  </a:lnTo>
                  <a:lnTo>
                    <a:pt x="434" y="14"/>
                  </a:lnTo>
                  <a:lnTo>
                    <a:pt x="452" y="14"/>
                  </a:lnTo>
                  <a:lnTo>
                    <a:pt x="460" y="26"/>
                  </a:lnTo>
                  <a:lnTo>
                    <a:pt x="484" y="26"/>
                  </a:lnTo>
                  <a:lnTo>
                    <a:pt x="490" y="36"/>
                  </a:lnTo>
                  <a:lnTo>
                    <a:pt x="482" y="40"/>
                  </a:lnTo>
                  <a:lnTo>
                    <a:pt x="458" y="48"/>
                  </a:lnTo>
                  <a:lnTo>
                    <a:pt x="442" y="56"/>
                  </a:lnTo>
                  <a:lnTo>
                    <a:pt x="382" y="58"/>
                  </a:lnTo>
                  <a:lnTo>
                    <a:pt x="376" y="62"/>
                  </a:lnTo>
                  <a:lnTo>
                    <a:pt x="398" y="64"/>
                  </a:lnTo>
                  <a:lnTo>
                    <a:pt x="388" y="66"/>
                  </a:lnTo>
                  <a:lnTo>
                    <a:pt x="368" y="74"/>
                  </a:lnTo>
                  <a:lnTo>
                    <a:pt x="398" y="70"/>
                  </a:lnTo>
                  <a:lnTo>
                    <a:pt x="418" y="64"/>
                  </a:lnTo>
                  <a:lnTo>
                    <a:pt x="432" y="64"/>
                  </a:lnTo>
                  <a:lnTo>
                    <a:pt x="434" y="6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41" name="Freeform 15">
              <a:extLst>
                <a:ext uri="{FF2B5EF4-FFF2-40B4-BE49-F238E27FC236}">
                  <a16:creationId xmlns:a16="http://schemas.microsoft.com/office/drawing/2014/main" id="{616D1BD9-FD7C-42C3-BA09-93EA217250E6}"/>
                </a:ext>
              </a:extLst>
            </p:cNvPr>
            <p:cNvSpPr>
              <a:spLocks/>
            </p:cNvSpPr>
            <p:nvPr/>
          </p:nvSpPr>
          <p:spPr bwMode="gray">
            <a:xfrm>
              <a:off x="4256442" y="3204149"/>
              <a:ext cx="181618" cy="165983"/>
            </a:xfrm>
            <a:custGeom>
              <a:avLst/>
              <a:gdLst>
                <a:gd name="T0" fmla="*/ 30 w 110"/>
                <a:gd name="T1" fmla="*/ 36 h 100"/>
                <a:gd name="T2" fmla="*/ 40 w 110"/>
                <a:gd name="T3" fmla="*/ 20 h 100"/>
                <a:gd name="T4" fmla="*/ 54 w 110"/>
                <a:gd name="T5" fmla="*/ 6 h 100"/>
                <a:gd name="T6" fmla="*/ 66 w 110"/>
                <a:gd name="T7" fmla="*/ 0 h 100"/>
                <a:gd name="T8" fmla="*/ 62 w 110"/>
                <a:gd name="T9" fmla="*/ 8 h 100"/>
                <a:gd name="T10" fmla="*/ 58 w 110"/>
                <a:gd name="T11" fmla="*/ 20 h 100"/>
                <a:gd name="T12" fmla="*/ 62 w 110"/>
                <a:gd name="T13" fmla="*/ 34 h 100"/>
                <a:gd name="T14" fmla="*/ 72 w 110"/>
                <a:gd name="T15" fmla="*/ 44 h 100"/>
                <a:gd name="T16" fmla="*/ 82 w 110"/>
                <a:gd name="T17" fmla="*/ 38 h 100"/>
                <a:gd name="T18" fmla="*/ 86 w 110"/>
                <a:gd name="T19" fmla="*/ 44 h 100"/>
                <a:gd name="T20" fmla="*/ 94 w 110"/>
                <a:gd name="T21" fmla="*/ 46 h 100"/>
                <a:gd name="T22" fmla="*/ 90 w 110"/>
                <a:gd name="T23" fmla="*/ 54 h 100"/>
                <a:gd name="T24" fmla="*/ 100 w 110"/>
                <a:gd name="T25" fmla="*/ 64 h 100"/>
                <a:gd name="T26" fmla="*/ 106 w 110"/>
                <a:gd name="T27" fmla="*/ 66 h 100"/>
                <a:gd name="T28" fmla="*/ 108 w 110"/>
                <a:gd name="T29" fmla="*/ 74 h 100"/>
                <a:gd name="T30" fmla="*/ 110 w 110"/>
                <a:gd name="T31" fmla="*/ 86 h 100"/>
                <a:gd name="T32" fmla="*/ 106 w 110"/>
                <a:gd name="T33" fmla="*/ 96 h 100"/>
                <a:gd name="T34" fmla="*/ 92 w 110"/>
                <a:gd name="T35" fmla="*/ 100 h 100"/>
                <a:gd name="T36" fmla="*/ 86 w 110"/>
                <a:gd name="T37" fmla="*/ 90 h 100"/>
                <a:gd name="T38" fmla="*/ 78 w 110"/>
                <a:gd name="T39" fmla="*/ 82 h 100"/>
                <a:gd name="T40" fmla="*/ 72 w 110"/>
                <a:gd name="T41" fmla="*/ 88 h 100"/>
                <a:gd name="T42" fmla="*/ 70 w 110"/>
                <a:gd name="T43" fmla="*/ 94 h 100"/>
                <a:gd name="T44" fmla="*/ 60 w 110"/>
                <a:gd name="T45" fmla="*/ 90 h 100"/>
                <a:gd name="T46" fmla="*/ 58 w 110"/>
                <a:gd name="T47" fmla="*/ 78 h 100"/>
                <a:gd name="T48" fmla="*/ 30 w 110"/>
                <a:gd name="T49" fmla="*/ 82 h 100"/>
                <a:gd name="T50" fmla="*/ 0 w 110"/>
                <a:gd name="T51" fmla="*/ 80 h 100"/>
                <a:gd name="T52" fmla="*/ 2 w 110"/>
                <a:gd name="T53" fmla="*/ 66 h 100"/>
                <a:gd name="T54" fmla="*/ 16 w 110"/>
                <a:gd name="T55" fmla="*/ 52 h 100"/>
                <a:gd name="T56" fmla="*/ 22 w 110"/>
                <a:gd name="T57" fmla="*/ 44 h 100"/>
                <a:gd name="T58" fmla="*/ 30 w 110"/>
                <a:gd name="T59" fmla="*/ 3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0" h="100">
                  <a:moveTo>
                    <a:pt x="30" y="36"/>
                  </a:moveTo>
                  <a:lnTo>
                    <a:pt x="40" y="20"/>
                  </a:lnTo>
                  <a:lnTo>
                    <a:pt x="54" y="6"/>
                  </a:lnTo>
                  <a:lnTo>
                    <a:pt x="66" y="0"/>
                  </a:lnTo>
                  <a:lnTo>
                    <a:pt x="62" y="8"/>
                  </a:lnTo>
                  <a:lnTo>
                    <a:pt x="58" y="20"/>
                  </a:lnTo>
                  <a:lnTo>
                    <a:pt x="62" y="34"/>
                  </a:lnTo>
                  <a:lnTo>
                    <a:pt x="72" y="44"/>
                  </a:lnTo>
                  <a:lnTo>
                    <a:pt x="82" y="38"/>
                  </a:lnTo>
                  <a:lnTo>
                    <a:pt x="86" y="44"/>
                  </a:lnTo>
                  <a:lnTo>
                    <a:pt x="94" y="46"/>
                  </a:lnTo>
                  <a:lnTo>
                    <a:pt x="90" y="54"/>
                  </a:lnTo>
                  <a:lnTo>
                    <a:pt x="100" y="64"/>
                  </a:lnTo>
                  <a:lnTo>
                    <a:pt x="106" y="66"/>
                  </a:lnTo>
                  <a:lnTo>
                    <a:pt x="108" y="74"/>
                  </a:lnTo>
                  <a:lnTo>
                    <a:pt x="110" y="86"/>
                  </a:lnTo>
                  <a:lnTo>
                    <a:pt x="106" y="96"/>
                  </a:lnTo>
                  <a:lnTo>
                    <a:pt x="92" y="100"/>
                  </a:lnTo>
                  <a:lnTo>
                    <a:pt x="86" y="90"/>
                  </a:lnTo>
                  <a:lnTo>
                    <a:pt x="78" y="82"/>
                  </a:lnTo>
                  <a:lnTo>
                    <a:pt x="72" y="88"/>
                  </a:lnTo>
                  <a:lnTo>
                    <a:pt x="70" y="94"/>
                  </a:lnTo>
                  <a:lnTo>
                    <a:pt x="60" y="90"/>
                  </a:lnTo>
                  <a:lnTo>
                    <a:pt x="58" y="78"/>
                  </a:lnTo>
                  <a:lnTo>
                    <a:pt x="30" y="82"/>
                  </a:lnTo>
                  <a:lnTo>
                    <a:pt x="0" y="80"/>
                  </a:lnTo>
                  <a:lnTo>
                    <a:pt x="2" y="66"/>
                  </a:lnTo>
                  <a:lnTo>
                    <a:pt x="16" y="52"/>
                  </a:lnTo>
                  <a:lnTo>
                    <a:pt x="22" y="44"/>
                  </a:lnTo>
                  <a:lnTo>
                    <a:pt x="30" y="3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42" name="Freeform 16">
              <a:extLst>
                <a:ext uri="{FF2B5EF4-FFF2-40B4-BE49-F238E27FC236}">
                  <a16:creationId xmlns:a16="http://schemas.microsoft.com/office/drawing/2014/main" id="{0FF26516-AA39-447F-83A3-3896D80ADD43}"/>
                </a:ext>
              </a:extLst>
            </p:cNvPr>
            <p:cNvSpPr>
              <a:spLocks/>
            </p:cNvSpPr>
            <p:nvPr/>
          </p:nvSpPr>
          <p:spPr bwMode="gray">
            <a:xfrm>
              <a:off x="2126560" y="2374235"/>
              <a:ext cx="2228946" cy="1145282"/>
            </a:xfrm>
            <a:custGeom>
              <a:avLst/>
              <a:gdLst>
                <a:gd name="T0" fmla="*/ 1210 w 1350"/>
                <a:gd name="T1" fmla="*/ 602 h 690"/>
                <a:gd name="T2" fmla="*/ 1278 w 1350"/>
                <a:gd name="T3" fmla="*/ 596 h 690"/>
                <a:gd name="T4" fmla="*/ 1258 w 1350"/>
                <a:gd name="T5" fmla="*/ 630 h 690"/>
                <a:gd name="T6" fmla="*/ 1188 w 1350"/>
                <a:gd name="T7" fmla="*/ 656 h 690"/>
                <a:gd name="T8" fmla="*/ 1214 w 1350"/>
                <a:gd name="T9" fmla="*/ 620 h 690"/>
                <a:gd name="T10" fmla="*/ 1160 w 1350"/>
                <a:gd name="T11" fmla="*/ 612 h 690"/>
                <a:gd name="T12" fmla="*/ 1118 w 1350"/>
                <a:gd name="T13" fmla="*/ 612 h 690"/>
                <a:gd name="T14" fmla="*/ 1014 w 1350"/>
                <a:gd name="T15" fmla="*/ 652 h 690"/>
                <a:gd name="T16" fmla="*/ 980 w 1350"/>
                <a:gd name="T17" fmla="*/ 668 h 690"/>
                <a:gd name="T18" fmla="*/ 920 w 1350"/>
                <a:gd name="T19" fmla="*/ 688 h 690"/>
                <a:gd name="T20" fmla="*/ 940 w 1350"/>
                <a:gd name="T21" fmla="*/ 648 h 690"/>
                <a:gd name="T22" fmla="*/ 962 w 1350"/>
                <a:gd name="T23" fmla="*/ 622 h 690"/>
                <a:gd name="T24" fmla="*/ 892 w 1350"/>
                <a:gd name="T25" fmla="*/ 590 h 690"/>
                <a:gd name="T26" fmla="*/ 844 w 1350"/>
                <a:gd name="T27" fmla="*/ 554 h 690"/>
                <a:gd name="T28" fmla="*/ 786 w 1350"/>
                <a:gd name="T29" fmla="*/ 568 h 690"/>
                <a:gd name="T30" fmla="*/ 722 w 1350"/>
                <a:gd name="T31" fmla="*/ 544 h 690"/>
                <a:gd name="T32" fmla="*/ 250 w 1350"/>
                <a:gd name="T33" fmla="*/ 516 h 690"/>
                <a:gd name="T34" fmla="*/ 208 w 1350"/>
                <a:gd name="T35" fmla="*/ 486 h 690"/>
                <a:gd name="T36" fmla="*/ 194 w 1350"/>
                <a:gd name="T37" fmla="*/ 448 h 690"/>
                <a:gd name="T38" fmla="*/ 180 w 1350"/>
                <a:gd name="T39" fmla="*/ 420 h 690"/>
                <a:gd name="T40" fmla="*/ 136 w 1350"/>
                <a:gd name="T41" fmla="*/ 372 h 690"/>
                <a:gd name="T42" fmla="*/ 58 w 1350"/>
                <a:gd name="T43" fmla="*/ 330 h 690"/>
                <a:gd name="T44" fmla="*/ 18 w 1350"/>
                <a:gd name="T45" fmla="*/ 64 h 690"/>
                <a:gd name="T46" fmla="*/ 138 w 1350"/>
                <a:gd name="T47" fmla="*/ 60 h 690"/>
                <a:gd name="T48" fmla="*/ 230 w 1350"/>
                <a:gd name="T49" fmla="*/ 64 h 690"/>
                <a:gd name="T50" fmla="*/ 328 w 1350"/>
                <a:gd name="T51" fmla="*/ 66 h 690"/>
                <a:gd name="T52" fmla="*/ 410 w 1350"/>
                <a:gd name="T53" fmla="*/ 110 h 690"/>
                <a:gd name="T54" fmla="*/ 528 w 1350"/>
                <a:gd name="T55" fmla="*/ 142 h 690"/>
                <a:gd name="T56" fmla="*/ 600 w 1350"/>
                <a:gd name="T57" fmla="*/ 112 h 690"/>
                <a:gd name="T58" fmla="*/ 676 w 1350"/>
                <a:gd name="T59" fmla="*/ 106 h 690"/>
                <a:gd name="T60" fmla="*/ 716 w 1350"/>
                <a:gd name="T61" fmla="*/ 134 h 690"/>
                <a:gd name="T62" fmla="*/ 740 w 1350"/>
                <a:gd name="T63" fmla="*/ 64 h 690"/>
                <a:gd name="T64" fmla="*/ 718 w 1350"/>
                <a:gd name="T65" fmla="*/ 12 h 690"/>
                <a:gd name="T66" fmla="*/ 776 w 1350"/>
                <a:gd name="T67" fmla="*/ 48 h 690"/>
                <a:gd name="T68" fmla="*/ 812 w 1350"/>
                <a:gd name="T69" fmla="*/ 98 h 690"/>
                <a:gd name="T70" fmla="*/ 834 w 1350"/>
                <a:gd name="T71" fmla="*/ 112 h 690"/>
                <a:gd name="T72" fmla="*/ 886 w 1350"/>
                <a:gd name="T73" fmla="*/ 74 h 690"/>
                <a:gd name="T74" fmla="*/ 940 w 1350"/>
                <a:gd name="T75" fmla="*/ 94 h 690"/>
                <a:gd name="T76" fmla="*/ 916 w 1350"/>
                <a:gd name="T77" fmla="*/ 152 h 690"/>
                <a:gd name="T78" fmla="*/ 870 w 1350"/>
                <a:gd name="T79" fmla="*/ 156 h 690"/>
                <a:gd name="T80" fmla="*/ 816 w 1350"/>
                <a:gd name="T81" fmla="*/ 172 h 690"/>
                <a:gd name="T82" fmla="*/ 830 w 1350"/>
                <a:gd name="T83" fmla="*/ 210 h 690"/>
                <a:gd name="T84" fmla="*/ 778 w 1350"/>
                <a:gd name="T85" fmla="*/ 222 h 690"/>
                <a:gd name="T86" fmla="*/ 736 w 1350"/>
                <a:gd name="T87" fmla="*/ 336 h 690"/>
                <a:gd name="T88" fmla="*/ 800 w 1350"/>
                <a:gd name="T89" fmla="*/ 374 h 690"/>
                <a:gd name="T90" fmla="*/ 904 w 1350"/>
                <a:gd name="T91" fmla="*/ 418 h 690"/>
                <a:gd name="T92" fmla="*/ 944 w 1350"/>
                <a:gd name="T93" fmla="*/ 484 h 690"/>
                <a:gd name="T94" fmla="*/ 984 w 1350"/>
                <a:gd name="T95" fmla="*/ 462 h 690"/>
                <a:gd name="T96" fmla="*/ 1020 w 1350"/>
                <a:gd name="T97" fmla="*/ 372 h 690"/>
                <a:gd name="T98" fmla="*/ 1004 w 1350"/>
                <a:gd name="T99" fmla="*/ 304 h 690"/>
                <a:gd name="T100" fmla="*/ 1044 w 1350"/>
                <a:gd name="T101" fmla="*/ 258 h 690"/>
                <a:gd name="T102" fmla="*/ 1134 w 1350"/>
                <a:gd name="T103" fmla="*/ 290 h 690"/>
                <a:gd name="T104" fmla="*/ 1168 w 1350"/>
                <a:gd name="T105" fmla="*/ 352 h 690"/>
                <a:gd name="T106" fmla="*/ 1228 w 1350"/>
                <a:gd name="T107" fmla="*/ 328 h 690"/>
                <a:gd name="T108" fmla="*/ 1256 w 1350"/>
                <a:gd name="T109" fmla="*/ 398 h 690"/>
                <a:gd name="T110" fmla="*/ 1318 w 1350"/>
                <a:gd name="T111" fmla="*/ 430 h 690"/>
                <a:gd name="T112" fmla="*/ 1284 w 1350"/>
                <a:gd name="T113" fmla="*/ 458 h 690"/>
                <a:gd name="T114" fmla="*/ 1348 w 1350"/>
                <a:gd name="T115" fmla="*/ 458 h 690"/>
                <a:gd name="T116" fmla="*/ 1286 w 1350"/>
                <a:gd name="T117" fmla="*/ 524 h 690"/>
                <a:gd name="T118" fmla="*/ 1152 w 1350"/>
                <a:gd name="T119" fmla="*/ 548 h 690"/>
                <a:gd name="T120" fmla="*/ 1116 w 1350"/>
                <a:gd name="T121" fmla="*/ 590 h 690"/>
                <a:gd name="T122" fmla="*/ 1202 w 1350"/>
                <a:gd name="T123" fmla="*/ 548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50" h="690">
                  <a:moveTo>
                    <a:pt x="1218" y="562"/>
                  </a:moveTo>
                  <a:lnTo>
                    <a:pt x="1214" y="568"/>
                  </a:lnTo>
                  <a:lnTo>
                    <a:pt x="1204" y="570"/>
                  </a:lnTo>
                  <a:lnTo>
                    <a:pt x="1208" y="580"/>
                  </a:lnTo>
                  <a:lnTo>
                    <a:pt x="1204" y="588"/>
                  </a:lnTo>
                  <a:lnTo>
                    <a:pt x="1206" y="594"/>
                  </a:lnTo>
                  <a:lnTo>
                    <a:pt x="1210" y="602"/>
                  </a:lnTo>
                  <a:lnTo>
                    <a:pt x="1222" y="610"/>
                  </a:lnTo>
                  <a:lnTo>
                    <a:pt x="1236" y="614"/>
                  </a:lnTo>
                  <a:lnTo>
                    <a:pt x="1254" y="614"/>
                  </a:lnTo>
                  <a:lnTo>
                    <a:pt x="1262" y="612"/>
                  </a:lnTo>
                  <a:lnTo>
                    <a:pt x="1266" y="604"/>
                  </a:lnTo>
                  <a:lnTo>
                    <a:pt x="1270" y="596"/>
                  </a:lnTo>
                  <a:lnTo>
                    <a:pt x="1278" y="596"/>
                  </a:lnTo>
                  <a:lnTo>
                    <a:pt x="1278" y="604"/>
                  </a:lnTo>
                  <a:lnTo>
                    <a:pt x="1284" y="608"/>
                  </a:lnTo>
                  <a:lnTo>
                    <a:pt x="1284" y="616"/>
                  </a:lnTo>
                  <a:lnTo>
                    <a:pt x="1274" y="616"/>
                  </a:lnTo>
                  <a:lnTo>
                    <a:pt x="1268" y="616"/>
                  </a:lnTo>
                  <a:lnTo>
                    <a:pt x="1262" y="626"/>
                  </a:lnTo>
                  <a:lnTo>
                    <a:pt x="1258" y="630"/>
                  </a:lnTo>
                  <a:lnTo>
                    <a:pt x="1246" y="634"/>
                  </a:lnTo>
                  <a:lnTo>
                    <a:pt x="1230" y="640"/>
                  </a:lnTo>
                  <a:lnTo>
                    <a:pt x="1220" y="640"/>
                  </a:lnTo>
                  <a:lnTo>
                    <a:pt x="1212" y="648"/>
                  </a:lnTo>
                  <a:lnTo>
                    <a:pt x="1204" y="656"/>
                  </a:lnTo>
                  <a:lnTo>
                    <a:pt x="1198" y="662"/>
                  </a:lnTo>
                  <a:lnTo>
                    <a:pt x="1188" y="656"/>
                  </a:lnTo>
                  <a:lnTo>
                    <a:pt x="1186" y="648"/>
                  </a:lnTo>
                  <a:lnTo>
                    <a:pt x="1190" y="640"/>
                  </a:lnTo>
                  <a:lnTo>
                    <a:pt x="1202" y="632"/>
                  </a:lnTo>
                  <a:lnTo>
                    <a:pt x="1214" y="628"/>
                  </a:lnTo>
                  <a:lnTo>
                    <a:pt x="1216" y="626"/>
                  </a:lnTo>
                  <a:lnTo>
                    <a:pt x="1216" y="624"/>
                  </a:lnTo>
                  <a:lnTo>
                    <a:pt x="1214" y="620"/>
                  </a:lnTo>
                  <a:lnTo>
                    <a:pt x="1210" y="618"/>
                  </a:lnTo>
                  <a:lnTo>
                    <a:pt x="1198" y="624"/>
                  </a:lnTo>
                  <a:lnTo>
                    <a:pt x="1188" y="628"/>
                  </a:lnTo>
                  <a:lnTo>
                    <a:pt x="1172" y="632"/>
                  </a:lnTo>
                  <a:lnTo>
                    <a:pt x="1168" y="626"/>
                  </a:lnTo>
                  <a:lnTo>
                    <a:pt x="1162" y="620"/>
                  </a:lnTo>
                  <a:lnTo>
                    <a:pt x="1160" y="612"/>
                  </a:lnTo>
                  <a:lnTo>
                    <a:pt x="1162" y="596"/>
                  </a:lnTo>
                  <a:lnTo>
                    <a:pt x="1160" y="588"/>
                  </a:lnTo>
                  <a:lnTo>
                    <a:pt x="1146" y="584"/>
                  </a:lnTo>
                  <a:lnTo>
                    <a:pt x="1138" y="580"/>
                  </a:lnTo>
                  <a:lnTo>
                    <a:pt x="1130" y="588"/>
                  </a:lnTo>
                  <a:lnTo>
                    <a:pt x="1122" y="602"/>
                  </a:lnTo>
                  <a:lnTo>
                    <a:pt x="1118" y="612"/>
                  </a:lnTo>
                  <a:lnTo>
                    <a:pt x="1118" y="618"/>
                  </a:lnTo>
                  <a:lnTo>
                    <a:pt x="1112" y="626"/>
                  </a:lnTo>
                  <a:lnTo>
                    <a:pt x="1100" y="632"/>
                  </a:lnTo>
                  <a:lnTo>
                    <a:pt x="1042" y="632"/>
                  </a:lnTo>
                  <a:lnTo>
                    <a:pt x="1026" y="644"/>
                  </a:lnTo>
                  <a:lnTo>
                    <a:pt x="1020" y="648"/>
                  </a:lnTo>
                  <a:lnTo>
                    <a:pt x="1014" y="652"/>
                  </a:lnTo>
                  <a:lnTo>
                    <a:pt x="1002" y="652"/>
                  </a:lnTo>
                  <a:lnTo>
                    <a:pt x="986" y="652"/>
                  </a:lnTo>
                  <a:lnTo>
                    <a:pt x="980" y="656"/>
                  </a:lnTo>
                  <a:lnTo>
                    <a:pt x="972" y="660"/>
                  </a:lnTo>
                  <a:lnTo>
                    <a:pt x="974" y="664"/>
                  </a:lnTo>
                  <a:lnTo>
                    <a:pt x="982" y="664"/>
                  </a:lnTo>
                  <a:lnTo>
                    <a:pt x="980" y="668"/>
                  </a:lnTo>
                  <a:lnTo>
                    <a:pt x="982" y="672"/>
                  </a:lnTo>
                  <a:lnTo>
                    <a:pt x="964" y="674"/>
                  </a:lnTo>
                  <a:lnTo>
                    <a:pt x="948" y="678"/>
                  </a:lnTo>
                  <a:lnTo>
                    <a:pt x="940" y="680"/>
                  </a:lnTo>
                  <a:lnTo>
                    <a:pt x="932" y="686"/>
                  </a:lnTo>
                  <a:lnTo>
                    <a:pt x="924" y="690"/>
                  </a:lnTo>
                  <a:lnTo>
                    <a:pt x="920" y="688"/>
                  </a:lnTo>
                  <a:lnTo>
                    <a:pt x="920" y="680"/>
                  </a:lnTo>
                  <a:lnTo>
                    <a:pt x="922" y="678"/>
                  </a:lnTo>
                  <a:lnTo>
                    <a:pt x="922" y="670"/>
                  </a:lnTo>
                  <a:lnTo>
                    <a:pt x="928" y="668"/>
                  </a:lnTo>
                  <a:lnTo>
                    <a:pt x="936" y="666"/>
                  </a:lnTo>
                  <a:lnTo>
                    <a:pt x="938" y="656"/>
                  </a:lnTo>
                  <a:lnTo>
                    <a:pt x="940" y="648"/>
                  </a:lnTo>
                  <a:lnTo>
                    <a:pt x="946" y="642"/>
                  </a:lnTo>
                  <a:lnTo>
                    <a:pt x="948" y="636"/>
                  </a:lnTo>
                  <a:lnTo>
                    <a:pt x="952" y="636"/>
                  </a:lnTo>
                  <a:lnTo>
                    <a:pt x="958" y="642"/>
                  </a:lnTo>
                  <a:lnTo>
                    <a:pt x="966" y="640"/>
                  </a:lnTo>
                  <a:lnTo>
                    <a:pt x="968" y="632"/>
                  </a:lnTo>
                  <a:lnTo>
                    <a:pt x="962" y="622"/>
                  </a:lnTo>
                  <a:lnTo>
                    <a:pt x="954" y="614"/>
                  </a:lnTo>
                  <a:lnTo>
                    <a:pt x="942" y="610"/>
                  </a:lnTo>
                  <a:lnTo>
                    <a:pt x="930" y="608"/>
                  </a:lnTo>
                  <a:lnTo>
                    <a:pt x="914" y="608"/>
                  </a:lnTo>
                  <a:lnTo>
                    <a:pt x="902" y="606"/>
                  </a:lnTo>
                  <a:lnTo>
                    <a:pt x="896" y="600"/>
                  </a:lnTo>
                  <a:lnTo>
                    <a:pt x="892" y="590"/>
                  </a:lnTo>
                  <a:lnTo>
                    <a:pt x="888" y="578"/>
                  </a:lnTo>
                  <a:lnTo>
                    <a:pt x="886" y="574"/>
                  </a:lnTo>
                  <a:lnTo>
                    <a:pt x="874" y="574"/>
                  </a:lnTo>
                  <a:lnTo>
                    <a:pt x="870" y="566"/>
                  </a:lnTo>
                  <a:lnTo>
                    <a:pt x="864" y="558"/>
                  </a:lnTo>
                  <a:lnTo>
                    <a:pt x="854" y="558"/>
                  </a:lnTo>
                  <a:lnTo>
                    <a:pt x="844" y="554"/>
                  </a:lnTo>
                  <a:lnTo>
                    <a:pt x="836" y="554"/>
                  </a:lnTo>
                  <a:lnTo>
                    <a:pt x="828" y="560"/>
                  </a:lnTo>
                  <a:lnTo>
                    <a:pt x="818" y="566"/>
                  </a:lnTo>
                  <a:lnTo>
                    <a:pt x="810" y="572"/>
                  </a:lnTo>
                  <a:lnTo>
                    <a:pt x="804" y="570"/>
                  </a:lnTo>
                  <a:lnTo>
                    <a:pt x="794" y="570"/>
                  </a:lnTo>
                  <a:lnTo>
                    <a:pt x="786" y="568"/>
                  </a:lnTo>
                  <a:lnTo>
                    <a:pt x="782" y="568"/>
                  </a:lnTo>
                  <a:lnTo>
                    <a:pt x="772" y="564"/>
                  </a:lnTo>
                  <a:lnTo>
                    <a:pt x="748" y="560"/>
                  </a:lnTo>
                  <a:lnTo>
                    <a:pt x="736" y="556"/>
                  </a:lnTo>
                  <a:lnTo>
                    <a:pt x="732" y="552"/>
                  </a:lnTo>
                  <a:lnTo>
                    <a:pt x="730" y="544"/>
                  </a:lnTo>
                  <a:lnTo>
                    <a:pt x="722" y="544"/>
                  </a:lnTo>
                  <a:lnTo>
                    <a:pt x="720" y="552"/>
                  </a:lnTo>
                  <a:lnTo>
                    <a:pt x="290" y="552"/>
                  </a:lnTo>
                  <a:lnTo>
                    <a:pt x="282" y="542"/>
                  </a:lnTo>
                  <a:lnTo>
                    <a:pt x="272" y="532"/>
                  </a:lnTo>
                  <a:lnTo>
                    <a:pt x="266" y="536"/>
                  </a:lnTo>
                  <a:lnTo>
                    <a:pt x="256" y="526"/>
                  </a:lnTo>
                  <a:lnTo>
                    <a:pt x="250" y="516"/>
                  </a:lnTo>
                  <a:lnTo>
                    <a:pt x="244" y="520"/>
                  </a:lnTo>
                  <a:lnTo>
                    <a:pt x="232" y="512"/>
                  </a:lnTo>
                  <a:lnTo>
                    <a:pt x="214" y="510"/>
                  </a:lnTo>
                  <a:lnTo>
                    <a:pt x="218" y="500"/>
                  </a:lnTo>
                  <a:lnTo>
                    <a:pt x="216" y="494"/>
                  </a:lnTo>
                  <a:lnTo>
                    <a:pt x="208" y="494"/>
                  </a:lnTo>
                  <a:lnTo>
                    <a:pt x="208" y="486"/>
                  </a:lnTo>
                  <a:lnTo>
                    <a:pt x="206" y="478"/>
                  </a:lnTo>
                  <a:lnTo>
                    <a:pt x="202" y="472"/>
                  </a:lnTo>
                  <a:lnTo>
                    <a:pt x="196" y="470"/>
                  </a:lnTo>
                  <a:lnTo>
                    <a:pt x="188" y="474"/>
                  </a:lnTo>
                  <a:lnTo>
                    <a:pt x="190" y="466"/>
                  </a:lnTo>
                  <a:lnTo>
                    <a:pt x="196" y="456"/>
                  </a:lnTo>
                  <a:lnTo>
                    <a:pt x="194" y="448"/>
                  </a:lnTo>
                  <a:lnTo>
                    <a:pt x="188" y="452"/>
                  </a:lnTo>
                  <a:lnTo>
                    <a:pt x="180" y="458"/>
                  </a:lnTo>
                  <a:lnTo>
                    <a:pt x="172" y="458"/>
                  </a:lnTo>
                  <a:lnTo>
                    <a:pt x="172" y="446"/>
                  </a:lnTo>
                  <a:lnTo>
                    <a:pt x="174" y="438"/>
                  </a:lnTo>
                  <a:lnTo>
                    <a:pt x="174" y="432"/>
                  </a:lnTo>
                  <a:lnTo>
                    <a:pt x="180" y="420"/>
                  </a:lnTo>
                  <a:lnTo>
                    <a:pt x="178" y="410"/>
                  </a:lnTo>
                  <a:lnTo>
                    <a:pt x="174" y="408"/>
                  </a:lnTo>
                  <a:lnTo>
                    <a:pt x="172" y="400"/>
                  </a:lnTo>
                  <a:lnTo>
                    <a:pt x="158" y="392"/>
                  </a:lnTo>
                  <a:lnTo>
                    <a:pt x="150" y="386"/>
                  </a:lnTo>
                  <a:lnTo>
                    <a:pt x="146" y="384"/>
                  </a:lnTo>
                  <a:lnTo>
                    <a:pt x="136" y="372"/>
                  </a:lnTo>
                  <a:lnTo>
                    <a:pt x="126" y="354"/>
                  </a:lnTo>
                  <a:lnTo>
                    <a:pt x="118" y="346"/>
                  </a:lnTo>
                  <a:lnTo>
                    <a:pt x="100" y="326"/>
                  </a:lnTo>
                  <a:lnTo>
                    <a:pt x="88" y="314"/>
                  </a:lnTo>
                  <a:lnTo>
                    <a:pt x="70" y="322"/>
                  </a:lnTo>
                  <a:lnTo>
                    <a:pt x="68" y="328"/>
                  </a:lnTo>
                  <a:lnTo>
                    <a:pt x="58" y="330"/>
                  </a:lnTo>
                  <a:lnTo>
                    <a:pt x="46" y="320"/>
                  </a:lnTo>
                  <a:lnTo>
                    <a:pt x="34" y="310"/>
                  </a:lnTo>
                  <a:lnTo>
                    <a:pt x="26" y="300"/>
                  </a:lnTo>
                  <a:lnTo>
                    <a:pt x="10" y="306"/>
                  </a:lnTo>
                  <a:lnTo>
                    <a:pt x="0" y="302"/>
                  </a:lnTo>
                  <a:lnTo>
                    <a:pt x="0" y="62"/>
                  </a:lnTo>
                  <a:lnTo>
                    <a:pt x="18" y="64"/>
                  </a:lnTo>
                  <a:lnTo>
                    <a:pt x="48" y="76"/>
                  </a:lnTo>
                  <a:lnTo>
                    <a:pt x="84" y="86"/>
                  </a:lnTo>
                  <a:lnTo>
                    <a:pt x="82" y="72"/>
                  </a:lnTo>
                  <a:lnTo>
                    <a:pt x="100" y="62"/>
                  </a:lnTo>
                  <a:lnTo>
                    <a:pt x="110" y="68"/>
                  </a:lnTo>
                  <a:lnTo>
                    <a:pt x="116" y="72"/>
                  </a:lnTo>
                  <a:lnTo>
                    <a:pt x="138" y="60"/>
                  </a:lnTo>
                  <a:lnTo>
                    <a:pt x="162" y="48"/>
                  </a:lnTo>
                  <a:lnTo>
                    <a:pt x="178" y="48"/>
                  </a:lnTo>
                  <a:lnTo>
                    <a:pt x="180" y="56"/>
                  </a:lnTo>
                  <a:lnTo>
                    <a:pt x="192" y="58"/>
                  </a:lnTo>
                  <a:lnTo>
                    <a:pt x="208" y="38"/>
                  </a:lnTo>
                  <a:lnTo>
                    <a:pt x="218" y="46"/>
                  </a:lnTo>
                  <a:lnTo>
                    <a:pt x="230" y="64"/>
                  </a:lnTo>
                  <a:lnTo>
                    <a:pt x="244" y="66"/>
                  </a:lnTo>
                  <a:lnTo>
                    <a:pt x="256" y="50"/>
                  </a:lnTo>
                  <a:lnTo>
                    <a:pt x="262" y="52"/>
                  </a:lnTo>
                  <a:lnTo>
                    <a:pt x="270" y="70"/>
                  </a:lnTo>
                  <a:lnTo>
                    <a:pt x="282" y="62"/>
                  </a:lnTo>
                  <a:lnTo>
                    <a:pt x="302" y="56"/>
                  </a:lnTo>
                  <a:lnTo>
                    <a:pt x="328" y="66"/>
                  </a:lnTo>
                  <a:lnTo>
                    <a:pt x="352" y="72"/>
                  </a:lnTo>
                  <a:lnTo>
                    <a:pt x="382" y="82"/>
                  </a:lnTo>
                  <a:lnTo>
                    <a:pt x="404" y="84"/>
                  </a:lnTo>
                  <a:lnTo>
                    <a:pt x="422" y="92"/>
                  </a:lnTo>
                  <a:lnTo>
                    <a:pt x="424" y="100"/>
                  </a:lnTo>
                  <a:lnTo>
                    <a:pt x="412" y="102"/>
                  </a:lnTo>
                  <a:lnTo>
                    <a:pt x="410" y="110"/>
                  </a:lnTo>
                  <a:lnTo>
                    <a:pt x="426" y="118"/>
                  </a:lnTo>
                  <a:lnTo>
                    <a:pt x="456" y="116"/>
                  </a:lnTo>
                  <a:lnTo>
                    <a:pt x="478" y="114"/>
                  </a:lnTo>
                  <a:lnTo>
                    <a:pt x="486" y="110"/>
                  </a:lnTo>
                  <a:lnTo>
                    <a:pt x="504" y="120"/>
                  </a:lnTo>
                  <a:lnTo>
                    <a:pt x="520" y="130"/>
                  </a:lnTo>
                  <a:lnTo>
                    <a:pt x="528" y="142"/>
                  </a:lnTo>
                  <a:lnTo>
                    <a:pt x="534" y="138"/>
                  </a:lnTo>
                  <a:lnTo>
                    <a:pt x="530" y="120"/>
                  </a:lnTo>
                  <a:lnTo>
                    <a:pt x="526" y="110"/>
                  </a:lnTo>
                  <a:lnTo>
                    <a:pt x="536" y="104"/>
                  </a:lnTo>
                  <a:lnTo>
                    <a:pt x="560" y="94"/>
                  </a:lnTo>
                  <a:lnTo>
                    <a:pt x="578" y="104"/>
                  </a:lnTo>
                  <a:lnTo>
                    <a:pt x="600" y="112"/>
                  </a:lnTo>
                  <a:lnTo>
                    <a:pt x="622" y="116"/>
                  </a:lnTo>
                  <a:lnTo>
                    <a:pt x="646" y="116"/>
                  </a:lnTo>
                  <a:lnTo>
                    <a:pt x="668" y="116"/>
                  </a:lnTo>
                  <a:lnTo>
                    <a:pt x="688" y="118"/>
                  </a:lnTo>
                  <a:lnTo>
                    <a:pt x="694" y="112"/>
                  </a:lnTo>
                  <a:lnTo>
                    <a:pt x="688" y="108"/>
                  </a:lnTo>
                  <a:lnTo>
                    <a:pt x="676" y="106"/>
                  </a:lnTo>
                  <a:lnTo>
                    <a:pt x="678" y="98"/>
                  </a:lnTo>
                  <a:lnTo>
                    <a:pt x="684" y="96"/>
                  </a:lnTo>
                  <a:lnTo>
                    <a:pt x="696" y="100"/>
                  </a:lnTo>
                  <a:lnTo>
                    <a:pt x="708" y="112"/>
                  </a:lnTo>
                  <a:lnTo>
                    <a:pt x="704" y="116"/>
                  </a:lnTo>
                  <a:lnTo>
                    <a:pt x="710" y="126"/>
                  </a:lnTo>
                  <a:lnTo>
                    <a:pt x="716" y="134"/>
                  </a:lnTo>
                  <a:lnTo>
                    <a:pt x="724" y="134"/>
                  </a:lnTo>
                  <a:lnTo>
                    <a:pt x="724" y="120"/>
                  </a:lnTo>
                  <a:lnTo>
                    <a:pt x="722" y="108"/>
                  </a:lnTo>
                  <a:lnTo>
                    <a:pt x="742" y="102"/>
                  </a:lnTo>
                  <a:lnTo>
                    <a:pt x="752" y="90"/>
                  </a:lnTo>
                  <a:lnTo>
                    <a:pt x="750" y="78"/>
                  </a:lnTo>
                  <a:lnTo>
                    <a:pt x="740" y="64"/>
                  </a:lnTo>
                  <a:lnTo>
                    <a:pt x="722" y="60"/>
                  </a:lnTo>
                  <a:lnTo>
                    <a:pt x="708" y="52"/>
                  </a:lnTo>
                  <a:lnTo>
                    <a:pt x="704" y="44"/>
                  </a:lnTo>
                  <a:lnTo>
                    <a:pt x="712" y="32"/>
                  </a:lnTo>
                  <a:lnTo>
                    <a:pt x="704" y="26"/>
                  </a:lnTo>
                  <a:lnTo>
                    <a:pt x="708" y="12"/>
                  </a:lnTo>
                  <a:lnTo>
                    <a:pt x="718" y="12"/>
                  </a:lnTo>
                  <a:lnTo>
                    <a:pt x="722" y="4"/>
                  </a:lnTo>
                  <a:lnTo>
                    <a:pt x="732" y="0"/>
                  </a:lnTo>
                  <a:lnTo>
                    <a:pt x="750" y="4"/>
                  </a:lnTo>
                  <a:lnTo>
                    <a:pt x="762" y="20"/>
                  </a:lnTo>
                  <a:lnTo>
                    <a:pt x="764" y="26"/>
                  </a:lnTo>
                  <a:lnTo>
                    <a:pt x="774" y="40"/>
                  </a:lnTo>
                  <a:lnTo>
                    <a:pt x="776" y="48"/>
                  </a:lnTo>
                  <a:lnTo>
                    <a:pt x="770" y="54"/>
                  </a:lnTo>
                  <a:lnTo>
                    <a:pt x="774" y="64"/>
                  </a:lnTo>
                  <a:lnTo>
                    <a:pt x="786" y="62"/>
                  </a:lnTo>
                  <a:lnTo>
                    <a:pt x="794" y="64"/>
                  </a:lnTo>
                  <a:lnTo>
                    <a:pt x="796" y="80"/>
                  </a:lnTo>
                  <a:lnTo>
                    <a:pt x="802" y="94"/>
                  </a:lnTo>
                  <a:lnTo>
                    <a:pt x="812" y="98"/>
                  </a:lnTo>
                  <a:lnTo>
                    <a:pt x="820" y="92"/>
                  </a:lnTo>
                  <a:lnTo>
                    <a:pt x="814" y="82"/>
                  </a:lnTo>
                  <a:lnTo>
                    <a:pt x="820" y="74"/>
                  </a:lnTo>
                  <a:lnTo>
                    <a:pt x="832" y="78"/>
                  </a:lnTo>
                  <a:lnTo>
                    <a:pt x="842" y="90"/>
                  </a:lnTo>
                  <a:lnTo>
                    <a:pt x="836" y="100"/>
                  </a:lnTo>
                  <a:lnTo>
                    <a:pt x="834" y="112"/>
                  </a:lnTo>
                  <a:lnTo>
                    <a:pt x="844" y="120"/>
                  </a:lnTo>
                  <a:lnTo>
                    <a:pt x="858" y="126"/>
                  </a:lnTo>
                  <a:lnTo>
                    <a:pt x="866" y="120"/>
                  </a:lnTo>
                  <a:lnTo>
                    <a:pt x="874" y="106"/>
                  </a:lnTo>
                  <a:lnTo>
                    <a:pt x="876" y="90"/>
                  </a:lnTo>
                  <a:lnTo>
                    <a:pt x="888" y="82"/>
                  </a:lnTo>
                  <a:lnTo>
                    <a:pt x="886" y="74"/>
                  </a:lnTo>
                  <a:lnTo>
                    <a:pt x="880" y="62"/>
                  </a:lnTo>
                  <a:lnTo>
                    <a:pt x="882" y="56"/>
                  </a:lnTo>
                  <a:lnTo>
                    <a:pt x="900" y="58"/>
                  </a:lnTo>
                  <a:lnTo>
                    <a:pt x="922" y="66"/>
                  </a:lnTo>
                  <a:lnTo>
                    <a:pt x="936" y="76"/>
                  </a:lnTo>
                  <a:lnTo>
                    <a:pt x="946" y="90"/>
                  </a:lnTo>
                  <a:lnTo>
                    <a:pt x="940" y="94"/>
                  </a:lnTo>
                  <a:lnTo>
                    <a:pt x="932" y="96"/>
                  </a:lnTo>
                  <a:lnTo>
                    <a:pt x="934" y="106"/>
                  </a:lnTo>
                  <a:lnTo>
                    <a:pt x="940" y="114"/>
                  </a:lnTo>
                  <a:lnTo>
                    <a:pt x="946" y="126"/>
                  </a:lnTo>
                  <a:lnTo>
                    <a:pt x="938" y="136"/>
                  </a:lnTo>
                  <a:lnTo>
                    <a:pt x="926" y="146"/>
                  </a:lnTo>
                  <a:lnTo>
                    <a:pt x="916" y="152"/>
                  </a:lnTo>
                  <a:lnTo>
                    <a:pt x="902" y="144"/>
                  </a:lnTo>
                  <a:lnTo>
                    <a:pt x="898" y="152"/>
                  </a:lnTo>
                  <a:lnTo>
                    <a:pt x="890" y="156"/>
                  </a:lnTo>
                  <a:lnTo>
                    <a:pt x="878" y="144"/>
                  </a:lnTo>
                  <a:lnTo>
                    <a:pt x="868" y="144"/>
                  </a:lnTo>
                  <a:lnTo>
                    <a:pt x="864" y="150"/>
                  </a:lnTo>
                  <a:lnTo>
                    <a:pt x="870" y="156"/>
                  </a:lnTo>
                  <a:lnTo>
                    <a:pt x="864" y="166"/>
                  </a:lnTo>
                  <a:lnTo>
                    <a:pt x="856" y="174"/>
                  </a:lnTo>
                  <a:lnTo>
                    <a:pt x="846" y="176"/>
                  </a:lnTo>
                  <a:lnTo>
                    <a:pt x="834" y="174"/>
                  </a:lnTo>
                  <a:lnTo>
                    <a:pt x="822" y="166"/>
                  </a:lnTo>
                  <a:lnTo>
                    <a:pt x="812" y="164"/>
                  </a:lnTo>
                  <a:lnTo>
                    <a:pt x="816" y="172"/>
                  </a:lnTo>
                  <a:lnTo>
                    <a:pt x="822" y="178"/>
                  </a:lnTo>
                  <a:lnTo>
                    <a:pt x="834" y="180"/>
                  </a:lnTo>
                  <a:lnTo>
                    <a:pt x="842" y="182"/>
                  </a:lnTo>
                  <a:lnTo>
                    <a:pt x="854" y="182"/>
                  </a:lnTo>
                  <a:lnTo>
                    <a:pt x="848" y="192"/>
                  </a:lnTo>
                  <a:lnTo>
                    <a:pt x="840" y="204"/>
                  </a:lnTo>
                  <a:lnTo>
                    <a:pt x="830" y="210"/>
                  </a:lnTo>
                  <a:lnTo>
                    <a:pt x="820" y="212"/>
                  </a:lnTo>
                  <a:lnTo>
                    <a:pt x="812" y="212"/>
                  </a:lnTo>
                  <a:lnTo>
                    <a:pt x="804" y="208"/>
                  </a:lnTo>
                  <a:lnTo>
                    <a:pt x="804" y="218"/>
                  </a:lnTo>
                  <a:lnTo>
                    <a:pt x="784" y="220"/>
                  </a:lnTo>
                  <a:lnTo>
                    <a:pt x="772" y="216"/>
                  </a:lnTo>
                  <a:lnTo>
                    <a:pt x="778" y="222"/>
                  </a:lnTo>
                  <a:lnTo>
                    <a:pt x="794" y="228"/>
                  </a:lnTo>
                  <a:lnTo>
                    <a:pt x="796" y="238"/>
                  </a:lnTo>
                  <a:lnTo>
                    <a:pt x="778" y="242"/>
                  </a:lnTo>
                  <a:lnTo>
                    <a:pt x="758" y="260"/>
                  </a:lnTo>
                  <a:lnTo>
                    <a:pt x="740" y="290"/>
                  </a:lnTo>
                  <a:lnTo>
                    <a:pt x="734" y="332"/>
                  </a:lnTo>
                  <a:lnTo>
                    <a:pt x="736" y="336"/>
                  </a:lnTo>
                  <a:lnTo>
                    <a:pt x="738" y="342"/>
                  </a:lnTo>
                  <a:lnTo>
                    <a:pt x="748" y="342"/>
                  </a:lnTo>
                  <a:lnTo>
                    <a:pt x="756" y="344"/>
                  </a:lnTo>
                  <a:lnTo>
                    <a:pt x="760" y="352"/>
                  </a:lnTo>
                  <a:lnTo>
                    <a:pt x="768" y="378"/>
                  </a:lnTo>
                  <a:lnTo>
                    <a:pt x="782" y="374"/>
                  </a:lnTo>
                  <a:lnTo>
                    <a:pt x="800" y="374"/>
                  </a:lnTo>
                  <a:lnTo>
                    <a:pt x="814" y="380"/>
                  </a:lnTo>
                  <a:lnTo>
                    <a:pt x="830" y="382"/>
                  </a:lnTo>
                  <a:lnTo>
                    <a:pt x="846" y="398"/>
                  </a:lnTo>
                  <a:lnTo>
                    <a:pt x="864" y="408"/>
                  </a:lnTo>
                  <a:lnTo>
                    <a:pt x="886" y="416"/>
                  </a:lnTo>
                  <a:lnTo>
                    <a:pt x="896" y="416"/>
                  </a:lnTo>
                  <a:lnTo>
                    <a:pt x="904" y="418"/>
                  </a:lnTo>
                  <a:lnTo>
                    <a:pt x="916" y="420"/>
                  </a:lnTo>
                  <a:lnTo>
                    <a:pt x="928" y="420"/>
                  </a:lnTo>
                  <a:lnTo>
                    <a:pt x="932" y="442"/>
                  </a:lnTo>
                  <a:lnTo>
                    <a:pt x="932" y="456"/>
                  </a:lnTo>
                  <a:lnTo>
                    <a:pt x="932" y="462"/>
                  </a:lnTo>
                  <a:lnTo>
                    <a:pt x="932" y="470"/>
                  </a:lnTo>
                  <a:lnTo>
                    <a:pt x="944" y="484"/>
                  </a:lnTo>
                  <a:lnTo>
                    <a:pt x="956" y="498"/>
                  </a:lnTo>
                  <a:lnTo>
                    <a:pt x="962" y="502"/>
                  </a:lnTo>
                  <a:lnTo>
                    <a:pt x="970" y="506"/>
                  </a:lnTo>
                  <a:lnTo>
                    <a:pt x="984" y="498"/>
                  </a:lnTo>
                  <a:lnTo>
                    <a:pt x="988" y="490"/>
                  </a:lnTo>
                  <a:lnTo>
                    <a:pt x="990" y="482"/>
                  </a:lnTo>
                  <a:lnTo>
                    <a:pt x="984" y="462"/>
                  </a:lnTo>
                  <a:lnTo>
                    <a:pt x="980" y="448"/>
                  </a:lnTo>
                  <a:lnTo>
                    <a:pt x="972" y="428"/>
                  </a:lnTo>
                  <a:lnTo>
                    <a:pt x="980" y="424"/>
                  </a:lnTo>
                  <a:lnTo>
                    <a:pt x="1002" y="418"/>
                  </a:lnTo>
                  <a:lnTo>
                    <a:pt x="1012" y="406"/>
                  </a:lnTo>
                  <a:lnTo>
                    <a:pt x="1022" y="394"/>
                  </a:lnTo>
                  <a:lnTo>
                    <a:pt x="1020" y="372"/>
                  </a:lnTo>
                  <a:lnTo>
                    <a:pt x="1010" y="354"/>
                  </a:lnTo>
                  <a:lnTo>
                    <a:pt x="998" y="346"/>
                  </a:lnTo>
                  <a:lnTo>
                    <a:pt x="988" y="340"/>
                  </a:lnTo>
                  <a:lnTo>
                    <a:pt x="990" y="334"/>
                  </a:lnTo>
                  <a:lnTo>
                    <a:pt x="996" y="328"/>
                  </a:lnTo>
                  <a:lnTo>
                    <a:pt x="1006" y="316"/>
                  </a:lnTo>
                  <a:lnTo>
                    <a:pt x="1004" y="304"/>
                  </a:lnTo>
                  <a:lnTo>
                    <a:pt x="1002" y="292"/>
                  </a:lnTo>
                  <a:lnTo>
                    <a:pt x="1006" y="274"/>
                  </a:lnTo>
                  <a:lnTo>
                    <a:pt x="996" y="264"/>
                  </a:lnTo>
                  <a:lnTo>
                    <a:pt x="1000" y="250"/>
                  </a:lnTo>
                  <a:lnTo>
                    <a:pt x="1018" y="250"/>
                  </a:lnTo>
                  <a:lnTo>
                    <a:pt x="1034" y="256"/>
                  </a:lnTo>
                  <a:lnTo>
                    <a:pt x="1044" y="258"/>
                  </a:lnTo>
                  <a:lnTo>
                    <a:pt x="1058" y="256"/>
                  </a:lnTo>
                  <a:lnTo>
                    <a:pt x="1064" y="248"/>
                  </a:lnTo>
                  <a:lnTo>
                    <a:pt x="1076" y="256"/>
                  </a:lnTo>
                  <a:lnTo>
                    <a:pt x="1090" y="266"/>
                  </a:lnTo>
                  <a:lnTo>
                    <a:pt x="1098" y="278"/>
                  </a:lnTo>
                  <a:lnTo>
                    <a:pt x="1112" y="286"/>
                  </a:lnTo>
                  <a:lnTo>
                    <a:pt x="1134" y="290"/>
                  </a:lnTo>
                  <a:lnTo>
                    <a:pt x="1130" y="300"/>
                  </a:lnTo>
                  <a:lnTo>
                    <a:pt x="1130" y="314"/>
                  </a:lnTo>
                  <a:lnTo>
                    <a:pt x="1136" y="328"/>
                  </a:lnTo>
                  <a:lnTo>
                    <a:pt x="1136" y="336"/>
                  </a:lnTo>
                  <a:lnTo>
                    <a:pt x="1148" y="338"/>
                  </a:lnTo>
                  <a:lnTo>
                    <a:pt x="1156" y="346"/>
                  </a:lnTo>
                  <a:lnTo>
                    <a:pt x="1168" y="352"/>
                  </a:lnTo>
                  <a:lnTo>
                    <a:pt x="1182" y="340"/>
                  </a:lnTo>
                  <a:lnTo>
                    <a:pt x="1196" y="328"/>
                  </a:lnTo>
                  <a:lnTo>
                    <a:pt x="1196" y="316"/>
                  </a:lnTo>
                  <a:lnTo>
                    <a:pt x="1204" y="306"/>
                  </a:lnTo>
                  <a:lnTo>
                    <a:pt x="1210" y="300"/>
                  </a:lnTo>
                  <a:lnTo>
                    <a:pt x="1218" y="312"/>
                  </a:lnTo>
                  <a:lnTo>
                    <a:pt x="1228" y="328"/>
                  </a:lnTo>
                  <a:lnTo>
                    <a:pt x="1242" y="346"/>
                  </a:lnTo>
                  <a:lnTo>
                    <a:pt x="1244" y="354"/>
                  </a:lnTo>
                  <a:lnTo>
                    <a:pt x="1254" y="360"/>
                  </a:lnTo>
                  <a:lnTo>
                    <a:pt x="1256" y="372"/>
                  </a:lnTo>
                  <a:lnTo>
                    <a:pt x="1260" y="384"/>
                  </a:lnTo>
                  <a:lnTo>
                    <a:pt x="1254" y="390"/>
                  </a:lnTo>
                  <a:lnTo>
                    <a:pt x="1256" y="398"/>
                  </a:lnTo>
                  <a:lnTo>
                    <a:pt x="1272" y="408"/>
                  </a:lnTo>
                  <a:lnTo>
                    <a:pt x="1274" y="412"/>
                  </a:lnTo>
                  <a:lnTo>
                    <a:pt x="1274" y="418"/>
                  </a:lnTo>
                  <a:lnTo>
                    <a:pt x="1284" y="422"/>
                  </a:lnTo>
                  <a:lnTo>
                    <a:pt x="1298" y="426"/>
                  </a:lnTo>
                  <a:lnTo>
                    <a:pt x="1310" y="430"/>
                  </a:lnTo>
                  <a:lnTo>
                    <a:pt x="1318" y="430"/>
                  </a:lnTo>
                  <a:lnTo>
                    <a:pt x="1314" y="438"/>
                  </a:lnTo>
                  <a:lnTo>
                    <a:pt x="1300" y="444"/>
                  </a:lnTo>
                  <a:lnTo>
                    <a:pt x="1292" y="448"/>
                  </a:lnTo>
                  <a:lnTo>
                    <a:pt x="1280" y="454"/>
                  </a:lnTo>
                  <a:lnTo>
                    <a:pt x="1282" y="456"/>
                  </a:lnTo>
                  <a:lnTo>
                    <a:pt x="1282" y="458"/>
                  </a:lnTo>
                  <a:lnTo>
                    <a:pt x="1284" y="458"/>
                  </a:lnTo>
                  <a:lnTo>
                    <a:pt x="1300" y="450"/>
                  </a:lnTo>
                  <a:lnTo>
                    <a:pt x="1314" y="444"/>
                  </a:lnTo>
                  <a:lnTo>
                    <a:pt x="1324" y="442"/>
                  </a:lnTo>
                  <a:lnTo>
                    <a:pt x="1328" y="452"/>
                  </a:lnTo>
                  <a:lnTo>
                    <a:pt x="1330" y="452"/>
                  </a:lnTo>
                  <a:lnTo>
                    <a:pt x="1336" y="452"/>
                  </a:lnTo>
                  <a:lnTo>
                    <a:pt x="1348" y="458"/>
                  </a:lnTo>
                  <a:lnTo>
                    <a:pt x="1350" y="474"/>
                  </a:lnTo>
                  <a:lnTo>
                    <a:pt x="1348" y="488"/>
                  </a:lnTo>
                  <a:lnTo>
                    <a:pt x="1340" y="496"/>
                  </a:lnTo>
                  <a:lnTo>
                    <a:pt x="1330" y="502"/>
                  </a:lnTo>
                  <a:lnTo>
                    <a:pt x="1310" y="502"/>
                  </a:lnTo>
                  <a:lnTo>
                    <a:pt x="1302" y="512"/>
                  </a:lnTo>
                  <a:lnTo>
                    <a:pt x="1286" y="524"/>
                  </a:lnTo>
                  <a:lnTo>
                    <a:pt x="1264" y="528"/>
                  </a:lnTo>
                  <a:lnTo>
                    <a:pt x="1238" y="524"/>
                  </a:lnTo>
                  <a:lnTo>
                    <a:pt x="1218" y="524"/>
                  </a:lnTo>
                  <a:lnTo>
                    <a:pt x="1190" y="526"/>
                  </a:lnTo>
                  <a:lnTo>
                    <a:pt x="1174" y="532"/>
                  </a:lnTo>
                  <a:lnTo>
                    <a:pt x="1166" y="544"/>
                  </a:lnTo>
                  <a:lnTo>
                    <a:pt x="1152" y="548"/>
                  </a:lnTo>
                  <a:lnTo>
                    <a:pt x="1138" y="560"/>
                  </a:lnTo>
                  <a:lnTo>
                    <a:pt x="1128" y="570"/>
                  </a:lnTo>
                  <a:lnTo>
                    <a:pt x="1114" y="586"/>
                  </a:lnTo>
                  <a:lnTo>
                    <a:pt x="1112" y="590"/>
                  </a:lnTo>
                  <a:lnTo>
                    <a:pt x="1110" y="592"/>
                  </a:lnTo>
                  <a:lnTo>
                    <a:pt x="1110" y="594"/>
                  </a:lnTo>
                  <a:lnTo>
                    <a:pt x="1116" y="590"/>
                  </a:lnTo>
                  <a:lnTo>
                    <a:pt x="1120" y="588"/>
                  </a:lnTo>
                  <a:lnTo>
                    <a:pt x="1134" y="572"/>
                  </a:lnTo>
                  <a:lnTo>
                    <a:pt x="1150" y="562"/>
                  </a:lnTo>
                  <a:lnTo>
                    <a:pt x="1168" y="554"/>
                  </a:lnTo>
                  <a:lnTo>
                    <a:pt x="1174" y="550"/>
                  </a:lnTo>
                  <a:lnTo>
                    <a:pt x="1184" y="546"/>
                  </a:lnTo>
                  <a:lnTo>
                    <a:pt x="1202" y="548"/>
                  </a:lnTo>
                  <a:lnTo>
                    <a:pt x="1214" y="552"/>
                  </a:lnTo>
                  <a:lnTo>
                    <a:pt x="1218" y="56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43" name="Freeform 17">
              <a:extLst>
                <a:ext uri="{FF2B5EF4-FFF2-40B4-BE49-F238E27FC236}">
                  <a16:creationId xmlns:a16="http://schemas.microsoft.com/office/drawing/2014/main" id="{10AA9B25-7833-4FCE-82A5-DE6D7B767CEF}"/>
                </a:ext>
              </a:extLst>
            </p:cNvPr>
            <p:cNvSpPr>
              <a:spLocks/>
            </p:cNvSpPr>
            <p:nvPr/>
          </p:nvSpPr>
          <p:spPr bwMode="gray">
            <a:xfrm>
              <a:off x="3018138" y="2274645"/>
              <a:ext cx="62740" cy="46475"/>
            </a:xfrm>
            <a:custGeom>
              <a:avLst/>
              <a:gdLst>
                <a:gd name="T0" fmla="*/ 6 w 38"/>
                <a:gd name="T1" fmla="*/ 0 h 28"/>
                <a:gd name="T2" fmla="*/ 22 w 38"/>
                <a:gd name="T3" fmla="*/ 0 h 28"/>
                <a:gd name="T4" fmla="*/ 36 w 38"/>
                <a:gd name="T5" fmla="*/ 0 h 28"/>
                <a:gd name="T6" fmla="*/ 38 w 38"/>
                <a:gd name="T7" fmla="*/ 8 h 28"/>
                <a:gd name="T8" fmla="*/ 34 w 38"/>
                <a:gd name="T9" fmla="*/ 20 h 28"/>
                <a:gd name="T10" fmla="*/ 28 w 38"/>
                <a:gd name="T11" fmla="*/ 28 h 28"/>
                <a:gd name="T12" fmla="*/ 22 w 38"/>
                <a:gd name="T13" fmla="*/ 24 h 28"/>
                <a:gd name="T14" fmla="*/ 14 w 38"/>
                <a:gd name="T15" fmla="*/ 14 h 28"/>
                <a:gd name="T16" fmla="*/ 6 w 38"/>
                <a:gd name="T17" fmla="*/ 10 h 28"/>
                <a:gd name="T18" fmla="*/ 0 w 38"/>
                <a:gd name="T19" fmla="*/ 4 h 28"/>
                <a:gd name="T20" fmla="*/ 6 w 38"/>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 h="28">
                  <a:moveTo>
                    <a:pt x="6" y="0"/>
                  </a:moveTo>
                  <a:lnTo>
                    <a:pt x="22" y="0"/>
                  </a:lnTo>
                  <a:lnTo>
                    <a:pt x="36" y="0"/>
                  </a:lnTo>
                  <a:lnTo>
                    <a:pt x="38" y="8"/>
                  </a:lnTo>
                  <a:lnTo>
                    <a:pt x="34" y="20"/>
                  </a:lnTo>
                  <a:lnTo>
                    <a:pt x="28" y="28"/>
                  </a:lnTo>
                  <a:lnTo>
                    <a:pt x="22" y="24"/>
                  </a:lnTo>
                  <a:lnTo>
                    <a:pt x="14" y="14"/>
                  </a:lnTo>
                  <a:lnTo>
                    <a:pt x="6" y="10"/>
                  </a:lnTo>
                  <a:lnTo>
                    <a:pt x="0" y="4"/>
                  </a:lnTo>
                  <a:lnTo>
                    <a:pt x="6"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44" name="Freeform 18">
              <a:extLst>
                <a:ext uri="{FF2B5EF4-FFF2-40B4-BE49-F238E27FC236}">
                  <a16:creationId xmlns:a16="http://schemas.microsoft.com/office/drawing/2014/main" id="{8D69FD19-08F2-4EF9-B23E-C45E0AAE3920}"/>
                </a:ext>
              </a:extLst>
            </p:cNvPr>
            <p:cNvSpPr>
              <a:spLocks/>
            </p:cNvSpPr>
            <p:nvPr/>
          </p:nvSpPr>
          <p:spPr bwMode="gray">
            <a:xfrm>
              <a:off x="2605370" y="2068826"/>
              <a:ext cx="184920" cy="96271"/>
            </a:xfrm>
            <a:custGeom>
              <a:avLst/>
              <a:gdLst>
                <a:gd name="T0" fmla="*/ 0 w 112"/>
                <a:gd name="T1" fmla="*/ 50 h 58"/>
                <a:gd name="T2" fmla="*/ 4 w 112"/>
                <a:gd name="T3" fmla="*/ 40 h 58"/>
                <a:gd name="T4" fmla="*/ 16 w 112"/>
                <a:gd name="T5" fmla="*/ 38 h 58"/>
                <a:gd name="T6" fmla="*/ 26 w 112"/>
                <a:gd name="T7" fmla="*/ 32 h 58"/>
                <a:gd name="T8" fmla="*/ 36 w 112"/>
                <a:gd name="T9" fmla="*/ 26 h 58"/>
                <a:gd name="T10" fmla="*/ 50 w 112"/>
                <a:gd name="T11" fmla="*/ 18 h 58"/>
                <a:gd name="T12" fmla="*/ 58 w 112"/>
                <a:gd name="T13" fmla="*/ 10 h 58"/>
                <a:gd name="T14" fmla="*/ 76 w 112"/>
                <a:gd name="T15" fmla="*/ 8 h 58"/>
                <a:gd name="T16" fmla="*/ 86 w 112"/>
                <a:gd name="T17" fmla="*/ 8 h 58"/>
                <a:gd name="T18" fmla="*/ 92 w 112"/>
                <a:gd name="T19" fmla="*/ 12 h 58"/>
                <a:gd name="T20" fmla="*/ 96 w 112"/>
                <a:gd name="T21" fmla="*/ 0 h 58"/>
                <a:gd name="T22" fmla="*/ 106 w 112"/>
                <a:gd name="T23" fmla="*/ 4 h 58"/>
                <a:gd name="T24" fmla="*/ 112 w 112"/>
                <a:gd name="T25" fmla="*/ 8 h 58"/>
                <a:gd name="T26" fmla="*/ 108 w 112"/>
                <a:gd name="T27" fmla="*/ 14 h 58"/>
                <a:gd name="T28" fmla="*/ 100 w 112"/>
                <a:gd name="T29" fmla="*/ 16 h 58"/>
                <a:gd name="T30" fmla="*/ 106 w 112"/>
                <a:gd name="T31" fmla="*/ 24 h 58"/>
                <a:gd name="T32" fmla="*/ 104 w 112"/>
                <a:gd name="T33" fmla="*/ 30 h 58"/>
                <a:gd name="T34" fmla="*/ 96 w 112"/>
                <a:gd name="T35" fmla="*/ 32 h 58"/>
                <a:gd name="T36" fmla="*/ 90 w 112"/>
                <a:gd name="T37" fmla="*/ 38 h 58"/>
                <a:gd name="T38" fmla="*/ 84 w 112"/>
                <a:gd name="T39" fmla="*/ 44 h 58"/>
                <a:gd name="T40" fmla="*/ 74 w 112"/>
                <a:gd name="T41" fmla="*/ 42 h 58"/>
                <a:gd name="T42" fmla="*/ 76 w 112"/>
                <a:gd name="T43" fmla="*/ 32 h 58"/>
                <a:gd name="T44" fmla="*/ 72 w 112"/>
                <a:gd name="T45" fmla="*/ 28 h 58"/>
                <a:gd name="T46" fmla="*/ 66 w 112"/>
                <a:gd name="T47" fmla="*/ 30 h 58"/>
                <a:gd name="T48" fmla="*/ 64 w 112"/>
                <a:gd name="T49" fmla="*/ 34 h 58"/>
                <a:gd name="T50" fmla="*/ 64 w 112"/>
                <a:gd name="T51" fmla="*/ 40 h 58"/>
                <a:gd name="T52" fmla="*/ 60 w 112"/>
                <a:gd name="T53" fmla="*/ 48 h 58"/>
                <a:gd name="T54" fmla="*/ 54 w 112"/>
                <a:gd name="T55" fmla="*/ 50 h 58"/>
                <a:gd name="T56" fmla="*/ 48 w 112"/>
                <a:gd name="T57" fmla="*/ 48 h 58"/>
                <a:gd name="T58" fmla="*/ 48 w 112"/>
                <a:gd name="T59" fmla="*/ 58 h 58"/>
                <a:gd name="T60" fmla="*/ 34 w 112"/>
                <a:gd name="T61" fmla="*/ 58 h 58"/>
                <a:gd name="T62" fmla="*/ 32 w 112"/>
                <a:gd name="T63" fmla="*/ 50 h 58"/>
                <a:gd name="T64" fmla="*/ 24 w 112"/>
                <a:gd name="T65" fmla="*/ 50 h 58"/>
                <a:gd name="T66" fmla="*/ 24 w 112"/>
                <a:gd name="T67" fmla="*/ 54 h 58"/>
                <a:gd name="T68" fmla="*/ 8 w 112"/>
                <a:gd name="T69" fmla="*/ 54 h 58"/>
                <a:gd name="T70" fmla="*/ 0 w 112"/>
                <a:gd name="T71"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2" h="58">
                  <a:moveTo>
                    <a:pt x="0" y="50"/>
                  </a:moveTo>
                  <a:lnTo>
                    <a:pt x="4" y="40"/>
                  </a:lnTo>
                  <a:lnTo>
                    <a:pt x="16" y="38"/>
                  </a:lnTo>
                  <a:lnTo>
                    <a:pt x="26" y="32"/>
                  </a:lnTo>
                  <a:lnTo>
                    <a:pt x="36" y="26"/>
                  </a:lnTo>
                  <a:lnTo>
                    <a:pt x="50" y="18"/>
                  </a:lnTo>
                  <a:lnTo>
                    <a:pt x="58" y="10"/>
                  </a:lnTo>
                  <a:lnTo>
                    <a:pt x="76" y="8"/>
                  </a:lnTo>
                  <a:lnTo>
                    <a:pt x="86" y="8"/>
                  </a:lnTo>
                  <a:lnTo>
                    <a:pt x="92" y="12"/>
                  </a:lnTo>
                  <a:lnTo>
                    <a:pt x="96" y="0"/>
                  </a:lnTo>
                  <a:lnTo>
                    <a:pt x="106" y="4"/>
                  </a:lnTo>
                  <a:lnTo>
                    <a:pt x="112" y="8"/>
                  </a:lnTo>
                  <a:lnTo>
                    <a:pt x="108" y="14"/>
                  </a:lnTo>
                  <a:lnTo>
                    <a:pt x="100" y="16"/>
                  </a:lnTo>
                  <a:lnTo>
                    <a:pt x="106" y="24"/>
                  </a:lnTo>
                  <a:lnTo>
                    <a:pt x="104" y="30"/>
                  </a:lnTo>
                  <a:lnTo>
                    <a:pt x="96" y="32"/>
                  </a:lnTo>
                  <a:lnTo>
                    <a:pt x="90" y="38"/>
                  </a:lnTo>
                  <a:lnTo>
                    <a:pt x="84" y="44"/>
                  </a:lnTo>
                  <a:lnTo>
                    <a:pt x="74" y="42"/>
                  </a:lnTo>
                  <a:lnTo>
                    <a:pt x="76" y="32"/>
                  </a:lnTo>
                  <a:lnTo>
                    <a:pt x="72" y="28"/>
                  </a:lnTo>
                  <a:lnTo>
                    <a:pt x="66" y="30"/>
                  </a:lnTo>
                  <a:lnTo>
                    <a:pt x="64" y="34"/>
                  </a:lnTo>
                  <a:lnTo>
                    <a:pt x="64" y="40"/>
                  </a:lnTo>
                  <a:lnTo>
                    <a:pt x="60" y="48"/>
                  </a:lnTo>
                  <a:lnTo>
                    <a:pt x="54" y="50"/>
                  </a:lnTo>
                  <a:lnTo>
                    <a:pt x="48" y="48"/>
                  </a:lnTo>
                  <a:lnTo>
                    <a:pt x="48" y="58"/>
                  </a:lnTo>
                  <a:lnTo>
                    <a:pt x="34" y="58"/>
                  </a:lnTo>
                  <a:lnTo>
                    <a:pt x="32" y="50"/>
                  </a:lnTo>
                  <a:lnTo>
                    <a:pt x="24" y="50"/>
                  </a:lnTo>
                  <a:lnTo>
                    <a:pt x="24" y="54"/>
                  </a:lnTo>
                  <a:lnTo>
                    <a:pt x="8" y="54"/>
                  </a:lnTo>
                  <a:lnTo>
                    <a:pt x="0" y="5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45" name="Freeform 19">
              <a:extLst>
                <a:ext uri="{FF2B5EF4-FFF2-40B4-BE49-F238E27FC236}">
                  <a16:creationId xmlns:a16="http://schemas.microsoft.com/office/drawing/2014/main" id="{141D3012-A27F-4011-825C-745B884E3396}"/>
                </a:ext>
              </a:extLst>
            </p:cNvPr>
            <p:cNvSpPr>
              <a:spLocks/>
            </p:cNvSpPr>
            <p:nvPr/>
          </p:nvSpPr>
          <p:spPr bwMode="gray">
            <a:xfrm>
              <a:off x="2694528" y="2151817"/>
              <a:ext cx="46230" cy="33197"/>
            </a:xfrm>
            <a:custGeom>
              <a:avLst/>
              <a:gdLst>
                <a:gd name="T0" fmla="*/ 18 w 28"/>
                <a:gd name="T1" fmla="*/ 0 h 20"/>
                <a:gd name="T2" fmla="*/ 28 w 28"/>
                <a:gd name="T3" fmla="*/ 2 h 20"/>
                <a:gd name="T4" fmla="*/ 26 w 28"/>
                <a:gd name="T5" fmla="*/ 8 h 20"/>
                <a:gd name="T6" fmla="*/ 20 w 28"/>
                <a:gd name="T7" fmla="*/ 18 h 20"/>
                <a:gd name="T8" fmla="*/ 12 w 28"/>
                <a:gd name="T9" fmla="*/ 20 h 20"/>
                <a:gd name="T10" fmla="*/ 0 w 28"/>
                <a:gd name="T11" fmla="*/ 16 h 20"/>
                <a:gd name="T12" fmla="*/ 4 w 28"/>
                <a:gd name="T13" fmla="*/ 8 h 20"/>
                <a:gd name="T14" fmla="*/ 14 w 28"/>
                <a:gd name="T15" fmla="*/ 2 h 20"/>
                <a:gd name="T16" fmla="*/ 18 w 28"/>
                <a:gd name="T1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20">
                  <a:moveTo>
                    <a:pt x="18" y="0"/>
                  </a:moveTo>
                  <a:lnTo>
                    <a:pt x="28" y="2"/>
                  </a:lnTo>
                  <a:lnTo>
                    <a:pt x="26" y="8"/>
                  </a:lnTo>
                  <a:lnTo>
                    <a:pt x="20" y="18"/>
                  </a:lnTo>
                  <a:lnTo>
                    <a:pt x="12" y="20"/>
                  </a:lnTo>
                  <a:lnTo>
                    <a:pt x="0" y="16"/>
                  </a:lnTo>
                  <a:lnTo>
                    <a:pt x="4" y="8"/>
                  </a:lnTo>
                  <a:lnTo>
                    <a:pt x="14" y="2"/>
                  </a:lnTo>
                  <a:lnTo>
                    <a:pt x="18"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46" name="Freeform 20">
              <a:extLst>
                <a:ext uri="{FF2B5EF4-FFF2-40B4-BE49-F238E27FC236}">
                  <a16:creationId xmlns:a16="http://schemas.microsoft.com/office/drawing/2014/main" id="{911F81F2-0564-41BF-ADF7-EA8AF49AF241}"/>
                </a:ext>
              </a:extLst>
            </p:cNvPr>
            <p:cNvSpPr>
              <a:spLocks/>
            </p:cNvSpPr>
            <p:nvPr/>
          </p:nvSpPr>
          <p:spPr bwMode="gray">
            <a:xfrm>
              <a:off x="2853031" y="2042269"/>
              <a:ext cx="92460" cy="43155"/>
            </a:xfrm>
            <a:custGeom>
              <a:avLst/>
              <a:gdLst>
                <a:gd name="T0" fmla="*/ 0 w 56"/>
                <a:gd name="T1" fmla="*/ 6 h 26"/>
                <a:gd name="T2" fmla="*/ 14 w 56"/>
                <a:gd name="T3" fmla="*/ 0 h 26"/>
                <a:gd name="T4" fmla="*/ 32 w 56"/>
                <a:gd name="T5" fmla="*/ 0 h 26"/>
                <a:gd name="T6" fmla="*/ 54 w 56"/>
                <a:gd name="T7" fmla="*/ 0 h 26"/>
                <a:gd name="T8" fmla="*/ 56 w 56"/>
                <a:gd name="T9" fmla="*/ 6 h 26"/>
                <a:gd name="T10" fmla="*/ 44 w 56"/>
                <a:gd name="T11" fmla="*/ 8 h 26"/>
                <a:gd name="T12" fmla="*/ 40 w 56"/>
                <a:gd name="T13" fmla="*/ 12 h 26"/>
                <a:gd name="T14" fmla="*/ 50 w 56"/>
                <a:gd name="T15" fmla="*/ 12 h 26"/>
                <a:gd name="T16" fmla="*/ 50 w 56"/>
                <a:gd name="T17" fmla="*/ 18 h 26"/>
                <a:gd name="T18" fmla="*/ 44 w 56"/>
                <a:gd name="T19" fmla="*/ 24 h 26"/>
                <a:gd name="T20" fmla="*/ 32 w 56"/>
                <a:gd name="T21" fmla="*/ 24 h 26"/>
                <a:gd name="T22" fmla="*/ 22 w 56"/>
                <a:gd name="T23" fmla="*/ 24 h 26"/>
                <a:gd name="T24" fmla="*/ 16 w 56"/>
                <a:gd name="T25" fmla="*/ 26 h 26"/>
                <a:gd name="T26" fmla="*/ 4 w 56"/>
                <a:gd name="T27" fmla="*/ 20 h 26"/>
                <a:gd name="T28" fmla="*/ 0 w 56"/>
                <a:gd name="T29" fmla="*/ 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6" h="26">
                  <a:moveTo>
                    <a:pt x="0" y="6"/>
                  </a:moveTo>
                  <a:lnTo>
                    <a:pt x="14" y="0"/>
                  </a:lnTo>
                  <a:lnTo>
                    <a:pt x="32" y="0"/>
                  </a:lnTo>
                  <a:lnTo>
                    <a:pt x="54" y="0"/>
                  </a:lnTo>
                  <a:lnTo>
                    <a:pt x="56" y="6"/>
                  </a:lnTo>
                  <a:lnTo>
                    <a:pt x="44" y="8"/>
                  </a:lnTo>
                  <a:lnTo>
                    <a:pt x="40" y="12"/>
                  </a:lnTo>
                  <a:lnTo>
                    <a:pt x="50" y="12"/>
                  </a:lnTo>
                  <a:lnTo>
                    <a:pt x="50" y="18"/>
                  </a:lnTo>
                  <a:lnTo>
                    <a:pt x="44" y="24"/>
                  </a:lnTo>
                  <a:lnTo>
                    <a:pt x="32" y="24"/>
                  </a:lnTo>
                  <a:lnTo>
                    <a:pt x="22" y="24"/>
                  </a:lnTo>
                  <a:lnTo>
                    <a:pt x="16" y="26"/>
                  </a:lnTo>
                  <a:lnTo>
                    <a:pt x="4" y="20"/>
                  </a:lnTo>
                  <a:lnTo>
                    <a:pt x="0" y="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47" name="Freeform 21">
              <a:extLst>
                <a:ext uri="{FF2B5EF4-FFF2-40B4-BE49-F238E27FC236}">
                  <a16:creationId xmlns:a16="http://schemas.microsoft.com/office/drawing/2014/main" id="{026C713C-FB6D-419E-B84D-99241582B4BB}"/>
                </a:ext>
              </a:extLst>
            </p:cNvPr>
            <p:cNvSpPr>
              <a:spLocks/>
            </p:cNvSpPr>
            <p:nvPr/>
          </p:nvSpPr>
          <p:spPr bwMode="gray">
            <a:xfrm>
              <a:off x="2853031" y="2002433"/>
              <a:ext cx="105669" cy="29876"/>
            </a:xfrm>
            <a:custGeom>
              <a:avLst/>
              <a:gdLst>
                <a:gd name="T0" fmla="*/ 8 w 64"/>
                <a:gd name="T1" fmla="*/ 12 h 18"/>
                <a:gd name="T2" fmla="*/ 24 w 64"/>
                <a:gd name="T3" fmla="*/ 6 h 18"/>
                <a:gd name="T4" fmla="*/ 42 w 64"/>
                <a:gd name="T5" fmla="*/ 0 h 18"/>
                <a:gd name="T6" fmla="*/ 56 w 64"/>
                <a:gd name="T7" fmla="*/ 2 h 18"/>
                <a:gd name="T8" fmla="*/ 64 w 64"/>
                <a:gd name="T9" fmla="*/ 8 h 18"/>
                <a:gd name="T10" fmla="*/ 62 w 64"/>
                <a:gd name="T11" fmla="*/ 14 h 18"/>
                <a:gd name="T12" fmla="*/ 52 w 64"/>
                <a:gd name="T13" fmla="*/ 16 h 18"/>
                <a:gd name="T14" fmla="*/ 34 w 64"/>
                <a:gd name="T15" fmla="*/ 16 h 18"/>
                <a:gd name="T16" fmla="*/ 14 w 64"/>
                <a:gd name="T17" fmla="*/ 18 h 18"/>
                <a:gd name="T18" fmla="*/ 0 w 64"/>
                <a:gd name="T19" fmla="*/ 18 h 18"/>
                <a:gd name="T20" fmla="*/ 8 w 64"/>
                <a:gd name="T21" fmla="*/ 1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18">
                  <a:moveTo>
                    <a:pt x="8" y="12"/>
                  </a:moveTo>
                  <a:lnTo>
                    <a:pt x="24" y="6"/>
                  </a:lnTo>
                  <a:lnTo>
                    <a:pt x="42" y="0"/>
                  </a:lnTo>
                  <a:lnTo>
                    <a:pt x="56" y="2"/>
                  </a:lnTo>
                  <a:lnTo>
                    <a:pt x="64" y="8"/>
                  </a:lnTo>
                  <a:lnTo>
                    <a:pt x="62" y="14"/>
                  </a:lnTo>
                  <a:lnTo>
                    <a:pt x="52" y="16"/>
                  </a:lnTo>
                  <a:lnTo>
                    <a:pt x="34" y="16"/>
                  </a:lnTo>
                  <a:lnTo>
                    <a:pt x="14" y="18"/>
                  </a:lnTo>
                  <a:lnTo>
                    <a:pt x="0" y="18"/>
                  </a:lnTo>
                  <a:lnTo>
                    <a:pt x="8" y="1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48" name="Freeform 22">
              <a:extLst>
                <a:ext uri="{FF2B5EF4-FFF2-40B4-BE49-F238E27FC236}">
                  <a16:creationId xmlns:a16="http://schemas.microsoft.com/office/drawing/2014/main" id="{9DA920A7-555B-47CA-99C7-A32C855C2563}"/>
                </a:ext>
              </a:extLst>
            </p:cNvPr>
            <p:cNvSpPr>
              <a:spLocks/>
            </p:cNvSpPr>
            <p:nvPr/>
          </p:nvSpPr>
          <p:spPr bwMode="gray">
            <a:xfrm>
              <a:off x="3133714" y="2271325"/>
              <a:ext cx="158503" cy="129466"/>
            </a:xfrm>
            <a:custGeom>
              <a:avLst/>
              <a:gdLst>
                <a:gd name="T0" fmla="*/ 62 w 96"/>
                <a:gd name="T1" fmla="*/ 78 h 78"/>
                <a:gd name="T2" fmla="*/ 50 w 96"/>
                <a:gd name="T3" fmla="*/ 66 h 78"/>
                <a:gd name="T4" fmla="*/ 34 w 96"/>
                <a:gd name="T5" fmla="*/ 56 h 78"/>
                <a:gd name="T6" fmla="*/ 26 w 96"/>
                <a:gd name="T7" fmla="*/ 48 h 78"/>
                <a:gd name="T8" fmla="*/ 10 w 96"/>
                <a:gd name="T9" fmla="*/ 46 h 78"/>
                <a:gd name="T10" fmla="*/ 2 w 96"/>
                <a:gd name="T11" fmla="*/ 40 h 78"/>
                <a:gd name="T12" fmla="*/ 0 w 96"/>
                <a:gd name="T13" fmla="*/ 32 h 78"/>
                <a:gd name="T14" fmla="*/ 4 w 96"/>
                <a:gd name="T15" fmla="*/ 22 h 78"/>
                <a:gd name="T16" fmla="*/ 12 w 96"/>
                <a:gd name="T17" fmla="*/ 24 h 78"/>
                <a:gd name="T18" fmla="*/ 18 w 96"/>
                <a:gd name="T19" fmla="*/ 32 h 78"/>
                <a:gd name="T20" fmla="*/ 28 w 96"/>
                <a:gd name="T21" fmla="*/ 30 h 78"/>
                <a:gd name="T22" fmla="*/ 38 w 96"/>
                <a:gd name="T23" fmla="*/ 24 h 78"/>
                <a:gd name="T24" fmla="*/ 34 w 96"/>
                <a:gd name="T25" fmla="*/ 18 h 78"/>
                <a:gd name="T26" fmla="*/ 20 w 96"/>
                <a:gd name="T27" fmla="*/ 12 h 78"/>
                <a:gd name="T28" fmla="*/ 32 w 96"/>
                <a:gd name="T29" fmla="*/ 2 h 78"/>
                <a:gd name="T30" fmla="*/ 46 w 96"/>
                <a:gd name="T31" fmla="*/ 0 h 78"/>
                <a:gd name="T32" fmla="*/ 50 w 96"/>
                <a:gd name="T33" fmla="*/ 4 h 78"/>
                <a:gd name="T34" fmla="*/ 58 w 96"/>
                <a:gd name="T35" fmla="*/ 4 h 78"/>
                <a:gd name="T36" fmla="*/ 66 w 96"/>
                <a:gd name="T37" fmla="*/ 0 h 78"/>
                <a:gd name="T38" fmla="*/ 92 w 96"/>
                <a:gd name="T39" fmla="*/ 2 h 78"/>
                <a:gd name="T40" fmla="*/ 86 w 96"/>
                <a:gd name="T41" fmla="*/ 6 h 78"/>
                <a:gd name="T42" fmla="*/ 78 w 96"/>
                <a:gd name="T43" fmla="*/ 14 h 78"/>
                <a:gd name="T44" fmla="*/ 68 w 96"/>
                <a:gd name="T45" fmla="*/ 20 h 78"/>
                <a:gd name="T46" fmla="*/ 64 w 96"/>
                <a:gd name="T47" fmla="*/ 26 h 78"/>
                <a:gd name="T48" fmla="*/ 74 w 96"/>
                <a:gd name="T49" fmla="*/ 26 h 78"/>
                <a:gd name="T50" fmla="*/ 80 w 96"/>
                <a:gd name="T51" fmla="*/ 26 h 78"/>
                <a:gd name="T52" fmla="*/ 86 w 96"/>
                <a:gd name="T53" fmla="*/ 34 h 78"/>
                <a:gd name="T54" fmla="*/ 94 w 96"/>
                <a:gd name="T55" fmla="*/ 28 h 78"/>
                <a:gd name="T56" fmla="*/ 96 w 96"/>
                <a:gd name="T57" fmla="*/ 38 h 78"/>
                <a:gd name="T58" fmla="*/ 92 w 96"/>
                <a:gd name="T59" fmla="*/ 54 h 78"/>
                <a:gd name="T60" fmla="*/ 84 w 96"/>
                <a:gd name="T61" fmla="*/ 66 h 78"/>
                <a:gd name="T62" fmla="*/ 78 w 96"/>
                <a:gd name="T63" fmla="*/ 68 h 78"/>
                <a:gd name="T64" fmla="*/ 70 w 96"/>
                <a:gd name="T65" fmla="*/ 64 h 78"/>
                <a:gd name="T66" fmla="*/ 68 w 96"/>
                <a:gd name="T67" fmla="*/ 68 h 78"/>
                <a:gd name="T68" fmla="*/ 62 w 96"/>
                <a:gd name="T69"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6" h="78">
                  <a:moveTo>
                    <a:pt x="62" y="78"/>
                  </a:moveTo>
                  <a:lnTo>
                    <a:pt x="50" y="66"/>
                  </a:lnTo>
                  <a:lnTo>
                    <a:pt x="34" y="56"/>
                  </a:lnTo>
                  <a:lnTo>
                    <a:pt x="26" y="48"/>
                  </a:lnTo>
                  <a:lnTo>
                    <a:pt x="10" y="46"/>
                  </a:lnTo>
                  <a:lnTo>
                    <a:pt x="2" y="40"/>
                  </a:lnTo>
                  <a:lnTo>
                    <a:pt x="0" y="32"/>
                  </a:lnTo>
                  <a:lnTo>
                    <a:pt x="4" y="22"/>
                  </a:lnTo>
                  <a:lnTo>
                    <a:pt x="12" y="24"/>
                  </a:lnTo>
                  <a:lnTo>
                    <a:pt x="18" y="32"/>
                  </a:lnTo>
                  <a:lnTo>
                    <a:pt x="28" y="30"/>
                  </a:lnTo>
                  <a:lnTo>
                    <a:pt x="38" y="24"/>
                  </a:lnTo>
                  <a:lnTo>
                    <a:pt x="34" y="18"/>
                  </a:lnTo>
                  <a:lnTo>
                    <a:pt x="20" y="12"/>
                  </a:lnTo>
                  <a:lnTo>
                    <a:pt x="32" y="2"/>
                  </a:lnTo>
                  <a:lnTo>
                    <a:pt x="46" y="0"/>
                  </a:lnTo>
                  <a:lnTo>
                    <a:pt x="50" y="4"/>
                  </a:lnTo>
                  <a:lnTo>
                    <a:pt x="58" y="4"/>
                  </a:lnTo>
                  <a:lnTo>
                    <a:pt x="66" y="0"/>
                  </a:lnTo>
                  <a:lnTo>
                    <a:pt x="92" y="2"/>
                  </a:lnTo>
                  <a:lnTo>
                    <a:pt x="86" y="6"/>
                  </a:lnTo>
                  <a:lnTo>
                    <a:pt x="78" y="14"/>
                  </a:lnTo>
                  <a:lnTo>
                    <a:pt x="68" y="20"/>
                  </a:lnTo>
                  <a:lnTo>
                    <a:pt x="64" y="26"/>
                  </a:lnTo>
                  <a:lnTo>
                    <a:pt x="74" y="26"/>
                  </a:lnTo>
                  <a:lnTo>
                    <a:pt x="80" y="26"/>
                  </a:lnTo>
                  <a:lnTo>
                    <a:pt x="86" y="34"/>
                  </a:lnTo>
                  <a:lnTo>
                    <a:pt x="94" y="28"/>
                  </a:lnTo>
                  <a:lnTo>
                    <a:pt x="96" y="38"/>
                  </a:lnTo>
                  <a:lnTo>
                    <a:pt x="92" y="54"/>
                  </a:lnTo>
                  <a:lnTo>
                    <a:pt x="84" y="66"/>
                  </a:lnTo>
                  <a:lnTo>
                    <a:pt x="78" y="68"/>
                  </a:lnTo>
                  <a:lnTo>
                    <a:pt x="70" y="64"/>
                  </a:lnTo>
                  <a:lnTo>
                    <a:pt x="68" y="68"/>
                  </a:lnTo>
                  <a:lnTo>
                    <a:pt x="62" y="7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49" name="Freeform 23">
              <a:extLst>
                <a:ext uri="{FF2B5EF4-FFF2-40B4-BE49-F238E27FC236}">
                  <a16:creationId xmlns:a16="http://schemas.microsoft.com/office/drawing/2014/main" id="{584248A4-3395-4542-B211-2A4CA7B260E3}"/>
                </a:ext>
              </a:extLst>
            </p:cNvPr>
            <p:cNvSpPr>
              <a:spLocks/>
            </p:cNvSpPr>
            <p:nvPr/>
          </p:nvSpPr>
          <p:spPr bwMode="gray">
            <a:xfrm>
              <a:off x="3292216" y="2168416"/>
              <a:ext cx="75949" cy="56435"/>
            </a:xfrm>
            <a:custGeom>
              <a:avLst/>
              <a:gdLst>
                <a:gd name="T0" fmla="*/ 46 w 46"/>
                <a:gd name="T1" fmla="*/ 34 h 34"/>
                <a:gd name="T2" fmla="*/ 28 w 46"/>
                <a:gd name="T3" fmla="*/ 32 h 34"/>
                <a:gd name="T4" fmla="*/ 12 w 46"/>
                <a:gd name="T5" fmla="*/ 30 h 34"/>
                <a:gd name="T6" fmla="*/ 0 w 46"/>
                <a:gd name="T7" fmla="*/ 22 h 34"/>
                <a:gd name="T8" fmla="*/ 8 w 46"/>
                <a:gd name="T9" fmla="*/ 12 h 34"/>
                <a:gd name="T10" fmla="*/ 18 w 46"/>
                <a:gd name="T11" fmla="*/ 6 h 34"/>
                <a:gd name="T12" fmla="*/ 26 w 46"/>
                <a:gd name="T13" fmla="*/ 0 h 34"/>
                <a:gd name="T14" fmla="*/ 34 w 46"/>
                <a:gd name="T15" fmla="*/ 6 h 34"/>
                <a:gd name="T16" fmla="*/ 44 w 46"/>
                <a:gd name="T17" fmla="*/ 14 h 34"/>
                <a:gd name="T18" fmla="*/ 46 w 46"/>
                <a:gd name="T19" fmla="*/ 22 h 34"/>
                <a:gd name="T20" fmla="*/ 46 w 46"/>
                <a:gd name="T21"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34">
                  <a:moveTo>
                    <a:pt x="46" y="34"/>
                  </a:moveTo>
                  <a:lnTo>
                    <a:pt x="28" y="32"/>
                  </a:lnTo>
                  <a:lnTo>
                    <a:pt x="12" y="30"/>
                  </a:lnTo>
                  <a:lnTo>
                    <a:pt x="0" y="22"/>
                  </a:lnTo>
                  <a:lnTo>
                    <a:pt x="8" y="12"/>
                  </a:lnTo>
                  <a:lnTo>
                    <a:pt x="18" y="6"/>
                  </a:lnTo>
                  <a:lnTo>
                    <a:pt x="26" y="0"/>
                  </a:lnTo>
                  <a:lnTo>
                    <a:pt x="34" y="6"/>
                  </a:lnTo>
                  <a:lnTo>
                    <a:pt x="44" y="14"/>
                  </a:lnTo>
                  <a:lnTo>
                    <a:pt x="46" y="22"/>
                  </a:lnTo>
                  <a:lnTo>
                    <a:pt x="46" y="3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50" name="Freeform 24">
              <a:extLst>
                <a:ext uri="{FF2B5EF4-FFF2-40B4-BE49-F238E27FC236}">
                  <a16:creationId xmlns:a16="http://schemas.microsoft.com/office/drawing/2014/main" id="{2A6C47E8-1134-4129-AFCE-07C4E14F6B53}"/>
                </a:ext>
              </a:extLst>
            </p:cNvPr>
            <p:cNvSpPr>
              <a:spLocks/>
            </p:cNvSpPr>
            <p:nvPr/>
          </p:nvSpPr>
          <p:spPr bwMode="gray">
            <a:xfrm>
              <a:off x="3245986" y="1999114"/>
              <a:ext cx="89158" cy="53115"/>
            </a:xfrm>
            <a:custGeom>
              <a:avLst/>
              <a:gdLst>
                <a:gd name="T0" fmla="*/ 4 w 54"/>
                <a:gd name="T1" fmla="*/ 0 h 32"/>
                <a:gd name="T2" fmla="*/ 22 w 54"/>
                <a:gd name="T3" fmla="*/ 4 h 32"/>
                <a:gd name="T4" fmla="*/ 36 w 54"/>
                <a:gd name="T5" fmla="*/ 10 h 32"/>
                <a:gd name="T6" fmla="*/ 48 w 54"/>
                <a:gd name="T7" fmla="*/ 14 h 32"/>
                <a:gd name="T8" fmla="*/ 54 w 54"/>
                <a:gd name="T9" fmla="*/ 20 h 32"/>
                <a:gd name="T10" fmla="*/ 48 w 54"/>
                <a:gd name="T11" fmla="*/ 30 h 32"/>
                <a:gd name="T12" fmla="*/ 36 w 54"/>
                <a:gd name="T13" fmla="*/ 32 h 32"/>
                <a:gd name="T14" fmla="*/ 20 w 54"/>
                <a:gd name="T15" fmla="*/ 32 h 32"/>
                <a:gd name="T16" fmla="*/ 16 w 54"/>
                <a:gd name="T17" fmla="*/ 22 h 32"/>
                <a:gd name="T18" fmla="*/ 6 w 54"/>
                <a:gd name="T19" fmla="*/ 18 h 32"/>
                <a:gd name="T20" fmla="*/ 0 w 54"/>
                <a:gd name="T21" fmla="*/ 12 h 32"/>
                <a:gd name="T22" fmla="*/ 0 w 54"/>
                <a:gd name="T23" fmla="*/ 4 h 32"/>
                <a:gd name="T24" fmla="*/ 4 w 54"/>
                <a:gd name="T25"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32">
                  <a:moveTo>
                    <a:pt x="4" y="0"/>
                  </a:moveTo>
                  <a:lnTo>
                    <a:pt x="22" y="4"/>
                  </a:lnTo>
                  <a:lnTo>
                    <a:pt x="36" y="10"/>
                  </a:lnTo>
                  <a:lnTo>
                    <a:pt x="48" y="14"/>
                  </a:lnTo>
                  <a:lnTo>
                    <a:pt x="54" y="20"/>
                  </a:lnTo>
                  <a:lnTo>
                    <a:pt x="48" y="30"/>
                  </a:lnTo>
                  <a:lnTo>
                    <a:pt x="36" y="32"/>
                  </a:lnTo>
                  <a:lnTo>
                    <a:pt x="20" y="32"/>
                  </a:lnTo>
                  <a:lnTo>
                    <a:pt x="16" y="22"/>
                  </a:lnTo>
                  <a:lnTo>
                    <a:pt x="6" y="18"/>
                  </a:lnTo>
                  <a:lnTo>
                    <a:pt x="0" y="12"/>
                  </a:lnTo>
                  <a:lnTo>
                    <a:pt x="0" y="4"/>
                  </a:lnTo>
                  <a:lnTo>
                    <a:pt x="4"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51" name="Freeform 25">
              <a:extLst>
                <a:ext uri="{FF2B5EF4-FFF2-40B4-BE49-F238E27FC236}">
                  <a16:creationId xmlns:a16="http://schemas.microsoft.com/office/drawing/2014/main" id="{AD431580-CB88-47D7-9F5E-289E8E7151C7}"/>
                </a:ext>
              </a:extLst>
            </p:cNvPr>
            <p:cNvSpPr>
              <a:spLocks/>
            </p:cNvSpPr>
            <p:nvPr/>
          </p:nvSpPr>
          <p:spPr bwMode="gray">
            <a:xfrm>
              <a:off x="3285612" y="1846409"/>
              <a:ext cx="300496" cy="192540"/>
            </a:xfrm>
            <a:custGeom>
              <a:avLst/>
              <a:gdLst>
                <a:gd name="T0" fmla="*/ 116 w 182"/>
                <a:gd name="T1" fmla="*/ 110 h 116"/>
                <a:gd name="T2" fmla="*/ 102 w 182"/>
                <a:gd name="T3" fmla="*/ 104 h 116"/>
                <a:gd name="T4" fmla="*/ 96 w 182"/>
                <a:gd name="T5" fmla="*/ 112 h 116"/>
                <a:gd name="T6" fmla="*/ 66 w 182"/>
                <a:gd name="T7" fmla="*/ 110 h 116"/>
                <a:gd name="T8" fmla="*/ 78 w 182"/>
                <a:gd name="T9" fmla="*/ 102 h 116"/>
                <a:gd name="T10" fmla="*/ 62 w 182"/>
                <a:gd name="T11" fmla="*/ 96 h 116"/>
                <a:gd name="T12" fmla="*/ 40 w 182"/>
                <a:gd name="T13" fmla="*/ 86 h 116"/>
                <a:gd name="T14" fmla="*/ 70 w 182"/>
                <a:gd name="T15" fmla="*/ 82 h 116"/>
                <a:gd name="T16" fmla="*/ 96 w 182"/>
                <a:gd name="T17" fmla="*/ 80 h 116"/>
                <a:gd name="T18" fmla="*/ 78 w 182"/>
                <a:gd name="T19" fmla="*/ 72 h 116"/>
                <a:gd name="T20" fmla="*/ 50 w 182"/>
                <a:gd name="T21" fmla="*/ 74 h 116"/>
                <a:gd name="T22" fmla="*/ 24 w 182"/>
                <a:gd name="T23" fmla="*/ 74 h 116"/>
                <a:gd name="T24" fmla="*/ 0 w 182"/>
                <a:gd name="T25" fmla="*/ 44 h 116"/>
                <a:gd name="T26" fmla="*/ 14 w 182"/>
                <a:gd name="T27" fmla="*/ 48 h 116"/>
                <a:gd name="T28" fmla="*/ 36 w 182"/>
                <a:gd name="T29" fmla="*/ 42 h 116"/>
                <a:gd name="T30" fmla="*/ 16 w 182"/>
                <a:gd name="T31" fmla="*/ 38 h 116"/>
                <a:gd name="T32" fmla="*/ 24 w 182"/>
                <a:gd name="T33" fmla="*/ 28 h 116"/>
                <a:gd name="T34" fmla="*/ 42 w 182"/>
                <a:gd name="T35" fmla="*/ 26 h 116"/>
                <a:gd name="T36" fmla="*/ 24 w 182"/>
                <a:gd name="T37" fmla="*/ 18 h 116"/>
                <a:gd name="T38" fmla="*/ 34 w 182"/>
                <a:gd name="T39" fmla="*/ 10 h 116"/>
                <a:gd name="T40" fmla="*/ 58 w 182"/>
                <a:gd name="T41" fmla="*/ 10 h 116"/>
                <a:gd name="T42" fmla="*/ 42 w 182"/>
                <a:gd name="T43" fmla="*/ 4 h 116"/>
                <a:gd name="T44" fmla="*/ 70 w 182"/>
                <a:gd name="T45" fmla="*/ 2 h 116"/>
                <a:gd name="T46" fmla="*/ 118 w 182"/>
                <a:gd name="T47" fmla="*/ 34 h 116"/>
                <a:gd name="T48" fmla="*/ 126 w 182"/>
                <a:gd name="T49" fmla="*/ 48 h 116"/>
                <a:gd name="T50" fmla="*/ 138 w 182"/>
                <a:gd name="T51" fmla="*/ 34 h 116"/>
                <a:gd name="T52" fmla="*/ 142 w 182"/>
                <a:gd name="T53" fmla="*/ 46 h 116"/>
                <a:gd name="T54" fmla="*/ 152 w 182"/>
                <a:gd name="T55" fmla="*/ 58 h 116"/>
                <a:gd name="T56" fmla="*/ 164 w 182"/>
                <a:gd name="T57" fmla="*/ 66 h 116"/>
                <a:gd name="T58" fmla="*/ 176 w 182"/>
                <a:gd name="T59" fmla="*/ 68 h 116"/>
                <a:gd name="T60" fmla="*/ 178 w 182"/>
                <a:gd name="T61" fmla="*/ 80 h 116"/>
                <a:gd name="T62" fmla="*/ 162 w 182"/>
                <a:gd name="T63" fmla="*/ 82 h 116"/>
                <a:gd name="T64" fmla="*/ 140 w 182"/>
                <a:gd name="T65" fmla="*/ 98 h 116"/>
                <a:gd name="T66" fmla="*/ 144 w 182"/>
                <a:gd name="T67" fmla="*/ 82 h 116"/>
                <a:gd name="T68" fmla="*/ 134 w 182"/>
                <a:gd name="T69" fmla="*/ 92 h 116"/>
                <a:gd name="T70" fmla="*/ 136 w 182"/>
                <a:gd name="T71" fmla="*/ 102 h 116"/>
                <a:gd name="T72" fmla="*/ 136 w 182"/>
                <a:gd name="T73" fmla="*/ 108 h 116"/>
                <a:gd name="T74" fmla="*/ 128 w 182"/>
                <a:gd name="T75" fmla="*/ 106 h 116"/>
                <a:gd name="T76" fmla="*/ 124 w 182"/>
                <a:gd name="T77"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82" h="116">
                  <a:moveTo>
                    <a:pt x="124" y="116"/>
                  </a:moveTo>
                  <a:lnTo>
                    <a:pt x="116" y="110"/>
                  </a:lnTo>
                  <a:lnTo>
                    <a:pt x="108" y="100"/>
                  </a:lnTo>
                  <a:lnTo>
                    <a:pt x="102" y="104"/>
                  </a:lnTo>
                  <a:lnTo>
                    <a:pt x="104" y="110"/>
                  </a:lnTo>
                  <a:lnTo>
                    <a:pt x="96" y="112"/>
                  </a:lnTo>
                  <a:lnTo>
                    <a:pt x="84" y="116"/>
                  </a:lnTo>
                  <a:lnTo>
                    <a:pt x="66" y="110"/>
                  </a:lnTo>
                  <a:lnTo>
                    <a:pt x="64" y="100"/>
                  </a:lnTo>
                  <a:lnTo>
                    <a:pt x="78" y="102"/>
                  </a:lnTo>
                  <a:lnTo>
                    <a:pt x="76" y="98"/>
                  </a:lnTo>
                  <a:lnTo>
                    <a:pt x="62" y="96"/>
                  </a:lnTo>
                  <a:lnTo>
                    <a:pt x="56" y="98"/>
                  </a:lnTo>
                  <a:lnTo>
                    <a:pt x="40" y="86"/>
                  </a:lnTo>
                  <a:lnTo>
                    <a:pt x="52" y="82"/>
                  </a:lnTo>
                  <a:lnTo>
                    <a:pt x="70" y="82"/>
                  </a:lnTo>
                  <a:lnTo>
                    <a:pt x="84" y="82"/>
                  </a:lnTo>
                  <a:lnTo>
                    <a:pt x="96" y="80"/>
                  </a:lnTo>
                  <a:lnTo>
                    <a:pt x="90" y="74"/>
                  </a:lnTo>
                  <a:lnTo>
                    <a:pt x="78" y="72"/>
                  </a:lnTo>
                  <a:lnTo>
                    <a:pt x="62" y="72"/>
                  </a:lnTo>
                  <a:lnTo>
                    <a:pt x="50" y="74"/>
                  </a:lnTo>
                  <a:lnTo>
                    <a:pt x="34" y="72"/>
                  </a:lnTo>
                  <a:lnTo>
                    <a:pt x="24" y="74"/>
                  </a:lnTo>
                  <a:lnTo>
                    <a:pt x="6" y="54"/>
                  </a:lnTo>
                  <a:lnTo>
                    <a:pt x="0" y="44"/>
                  </a:lnTo>
                  <a:lnTo>
                    <a:pt x="8" y="44"/>
                  </a:lnTo>
                  <a:lnTo>
                    <a:pt x="14" y="48"/>
                  </a:lnTo>
                  <a:lnTo>
                    <a:pt x="30" y="50"/>
                  </a:lnTo>
                  <a:lnTo>
                    <a:pt x="36" y="42"/>
                  </a:lnTo>
                  <a:lnTo>
                    <a:pt x="24" y="40"/>
                  </a:lnTo>
                  <a:lnTo>
                    <a:pt x="16" y="38"/>
                  </a:lnTo>
                  <a:lnTo>
                    <a:pt x="14" y="28"/>
                  </a:lnTo>
                  <a:lnTo>
                    <a:pt x="24" y="28"/>
                  </a:lnTo>
                  <a:lnTo>
                    <a:pt x="36" y="30"/>
                  </a:lnTo>
                  <a:lnTo>
                    <a:pt x="42" y="26"/>
                  </a:lnTo>
                  <a:lnTo>
                    <a:pt x="34" y="22"/>
                  </a:lnTo>
                  <a:lnTo>
                    <a:pt x="24" y="18"/>
                  </a:lnTo>
                  <a:lnTo>
                    <a:pt x="26" y="10"/>
                  </a:lnTo>
                  <a:lnTo>
                    <a:pt x="34" y="10"/>
                  </a:lnTo>
                  <a:lnTo>
                    <a:pt x="42" y="12"/>
                  </a:lnTo>
                  <a:lnTo>
                    <a:pt x="58" y="10"/>
                  </a:lnTo>
                  <a:lnTo>
                    <a:pt x="56" y="6"/>
                  </a:lnTo>
                  <a:lnTo>
                    <a:pt x="42" y="4"/>
                  </a:lnTo>
                  <a:lnTo>
                    <a:pt x="46" y="0"/>
                  </a:lnTo>
                  <a:lnTo>
                    <a:pt x="70" y="2"/>
                  </a:lnTo>
                  <a:lnTo>
                    <a:pt x="98" y="30"/>
                  </a:lnTo>
                  <a:lnTo>
                    <a:pt x="118" y="34"/>
                  </a:lnTo>
                  <a:lnTo>
                    <a:pt x="118" y="42"/>
                  </a:lnTo>
                  <a:lnTo>
                    <a:pt x="126" y="48"/>
                  </a:lnTo>
                  <a:lnTo>
                    <a:pt x="130" y="38"/>
                  </a:lnTo>
                  <a:lnTo>
                    <a:pt x="138" y="34"/>
                  </a:lnTo>
                  <a:lnTo>
                    <a:pt x="144" y="36"/>
                  </a:lnTo>
                  <a:lnTo>
                    <a:pt x="142" y="46"/>
                  </a:lnTo>
                  <a:lnTo>
                    <a:pt x="150" y="52"/>
                  </a:lnTo>
                  <a:lnTo>
                    <a:pt x="152" y="58"/>
                  </a:lnTo>
                  <a:lnTo>
                    <a:pt x="150" y="68"/>
                  </a:lnTo>
                  <a:lnTo>
                    <a:pt x="164" y="66"/>
                  </a:lnTo>
                  <a:lnTo>
                    <a:pt x="172" y="68"/>
                  </a:lnTo>
                  <a:lnTo>
                    <a:pt x="176" y="68"/>
                  </a:lnTo>
                  <a:lnTo>
                    <a:pt x="182" y="74"/>
                  </a:lnTo>
                  <a:lnTo>
                    <a:pt x="178" y="80"/>
                  </a:lnTo>
                  <a:lnTo>
                    <a:pt x="172" y="84"/>
                  </a:lnTo>
                  <a:lnTo>
                    <a:pt x="162" y="82"/>
                  </a:lnTo>
                  <a:lnTo>
                    <a:pt x="156" y="84"/>
                  </a:lnTo>
                  <a:lnTo>
                    <a:pt x="140" y="98"/>
                  </a:lnTo>
                  <a:lnTo>
                    <a:pt x="140" y="92"/>
                  </a:lnTo>
                  <a:lnTo>
                    <a:pt x="144" y="82"/>
                  </a:lnTo>
                  <a:lnTo>
                    <a:pt x="138" y="82"/>
                  </a:lnTo>
                  <a:lnTo>
                    <a:pt x="134" y="92"/>
                  </a:lnTo>
                  <a:lnTo>
                    <a:pt x="134" y="96"/>
                  </a:lnTo>
                  <a:lnTo>
                    <a:pt x="136" y="102"/>
                  </a:lnTo>
                  <a:lnTo>
                    <a:pt x="136" y="106"/>
                  </a:lnTo>
                  <a:lnTo>
                    <a:pt x="136" y="108"/>
                  </a:lnTo>
                  <a:lnTo>
                    <a:pt x="134" y="110"/>
                  </a:lnTo>
                  <a:lnTo>
                    <a:pt x="128" y="106"/>
                  </a:lnTo>
                  <a:lnTo>
                    <a:pt x="126" y="104"/>
                  </a:lnTo>
                  <a:lnTo>
                    <a:pt x="124" y="11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52" name="Freeform 26">
              <a:extLst>
                <a:ext uri="{FF2B5EF4-FFF2-40B4-BE49-F238E27FC236}">
                  <a16:creationId xmlns:a16="http://schemas.microsoft.com/office/drawing/2014/main" id="{EEB6626B-C38E-4090-9FF9-9B5FA172CFA3}"/>
                </a:ext>
              </a:extLst>
            </p:cNvPr>
            <p:cNvSpPr>
              <a:spLocks/>
            </p:cNvSpPr>
            <p:nvPr/>
          </p:nvSpPr>
          <p:spPr bwMode="gray">
            <a:xfrm>
              <a:off x="3189850" y="1919441"/>
              <a:ext cx="42928" cy="26557"/>
            </a:xfrm>
            <a:custGeom>
              <a:avLst/>
              <a:gdLst>
                <a:gd name="T0" fmla="*/ 8 w 26"/>
                <a:gd name="T1" fmla="*/ 0 h 16"/>
                <a:gd name="T2" fmla="*/ 18 w 26"/>
                <a:gd name="T3" fmla="*/ 0 h 16"/>
                <a:gd name="T4" fmla="*/ 26 w 26"/>
                <a:gd name="T5" fmla="*/ 6 h 16"/>
                <a:gd name="T6" fmla="*/ 26 w 26"/>
                <a:gd name="T7" fmla="*/ 16 h 16"/>
                <a:gd name="T8" fmla="*/ 18 w 26"/>
                <a:gd name="T9" fmla="*/ 16 h 16"/>
                <a:gd name="T10" fmla="*/ 14 w 26"/>
                <a:gd name="T11" fmla="*/ 12 h 16"/>
                <a:gd name="T12" fmla="*/ 4 w 26"/>
                <a:gd name="T13" fmla="*/ 12 h 16"/>
                <a:gd name="T14" fmla="*/ 0 w 26"/>
                <a:gd name="T15" fmla="*/ 4 h 16"/>
                <a:gd name="T16" fmla="*/ 8 w 26"/>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16">
                  <a:moveTo>
                    <a:pt x="8" y="0"/>
                  </a:moveTo>
                  <a:lnTo>
                    <a:pt x="18" y="0"/>
                  </a:lnTo>
                  <a:lnTo>
                    <a:pt x="26" y="6"/>
                  </a:lnTo>
                  <a:lnTo>
                    <a:pt x="26" y="16"/>
                  </a:lnTo>
                  <a:lnTo>
                    <a:pt x="18" y="16"/>
                  </a:lnTo>
                  <a:lnTo>
                    <a:pt x="14" y="12"/>
                  </a:lnTo>
                  <a:lnTo>
                    <a:pt x="4" y="12"/>
                  </a:lnTo>
                  <a:lnTo>
                    <a:pt x="0" y="4"/>
                  </a:lnTo>
                  <a:lnTo>
                    <a:pt x="8"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53" name="Freeform 27">
              <a:extLst>
                <a:ext uri="{FF2B5EF4-FFF2-40B4-BE49-F238E27FC236}">
                  <a16:creationId xmlns:a16="http://schemas.microsoft.com/office/drawing/2014/main" id="{0AFC2C89-21EA-4762-A1A3-D4D5FF23B5EC}"/>
                </a:ext>
              </a:extLst>
            </p:cNvPr>
            <p:cNvSpPr>
              <a:spLocks/>
            </p:cNvSpPr>
            <p:nvPr/>
          </p:nvSpPr>
          <p:spPr bwMode="gray">
            <a:xfrm>
              <a:off x="3704984" y="2277964"/>
              <a:ext cx="115574" cy="46475"/>
            </a:xfrm>
            <a:custGeom>
              <a:avLst/>
              <a:gdLst>
                <a:gd name="T0" fmla="*/ 4 w 70"/>
                <a:gd name="T1" fmla="*/ 0 h 28"/>
                <a:gd name="T2" fmla="*/ 22 w 70"/>
                <a:gd name="T3" fmla="*/ 0 h 28"/>
                <a:gd name="T4" fmla="*/ 42 w 70"/>
                <a:gd name="T5" fmla="*/ 2 h 28"/>
                <a:gd name="T6" fmla="*/ 62 w 70"/>
                <a:gd name="T7" fmla="*/ 12 h 28"/>
                <a:gd name="T8" fmla="*/ 70 w 70"/>
                <a:gd name="T9" fmla="*/ 22 h 28"/>
                <a:gd name="T10" fmla="*/ 60 w 70"/>
                <a:gd name="T11" fmla="*/ 24 h 28"/>
                <a:gd name="T12" fmla="*/ 46 w 70"/>
                <a:gd name="T13" fmla="*/ 24 h 28"/>
                <a:gd name="T14" fmla="*/ 32 w 70"/>
                <a:gd name="T15" fmla="*/ 24 h 28"/>
                <a:gd name="T16" fmla="*/ 26 w 70"/>
                <a:gd name="T17" fmla="*/ 28 h 28"/>
                <a:gd name="T18" fmla="*/ 14 w 70"/>
                <a:gd name="T19" fmla="*/ 26 h 28"/>
                <a:gd name="T20" fmla="*/ 10 w 70"/>
                <a:gd name="T21" fmla="*/ 16 h 28"/>
                <a:gd name="T22" fmla="*/ 0 w 70"/>
                <a:gd name="T23" fmla="*/ 10 h 28"/>
                <a:gd name="T24" fmla="*/ 0 w 70"/>
                <a:gd name="T25" fmla="*/ 0 h 28"/>
                <a:gd name="T26" fmla="*/ 4 w 70"/>
                <a:gd name="T2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28">
                  <a:moveTo>
                    <a:pt x="4" y="0"/>
                  </a:moveTo>
                  <a:lnTo>
                    <a:pt x="22" y="0"/>
                  </a:lnTo>
                  <a:lnTo>
                    <a:pt x="42" y="2"/>
                  </a:lnTo>
                  <a:lnTo>
                    <a:pt x="62" y="12"/>
                  </a:lnTo>
                  <a:lnTo>
                    <a:pt x="70" y="22"/>
                  </a:lnTo>
                  <a:lnTo>
                    <a:pt x="60" y="24"/>
                  </a:lnTo>
                  <a:lnTo>
                    <a:pt x="46" y="24"/>
                  </a:lnTo>
                  <a:lnTo>
                    <a:pt x="32" y="24"/>
                  </a:lnTo>
                  <a:lnTo>
                    <a:pt x="26" y="28"/>
                  </a:lnTo>
                  <a:lnTo>
                    <a:pt x="14" y="26"/>
                  </a:lnTo>
                  <a:lnTo>
                    <a:pt x="10" y="16"/>
                  </a:lnTo>
                  <a:lnTo>
                    <a:pt x="0" y="10"/>
                  </a:lnTo>
                  <a:lnTo>
                    <a:pt x="0" y="0"/>
                  </a:lnTo>
                  <a:lnTo>
                    <a:pt x="4"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54" name="Freeform 28">
              <a:extLst>
                <a:ext uri="{FF2B5EF4-FFF2-40B4-BE49-F238E27FC236}">
                  <a16:creationId xmlns:a16="http://schemas.microsoft.com/office/drawing/2014/main" id="{D3255A66-4C85-4956-9D1E-4402BCE4304E}"/>
                </a:ext>
              </a:extLst>
            </p:cNvPr>
            <p:cNvSpPr>
              <a:spLocks/>
            </p:cNvSpPr>
            <p:nvPr/>
          </p:nvSpPr>
          <p:spPr bwMode="gray">
            <a:xfrm>
              <a:off x="3794143" y="2536898"/>
              <a:ext cx="59439" cy="49794"/>
            </a:xfrm>
            <a:custGeom>
              <a:avLst/>
              <a:gdLst>
                <a:gd name="T0" fmla="*/ 36 w 36"/>
                <a:gd name="T1" fmla="*/ 4 h 30"/>
                <a:gd name="T2" fmla="*/ 36 w 36"/>
                <a:gd name="T3" fmla="*/ 10 h 30"/>
                <a:gd name="T4" fmla="*/ 34 w 36"/>
                <a:gd name="T5" fmla="*/ 20 h 30"/>
                <a:gd name="T6" fmla="*/ 26 w 36"/>
                <a:gd name="T7" fmla="*/ 26 h 30"/>
                <a:gd name="T8" fmla="*/ 14 w 36"/>
                <a:gd name="T9" fmla="*/ 30 h 30"/>
                <a:gd name="T10" fmla="*/ 0 w 36"/>
                <a:gd name="T11" fmla="*/ 26 h 30"/>
                <a:gd name="T12" fmla="*/ 2 w 36"/>
                <a:gd name="T13" fmla="*/ 12 h 30"/>
                <a:gd name="T14" fmla="*/ 6 w 36"/>
                <a:gd name="T15" fmla="*/ 4 h 30"/>
                <a:gd name="T16" fmla="*/ 12 w 36"/>
                <a:gd name="T17" fmla="*/ 2 h 30"/>
                <a:gd name="T18" fmla="*/ 24 w 36"/>
                <a:gd name="T19" fmla="*/ 0 h 30"/>
                <a:gd name="T20" fmla="*/ 36 w 36"/>
                <a:gd name="T21" fmla="*/ 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30">
                  <a:moveTo>
                    <a:pt x="36" y="4"/>
                  </a:moveTo>
                  <a:lnTo>
                    <a:pt x="36" y="10"/>
                  </a:lnTo>
                  <a:lnTo>
                    <a:pt x="34" y="20"/>
                  </a:lnTo>
                  <a:lnTo>
                    <a:pt x="26" y="26"/>
                  </a:lnTo>
                  <a:lnTo>
                    <a:pt x="14" y="30"/>
                  </a:lnTo>
                  <a:lnTo>
                    <a:pt x="0" y="26"/>
                  </a:lnTo>
                  <a:lnTo>
                    <a:pt x="2" y="12"/>
                  </a:lnTo>
                  <a:lnTo>
                    <a:pt x="6" y="4"/>
                  </a:lnTo>
                  <a:lnTo>
                    <a:pt x="12" y="2"/>
                  </a:lnTo>
                  <a:lnTo>
                    <a:pt x="24" y="0"/>
                  </a:lnTo>
                  <a:lnTo>
                    <a:pt x="36" y="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55" name="Freeform 29">
              <a:extLst>
                <a:ext uri="{FF2B5EF4-FFF2-40B4-BE49-F238E27FC236}">
                  <a16:creationId xmlns:a16="http://schemas.microsoft.com/office/drawing/2014/main" id="{BAED95BD-8909-4D1D-8A96-3A839F2178AD}"/>
                </a:ext>
              </a:extLst>
            </p:cNvPr>
            <p:cNvSpPr>
              <a:spLocks/>
            </p:cNvSpPr>
            <p:nvPr/>
          </p:nvSpPr>
          <p:spPr bwMode="gray">
            <a:xfrm>
              <a:off x="3533273" y="2646447"/>
              <a:ext cx="181618" cy="116189"/>
            </a:xfrm>
            <a:custGeom>
              <a:avLst/>
              <a:gdLst>
                <a:gd name="T0" fmla="*/ 18 w 110"/>
                <a:gd name="T1" fmla="*/ 16 h 70"/>
                <a:gd name="T2" fmla="*/ 18 w 110"/>
                <a:gd name="T3" fmla="*/ 6 h 70"/>
                <a:gd name="T4" fmla="*/ 28 w 110"/>
                <a:gd name="T5" fmla="*/ 0 h 70"/>
                <a:gd name="T6" fmla="*/ 40 w 110"/>
                <a:gd name="T7" fmla="*/ 0 h 70"/>
                <a:gd name="T8" fmla="*/ 40 w 110"/>
                <a:gd name="T9" fmla="*/ 8 h 70"/>
                <a:gd name="T10" fmla="*/ 42 w 110"/>
                <a:gd name="T11" fmla="*/ 12 h 70"/>
                <a:gd name="T12" fmla="*/ 52 w 110"/>
                <a:gd name="T13" fmla="*/ 14 h 70"/>
                <a:gd name="T14" fmla="*/ 54 w 110"/>
                <a:gd name="T15" fmla="*/ 16 h 70"/>
                <a:gd name="T16" fmla="*/ 56 w 110"/>
                <a:gd name="T17" fmla="*/ 20 h 70"/>
                <a:gd name="T18" fmla="*/ 62 w 110"/>
                <a:gd name="T19" fmla="*/ 22 h 70"/>
                <a:gd name="T20" fmla="*/ 70 w 110"/>
                <a:gd name="T21" fmla="*/ 30 h 70"/>
                <a:gd name="T22" fmla="*/ 84 w 110"/>
                <a:gd name="T23" fmla="*/ 32 h 70"/>
                <a:gd name="T24" fmla="*/ 86 w 110"/>
                <a:gd name="T25" fmla="*/ 38 h 70"/>
                <a:gd name="T26" fmla="*/ 88 w 110"/>
                <a:gd name="T27" fmla="*/ 46 h 70"/>
                <a:gd name="T28" fmla="*/ 98 w 110"/>
                <a:gd name="T29" fmla="*/ 46 h 70"/>
                <a:gd name="T30" fmla="*/ 108 w 110"/>
                <a:gd name="T31" fmla="*/ 48 h 70"/>
                <a:gd name="T32" fmla="*/ 110 w 110"/>
                <a:gd name="T33" fmla="*/ 52 h 70"/>
                <a:gd name="T34" fmla="*/ 110 w 110"/>
                <a:gd name="T35" fmla="*/ 56 h 70"/>
                <a:gd name="T36" fmla="*/ 108 w 110"/>
                <a:gd name="T37" fmla="*/ 56 h 70"/>
                <a:gd name="T38" fmla="*/ 106 w 110"/>
                <a:gd name="T39" fmla="*/ 60 h 70"/>
                <a:gd name="T40" fmla="*/ 102 w 110"/>
                <a:gd name="T41" fmla="*/ 60 h 70"/>
                <a:gd name="T42" fmla="*/ 100 w 110"/>
                <a:gd name="T43" fmla="*/ 62 h 70"/>
                <a:gd name="T44" fmla="*/ 90 w 110"/>
                <a:gd name="T45" fmla="*/ 60 h 70"/>
                <a:gd name="T46" fmla="*/ 84 w 110"/>
                <a:gd name="T47" fmla="*/ 58 h 70"/>
                <a:gd name="T48" fmla="*/ 76 w 110"/>
                <a:gd name="T49" fmla="*/ 52 h 70"/>
                <a:gd name="T50" fmla="*/ 68 w 110"/>
                <a:gd name="T51" fmla="*/ 46 h 70"/>
                <a:gd name="T52" fmla="*/ 64 w 110"/>
                <a:gd name="T53" fmla="*/ 42 h 70"/>
                <a:gd name="T54" fmla="*/ 60 w 110"/>
                <a:gd name="T55" fmla="*/ 44 h 70"/>
                <a:gd name="T56" fmla="*/ 58 w 110"/>
                <a:gd name="T57" fmla="*/ 48 h 70"/>
                <a:gd name="T58" fmla="*/ 52 w 110"/>
                <a:gd name="T59" fmla="*/ 56 h 70"/>
                <a:gd name="T60" fmla="*/ 40 w 110"/>
                <a:gd name="T61" fmla="*/ 68 h 70"/>
                <a:gd name="T62" fmla="*/ 24 w 110"/>
                <a:gd name="T63" fmla="*/ 70 h 70"/>
                <a:gd name="T64" fmla="*/ 26 w 110"/>
                <a:gd name="T65" fmla="*/ 56 h 70"/>
                <a:gd name="T66" fmla="*/ 14 w 110"/>
                <a:gd name="T67" fmla="*/ 56 h 70"/>
                <a:gd name="T68" fmla="*/ 10 w 110"/>
                <a:gd name="T69" fmla="*/ 56 h 70"/>
                <a:gd name="T70" fmla="*/ 6 w 110"/>
                <a:gd name="T71" fmla="*/ 62 h 70"/>
                <a:gd name="T72" fmla="*/ 0 w 110"/>
                <a:gd name="T73" fmla="*/ 56 h 70"/>
                <a:gd name="T74" fmla="*/ 6 w 110"/>
                <a:gd name="T75" fmla="*/ 48 h 70"/>
                <a:gd name="T76" fmla="*/ 16 w 110"/>
                <a:gd name="T77" fmla="*/ 38 h 70"/>
                <a:gd name="T78" fmla="*/ 16 w 110"/>
                <a:gd name="T79" fmla="*/ 26 h 70"/>
                <a:gd name="T80" fmla="*/ 18 w 110"/>
                <a:gd name="T81" fmla="*/ 22 h 70"/>
                <a:gd name="T82" fmla="*/ 18 w 110"/>
                <a:gd name="T83" fmla="*/ 1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0" h="70">
                  <a:moveTo>
                    <a:pt x="18" y="16"/>
                  </a:moveTo>
                  <a:lnTo>
                    <a:pt x="18" y="6"/>
                  </a:lnTo>
                  <a:lnTo>
                    <a:pt x="28" y="0"/>
                  </a:lnTo>
                  <a:lnTo>
                    <a:pt x="40" y="0"/>
                  </a:lnTo>
                  <a:lnTo>
                    <a:pt x="40" y="8"/>
                  </a:lnTo>
                  <a:lnTo>
                    <a:pt x="42" y="12"/>
                  </a:lnTo>
                  <a:lnTo>
                    <a:pt x="52" y="14"/>
                  </a:lnTo>
                  <a:lnTo>
                    <a:pt x="54" y="16"/>
                  </a:lnTo>
                  <a:lnTo>
                    <a:pt x="56" y="20"/>
                  </a:lnTo>
                  <a:lnTo>
                    <a:pt x="62" y="22"/>
                  </a:lnTo>
                  <a:lnTo>
                    <a:pt x="70" y="30"/>
                  </a:lnTo>
                  <a:lnTo>
                    <a:pt x="84" y="32"/>
                  </a:lnTo>
                  <a:lnTo>
                    <a:pt x="86" y="38"/>
                  </a:lnTo>
                  <a:lnTo>
                    <a:pt x="88" y="46"/>
                  </a:lnTo>
                  <a:lnTo>
                    <a:pt x="98" y="46"/>
                  </a:lnTo>
                  <a:lnTo>
                    <a:pt x="108" y="48"/>
                  </a:lnTo>
                  <a:lnTo>
                    <a:pt x="110" y="52"/>
                  </a:lnTo>
                  <a:lnTo>
                    <a:pt x="110" y="56"/>
                  </a:lnTo>
                  <a:lnTo>
                    <a:pt x="108" y="56"/>
                  </a:lnTo>
                  <a:lnTo>
                    <a:pt x="106" y="60"/>
                  </a:lnTo>
                  <a:lnTo>
                    <a:pt x="102" y="60"/>
                  </a:lnTo>
                  <a:lnTo>
                    <a:pt x="100" y="62"/>
                  </a:lnTo>
                  <a:lnTo>
                    <a:pt x="90" y="60"/>
                  </a:lnTo>
                  <a:lnTo>
                    <a:pt x="84" y="58"/>
                  </a:lnTo>
                  <a:lnTo>
                    <a:pt x="76" y="52"/>
                  </a:lnTo>
                  <a:lnTo>
                    <a:pt x="68" y="46"/>
                  </a:lnTo>
                  <a:lnTo>
                    <a:pt x="64" y="42"/>
                  </a:lnTo>
                  <a:lnTo>
                    <a:pt x="60" y="44"/>
                  </a:lnTo>
                  <a:lnTo>
                    <a:pt x="58" y="48"/>
                  </a:lnTo>
                  <a:lnTo>
                    <a:pt x="52" y="56"/>
                  </a:lnTo>
                  <a:lnTo>
                    <a:pt x="40" y="68"/>
                  </a:lnTo>
                  <a:lnTo>
                    <a:pt x="24" y="70"/>
                  </a:lnTo>
                  <a:lnTo>
                    <a:pt x="26" y="56"/>
                  </a:lnTo>
                  <a:lnTo>
                    <a:pt x="14" y="56"/>
                  </a:lnTo>
                  <a:lnTo>
                    <a:pt x="10" y="56"/>
                  </a:lnTo>
                  <a:lnTo>
                    <a:pt x="6" y="62"/>
                  </a:lnTo>
                  <a:lnTo>
                    <a:pt x="0" y="56"/>
                  </a:lnTo>
                  <a:lnTo>
                    <a:pt x="6" y="48"/>
                  </a:lnTo>
                  <a:lnTo>
                    <a:pt x="16" y="38"/>
                  </a:lnTo>
                  <a:lnTo>
                    <a:pt x="16" y="26"/>
                  </a:lnTo>
                  <a:lnTo>
                    <a:pt x="18" y="22"/>
                  </a:lnTo>
                  <a:lnTo>
                    <a:pt x="18" y="1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56" name="Freeform 30">
              <a:extLst>
                <a:ext uri="{FF2B5EF4-FFF2-40B4-BE49-F238E27FC236}">
                  <a16:creationId xmlns:a16="http://schemas.microsoft.com/office/drawing/2014/main" id="{B450EB5C-E985-4951-8E97-8ADC7424F98F}"/>
                </a:ext>
              </a:extLst>
            </p:cNvPr>
            <p:cNvSpPr>
              <a:spLocks/>
            </p:cNvSpPr>
            <p:nvPr/>
          </p:nvSpPr>
          <p:spPr bwMode="gray">
            <a:xfrm>
              <a:off x="3216267" y="2467184"/>
              <a:ext cx="112273" cy="59754"/>
            </a:xfrm>
            <a:custGeom>
              <a:avLst/>
              <a:gdLst>
                <a:gd name="T0" fmla="*/ 6 w 68"/>
                <a:gd name="T1" fmla="*/ 26 h 36"/>
                <a:gd name="T2" fmla="*/ 0 w 68"/>
                <a:gd name="T3" fmla="*/ 24 h 36"/>
                <a:gd name="T4" fmla="*/ 10 w 68"/>
                <a:gd name="T5" fmla="*/ 16 h 36"/>
                <a:gd name="T6" fmla="*/ 18 w 68"/>
                <a:gd name="T7" fmla="*/ 10 h 36"/>
                <a:gd name="T8" fmla="*/ 20 w 68"/>
                <a:gd name="T9" fmla="*/ 0 h 36"/>
                <a:gd name="T10" fmla="*/ 28 w 68"/>
                <a:gd name="T11" fmla="*/ 2 h 36"/>
                <a:gd name="T12" fmla="*/ 38 w 68"/>
                <a:gd name="T13" fmla="*/ 6 h 36"/>
                <a:gd name="T14" fmla="*/ 48 w 68"/>
                <a:gd name="T15" fmla="*/ 14 h 36"/>
                <a:gd name="T16" fmla="*/ 60 w 68"/>
                <a:gd name="T17" fmla="*/ 18 h 36"/>
                <a:gd name="T18" fmla="*/ 66 w 68"/>
                <a:gd name="T19" fmla="*/ 24 h 36"/>
                <a:gd name="T20" fmla="*/ 68 w 68"/>
                <a:gd name="T21" fmla="*/ 32 h 36"/>
                <a:gd name="T22" fmla="*/ 64 w 68"/>
                <a:gd name="T23" fmla="*/ 34 h 36"/>
                <a:gd name="T24" fmla="*/ 56 w 68"/>
                <a:gd name="T25" fmla="*/ 36 h 36"/>
                <a:gd name="T26" fmla="*/ 44 w 68"/>
                <a:gd name="T27" fmla="*/ 36 h 36"/>
                <a:gd name="T28" fmla="*/ 28 w 68"/>
                <a:gd name="T29" fmla="*/ 34 h 36"/>
                <a:gd name="T30" fmla="*/ 18 w 68"/>
                <a:gd name="T31" fmla="*/ 30 h 36"/>
                <a:gd name="T32" fmla="*/ 6 w 68"/>
                <a:gd name="T33"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8" h="36">
                  <a:moveTo>
                    <a:pt x="6" y="26"/>
                  </a:moveTo>
                  <a:lnTo>
                    <a:pt x="0" y="24"/>
                  </a:lnTo>
                  <a:lnTo>
                    <a:pt x="10" y="16"/>
                  </a:lnTo>
                  <a:lnTo>
                    <a:pt x="18" y="10"/>
                  </a:lnTo>
                  <a:lnTo>
                    <a:pt x="20" y="0"/>
                  </a:lnTo>
                  <a:lnTo>
                    <a:pt x="28" y="2"/>
                  </a:lnTo>
                  <a:lnTo>
                    <a:pt x="38" y="6"/>
                  </a:lnTo>
                  <a:lnTo>
                    <a:pt x="48" y="14"/>
                  </a:lnTo>
                  <a:lnTo>
                    <a:pt x="60" y="18"/>
                  </a:lnTo>
                  <a:lnTo>
                    <a:pt x="66" y="24"/>
                  </a:lnTo>
                  <a:lnTo>
                    <a:pt x="68" y="32"/>
                  </a:lnTo>
                  <a:lnTo>
                    <a:pt x="64" y="34"/>
                  </a:lnTo>
                  <a:lnTo>
                    <a:pt x="56" y="36"/>
                  </a:lnTo>
                  <a:lnTo>
                    <a:pt x="44" y="36"/>
                  </a:lnTo>
                  <a:lnTo>
                    <a:pt x="28" y="34"/>
                  </a:lnTo>
                  <a:lnTo>
                    <a:pt x="18" y="30"/>
                  </a:lnTo>
                  <a:lnTo>
                    <a:pt x="6" y="2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57" name="Freeform 31">
              <a:extLst>
                <a:ext uri="{FF2B5EF4-FFF2-40B4-BE49-F238E27FC236}">
                  <a16:creationId xmlns:a16="http://schemas.microsoft.com/office/drawing/2014/main" id="{15D174C6-04DA-4682-A35A-CD29E6AED2B6}"/>
                </a:ext>
              </a:extLst>
            </p:cNvPr>
            <p:cNvSpPr>
              <a:spLocks/>
            </p:cNvSpPr>
            <p:nvPr/>
          </p:nvSpPr>
          <p:spPr bwMode="gray">
            <a:xfrm>
              <a:off x="3463928" y="2271325"/>
              <a:ext cx="759493" cy="544424"/>
            </a:xfrm>
            <a:custGeom>
              <a:avLst/>
              <a:gdLst>
                <a:gd name="T0" fmla="*/ 148 w 460"/>
                <a:gd name="T1" fmla="*/ 30 h 328"/>
                <a:gd name="T2" fmla="*/ 154 w 460"/>
                <a:gd name="T3" fmla="*/ 52 h 328"/>
                <a:gd name="T4" fmla="*/ 184 w 460"/>
                <a:gd name="T5" fmla="*/ 36 h 328"/>
                <a:gd name="T6" fmla="*/ 238 w 460"/>
                <a:gd name="T7" fmla="*/ 44 h 328"/>
                <a:gd name="T8" fmla="*/ 250 w 460"/>
                <a:gd name="T9" fmla="*/ 54 h 328"/>
                <a:gd name="T10" fmla="*/ 258 w 460"/>
                <a:gd name="T11" fmla="*/ 58 h 328"/>
                <a:gd name="T12" fmla="*/ 280 w 460"/>
                <a:gd name="T13" fmla="*/ 68 h 328"/>
                <a:gd name="T14" fmla="*/ 284 w 460"/>
                <a:gd name="T15" fmla="*/ 86 h 328"/>
                <a:gd name="T16" fmla="*/ 306 w 460"/>
                <a:gd name="T17" fmla="*/ 90 h 328"/>
                <a:gd name="T18" fmla="*/ 332 w 460"/>
                <a:gd name="T19" fmla="*/ 92 h 328"/>
                <a:gd name="T20" fmla="*/ 324 w 460"/>
                <a:gd name="T21" fmla="*/ 108 h 328"/>
                <a:gd name="T22" fmla="*/ 360 w 460"/>
                <a:gd name="T23" fmla="*/ 116 h 328"/>
                <a:gd name="T24" fmla="*/ 342 w 460"/>
                <a:gd name="T25" fmla="*/ 122 h 328"/>
                <a:gd name="T26" fmla="*/ 368 w 460"/>
                <a:gd name="T27" fmla="*/ 134 h 328"/>
                <a:gd name="T28" fmla="*/ 346 w 460"/>
                <a:gd name="T29" fmla="*/ 136 h 328"/>
                <a:gd name="T30" fmla="*/ 346 w 460"/>
                <a:gd name="T31" fmla="*/ 150 h 328"/>
                <a:gd name="T32" fmla="*/ 382 w 460"/>
                <a:gd name="T33" fmla="*/ 160 h 328"/>
                <a:gd name="T34" fmla="*/ 404 w 460"/>
                <a:gd name="T35" fmla="*/ 174 h 328"/>
                <a:gd name="T36" fmla="*/ 434 w 460"/>
                <a:gd name="T37" fmla="*/ 190 h 328"/>
                <a:gd name="T38" fmla="*/ 460 w 460"/>
                <a:gd name="T39" fmla="*/ 208 h 328"/>
                <a:gd name="T40" fmla="*/ 434 w 460"/>
                <a:gd name="T41" fmla="*/ 216 h 328"/>
                <a:gd name="T42" fmla="*/ 420 w 460"/>
                <a:gd name="T43" fmla="*/ 240 h 328"/>
                <a:gd name="T44" fmla="*/ 386 w 460"/>
                <a:gd name="T45" fmla="*/ 222 h 328"/>
                <a:gd name="T46" fmla="*/ 358 w 460"/>
                <a:gd name="T47" fmla="*/ 230 h 328"/>
                <a:gd name="T48" fmla="*/ 408 w 460"/>
                <a:gd name="T49" fmla="*/ 284 h 328"/>
                <a:gd name="T50" fmla="*/ 394 w 460"/>
                <a:gd name="T51" fmla="*/ 290 h 328"/>
                <a:gd name="T52" fmla="*/ 356 w 460"/>
                <a:gd name="T53" fmla="*/ 290 h 328"/>
                <a:gd name="T54" fmla="*/ 366 w 460"/>
                <a:gd name="T55" fmla="*/ 306 h 328"/>
                <a:gd name="T56" fmla="*/ 354 w 460"/>
                <a:gd name="T57" fmla="*/ 322 h 328"/>
                <a:gd name="T58" fmla="*/ 310 w 460"/>
                <a:gd name="T59" fmla="*/ 314 h 328"/>
                <a:gd name="T60" fmla="*/ 288 w 460"/>
                <a:gd name="T61" fmla="*/ 280 h 328"/>
                <a:gd name="T62" fmla="*/ 256 w 460"/>
                <a:gd name="T63" fmla="*/ 258 h 328"/>
                <a:gd name="T64" fmla="*/ 238 w 460"/>
                <a:gd name="T65" fmla="*/ 260 h 328"/>
                <a:gd name="T66" fmla="*/ 208 w 460"/>
                <a:gd name="T67" fmla="*/ 270 h 328"/>
                <a:gd name="T68" fmla="*/ 202 w 460"/>
                <a:gd name="T69" fmla="*/ 236 h 328"/>
                <a:gd name="T70" fmla="*/ 238 w 460"/>
                <a:gd name="T71" fmla="*/ 240 h 328"/>
                <a:gd name="T72" fmla="*/ 246 w 460"/>
                <a:gd name="T73" fmla="*/ 222 h 328"/>
                <a:gd name="T74" fmla="*/ 272 w 460"/>
                <a:gd name="T75" fmla="*/ 172 h 328"/>
                <a:gd name="T76" fmla="*/ 246 w 460"/>
                <a:gd name="T77" fmla="*/ 156 h 328"/>
                <a:gd name="T78" fmla="*/ 218 w 460"/>
                <a:gd name="T79" fmla="*/ 150 h 328"/>
                <a:gd name="T80" fmla="*/ 212 w 460"/>
                <a:gd name="T81" fmla="*/ 124 h 328"/>
                <a:gd name="T82" fmla="*/ 186 w 460"/>
                <a:gd name="T83" fmla="*/ 106 h 328"/>
                <a:gd name="T84" fmla="*/ 178 w 460"/>
                <a:gd name="T85" fmla="*/ 112 h 328"/>
                <a:gd name="T86" fmla="*/ 130 w 460"/>
                <a:gd name="T87" fmla="*/ 116 h 328"/>
                <a:gd name="T88" fmla="*/ 56 w 460"/>
                <a:gd name="T89" fmla="*/ 110 h 328"/>
                <a:gd name="T90" fmla="*/ 20 w 460"/>
                <a:gd name="T91" fmla="*/ 102 h 328"/>
                <a:gd name="T92" fmla="*/ 32 w 460"/>
                <a:gd name="T93" fmla="*/ 86 h 328"/>
                <a:gd name="T94" fmla="*/ 0 w 460"/>
                <a:gd name="T95" fmla="*/ 72 h 328"/>
                <a:gd name="T96" fmla="*/ 38 w 460"/>
                <a:gd name="T97" fmla="*/ 2 h 328"/>
                <a:gd name="T98" fmla="*/ 64 w 460"/>
                <a:gd name="T99" fmla="*/ 12 h 328"/>
                <a:gd name="T100" fmla="*/ 68 w 460"/>
                <a:gd name="T101" fmla="*/ 76 h 328"/>
                <a:gd name="T102" fmla="*/ 78 w 460"/>
                <a:gd name="T103" fmla="*/ 46 h 328"/>
                <a:gd name="T104" fmla="*/ 108 w 460"/>
                <a:gd name="T105" fmla="*/ 4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60" h="328">
                  <a:moveTo>
                    <a:pt x="134" y="6"/>
                  </a:moveTo>
                  <a:lnTo>
                    <a:pt x="140" y="14"/>
                  </a:lnTo>
                  <a:lnTo>
                    <a:pt x="146" y="22"/>
                  </a:lnTo>
                  <a:lnTo>
                    <a:pt x="148" y="30"/>
                  </a:lnTo>
                  <a:lnTo>
                    <a:pt x="148" y="38"/>
                  </a:lnTo>
                  <a:lnTo>
                    <a:pt x="144" y="42"/>
                  </a:lnTo>
                  <a:lnTo>
                    <a:pt x="144" y="52"/>
                  </a:lnTo>
                  <a:lnTo>
                    <a:pt x="154" y="52"/>
                  </a:lnTo>
                  <a:lnTo>
                    <a:pt x="158" y="42"/>
                  </a:lnTo>
                  <a:lnTo>
                    <a:pt x="168" y="42"/>
                  </a:lnTo>
                  <a:lnTo>
                    <a:pt x="180" y="50"/>
                  </a:lnTo>
                  <a:lnTo>
                    <a:pt x="184" y="36"/>
                  </a:lnTo>
                  <a:lnTo>
                    <a:pt x="198" y="34"/>
                  </a:lnTo>
                  <a:lnTo>
                    <a:pt x="214" y="34"/>
                  </a:lnTo>
                  <a:lnTo>
                    <a:pt x="230" y="40"/>
                  </a:lnTo>
                  <a:lnTo>
                    <a:pt x="238" y="44"/>
                  </a:lnTo>
                  <a:lnTo>
                    <a:pt x="228" y="50"/>
                  </a:lnTo>
                  <a:lnTo>
                    <a:pt x="226" y="58"/>
                  </a:lnTo>
                  <a:lnTo>
                    <a:pt x="240" y="52"/>
                  </a:lnTo>
                  <a:lnTo>
                    <a:pt x="250" y="54"/>
                  </a:lnTo>
                  <a:lnTo>
                    <a:pt x="244" y="60"/>
                  </a:lnTo>
                  <a:lnTo>
                    <a:pt x="238" y="68"/>
                  </a:lnTo>
                  <a:lnTo>
                    <a:pt x="246" y="66"/>
                  </a:lnTo>
                  <a:lnTo>
                    <a:pt x="258" y="58"/>
                  </a:lnTo>
                  <a:lnTo>
                    <a:pt x="260" y="66"/>
                  </a:lnTo>
                  <a:lnTo>
                    <a:pt x="254" y="74"/>
                  </a:lnTo>
                  <a:lnTo>
                    <a:pt x="264" y="74"/>
                  </a:lnTo>
                  <a:lnTo>
                    <a:pt x="280" y="68"/>
                  </a:lnTo>
                  <a:lnTo>
                    <a:pt x="290" y="70"/>
                  </a:lnTo>
                  <a:lnTo>
                    <a:pt x="296" y="76"/>
                  </a:lnTo>
                  <a:lnTo>
                    <a:pt x="292" y="80"/>
                  </a:lnTo>
                  <a:lnTo>
                    <a:pt x="284" y="86"/>
                  </a:lnTo>
                  <a:lnTo>
                    <a:pt x="290" y="90"/>
                  </a:lnTo>
                  <a:lnTo>
                    <a:pt x="300" y="86"/>
                  </a:lnTo>
                  <a:lnTo>
                    <a:pt x="306" y="84"/>
                  </a:lnTo>
                  <a:lnTo>
                    <a:pt x="306" y="90"/>
                  </a:lnTo>
                  <a:lnTo>
                    <a:pt x="298" y="98"/>
                  </a:lnTo>
                  <a:lnTo>
                    <a:pt x="304" y="98"/>
                  </a:lnTo>
                  <a:lnTo>
                    <a:pt x="320" y="92"/>
                  </a:lnTo>
                  <a:lnTo>
                    <a:pt x="332" y="92"/>
                  </a:lnTo>
                  <a:lnTo>
                    <a:pt x="342" y="96"/>
                  </a:lnTo>
                  <a:lnTo>
                    <a:pt x="342" y="100"/>
                  </a:lnTo>
                  <a:lnTo>
                    <a:pt x="334" y="104"/>
                  </a:lnTo>
                  <a:lnTo>
                    <a:pt x="324" y="108"/>
                  </a:lnTo>
                  <a:lnTo>
                    <a:pt x="332" y="112"/>
                  </a:lnTo>
                  <a:lnTo>
                    <a:pt x="350" y="108"/>
                  </a:lnTo>
                  <a:lnTo>
                    <a:pt x="356" y="110"/>
                  </a:lnTo>
                  <a:lnTo>
                    <a:pt x="360" y="116"/>
                  </a:lnTo>
                  <a:lnTo>
                    <a:pt x="362" y="122"/>
                  </a:lnTo>
                  <a:lnTo>
                    <a:pt x="354" y="122"/>
                  </a:lnTo>
                  <a:lnTo>
                    <a:pt x="348" y="122"/>
                  </a:lnTo>
                  <a:lnTo>
                    <a:pt x="342" y="122"/>
                  </a:lnTo>
                  <a:lnTo>
                    <a:pt x="342" y="128"/>
                  </a:lnTo>
                  <a:lnTo>
                    <a:pt x="352" y="128"/>
                  </a:lnTo>
                  <a:lnTo>
                    <a:pt x="362" y="128"/>
                  </a:lnTo>
                  <a:lnTo>
                    <a:pt x="368" y="134"/>
                  </a:lnTo>
                  <a:lnTo>
                    <a:pt x="370" y="138"/>
                  </a:lnTo>
                  <a:lnTo>
                    <a:pt x="368" y="138"/>
                  </a:lnTo>
                  <a:lnTo>
                    <a:pt x="362" y="138"/>
                  </a:lnTo>
                  <a:lnTo>
                    <a:pt x="346" y="136"/>
                  </a:lnTo>
                  <a:lnTo>
                    <a:pt x="344" y="138"/>
                  </a:lnTo>
                  <a:lnTo>
                    <a:pt x="342" y="140"/>
                  </a:lnTo>
                  <a:lnTo>
                    <a:pt x="342" y="144"/>
                  </a:lnTo>
                  <a:lnTo>
                    <a:pt x="346" y="150"/>
                  </a:lnTo>
                  <a:lnTo>
                    <a:pt x="354" y="156"/>
                  </a:lnTo>
                  <a:lnTo>
                    <a:pt x="362" y="156"/>
                  </a:lnTo>
                  <a:lnTo>
                    <a:pt x="370" y="154"/>
                  </a:lnTo>
                  <a:lnTo>
                    <a:pt x="382" y="160"/>
                  </a:lnTo>
                  <a:lnTo>
                    <a:pt x="382" y="166"/>
                  </a:lnTo>
                  <a:lnTo>
                    <a:pt x="388" y="168"/>
                  </a:lnTo>
                  <a:lnTo>
                    <a:pt x="398" y="170"/>
                  </a:lnTo>
                  <a:lnTo>
                    <a:pt x="404" y="174"/>
                  </a:lnTo>
                  <a:lnTo>
                    <a:pt x="406" y="180"/>
                  </a:lnTo>
                  <a:lnTo>
                    <a:pt x="416" y="180"/>
                  </a:lnTo>
                  <a:lnTo>
                    <a:pt x="424" y="182"/>
                  </a:lnTo>
                  <a:lnTo>
                    <a:pt x="434" y="190"/>
                  </a:lnTo>
                  <a:lnTo>
                    <a:pt x="438" y="194"/>
                  </a:lnTo>
                  <a:lnTo>
                    <a:pt x="450" y="196"/>
                  </a:lnTo>
                  <a:lnTo>
                    <a:pt x="460" y="204"/>
                  </a:lnTo>
                  <a:lnTo>
                    <a:pt x="460" y="208"/>
                  </a:lnTo>
                  <a:lnTo>
                    <a:pt x="460" y="212"/>
                  </a:lnTo>
                  <a:lnTo>
                    <a:pt x="458" y="214"/>
                  </a:lnTo>
                  <a:lnTo>
                    <a:pt x="444" y="216"/>
                  </a:lnTo>
                  <a:lnTo>
                    <a:pt x="434" y="216"/>
                  </a:lnTo>
                  <a:lnTo>
                    <a:pt x="436" y="226"/>
                  </a:lnTo>
                  <a:lnTo>
                    <a:pt x="430" y="232"/>
                  </a:lnTo>
                  <a:lnTo>
                    <a:pt x="420" y="232"/>
                  </a:lnTo>
                  <a:lnTo>
                    <a:pt x="420" y="240"/>
                  </a:lnTo>
                  <a:lnTo>
                    <a:pt x="414" y="248"/>
                  </a:lnTo>
                  <a:lnTo>
                    <a:pt x="398" y="240"/>
                  </a:lnTo>
                  <a:lnTo>
                    <a:pt x="390" y="230"/>
                  </a:lnTo>
                  <a:lnTo>
                    <a:pt x="386" y="222"/>
                  </a:lnTo>
                  <a:lnTo>
                    <a:pt x="364" y="208"/>
                  </a:lnTo>
                  <a:lnTo>
                    <a:pt x="356" y="212"/>
                  </a:lnTo>
                  <a:lnTo>
                    <a:pt x="360" y="222"/>
                  </a:lnTo>
                  <a:lnTo>
                    <a:pt x="358" y="230"/>
                  </a:lnTo>
                  <a:lnTo>
                    <a:pt x="364" y="244"/>
                  </a:lnTo>
                  <a:lnTo>
                    <a:pt x="376" y="256"/>
                  </a:lnTo>
                  <a:lnTo>
                    <a:pt x="394" y="270"/>
                  </a:lnTo>
                  <a:lnTo>
                    <a:pt x="408" y="284"/>
                  </a:lnTo>
                  <a:lnTo>
                    <a:pt x="406" y="290"/>
                  </a:lnTo>
                  <a:lnTo>
                    <a:pt x="400" y="288"/>
                  </a:lnTo>
                  <a:lnTo>
                    <a:pt x="396" y="288"/>
                  </a:lnTo>
                  <a:lnTo>
                    <a:pt x="394" y="290"/>
                  </a:lnTo>
                  <a:lnTo>
                    <a:pt x="400" y="304"/>
                  </a:lnTo>
                  <a:lnTo>
                    <a:pt x="394" y="310"/>
                  </a:lnTo>
                  <a:lnTo>
                    <a:pt x="378" y="302"/>
                  </a:lnTo>
                  <a:lnTo>
                    <a:pt x="356" y="290"/>
                  </a:lnTo>
                  <a:lnTo>
                    <a:pt x="344" y="278"/>
                  </a:lnTo>
                  <a:lnTo>
                    <a:pt x="338" y="282"/>
                  </a:lnTo>
                  <a:lnTo>
                    <a:pt x="348" y="292"/>
                  </a:lnTo>
                  <a:lnTo>
                    <a:pt x="366" y="306"/>
                  </a:lnTo>
                  <a:lnTo>
                    <a:pt x="370" y="312"/>
                  </a:lnTo>
                  <a:lnTo>
                    <a:pt x="374" y="320"/>
                  </a:lnTo>
                  <a:lnTo>
                    <a:pt x="378" y="328"/>
                  </a:lnTo>
                  <a:lnTo>
                    <a:pt x="354" y="322"/>
                  </a:lnTo>
                  <a:lnTo>
                    <a:pt x="334" y="314"/>
                  </a:lnTo>
                  <a:lnTo>
                    <a:pt x="320" y="304"/>
                  </a:lnTo>
                  <a:lnTo>
                    <a:pt x="312" y="304"/>
                  </a:lnTo>
                  <a:lnTo>
                    <a:pt x="310" y="314"/>
                  </a:lnTo>
                  <a:lnTo>
                    <a:pt x="296" y="298"/>
                  </a:lnTo>
                  <a:lnTo>
                    <a:pt x="290" y="290"/>
                  </a:lnTo>
                  <a:lnTo>
                    <a:pt x="294" y="286"/>
                  </a:lnTo>
                  <a:lnTo>
                    <a:pt x="288" y="280"/>
                  </a:lnTo>
                  <a:lnTo>
                    <a:pt x="280" y="282"/>
                  </a:lnTo>
                  <a:lnTo>
                    <a:pt x="272" y="274"/>
                  </a:lnTo>
                  <a:lnTo>
                    <a:pt x="262" y="264"/>
                  </a:lnTo>
                  <a:lnTo>
                    <a:pt x="256" y="258"/>
                  </a:lnTo>
                  <a:lnTo>
                    <a:pt x="244" y="254"/>
                  </a:lnTo>
                  <a:lnTo>
                    <a:pt x="238" y="250"/>
                  </a:lnTo>
                  <a:lnTo>
                    <a:pt x="238" y="258"/>
                  </a:lnTo>
                  <a:lnTo>
                    <a:pt x="238" y="260"/>
                  </a:lnTo>
                  <a:lnTo>
                    <a:pt x="236" y="262"/>
                  </a:lnTo>
                  <a:lnTo>
                    <a:pt x="224" y="262"/>
                  </a:lnTo>
                  <a:lnTo>
                    <a:pt x="218" y="266"/>
                  </a:lnTo>
                  <a:lnTo>
                    <a:pt x="208" y="270"/>
                  </a:lnTo>
                  <a:lnTo>
                    <a:pt x="194" y="268"/>
                  </a:lnTo>
                  <a:lnTo>
                    <a:pt x="186" y="258"/>
                  </a:lnTo>
                  <a:lnTo>
                    <a:pt x="188" y="246"/>
                  </a:lnTo>
                  <a:lnTo>
                    <a:pt x="202" y="236"/>
                  </a:lnTo>
                  <a:lnTo>
                    <a:pt x="214" y="238"/>
                  </a:lnTo>
                  <a:lnTo>
                    <a:pt x="226" y="242"/>
                  </a:lnTo>
                  <a:lnTo>
                    <a:pt x="232" y="246"/>
                  </a:lnTo>
                  <a:lnTo>
                    <a:pt x="238" y="240"/>
                  </a:lnTo>
                  <a:lnTo>
                    <a:pt x="246" y="236"/>
                  </a:lnTo>
                  <a:lnTo>
                    <a:pt x="258" y="232"/>
                  </a:lnTo>
                  <a:lnTo>
                    <a:pt x="254" y="228"/>
                  </a:lnTo>
                  <a:lnTo>
                    <a:pt x="246" y="222"/>
                  </a:lnTo>
                  <a:lnTo>
                    <a:pt x="254" y="210"/>
                  </a:lnTo>
                  <a:lnTo>
                    <a:pt x="268" y="202"/>
                  </a:lnTo>
                  <a:lnTo>
                    <a:pt x="280" y="190"/>
                  </a:lnTo>
                  <a:lnTo>
                    <a:pt x="272" y="172"/>
                  </a:lnTo>
                  <a:lnTo>
                    <a:pt x="264" y="160"/>
                  </a:lnTo>
                  <a:lnTo>
                    <a:pt x="256" y="160"/>
                  </a:lnTo>
                  <a:lnTo>
                    <a:pt x="254" y="152"/>
                  </a:lnTo>
                  <a:lnTo>
                    <a:pt x="246" y="156"/>
                  </a:lnTo>
                  <a:lnTo>
                    <a:pt x="240" y="148"/>
                  </a:lnTo>
                  <a:lnTo>
                    <a:pt x="240" y="142"/>
                  </a:lnTo>
                  <a:lnTo>
                    <a:pt x="228" y="142"/>
                  </a:lnTo>
                  <a:lnTo>
                    <a:pt x="218" y="150"/>
                  </a:lnTo>
                  <a:lnTo>
                    <a:pt x="210" y="142"/>
                  </a:lnTo>
                  <a:lnTo>
                    <a:pt x="222" y="134"/>
                  </a:lnTo>
                  <a:lnTo>
                    <a:pt x="218" y="128"/>
                  </a:lnTo>
                  <a:lnTo>
                    <a:pt x="212" y="124"/>
                  </a:lnTo>
                  <a:lnTo>
                    <a:pt x="202" y="114"/>
                  </a:lnTo>
                  <a:lnTo>
                    <a:pt x="196" y="120"/>
                  </a:lnTo>
                  <a:lnTo>
                    <a:pt x="190" y="112"/>
                  </a:lnTo>
                  <a:lnTo>
                    <a:pt x="186" y="106"/>
                  </a:lnTo>
                  <a:lnTo>
                    <a:pt x="178" y="98"/>
                  </a:lnTo>
                  <a:lnTo>
                    <a:pt x="172" y="100"/>
                  </a:lnTo>
                  <a:lnTo>
                    <a:pt x="176" y="106"/>
                  </a:lnTo>
                  <a:lnTo>
                    <a:pt x="178" y="112"/>
                  </a:lnTo>
                  <a:lnTo>
                    <a:pt x="172" y="116"/>
                  </a:lnTo>
                  <a:lnTo>
                    <a:pt x="158" y="116"/>
                  </a:lnTo>
                  <a:lnTo>
                    <a:pt x="136" y="110"/>
                  </a:lnTo>
                  <a:lnTo>
                    <a:pt x="130" y="116"/>
                  </a:lnTo>
                  <a:lnTo>
                    <a:pt x="118" y="118"/>
                  </a:lnTo>
                  <a:lnTo>
                    <a:pt x="90" y="114"/>
                  </a:lnTo>
                  <a:lnTo>
                    <a:pt x="74" y="110"/>
                  </a:lnTo>
                  <a:lnTo>
                    <a:pt x="56" y="110"/>
                  </a:lnTo>
                  <a:lnTo>
                    <a:pt x="48" y="104"/>
                  </a:lnTo>
                  <a:lnTo>
                    <a:pt x="40" y="100"/>
                  </a:lnTo>
                  <a:lnTo>
                    <a:pt x="32" y="106"/>
                  </a:lnTo>
                  <a:lnTo>
                    <a:pt x="20" y="102"/>
                  </a:lnTo>
                  <a:lnTo>
                    <a:pt x="8" y="94"/>
                  </a:lnTo>
                  <a:lnTo>
                    <a:pt x="8" y="84"/>
                  </a:lnTo>
                  <a:lnTo>
                    <a:pt x="16" y="84"/>
                  </a:lnTo>
                  <a:lnTo>
                    <a:pt x="32" y="86"/>
                  </a:lnTo>
                  <a:lnTo>
                    <a:pt x="38" y="82"/>
                  </a:lnTo>
                  <a:lnTo>
                    <a:pt x="32" y="76"/>
                  </a:lnTo>
                  <a:lnTo>
                    <a:pt x="16" y="78"/>
                  </a:lnTo>
                  <a:lnTo>
                    <a:pt x="0" y="72"/>
                  </a:lnTo>
                  <a:lnTo>
                    <a:pt x="0" y="50"/>
                  </a:lnTo>
                  <a:lnTo>
                    <a:pt x="8" y="30"/>
                  </a:lnTo>
                  <a:lnTo>
                    <a:pt x="20" y="14"/>
                  </a:lnTo>
                  <a:lnTo>
                    <a:pt x="38" y="2"/>
                  </a:lnTo>
                  <a:lnTo>
                    <a:pt x="52" y="0"/>
                  </a:lnTo>
                  <a:lnTo>
                    <a:pt x="82" y="2"/>
                  </a:lnTo>
                  <a:lnTo>
                    <a:pt x="76" y="8"/>
                  </a:lnTo>
                  <a:lnTo>
                    <a:pt x="64" y="12"/>
                  </a:lnTo>
                  <a:lnTo>
                    <a:pt x="54" y="28"/>
                  </a:lnTo>
                  <a:lnTo>
                    <a:pt x="54" y="40"/>
                  </a:lnTo>
                  <a:lnTo>
                    <a:pt x="54" y="50"/>
                  </a:lnTo>
                  <a:lnTo>
                    <a:pt x="68" y="76"/>
                  </a:lnTo>
                  <a:lnTo>
                    <a:pt x="82" y="72"/>
                  </a:lnTo>
                  <a:lnTo>
                    <a:pt x="76" y="64"/>
                  </a:lnTo>
                  <a:lnTo>
                    <a:pt x="66" y="50"/>
                  </a:lnTo>
                  <a:lnTo>
                    <a:pt x="78" y="46"/>
                  </a:lnTo>
                  <a:lnTo>
                    <a:pt x="70" y="38"/>
                  </a:lnTo>
                  <a:lnTo>
                    <a:pt x="72" y="26"/>
                  </a:lnTo>
                  <a:lnTo>
                    <a:pt x="84" y="16"/>
                  </a:lnTo>
                  <a:lnTo>
                    <a:pt x="108" y="4"/>
                  </a:lnTo>
                  <a:lnTo>
                    <a:pt x="122" y="2"/>
                  </a:lnTo>
                  <a:lnTo>
                    <a:pt x="134" y="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58" name="Freeform 32">
              <a:extLst>
                <a:ext uri="{FF2B5EF4-FFF2-40B4-BE49-F238E27FC236}">
                  <a16:creationId xmlns:a16="http://schemas.microsoft.com/office/drawing/2014/main" id="{163577DB-5F73-4230-81A7-5773DDBBC931}"/>
                </a:ext>
              </a:extLst>
            </p:cNvPr>
            <p:cNvSpPr>
              <a:spLocks/>
            </p:cNvSpPr>
            <p:nvPr/>
          </p:nvSpPr>
          <p:spPr bwMode="gray">
            <a:xfrm>
              <a:off x="3612525" y="2769274"/>
              <a:ext cx="59439" cy="36517"/>
            </a:xfrm>
            <a:custGeom>
              <a:avLst/>
              <a:gdLst>
                <a:gd name="T0" fmla="*/ 34 w 36"/>
                <a:gd name="T1" fmla="*/ 0 h 22"/>
                <a:gd name="T2" fmla="*/ 22 w 36"/>
                <a:gd name="T3" fmla="*/ 0 h 22"/>
                <a:gd name="T4" fmla="*/ 8 w 36"/>
                <a:gd name="T5" fmla="*/ 6 h 22"/>
                <a:gd name="T6" fmla="*/ 4 w 36"/>
                <a:gd name="T7" fmla="*/ 10 h 22"/>
                <a:gd name="T8" fmla="*/ 2 w 36"/>
                <a:gd name="T9" fmla="*/ 12 h 22"/>
                <a:gd name="T10" fmla="*/ 0 w 36"/>
                <a:gd name="T11" fmla="*/ 14 h 22"/>
                <a:gd name="T12" fmla="*/ 6 w 36"/>
                <a:gd name="T13" fmla="*/ 18 h 22"/>
                <a:gd name="T14" fmla="*/ 10 w 36"/>
                <a:gd name="T15" fmla="*/ 22 h 22"/>
                <a:gd name="T16" fmla="*/ 22 w 36"/>
                <a:gd name="T17" fmla="*/ 18 h 22"/>
                <a:gd name="T18" fmla="*/ 30 w 36"/>
                <a:gd name="T19" fmla="*/ 12 h 22"/>
                <a:gd name="T20" fmla="*/ 36 w 36"/>
                <a:gd name="T21" fmla="*/ 4 h 22"/>
                <a:gd name="T22" fmla="*/ 34 w 36"/>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22">
                  <a:moveTo>
                    <a:pt x="34" y="0"/>
                  </a:moveTo>
                  <a:lnTo>
                    <a:pt x="22" y="0"/>
                  </a:lnTo>
                  <a:lnTo>
                    <a:pt x="8" y="6"/>
                  </a:lnTo>
                  <a:lnTo>
                    <a:pt x="4" y="10"/>
                  </a:lnTo>
                  <a:lnTo>
                    <a:pt x="2" y="12"/>
                  </a:lnTo>
                  <a:lnTo>
                    <a:pt x="0" y="14"/>
                  </a:lnTo>
                  <a:lnTo>
                    <a:pt x="6" y="18"/>
                  </a:lnTo>
                  <a:lnTo>
                    <a:pt x="10" y="22"/>
                  </a:lnTo>
                  <a:lnTo>
                    <a:pt x="22" y="18"/>
                  </a:lnTo>
                  <a:lnTo>
                    <a:pt x="30" y="12"/>
                  </a:lnTo>
                  <a:lnTo>
                    <a:pt x="36" y="4"/>
                  </a:lnTo>
                  <a:lnTo>
                    <a:pt x="34"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59" name="Freeform 33">
              <a:extLst>
                <a:ext uri="{FF2B5EF4-FFF2-40B4-BE49-F238E27FC236}">
                  <a16:creationId xmlns:a16="http://schemas.microsoft.com/office/drawing/2014/main" id="{D1850797-833E-4471-BD3C-F5FA8F31D6CB}"/>
                </a:ext>
              </a:extLst>
            </p:cNvPr>
            <p:cNvSpPr>
              <a:spLocks/>
            </p:cNvSpPr>
            <p:nvPr/>
          </p:nvSpPr>
          <p:spPr bwMode="gray">
            <a:xfrm>
              <a:off x="3714890" y="2792512"/>
              <a:ext cx="29719" cy="36517"/>
            </a:xfrm>
            <a:custGeom>
              <a:avLst/>
              <a:gdLst>
                <a:gd name="T0" fmla="*/ 8 w 18"/>
                <a:gd name="T1" fmla="*/ 0 h 22"/>
                <a:gd name="T2" fmla="*/ 2 w 18"/>
                <a:gd name="T3" fmla="*/ 6 h 22"/>
                <a:gd name="T4" fmla="*/ 0 w 18"/>
                <a:gd name="T5" fmla="*/ 14 h 22"/>
                <a:gd name="T6" fmla="*/ 8 w 18"/>
                <a:gd name="T7" fmla="*/ 22 h 22"/>
                <a:gd name="T8" fmla="*/ 18 w 18"/>
                <a:gd name="T9" fmla="*/ 10 h 22"/>
                <a:gd name="T10" fmla="*/ 16 w 18"/>
                <a:gd name="T11" fmla="*/ 2 h 22"/>
                <a:gd name="T12" fmla="*/ 8 w 18"/>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8" h="22">
                  <a:moveTo>
                    <a:pt x="8" y="0"/>
                  </a:moveTo>
                  <a:lnTo>
                    <a:pt x="2" y="6"/>
                  </a:lnTo>
                  <a:lnTo>
                    <a:pt x="0" y="14"/>
                  </a:lnTo>
                  <a:lnTo>
                    <a:pt x="8" y="22"/>
                  </a:lnTo>
                  <a:lnTo>
                    <a:pt x="18" y="10"/>
                  </a:lnTo>
                  <a:lnTo>
                    <a:pt x="16" y="2"/>
                  </a:lnTo>
                  <a:lnTo>
                    <a:pt x="8"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60" name="Freeform 34">
              <a:extLst>
                <a:ext uri="{FF2B5EF4-FFF2-40B4-BE49-F238E27FC236}">
                  <a16:creationId xmlns:a16="http://schemas.microsoft.com/office/drawing/2014/main" id="{012C184B-68CC-47DF-AE7D-5A7149D1B3BC}"/>
                </a:ext>
              </a:extLst>
            </p:cNvPr>
            <p:cNvSpPr>
              <a:spLocks/>
            </p:cNvSpPr>
            <p:nvPr/>
          </p:nvSpPr>
          <p:spPr bwMode="gray">
            <a:xfrm>
              <a:off x="2806801" y="2042269"/>
              <a:ext cx="36323" cy="23237"/>
            </a:xfrm>
            <a:custGeom>
              <a:avLst/>
              <a:gdLst>
                <a:gd name="T0" fmla="*/ 8 w 22"/>
                <a:gd name="T1" fmla="*/ 0 h 14"/>
                <a:gd name="T2" fmla="*/ 16 w 22"/>
                <a:gd name="T3" fmla="*/ 2 h 14"/>
                <a:gd name="T4" fmla="*/ 22 w 22"/>
                <a:gd name="T5" fmla="*/ 8 h 14"/>
                <a:gd name="T6" fmla="*/ 20 w 22"/>
                <a:gd name="T7" fmla="*/ 12 h 14"/>
                <a:gd name="T8" fmla="*/ 10 w 22"/>
                <a:gd name="T9" fmla="*/ 14 h 14"/>
                <a:gd name="T10" fmla="*/ 2 w 22"/>
                <a:gd name="T11" fmla="*/ 8 h 14"/>
                <a:gd name="T12" fmla="*/ 0 w 22"/>
                <a:gd name="T13" fmla="*/ 2 h 14"/>
                <a:gd name="T14" fmla="*/ 8 w 22"/>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8" y="0"/>
                  </a:moveTo>
                  <a:lnTo>
                    <a:pt x="16" y="2"/>
                  </a:lnTo>
                  <a:lnTo>
                    <a:pt x="22" y="8"/>
                  </a:lnTo>
                  <a:lnTo>
                    <a:pt x="20" y="12"/>
                  </a:lnTo>
                  <a:lnTo>
                    <a:pt x="10" y="14"/>
                  </a:lnTo>
                  <a:lnTo>
                    <a:pt x="2" y="8"/>
                  </a:lnTo>
                  <a:lnTo>
                    <a:pt x="0" y="2"/>
                  </a:lnTo>
                  <a:lnTo>
                    <a:pt x="8"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61" name="Freeform 35">
              <a:extLst>
                <a:ext uri="{FF2B5EF4-FFF2-40B4-BE49-F238E27FC236}">
                  <a16:creationId xmlns:a16="http://schemas.microsoft.com/office/drawing/2014/main" id="{5D21324C-CA9A-4325-8871-36F64136B556}"/>
                </a:ext>
              </a:extLst>
            </p:cNvPr>
            <p:cNvSpPr>
              <a:spLocks/>
            </p:cNvSpPr>
            <p:nvPr/>
          </p:nvSpPr>
          <p:spPr bwMode="gray">
            <a:xfrm>
              <a:off x="3863487" y="2540218"/>
              <a:ext cx="33021" cy="26557"/>
            </a:xfrm>
            <a:custGeom>
              <a:avLst/>
              <a:gdLst>
                <a:gd name="T0" fmla="*/ 8 w 20"/>
                <a:gd name="T1" fmla="*/ 0 h 16"/>
                <a:gd name="T2" fmla="*/ 16 w 20"/>
                <a:gd name="T3" fmla="*/ 6 h 16"/>
                <a:gd name="T4" fmla="*/ 20 w 20"/>
                <a:gd name="T5" fmla="*/ 12 h 16"/>
                <a:gd name="T6" fmla="*/ 16 w 20"/>
                <a:gd name="T7" fmla="*/ 16 h 16"/>
                <a:gd name="T8" fmla="*/ 6 w 20"/>
                <a:gd name="T9" fmla="*/ 14 h 16"/>
                <a:gd name="T10" fmla="*/ 0 w 20"/>
                <a:gd name="T11" fmla="*/ 10 h 16"/>
                <a:gd name="T12" fmla="*/ 0 w 20"/>
                <a:gd name="T13" fmla="*/ 2 h 16"/>
                <a:gd name="T14" fmla="*/ 8 w 20"/>
                <a:gd name="T15" fmla="*/ 0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6">
                  <a:moveTo>
                    <a:pt x="8" y="0"/>
                  </a:moveTo>
                  <a:lnTo>
                    <a:pt x="16" y="6"/>
                  </a:lnTo>
                  <a:lnTo>
                    <a:pt x="20" y="12"/>
                  </a:lnTo>
                  <a:lnTo>
                    <a:pt x="16" y="16"/>
                  </a:lnTo>
                  <a:lnTo>
                    <a:pt x="6" y="14"/>
                  </a:lnTo>
                  <a:lnTo>
                    <a:pt x="0" y="10"/>
                  </a:lnTo>
                  <a:lnTo>
                    <a:pt x="0" y="2"/>
                  </a:lnTo>
                  <a:lnTo>
                    <a:pt x="8"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62" name="Freeform 36">
              <a:extLst>
                <a:ext uri="{FF2B5EF4-FFF2-40B4-BE49-F238E27FC236}">
                  <a16:creationId xmlns:a16="http://schemas.microsoft.com/office/drawing/2014/main" id="{1BC51CA6-35BF-4472-AFA6-FCD5B617FF98}"/>
                </a:ext>
              </a:extLst>
            </p:cNvPr>
            <p:cNvSpPr>
              <a:spLocks/>
            </p:cNvSpPr>
            <p:nvPr/>
          </p:nvSpPr>
          <p:spPr bwMode="gray">
            <a:xfrm>
              <a:off x="4137565" y="3260583"/>
              <a:ext cx="62740" cy="29876"/>
            </a:xfrm>
            <a:custGeom>
              <a:avLst/>
              <a:gdLst>
                <a:gd name="T0" fmla="*/ 0 w 38"/>
                <a:gd name="T1" fmla="*/ 2 h 18"/>
                <a:gd name="T2" fmla="*/ 8 w 38"/>
                <a:gd name="T3" fmla="*/ 8 h 18"/>
                <a:gd name="T4" fmla="*/ 18 w 38"/>
                <a:gd name="T5" fmla="*/ 14 h 18"/>
                <a:gd name="T6" fmla="*/ 34 w 38"/>
                <a:gd name="T7" fmla="*/ 18 h 18"/>
                <a:gd name="T8" fmla="*/ 38 w 38"/>
                <a:gd name="T9" fmla="*/ 12 h 18"/>
                <a:gd name="T10" fmla="*/ 30 w 38"/>
                <a:gd name="T11" fmla="*/ 6 h 18"/>
                <a:gd name="T12" fmla="*/ 22 w 38"/>
                <a:gd name="T13" fmla="*/ 2 h 18"/>
                <a:gd name="T14" fmla="*/ 14 w 38"/>
                <a:gd name="T15" fmla="*/ 0 h 18"/>
                <a:gd name="T16" fmla="*/ 8 w 38"/>
                <a:gd name="T17" fmla="*/ 0 h 18"/>
                <a:gd name="T18" fmla="*/ 0 w 38"/>
                <a:gd name="T19"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18">
                  <a:moveTo>
                    <a:pt x="0" y="2"/>
                  </a:moveTo>
                  <a:lnTo>
                    <a:pt x="8" y="8"/>
                  </a:lnTo>
                  <a:lnTo>
                    <a:pt x="18" y="14"/>
                  </a:lnTo>
                  <a:lnTo>
                    <a:pt x="34" y="18"/>
                  </a:lnTo>
                  <a:lnTo>
                    <a:pt x="38" y="12"/>
                  </a:lnTo>
                  <a:lnTo>
                    <a:pt x="30" y="6"/>
                  </a:lnTo>
                  <a:lnTo>
                    <a:pt x="22" y="2"/>
                  </a:lnTo>
                  <a:lnTo>
                    <a:pt x="14" y="0"/>
                  </a:lnTo>
                  <a:lnTo>
                    <a:pt x="8" y="0"/>
                  </a:lnTo>
                  <a:lnTo>
                    <a:pt x="0" y="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63" name="Freeform 37">
              <a:extLst>
                <a:ext uri="{FF2B5EF4-FFF2-40B4-BE49-F238E27FC236}">
                  <a16:creationId xmlns:a16="http://schemas.microsoft.com/office/drawing/2014/main" id="{26722658-63C2-4C04-AA23-3FEF53D2A5C5}"/>
                </a:ext>
              </a:extLst>
            </p:cNvPr>
            <p:cNvSpPr>
              <a:spLocks/>
            </p:cNvSpPr>
            <p:nvPr/>
          </p:nvSpPr>
          <p:spPr bwMode="gray">
            <a:xfrm>
              <a:off x="2463379" y="3227386"/>
              <a:ext cx="118878" cy="82991"/>
            </a:xfrm>
            <a:custGeom>
              <a:avLst/>
              <a:gdLst>
                <a:gd name="T0" fmla="*/ 0 w 72"/>
                <a:gd name="T1" fmla="*/ 0 h 50"/>
                <a:gd name="T2" fmla="*/ 12 w 72"/>
                <a:gd name="T3" fmla="*/ 2 h 50"/>
                <a:gd name="T4" fmla="*/ 24 w 72"/>
                <a:gd name="T5" fmla="*/ 6 h 50"/>
                <a:gd name="T6" fmla="*/ 32 w 72"/>
                <a:gd name="T7" fmla="*/ 10 h 50"/>
                <a:gd name="T8" fmla="*/ 42 w 72"/>
                <a:gd name="T9" fmla="*/ 16 h 50"/>
                <a:gd name="T10" fmla="*/ 50 w 72"/>
                <a:gd name="T11" fmla="*/ 26 h 50"/>
                <a:gd name="T12" fmla="*/ 56 w 72"/>
                <a:gd name="T13" fmla="*/ 30 h 50"/>
                <a:gd name="T14" fmla="*/ 66 w 72"/>
                <a:gd name="T15" fmla="*/ 36 h 50"/>
                <a:gd name="T16" fmla="*/ 70 w 72"/>
                <a:gd name="T17" fmla="*/ 42 h 50"/>
                <a:gd name="T18" fmla="*/ 72 w 72"/>
                <a:gd name="T19" fmla="*/ 46 h 50"/>
                <a:gd name="T20" fmla="*/ 66 w 72"/>
                <a:gd name="T21" fmla="*/ 48 h 50"/>
                <a:gd name="T22" fmla="*/ 56 w 72"/>
                <a:gd name="T23" fmla="*/ 50 h 50"/>
                <a:gd name="T24" fmla="*/ 46 w 72"/>
                <a:gd name="T25" fmla="*/ 46 h 50"/>
                <a:gd name="T26" fmla="*/ 46 w 72"/>
                <a:gd name="T27" fmla="*/ 38 h 50"/>
                <a:gd name="T28" fmla="*/ 40 w 72"/>
                <a:gd name="T29" fmla="*/ 38 h 50"/>
                <a:gd name="T30" fmla="*/ 34 w 72"/>
                <a:gd name="T31" fmla="*/ 32 h 50"/>
                <a:gd name="T32" fmla="*/ 28 w 72"/>
                <a:gd name="T33" fmla="*/ 24 h 50"/>
                <a:gd name="T34" fmla="*/ 22 w 72"/>
                <a:gd name="T35" fmla="*/ 24 h 50"/>
                <a:gd name="T36" fmla="*/ 20 w 72"/>
                <a:gd name="T37" fmla="*/ 18 h 50"/>
                <a:gd name="T38" fmla="*/ 14 w 72"/>
                <a:gd name="T39" fmla="*/ 18 h 50"/>
                <a:gd name="T40" fmla="*/ 6 w 72"/>
                <a:gd name="T41" fmla="*/ 14 h 50"/>
                <a:gd name="T42" fmla="*/ 0 w 72"/>
                <a:gd name="T43" fmla="*/ 10 h 50"/>
                <a:gd name="T44" fmla="*/ 0 w 72"/>
                <a:gd name="T4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2" h="50">
                  <a:moveTo>
                    <a:pt x="0" y="0"/>
                  </a:moveTo>
                  <a:lnTo>
                    <a:pt x="12" y="2"/>
                  </a:lnTo>
                  <a:lnTo>
                    <a:pt x="24" y="6"/>
                  </a:lnTo>
                  <a:lnTo>
                    <a:pt x="32" y="10"/>
                  </a:lnTo>
                  <a:lnTo>
                    <a:pt x="42" y="16"/>
                  </a:lnTo>
                  <a:lnTo>
                    <a:pt x="50" y="26"/>
                  </a:lnTo>
                  <a:lnTo>
                    <a:pt x="56" y="30"/>
                  </a:lnTo>
                  <a:lnTo>
                    <a:pt x="66" y="36"/>
                  </a:lnTo>
                  <a:lnTo>
                    <a:pt x="70" y="42"/>
                  </a:lnTo>
                  <a:lnTo>
                    <a:pt x="72" y="46"/>
                  </a:lnTo>
                  <a:lnTo>
                    <a:pt x="66" y="48"/>
                  </a:lnTo>
                  <a:lnTo>
                    <a:pt x="56" y="50"/>
                  </a:lnTo>
                  <a:lnTo>
                    <a:pt x="46" y="46"/>
                  </a:lnTo>
                  <a:lnTo>
                    <a:pt x="46" y="38"/>
                  </a:lnTo>
                  <a:lnTo>
                    <a:pt x="40" y="38"/>
                  </a:lnTo>
                  <a:lnTo>
                    <a:pt x="34" y="32"/>
                  </a:lnTo>
                  <a:lnTo>
                    <a:pt x="28" y="24"/>
                  </a:lnTo>
                  <a:lnTo>
                    <a:pt x="22" y="24"/>
                  </a:lnTo>
                  <a:lnTo>
                    <a:pt x="20" y="18"/>
                  </a:lnTo>
                  <a:lnTo>
                    <a:pt x="14" y="18"/>
                  </a:lnTo>
                  <a:lnTo>
                    <a:pt x="6" y="14"/>
                  </a:lnTo>
                  <a:lnTo>
                    <a:pt x="0" y="10"/>
                  </a:lnTo>
                  <a:lnTo>
                    <a:pt x="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grpSp>
          <p:nvGrpSpPr>
            <p:cNvPr id="864" name="Group 38">
              <a:extLst>
                <a:ext uri="{FF2B5EF4-FFF2-40B4-BE49-F238E27FC236}">
                  <a16:creationId xmlns:a16="http://schemas.microsoft.com/office/drawing/2014/main" id="{DEFCE587-5D5F-421D-8C07-4DB216623BAD}"/>
                </a:ext>
              </a:extLst>
            </p:cNvPr>
            <p:cNvGrpSpPr>
              <a:grpSpLocks/>
            </p:cNvGrpSpPr>
            <p:nvPr/>
          </p:nvGrpSpPr>
          <p:grpSpPr bwMode="auto">
            <a:xfrm>
              <a:off x="1433110" y="2397472"/>
              <a:ext cx="980737" cy="770160"/>
              <a:chOff x="44" y="1185"/>
              <a:chExt cx="594" cy="464"/>
            </a:xfrm>
            <a:grpFill/>
          </p:grpSpPr>
          <p:sp>
            <p:nvSpPr>
              <p:cNvPr id="1100" name="Freeform 39">
                <a:extLst>
                  <a:ext uri="{FF2B5EF4-FFF2-40B4-BE49-F238E27FC236}">
                    <a16:creationId xmlns:a16="http://schemas.microsoft.com/office/drawing/2014/main" id="{DA5F9F44-D9CC-40B2-A607-45D71D1980B1}"/>
                  </a:ext>
                </a:extLst>
              </p:cNvPr>
              <p:cNvSpPr>
                <a:spLocks/>
              </p:cNvSpPr>
              <p:nvPr/>
            </p:nvSpPr>
            <p:spPr bwMode="gray">
              <a:xfrm>
                <a:off x="44" y="1185"/>
                <a:ext cx="594" cy="414"/>
              </a:xfrm>
              <a:custGeom>
                <a:avLst/>
                <a:gdLst>
                  <a:gd name="T0" fmla="*/ 540 w 594"/>
                  <a:gd name="T1" fmla="*/ 354 h 414"/>
                  <a:gd name="T2" fmla="*/ 510 w 594"/>
                  <a:gd name="T3" fmla="*/ 318 h 414"/>
                  <a:gd name="T4" fmla="*/ 500 w 594"/>
                  <a:gd name="T5" fmla="*/ 332 h 414"/>
                  <a:gd name="T6" fmla="*/ 464 w 594"/>
                  <a:gd name="T7" fmla="*/ 324 h 414"/>
                  <a:gd name="T8" fmla="*/ 414 w 594"/>
                  <a:gd name="T9" fmla="*/ 298 h 414"/>
                  <a:gd name="T10" fmla="*/ 362 w 594"/>
                  <a:gd name="T11" fmla="*/ 288 h 414"/>
                  <a:gd name="T12" fmla="*/ 318 w 594"/>
                  <a:gd name="T13" fmla="*/ 272 h 414"/>
                  <a:gd name="T14" fmla="*/ 314 w 594"/>
                  <a:gd name="T15" fmla="*/ 294 h 414"/>
                  <a:gd name="T16" fmla="*/ 278 w 594"/>
                  <a:gd name="T17" fmla="*/ 304 h 414"/>
                  <a:gd name="T18" fmla="*/ 252 w 594"/>
                  <a:gd name="T19" fmla="*/ 298 h 414"/>
                  <a:gd name="T20" fmla="*/ 270 w 594"/>
                  <a:gd name="T21" fmla="*/ 274 h 414"/>
                  <a:gd name="T22" fmla="*/ 274 w 594"/>
                  <a:gd name="T23" fmla="*/ 266 h 414"/>
                  <a:gd name="T24" fmla="*/ 236 w 594"/>
                  <a:gd name="T25" fmla="*/ 298 h 414"/>
                  <a:gd name="T26" fmla="*/ 222 w 594"/>
                  <a:gd name="T27" fmla="*/ 322 h 414"/>
                  <a:gd name="T28" fmla="*/ 196 w 594"/>
                  <a:gd name="T29" fmla="*/ 348 h 414"/>
                  <a:gd name="T30" fmla="*/ 146 w 594"/>
                  <a:gd name="T31" fmla="*/ 384 h 414"/>
                  <a:gd name="T32" fmla="*/ 112 w 594"/>
                  <a:gd name="T33" fmla="*/ 398 h 414"/>
                  <a:gd name="T34" fmla="*/ 90 w 594"/>
                  <a:gd name="T35" fmla="*/ 408 h 414"/>
                  <a:gd name="T36" fmla="*/ 84 w 594"/>
                  <a:gd name="T37" fmla="*/ 394 h 414"/>
                  <a:gd name="T38" fmla="*/ 114 w 594"/>
                  <a:gd name="T39" fmla="*/ 382 h 414"/>
                  <a:gd name="T40" fmla="*/ 156 w 594"/>
                  <a:gd name="T41" fmla="*/ 354 h 414"/>
                  <a:gd name="T42" fmla="*/ 170 w 594"/>
                  <a:gd name="T43" fmla="*/ 320 h 414"/>
                  <a:gd name="T44" fmla="*/ 138 w 594"/>
                  <a:gd name="T45" fmla="*/ 328 h 414"/>
                  <a:gd name="T46" fmla="*/ 100 w 594"/>
                  <a:gd name="T47" fmla="*/ 328 h 414"/>
                  <a:gd name="T48" fmla="*/ 86 w 594"/>
                  <a:gd name="T49" fmla="*/ 286 h 414"/>
                  <a:gd name="T50" fmla="*/ 56 w 594"/>
                  <a:gd name="T51" fmla="*/ 300 h 414"/>
                  <a:gd name="T52" fmla="*/ 48 w 594"/>
                  <a:gd name="T53" fmla="*/ 274 h 414"/>
                  <a:gd name="T54" fmla="*/ 24 w 594"/>
                  <a:gd name="T55" fmla="*/ 258 h 414"/>
                  <a:gd name="T56" fmla="*/ 46 w 594"/>
                  <a:gd name="T57" fmla="*/ 226 h 414"/>
                  <a:gd name="T58" fmla="*/ 80 w 594"/>
                  <a:gd name="T59" fmla="*/ 214 h 414"/>
                  <a:gd name="T60" fmla="*/ 102 w 594"/>
                  <a:gd name="T61" fmla="*/ 184 h 414"/>
                  <a:gd name="T62" fmla="*/ 86 w 594"/>
                  <a:gd name="T63" fmla="*/ 180 h 414"/>
                  <a:gd name="T64" fmla="*/ 20 w 594"/>
                  <a:gd name="T65" fmla="*/ 168 h 414"/>
                  <a:gd name="T66" fmla="*/ 10 w 594"/>
                  <a:gd name="T67" fmla="*/ 150 h 414"/>
                  <a:gd name="T68" fmla="*/ 60 w 594"/>
                  <a:gd name="T69" fmla="*/ 132 h 414"/>
                  <a:gd name="T70" fmla="*/ 100 w 594"/>
                  <a:gd name="T71" fmla="*/ 142 h 414"/>
                  <a:gd name="T72" fmla="*/ 102 w 594"/>
                  <a:gd name="T73" fmla="*/ 132 h 414"/>
                  <a:gd name="T74" fmla="*/ 84 w 594"/>
                  <a:gd name="T75" fmla="*/ 116 h 414"/>
                  <a:gd name="T76" fmla="*/ 44 w 594"/>
                  <a:gd name="T77" fmla="*/ 94 h 414"/>
                  <a:gd name="T78" fmla="*/ 22 w 594"/>
                  <a:gd name="T79" fmla="*/ 68 h 414"/>
                  <a:gd name="T80" fmla="*/ 88 w 594"/>
                  <a:gd name="T81" fmla="*/ 28 h 414"/>
                  <a:gd name="T82" fmla="*/ 132 w 594"/>
                  <a:gd name="T83" fmla="*/ 12 h 414"/>
                  <a:gd name="T84" fmla="*/ 186 w 594"/>
                  <a:gd name="T85" fmla="*/ 8 h 414"/>
                  <a:gd name="T86" fmla="*/ 244 w 594"/>
                  <a:gd name="T87" fmla="*/ 16 h 414"/>
                  <a:gd name="T88" fmla="*/ 318 w 594"/>
                  <a:gd name="T89" fmla="*/ 30 h 414"/>
                  <a:gd name="T90" fmla="*/ 400 w 594"/>
                  <a:gd name="T91" fmla="*/ 40 h 414"/>
                  <a:gd name="T92" fmla="*/ 438 w 594"/>
                  <a:gd name="T93" fmla="*/ 288 h 414"/>
                  <a:gd name="T94" fmla="*/ 478 w 594"/>
                  <a:gd name="T95" fmla="*/ 316 h 414"/>
                  <a:gd name="T96" fmla="*/ 508 w 594"/>
                  <a:gd name="T97" fmla="*/ 300 h 414"/>
                  <a:gd name="T98" fmla="*/ 556 w 594"/>
                  <a:gd name="T99" fmla="*/ 358 h 414"/>
                  <a:gd name="T100" fmla="*/ 594 w 594"/>
                  <a:gd name="T101" fmla="*/ 394 h 414"/>
                  <a:gd name="T102" fmla="*/ 582 w 594"/>
                  <a:gd name="T103" fmla="*/ 39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94" h="414">
                    <a:moveTo>
                      <a:pt x="568" y="384"/>
                    </a:moveTo>
                    <a:lnTo>
                      <a:pt x="552" y="370"/>
                    </a:lnTo>
                    <a:lnTo>
                      <a:pt x="542" y="362"/>
                    </a:lnTo>
                    <a:lnTo>
                      <a:pt x="540" y="354"/>
                    </a:lnTo>
                    <a:lnTo>
                      <a:pt x="530" y="342"/>
                    </a:lnTo>
                    <a:lnTo>
                      <a:pt x="522" y="336"/>
                    </a:lnTo>
                    <a:lnTo>
                      <a:pt x="518" y="330"/>
                    </a:lnTo>
                    <a:lnTo>
                      <a:pt x="510" y="318"/>
                    </a:lnTo>
                    <a:lnTo>
                      <a:pt x="506" y="322"/>
                    </a:lnTo>
                    <a:lnTo>
                      <a:pt x="510" y="334"/>
                    </a:lnTo>
                    <a:lnTo>
                      <a:pt x="506" y="338"/>
                    </a:lnTo>
                    <a:lnTo>
                      <a:pt x="500" y="332"/>
                    </a:lnTo>
                    <a:lnTo>
                      <a:pt x="496" y="328"/>
                    </a:lnTo>
                    <a:lnTo>
                      <a:pt x="492" y="336"/>
                    </a:lnTo>
                    <a:lnTo>
                      <a:pt x="480" y="332"/>
                    </a:lnTo>
                    <a:lnTo>
                      <a:pt x="464" y="324"/>
                    </a:lnTo>
                    <a:lnTo>
                      <a:pt x="440" y="310"/>
                    </a:lnTo>
                    <a:lnTo>
                      <a:pt x="438" y="302"/>
                    </a:lnTo>
                    <a:lnTo>
                      <a:pt x="426" y="304"/>
                    </a:lnTo>
                    <a:lnTo>
                      <a:pt x="414" y="298"/>
                    </a:lnTo>
                    <a:lnTo>
                      <a:pt x="400" y="296"/>
                    </a:lnTo>
                    <a:lnTo>
                      <a:pt x="378" y="296"/>
                    </a:lnTo>
                    <a:lnTo>
                      <a:pt x="368" y="296"/>
                    </a:lnTo>
                    <a:lnTo>
                      <a:pt x="362" y="288"/>
                    </a:lnTo>
                    <a:lnTo>
                      <a:pt x="348" y="286"/>
                    </a:lnTo>
                    <a:lnTo>
                      <a:pt x="344" y="280"/>
                    </a:lnTo>
                    <a:lnTo>
                      <a:pt x="332" y="274"/>
                    </a:lnTo>
                    <a:lnTo>
                      <a:pt x="318" y="272"/>
                    </a:lnTo>
                    <a:lnTo>
                      <a:pt x="306" y="272"/>
                    </a:lnTo>
                    <a:lnTo>
                      <a:pt x="306" y="280"/>
                    </a:lnTo>
                    <a:lnTo>
                      <a:pt x="310" y="286"/>
                    </a:lnTo>
                    <a:lnTo>
                      <a:pt x="314" y="294"/>
                    </a:lnTo>
                    <a:lnTo>
                      <a:pt x="310" y="296"/>
                    </a:lnTo>
                    <a:lnTo>
                      <a:pt x="294" y="296"/>
                    </a:lnTo>
                    <a:lnTo>
                      <a:pt x="286" y="298"/>
                    </a:lnTo>
                    <a:lnTo>
                      <a:pt x="278" y="304"/>
                    </a:lnTo>
                    <a:lnTo>
                      <a:pt x="268" y="312"/>
                    </a:lnTo>
                    <a:lnTo>
                      <a:pt x="256" y="316"/>
                    </a:lnTo>
                    <a:lnTo>
                      <a:pt x="250" y="308"/>
                    </a:lnTo>
                    <a:lnTo>
                      <a:pt x="252" y="298"/>
                    </a:lnTo>
                    <a:lnTo>
                      <a:pt x="256" y="290"/>
                    </a:lnTo>
                    <a:lnTo>
                      <a:pt x="258" y="280"/>
                    </a:lnTo>
                    <a:lnTo>
                      <a:pt x="262" y="276"/>
                    </a:lnTo>
                    <a:lnTo>
                      <a:pt x="270" y="274"/>
                    </a:lnTo>
                    <a:lnTo>
                      <a:pt x="280" y="272"/>
                    </a:lnTo>
                    <a:lnTo>
                      <a:pt x="284" y="264"/>
                    </a:lnTo>
                    <a:lnTo>
                      <a:pt x="286" y="260"/>
                    </a:lnTo>
                    <a:lnTo>
                      <a:pt x="274" y="266"/>
                    </a:lnTo>
                    <a:lnTo>
                      <a:pt x="264" y="268"/>
                    </a:lnTo>
                    <a:lnTo>
                      <a:pt x="244" y="282"/>
                    </a:lnTo>
                    <a:lnTo>
                      <a:pt x="236" y="290"/>
                    </a:lnTo>
                    <a:lnTo>
                      <a:pt x="236" y="298"/>
                    </a:lnTo>
                    <a:lnTo>
                      <a:pt x="230" y="304"/>
                    </a:lnTo>
                    <a:lnTo>
                      <a:pt x="220" y="306"/>
                    </a:lnTo>
                    <a:lnTo>
                      <a:pt x="216" y="314"/>
                    </a:lnTo>
                    <a:lnTo>
                      <a:pt x="222" y="322"/>
                    </a:lnTo>
                    <a:lnTo>
                      <a:pt x="224" y="326"/>
                    </a:lnTo>
                    <a:lnTo>
                      <a:pt x="218" y="332"/>
                    </a:lnTo>
                    <a:lnTo>
                      <a:pt x="208" y="340"/>
                    </a:lnTo>
                    <a:lnTo>
                      <a:pt x="196" y="348"/>
                    </a:lnTo>
                    <a:lnTo>
                      <a:pt x="176" y="360"/>
                    </a:lnTo>
                    <a:lnTo>
                      <a:pt x="154" y="372"/>
                    </a:lnTo>
                    <a:lnTo>
                      <a:pt x="148" y="378"/>
                    </a:lnTo>
                    <a:lnTo>
                      <a:pt x="146" y="384"/>
                    </a:lnTo>
                    <a:lnTo>
                      <a:pt x="134" y="390"/>
                    </a:lnTo>
                    <a:lnTo>
                      <a:pt x="130" y="394"/>
                    </a:lnTo>
                    <a:lnTo>
                      <a:pt x="116" y="394"/>
                    </a:lnTo>
                    <a:lnTo>
                      <a:pt x="112" y="398"/>
                    </a:lnTo>
                    <a:lnTo>
                      <a:pt x="104" y="402"/>
                    </a:lnTo>
                    <a:lnTo>
                      <a:pt x="98" y="398"/>
                    </a:lnTo>
                    <a:lnTo>
                      <a:pt x="94" y="400"/>
                    </a:lnTo>
                    <a:lnTo>
                      <a:pt x="90" y="408"/>
                    </a:lnTo>
                    <a:lnTo>
                      <a:pt x="84" y="412"/>
                    </a:lnTo>
                    <a:lnTo>
                      <a:pt x="76" y="410"/>
                    </a:lnTo>
                    <a:lnTo>
                      <a:pt x="78" y="402"/>
                    </a:lnTo>
                    <a:lnTo>
                      <a:pt x="84" y="394"/>
                    </a:lnTo>
                    <a:lnTo>
                      <a:pt x="90" y="390"/>
                    </a:lnTo>
                    <a:lnTo>
                      <a:pt x="100" y="388"/>
                    </a:lnTo>
                    <a:lnTo>
                      <a:pt x="110" y="388"/>
                    </a:lnTo>
                    <a:lnTo>
                      <a:pt x="114" y="382"/>
                    </a:lnTo>
                    <a:lnTo>
                      <a:pt x="124" y="378"/>
                    </a:lnTo>
                    <a:lnTo>
                      <a:pt x="140" y="366"/>
                    </a:lnTo>
                    <a:lnTo>
                      <a:pt x="150" y="356"/>
                    </a:lnTo>
                    <a:lnTo>
                      <a:pt x="156" y="354"/>
                    </a:lnTo>
                    <a:lnTo>
                      <a:pt x="160" y="342"/>
                    </a:lnTo>
                    <a:lnTo>
                      <a:pt x="160" y="332"/>
                    </a:lnTo>
                    <a:lnTo>
                      <a:pt x="168" y="328"/>
                    </a:lnTo>
                    <a:lnTo>
                      <a:pt x="170" y="320"/>
                    </a:lnTo>
                    <a:lnTo>
                      <a:pt x="160" y="322"/>
                    </a:lnTo>
                    <a:lnTo>
                      <a:pt x="148" y="328"/>
                    </a:lnTo>
                    <a:lnTo>
                      <a:pt x="142" y="322"/>
                    </a:lnTo>
                    <a:lnTo>
                      <a:pt x="138" y="328"/>
                    </a:lnTo>
                    <a:lnTo>
                      <a:pt x="134" y="330"/>
                    </a:lnTo>
                    <a:lnTo>
                      <a:pt x="126" y="322"/>
                    </a:lnTo>
                    <a:lnTo>
                      <a:pt x="110" y="320"/>
                    </a:lnTo>
                    <a:lnTo>
                      <a:pt x="100" y="328"/>
                    </a:lnTo>
                    <a:lnTo>
                      <a:pt x="90" y="330"/>
                    </a:lnTo>
                    <a:lnTo>
                      <a:pt x="88" y="304"/>
                    </a:lnTo>
                    <a:lnTo>
                      <a:pt x="86" y="296"/>
                    </a:lnTo>
                    <a:lnTo>
                      <a:pt x="86" y="286"/>
                    </a:lnTo>
                    <a:lnTo>
                      <a:pt x="80" y="286"/>
                    </a:lnTo>
                    <a:lnTo>
                      <a:pt x="78" y="296"/>
                    </a:lnTo>
                    <a:lnTo>
                      <a:pt x="74" y="300"/>
                    </a:lnTo>
                    <a:lnTo>
                      <a:pt x="56" y="300"/>
                    </a:lnTo>
                    <a:lnTo>
                      <a:pt x="48" y="292"/>
                    </a:lnTo>
                    <a:lnTo>
                      <a:pt x="40" y="280"/>
                    </a:lnTo>
                    <a:lnTo>
                      <a:pt x="42" y="274"/>
                    </a:lnTo>
                    <a:lnTo>
                      <a:pt x="48" y="274"/>
                    </a:lnTo>
                    <a:lnTo>
                      <a:pt x="40" y="268"/>
                    </a:lnTo>
                    <a:lnTo>
                      <a:pt x="40" y="260"/>
                    </a:lnTo>
                    <a:lnTo>
                      <a:pt x="36" y="268"/>
                    </a:lnTo>
                    <a:lnTo>
                      <a:pt x="24" y="258"/>
                    </a:lnTo>
                    <a:lnTo>
                      <a:pt x="30" y="246"/>
                    </a:lnTo>
                    <a:lnTo>
                      <a:pt x="34" y="242"/>
                    </a:lnTo>
                    <a:lnTo>
                      <a:pt x="46" y="234"/>
                    </a:lnTo>
                    <a:lnTo>
                      <a:pt x="46" y="226"/>
                    </a:lnTo>
                    <a:lnTo>
                      <a:pt x="50" y="220"/>
                    </a:lnTo>
                    <a:lnTo>
                      <a:pt x="58" y="220"/>
                    </a:lnTo>
                    <a:lnTo>
                      <a:pt x="72" y="222"/>
                    </a:lnTo>
                    <a:lnTo>
                      <a:pt x="80" y="214"/>
                    </a:lnTo>
                    <a:lnTo>
                      <a:pt x="88" y="210"/>
                    </a:lnTo>
                    <a:lnTo>
                      <a:pt x="110" y="208"/>
                    </a:lnTo>
                    <a:lnTo>
                      <a:pt x="108" y="194"/>
                    </a:lnTo>
                    <a:lnTo>
                      <a:pt x="102" y="184"/>
                    </a:lnTo>
                    <a:lnTo>
                      <a:pt x="108" y="178"/>
                    </a:lnTo>
                    <a:lnTo>
                      <a:pt x="104" y="174"/>
                    </a:lnTo>
                    <a:lnTo>
                      <a:pt x="94" y="174"/>
                    </a:lnTo>
                    <a:lnTo>
                      <a:pt x="86" y="180"/>
                    </a:lnTo>
                    <a:lnTo>
                      <a:pt x="76" y="186"/>
                    </a:lnTo>
                    <a:lnTo>
                      <a:pt x="22" y="184"/>
                    </a:lnTo>
                    <a:lnTo>
                      <a:pt x="14" y="176"/>
                    </a:lnTo>
                    <a:lnTo>
                      <a:pt x="20" y="168"/>
                    </a:lnTo>
                    <a:lnTo>
                      <a:pt x="20" y="164"/>
                    </a:lnTo>
                    <a:lnTo>
                      <a:pt x="4" y="164"/>
                    </a:lnTo>
                    <a:lnTo>
                      <a:pt x="0" y="156"/>
                    </a:lnTo>
                    <a:lnTo>
                      <a:pt x="10" y="150"/>
                    </a:lnTo>
                    <a:lnTo>
                      <a:pt x="22" y="140"/>
                    </a:lnTo>
                    <a:lnTo>
                      <a:pt x="36" y="136"/>
                    </a:lnTo>
                    <a:lnTo>
                      <a:pt x="52" y="130"/>
                    </a:lnTo>
                    <a:lnTo>
                      <a:pt x="60" y="132"/>
                    </a:lnTo>
                    <a:lnTo>
                      <a:pt x="62" y="140"/>
                    </a:lnTo>
                    <a:lnTo>
                      <a:pt x="72" y="146"/>
                    </a:lnTo>
                    <a:lnTo>
                      <a:pt x="88" y="144"/>
                    </a:lnTo>
                    <a:lnTo>
                      <a:pt x="100" y="142"/>
                    </a:lnTo>
                    <a:lnTo>
                      <a:pt x="114" y="136"/>
                    </a:lnTo>
                    <a:lnTo>
                      <a:pt x="118" y="130"/>
                    </a:lnTo>
                    <a:lnTo>
                      <a:pt x="108" y="128"/>
                    </a:lnTo>
                    <a:lnTo>
                      <a:pt x="102" y="132"/>
                    </a:lnTo>
                    <a:lnTo>
                      <a:pt x="88" y="130"/>
                    </a:lnTo>
                    <a:lnTo>
                      <a:pt x="88" y="122"/>
                    </a:lnTo>
                    <a:lnTo>
                      <a:pt x="92" y="118"/>
                    </a:lnTo>
                    <a:lnTo>
                      <a:pt x="84" y="116"/>
                    </a:lnTo>
                    <a:lnTo>
                      <a:pt x="66" y="120"/>
                    </a:lnTo>
                    <a:lnTo>
                      <a:pt x="60" y="108"/>
                    </a:lnTo>
                    <a:lnTo>
                      <a:pt x="50" y="100"/>
                    </a:lnTo>
                    <a:lnTo>
                      <a:pt x="44" y="94"/>
                    </a:lnTo>
                    <a:lnTo>
                      <a:pt x="38" y="90"/>
                    </a:lnTo>
                    <a:lnTo>
                      <a:pt x="26" y="90"/>
                    </a:lnTo>
                    <a:lnTo>
                      <a:pt x="20" y="82"/>
                    </a:lnTo>
                    <a:lnTo>
                      <a:pt x="22" y="68"/>
                    </a:lnTo>
                    <a:lnTo>
                      <a:pt x="58" y="64"/>
                    </a:lnTo>
                    <a:lnTo>
                      <a:pt x="70" y="54"/>
                    </a:lnTo>
                    <a:lnTo>
                      <a:pt x="74" y="42"/>
                    </a:lnTo>
                    <a:lnTo>
                      <a:pt x="88" y="28"/>
                    </a:lnTo>
                    <a:lnTo>
                      <a:pt x="104" y="28"/>
                    </a:lnTo>
                    <a:lnTo>
                      <a:pt x="120" y="20"/>
                    </a:lnTo>
                    <a:lnTo>
                      <a:pt x="128" y="20"/>
                    </a:lnTo>
                    <a:lnTo>
                      <a:pt x="132" y="12"/>
                    </a:lnTo>
                    <a:lnTo>
                      <a:pt x="158" y="10"/>
                    </a:lnTo>
                    <a:lnTo>
                      <a:pt x="176" y="0"/>
                    </a:lnTo>
                    <a:lnTo>
                      <a:pt x="190" y="2"/>
                    </a:lnTo>
                    <a:lnTo>
                      <a:pt x="186" y="8"/>
                    </a:lnTo>
                    <a:lnTo>
                      <a:pt x="190" y="14"/>
                    </a:lnTo>
                    <a:lnTo>
                      <a:pt x="204" y="8"/>
                    </a:lnTo>
                    <a:lnTo>
                      <a:pt x="212" y="12"/>
                    </a:lnTo>
                    <a:lnTo>
                      <a:pt x="244" y="16"/>
                    </a:lnTo>
                    <a:lnTo>
                      <a:pt x="244" y="22"/>
                    </a:lnTo>
                    <a:lnTo>
                      <a:pt x="268" y="24"/>
                    </a:lnTo>
                    <a:lnTo>
                      <a:pt x="296" y="24"/>
                    </a:lnTo>
                    <a:lnTo>
                      <a:pt x="318" y="30"/>
                    </a:lnTo>
                    <a:lnTo>
                      <a:pt x="344" y="36"/>
                    </a:lnTo>
                    <a:lnTo>
                      <a:pt x="364" y="40"/>
                    </a:lnTo>
                    <a:lnTo>
                      <a:pt x="394" y="36"/>
                    </a:lnTo>
                    <a:lnTo>
                      <a:pt x="400" y="40"/>
                    </a:lnTo>
                    <a:lnTo>
                      <a:pt x="420" y="48"/>
                    </a:lnTo>
                    <a:lnTo>
                      <a:pt x="420" y="288"/>
                    </a:lnTo>
                    <a:lnTo>
                      <a:pt x="430" y="292"/>
                    </a:lnTo>
                    <a:lnTo>
                      <a:pt x="438" y="288"/>
                    </a:lnTo>
                    <a:lnTo>
                      <a:pt x="446" y="286"/>
                    </a:lnTo>
                    <a:lnTo>
                      <a:pt x="454" y="296"/>
                    </a:lnTo>
                    <a:lnTo>
                      <a:pt x="470" y="308"/>
                    </a:lnTo>
                    <a:lnTo>
                      <a:pt x="478" y="316"/>
                    </a:lnTo>
                    <a:lnTo>
                      <a:pt x="488" y="314"/>
                    </a:lnTo>
                    <a:lnTo>
                      <a:pt x="490" y="308"/>
                    </a:lnTo>
                    <a:lnTo>
                      <a:pt x="498" y="304"/>
                    </a:lnTo>
                    <a:lnTo>
                      <a:pt x="508" y="300"/>
                    </a:lnTo>
                    <a:lnTo>
                      <a:pt x="520" y="312"/>
                    </a:lnTo>
                    <a:lnTo>
                      <a:pt x="530" y="322"/>
                    </a:lnTo>
                    <a:lnTo>
                      <a:pt x="546" y="338"/>
                    </a:lnTo>
                    <a:lnTo>
                      <a:pt x="556" y="358"/>
                    </a:lnTo>
                    <a:lnTo>
                      <a:pt x="566" y="370"/>
                    </a:lnTo>
                    <a:lnTo>
                      <a:pt x="578" y="378"/>
                    </a:lnTo>
                    <a:lnTo>
                      <a:pt x="592" y="386"/>
                    </a:lnTo>
                    <a:lnTo>
                      <a:pt x="594" y="394"/>
                    </a:lnTo>
                    <a:lnTo>
                      <a:pt x="590" y="410"/>
                    </a:lnTo>
                    <a:lnTo>
                      <a:pt x="576" y="414"/>
                    </a:lnTo>
                    <a:lnTo>
                      <a:pt x="580" y="404"/>
                    </a:lnTo>
                    <a:lnTo>
                      <a:pt x="582" y="394"/>
                    </a:lnTo>
                    <a:lnTo>
                      <a:pt x="576" y="392"/>
                    </a:lnTo>
                    <a:lnTo>
                      <a:pt x="570" y="386"/>
                    </a:lnTo>
                    <a:lnTo>
                      <a:pt x="568" y="38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101" name="Freeform 40">
                <a:extLst>
                  <a:ext uri="{FF2B5EF4-FFF2-40B4-BE49-F238E27FC236}">
                    <a16:creationId xmlns:a16="http://schemas.microsoft.com/office/drawing/2014/main" id="{A41997A1-444B-4481-BC60-84246DEF11B3}"/>
                  </a:ext>
                </a:extLst>
              </p:cNvPr>
              <p:cNvSpPr>
                <a:spLocks/>
              </p:cNvSpPr>
              <p:nvPr/>
            </p:nvSpPr>
            <p:spPr bwMode="gray">
              <a:xfrm>
                <a:off x="250" y="1527"/>
                <a:ext cx="38" cy="26"/>
              </a:xfrm>
              <a:custGeom>
                <a:avLst/>
                <a:gdLst>
                  <a:gd name="T0" fmla="*/ 28 w 38"/>
                  <a:gd name="T1" fmla="*/ 2 h 26"/>
                  <a:gd name="T2" fmla="*/ 20 w 38"/>
                  <a:gd name="T3" fmla="*/ 4 h 26"/>
                  <a:gd name="T4" fmla="*/ 14 w 38"/>
                  <a:gd name="T5" fmla="*/ 6 h 26"/>
                  <a:gd name="T6" fmla="*/ 14 w 38"/>
                  <a:gd name="T7" fmla="*/ 14 h 26"/>
                  <a:gd name="T8" fmla="*/ 8 w 38"/>
                  <a:gd name="T9" fmla="*/ 12 h 26"/>
                  <a:gd name="T10" fmla="*/ 4 w 38"/>
                  <a:gd name="T11" fmla="*/ 8 h 26"/>
                  <a:gd name="T12" fmla="*/ 0 w 38"/>
                  <a:gd name="T13" fmla="*/ 12 h 26"/>
                  <a:gd name="T14" fmla="*/ 2 w 38"/>
                  <a:gd name="T15" fmla="*/ 20 h 26"/>
                  <a:gd name="T16" fmla="*/ 8 w 38"/>
                  <a:gd name="T17" fmla="*/ 26 h 26"/>
                  <a:gd name="T18" fmla="*/ 26 w 38"/>
                  <a:gd name="T19" fmla="*/ 24 h 26"/>
                  <a:gd name="T20" fmla="*/ 32 w 38"/>
                  <a:gd name="T21" fmla="*/ 16 h 26"/>
                  <a:gd name="T22" fmla="*/ 38 w 38"/>
                  <a:gd name="T23" fmla="*/ 10 h 26"/>
                  <a:gd name="T24" fmla="*/ 34 w 38"/>
                  <a:gd name="T25" fmla="*/ 0 h 26"/>
                  <a:gd name="T26" fmla="*/ 28 w 38"/>
                  <a:gd name="T27" fmla="*/ 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 h="26">
                    <a:moveTo>
                      <a:pt x="28" y="2"/>
                    </a:moveTo>
                    <a:lnTo>
                      <a:pt x="20" y="4"/>
                    </a:lnTo>
                    <a:lnTo>
                      <a:pt x="14" y="6"/>
                    </a:lnTo>
                    <a:lnTo>
                      <a:pt x="14" y="14"/>
                    </a:lnTo>
                    <a:lnTo>
                      <a:pt x="8" y="12"/>
                    </a:lnTo>
                    <a:lnTo>
                      <a:pt x="4" y="8"/>
                    </a:lnTo>
                    <a:lnTo>
                      <a:pt x="0" y="12"/>
                    </a:lnTo>
                    <a:lnTo>
                      <a:pt x="2" y="20"/>
                    </a:lnTo>
                    <a:lnTo>
                      <a:pt x="8" y="26"/>
                    </a:lnTo>
                    <a:lnTo>
                      <a:pt x="26" y="24"/>
                    </a:lnTo>
                    <a:lnTo>
                      <a:pt x="32" y="16"/>
                    </a:lnTo>
                    <a:lnTo>
                      <a:pt x="38" y="10"/>
                    </a:lnTo>
                    <a:lnTo>
                      <a:pt x="34" y="0"/>
                    </a:lnTo>
                    <a:lnTo>
                      <a:pt x="28" y="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102" name="Freeform 41">
                <a:extLst>
                  <a:ext uri="{FF2B5EF4-FFF2-40B4-BE49-F238E27FC236}">
                    <a16:creationId xmlns:a16="http://schemas.microsoft.com/office/drawing/2014/main" id="{144BF5FE-9F51-4083-9F36-46048D4642B4}"/>
                  </a:ext>
                </a:extLst>
              </p:cNvPr>
              <p:cNvSpPr>
                <a:spLocks/>
              </p:cNvSpPr>
              <p:nvPr/>
            </p:nvSpPr>
            <p:spPr bwMode="gray">
              <a:xfrm>
                <a:off x="50" y="1473"/>
                <a:ext cx="26" cy="16"/>
              </a:xfrm>
              <a:custGeom>
                <a:avLst/>
                <a:gdLst>
                  <a:gd name="T0" fmla="*/ 22 w 26"/>
                  <a:gd name="T1" fmla="*/ 0 h 16"/>
                  <a:gd name="T2" fmla="*/ 26 w 26"/>
                  <a:gd name="T3" fmla="*/ 4 h 16"/>
                  <a:gd name="T4" fmla="*/ 26 w 26"/>
                  <a:gd name="T5" fmla="*/ 8 h 16"/>
                  <a:gd name="T6" fmla="*/ 22 w 26"/>
                  <a:gd name="T7" fmla="*/ 16 h 16"/>
                  <a:gd name="T8" fmla="*/ 14 w 26"/>
                  <a:gd name="T9" fmla="*/ 14 h 16"/>
                  <a:gd name="T10" fmla="*/ 10 w 26"/>
                  <a:gd name="T11" fmla="*/ 16 h 16"/>
                  <a:gd name="T12" fmla="*/ 4 w 26"/>
                  <a:gd name="T13" fmla="*/ 10 h 16"/>
                  <a:gd name="T14" fmla="*/ 0 w 26"/>
                  <a:gd name="T15" fmla="*/ 6 h 16"/>
                  <a:gd name="T16" fmla="*/ 2 w 26"/>
                  <a:gd name="T17" fmla="*/ 0 h 16"/>
                  <a:gd name="T18" fmla="*/ 8 w 26"/>
                  <a:gd name="T19" fmla="*/ 0 h 16"/>
                  <a:gd name="T20" fmla="*/ 22 w 26"/>
                  <a:gd name="T2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16">
                    <a:moveTo>
                      <a:pt x="22" y="0"/>
                    </a:moveTo>
                    <a:lnTo>
                      <a:pt x="26" y="4"/>
                    </a:lnTo>
                    <a:lnTo>
                      <a:pt x="26" y="8"/>
                    </a:lnTo>
                    <a:lnTo>
                      <a:pt x="22" y="16"/>
                    </a:lnTo>
                    <a:lnTo>
                      <a:pt x="14" y="14"/>
                    </a:lnTo>
                    <a:lnTo>
                      <a:pt x="10" y="16"/>
                    </a:lnTo>
                    <a:lnTo>
                      <a:pt x="4" y="10"/>
                    </a:lnTo>
                    <a:lnTo>
                      <a:pt x="0" y="6"/>
                    </a:lnTo>
                    <a:lnTo>
                      <a:pt x="2" y="0"/>
                    </a:lnTo>
                    <a:lnTo>
                      <a:pt x="8" y="0"/>
                    </a:lnTo>
                    <a:lnTo>
                      <a:pt x="22"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103" name="Freeform 42">
                <a:extLst>
                  <a:ext uri="{FF2B5EF4-FFF2-40B4-BE49-F238E27FC236}">
                    <a16:creationId xmlns:a16="http://schemas.microsoft.com/office/drawing/2014/main" id="{74FCFC0F-F244-42F0-BA69-F826E1FE9676}"/>
                  </a:ext>
                </a:extLst>
              </p:cNvPr>
              <p:cNvSpPr>
                <a:spLocks/>
              </p:cNvSpPr>
              <p:nvPr/>
            </p:nvSpPr>
            <p:spPr bwMode="gray">
              <a:xfrm>
                <a:off x="540" y="1525"/>
                <a:ext cx="24" cy="40"/>
              </a:xfrm>
              <a:custGeom>
                <a:avLst/>
                <a:gdLst>
                  <a:gd name="T0" fmla="*/ 0 w 24"/>
                  <a:gd name="T1" fmla="*/ 0 h 40"/>
                  <a:gd name="T2" fmla="*/ 10 w 24"/>
                  <a:gd name="T3" fmla="*/ 2 h 40"/>
                  <a:gd name="T4" fmla="*/ 16 w 24"/>
                  <a:gd name="T5" fmla="*/ 6 h 40"/>
                  <a:gd name="T6" fmla="*/ 18 w 24"/>
                  <a:gd name="T7" fmla="*/ 20 h 40"/>
                  <a:gd name="T8" fmla="*/ 24 w 24"/>
                  <a:gd name="T9" fmla="*/ 30 h 40"/>
                  <a:gd name="T10" fmla="*/ 24 w 24"/>
                  <a:gd name="T11" fmla="*/ 40 h 40"/>
                  <a:gd name="T12" fmla="*/ 16 w 24"/>
                  <a:gd name="T13" fmla="*/ 32 h 40"/>
                  <a:gd name="T14" fmla="*/ 8 w 24"/>
                  <a:gd name="T15" fmla="*/ 22 h 40"/>
                  <a:gd name="T16" fmla="*/ 4 w 24"/>
                  <a:gd name="T17" fmla="*/ 16 h 40"/>
                  <a:gd name="T18" fmla="*/ 0 w 24"/>
                  <a:gd name="T19" fmla="*/ 8 h 40"/>
                  <a:gd name="T20" fmla="*/ 0 w 24"/>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40">
                    <a:moveTo>
                      <a:pt x="0" y="0"/>
                    </a:moveTo>
                    <a:lnTo>
                      <a:pt x="10" y="2"/>
                    </a:lnTo>
                    <a:lnTo>
                      <a:pt x="16" y="6"/>
                    </a:lnTo>
                    <a:lnTo>
                      <a:pt x="18" y="20"/>
                    </a:lnTo>
                    <a:lnTo>
                      <a:pt x="24" y="30"/>
                    </a:lnTo>
                    <a:lnTo>
                      <a:pt x="24" y="40"/>
                    </a:lnTo>
                    <a:lnTo>
                      <a:pt x="16" y="32"/>
                    </a:lnTo>
                    <a:lnTo>
                      <a:pt x="8" y="22"/>
                    </a:lnTo>
                    <a:lnTo>
                      <a:pt x="4" y="16"/>
                    </a:lnTo>
                    <a:lnTo>
                      <a:pt x="0" y="8"/>
                    </a:lnTo>
                    <a:lnTo>
                      <a:pt x="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104" name="Freeform 43">
                <a:extLst>
                  <a:ext uri="{FF2B5EF4-FFF2-40B4-BE49-F238E27FC236}">
                    <a16:creationId xmlns:a16="http://schemas.microsoft.com/office/drawing/2014/main" id="{61EF0D02-5B4B-47CE-AB42-C39BB60FFC9D}"/>
                  </a:ext>
                </a:extLst>
              </p:cNvPr>
              <p:cNvSpPr>
                <a:spLocks/>
              </p:cNvSpPr>
              <p:nvPr/>
            </p:nvSpPr>
            <p:spPr bwMode="gray">
              <a:xfrm>
                <a:off x="584" y="1565"/>
                <a:ext cx="22" cy="38"/>
              </a:xfrm>
              <a:custGeom>
                <a:avLst/>
                <a:gdLst>
                  <a:gd name="T0" fmla="*/ 0 w 22"/>
                  <a:gd name="T1" fmla="*/ 8 h 38"/>
                  <a:gd name="T2" fmla="*/ 0 w 22"/>
                  <a:gd name="T3" fmla="*/ 0 h 38"/>
                  <a:gd name="T4" fmla="*/ 8 w 22"/>
                  <a:gd name="T5" fmla="*/ 2 h 38"/>
                  <a:gd name="T6" fmla="*/ 14 w 22"/>
                  <a:gd name="T7" fmla="*/ 14 h 38"/>
                  <a:gd name="T8" fmla="*/ 22 w 22"/>
                  <a:gd name="T9" fmla="*/ 24 h 38"/>
                  <a:gd name="T10" fmla="*/ 22 w 22"/>
                  <a:gd name="T11" fmla="*/ 32 h 38"/>
                  <a:gd name="T12" fmla="*/ 18 w 22"/>
                  <a:gd name="T13" fmla="*/ 38 h 38"/>
                  <a:gd name="T14" fmla="*/ 12 w 22"/>
                  <a:gd name="T15" fmla="*/ 30 h 38"/>
                  <a:gd name="T16" fmla="*/ 6 w 22"/>
                  <a:gd name="T17" fmla="*/ 24 h 38"/>
                  <a:gd name="T18" fmla="*/ 4 w 22"/>
                  <a:gd name="T19" fmla="*/ 16 h 38"/>
                  <a:gd name="T20" fmla="*/ 0 w 22"/>
                  <a:gd name="T21" fmla="*/ 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 h="38">
                    <a:moveTo>
                      <a:pt x="0" y="8"/>
                    </a:moveTo>
                    <a:lnTo>
                      <a:pt x="0" y="0"/>
                    </a:lnTo>
                    <a:lnTo>
                      <a:pt x="8" y="2"/>
                    </a:lnTo>
                    <a:lnTo>
                      <a:pt x="14" y="14"/>
                    </a:lnTo>
                    <a:lnTo>
                      <a:pt x="22" y="24"/>
                    </a:lnTo>
                    <a:lnTo>
                      <a:pt x="22" y="32"/>
                    </a:lnTo>
                    <a:lnTo>
                      <a:pt x="18" y="38"/>
                    </a:lnTo>
                    <a:lnTo>
                      <a:pt x="12" y="30"/>
                    </a:lnTo>
                    <a:lnTo>
                      <a:pt x="6" y="24"/>
                    </a:lnTo>
                    <a:lnTo>
                      <a:pt x="4" y="16"/>
                    </a:lnTo>
                    <a:lnTo>
                      <a:pt x="0" y="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105" name="Freeform 44">
                <a:extLst>
                  <a:ext uri="{FF2B5EF4-FFF2-40B4-BE49-F238E27FC236}">
                    <a16:creationId xmlns:a16="http://schemas.microsoft.com/office/drawing/2014/main" id="{45A556D7-1794-41E1-A2C6-3E498F1E9CE8}"/>
                  </a:ext>
                </a:extLst>
              </p:cNvPr>
              <p:cNvSpPr>
                <a:spLocks/>
              </p:cNvSpPr>
              <p:nvPr/>
            </p:nvSpPr>
            <p:spPr bwMode="gray">
              <a:xfrm>
                <a:off x="588" y="1615"/>
                <a:ext cx="26" cy="34"/>
              </a:xfrm>
              <a:custGeom>
                <a:avLst/>
                <a:gdLst>
                  <a:gd name="T0" fmla="*/ 0 w 26"/>
                  <a:gd name="T1" fmla="*/ 0 h 34"/>
                  <a:gd name="T2" fmla="*/ 10 w 26"/>
                  <a:gd name="T3" fmla="*/ 4 h 34"/>
                  <a:gd name="T4" fmla="*/ 18 w 26"/>
                  <a:gd name="T5" fmla="*/ 4 h 34"/>
                  <a:gd name="T6" fmla="*/ 20 w 26"/>
                  <a:gd name="T7" fmla="*/ 8 h 34"/>
                  <a:gd name="T8" fmla="*/ 18 w 26"/>
                  <a:gd name="T9" fmla="*/ 16 h 34"/>
                  <a:gd name="T10" fmla="*/ 22 w 26"/>
                  <a:gd name="T11" fmla="*/ 22 h 34"/>
                  <a:gd name="T12" fmla="*/ 26 w 26"/>
                  <a:gd name="T13" fmla="*/ 34 h 34"/>
                  <a:gd name="T14" fmla="*/ 18 w 26"/>
                  <a:gd name="T15" fmla="*/ 32 h 34"/>
                  <a:gd name="T16" fmla="*/ 8 w 26"/>
                  <a:gd name="T17" fmla="*/ 20 h 34"/>
                  <a:gd name="T18" fmla="*/ 2 w 26"/>
                  <a:gd name="T19" fmla="*/ 12 h 34"/>
                  <a:gd name="T20" fmla="*/ 0 w 26"/>
                  <a:gd name="T21"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34">
                    <a:moveTo>
                      <a:pt x="0" y="0"/>
                    </a:moveTo>
                    <a:lnTo>
                      <a:pt x="10" y="4"/>
                    </a:lnTo>
                    <a:lnTo>
                      <a:pt x="18" y="4"/>
                    </a:lnTo>
                    <a:lnTo>
                      <a:pt x="20" y="8"/>
                    </a:lnTo>
                    <a:lnTo>
                      <a:pt x="18" y="16"/>
                    </a:lnTo>
                    <a:lnTo>
                      <a:pt x="22" y="22"/>
                    </a:lnTo>
                    <a:lnTo>
                      <a:pt x="26" y="34"/>
                    </a:lnTo>
                    <a:lnTo>
                      <a:pt x="18" y="32"/>
                    </a:lnTo>
                    <a:lnTo>
                      <a:pt x="8" y="20"/>
                    </a:lnTo>
                    <a:lnTo>
                      <a:pt x="2" y="12"/>
                    </a:lnTo>
                    <a:lnTo>
                      <a:pt x="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106" name="Freeform 45">
                <a:extLst>
                  <a:ext uri="{FF2B5EF4-FFF2-40B4-BE49-F238E27FC236}">
                    <a16:creationId xmlns:a16="http://schemas.microsoft.com/office/drawing/2014/main" id="{90587E6D-A3A5-4BCE-93EC-76DD104EC81E}"/>
                  </a:ext>
                </a:extLst>
              </p:cNvPr>
              <p:cNvSpPr>
                <a:spLocks/>
              </p:cNvSpPr>
              <p:nvPr/>
            </p:nvSpPr>
            <p:spPr bwMode="gray">
              <a:xfrm>
                <a:off x="84" y="1591"/>
                <a:ext cx="32" cy="20"/>
              </a:xfrm>
              <a:custGeom>
                <a:avLst/>
                <a:gdLst>
                  <a:gd name="T0" fmla="*/ 32 w 32"/>
                  <a:gd name="T1" fmla="*/ 4 h 20"/>
                  <a:gd name="T2" fmla="*/ 28 w 32"/>
                  <a:gd name="T3" fmla="*/ 10 h 20"/>
                  <a:gd name="T4" fmla="*/ 22 w 32"/>
                  <a:gd name="T5" fmla="*/ 12 h 20"/>
                  <a:gd name="T6" fmla="*/ 12 w 32"/>
                  <a:gd name="T7" fmla="*/ 14 h 20"/>
                  <a:gd name="T8" fmla="*/ 6 w 32"/>
                  <a:gd name="T9" fmla="*/ 20 h 20"/>
                  <a:gd name="T10" fmla="*/ 0 w 32"/>
                  <a:gd name="T11" fmla="*/ 18 h 20"/>
                  <a:gd name="T12" fmla="*/ 6 w 32"/>
                  <a:gd name="T13" fmla="*/ 8 h 20"/>
                  <a:gd name="T14" fmla="*/ 14 w 32"/>
                  <a:gd name="T15" fmla="*/ 4 h 20"/>
                  <a:gd name="T16" fmla="*/ 26 w 32"/>
                  <a:gd name="T17" fmla="*/ 0 h 20"/>
                  <a:gd name="T18" fmla="*/ 32 w 32"/>
                  <a:gd name="T19"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20">
                    <a:moveTo>
                      <a:pt x="32" y="4"/>
                    </a:moveTo>
                    <a:lnTo>
                      <a:pt x="28" y="10"/>
                    </a:lnTo>
                    <a:lnTo>
                      <a:pt x="22" y="12"/>
                    </a:lnTo>
                    <a:lnTo>
                      <a:pt x="12" y="14"/>
                    </a:lnTo>
                    <a:lnTo>
                      <a:pt x="6" y="20"/>
                    </a:lnTo>
                    <a:lnTo>
                      <a:pt x="0" y="18"/>
                    </a:lnTo>
                    <a:lnTo>
                      <a:pt x="6" y="8"/>
                    </a:lnTo>
                    <a:lnTo>
                      <a:pt x="14" y="4"/>
                    </a:lnTo>
                    <a:lnTo>
                      <a:pt x="26" y="0"/>
                    </a:lnTo>
                    <a:lnTo>
                      <a:pt x="32" y="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107" name="Freeform 46">
                <a:extLst>
                  <a:ext uri="{FF2B5EF4-FFF2-40B4-BE49-F238E27FC236}">
                    <a16:creationId xmlns:a16="http://schemas.microsoft.com/office/drawing/2014/main" id="{0FE83B12-05FF-4514-A93B-BD0648915FDB}"/>
                  </a:ext>
                </a:extLst>
              </p:cNvPr>
              <p:cNvSpPr>
                <a:spLocks/>
              </p:cNvSpPr>
              <p:nvPr/>
            </p:nvSpPr>
            <p:spPr bwMode="gray">
              <a:xfrm>
                <a:off x="560" y="1523"/>
                <a:ext cx="16" cy="30"/>
              </a:xfrm>
              <a:custGeom>
                <a:avLst/>
                <a:gdLst>
                  <a:gd name="T0" fmla="*/ 0 w 16"/>
                  <a:gd name="T1" fmla="*/ 0 h 30"/>
                  <a:gd name="T2" fmla="*/ 10 w 16"/>
                  <a:gd name="T3" fmla="*/ 4 h 30"/>
                  <a:gd name="T4" fmla="*/ 16 w 16"/>
                  <a:gd name="T5" fmla="*/ 16 h 30"/>
                  <a:gd name="T6" fmla="*/ 14 w 16"/>
                  <a:gd name="T7" fmla="*/ 24 h 30"/>
                  <a:gd name="T8" fmla="*/ 10 w 16"/>
                  <a:gd name="T9" fmla="*/ 30 h 30"/>
                  <a:gd name="T10" fmla="*/ 4 w 16"/>
                  <a:gd name="T11" fmla="*/ 22 h 30"/>
                  <a:gd name="T12" fmla="*/ 4 w 16"/>
                  <a:gd name="T13" fmla="*/ 16 h 30"/>
                  <a:gd name="T14" fmla="*/ 0 w 16"/>
                  <a:gd name="T15" fmla="*/ 8 h 30"/>
                  <a:gd name="T16" fmla="*/ 0 w 16"/>
                  <a:gd name="T1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30">
                    <a:moveTo>
                      <a:pt x="0" y="0"/>
                    </a:moveTo>
                    <a:lnTo>
                      <a:pt x="10" y="4"/>
                    </a:lnTo>
                    <a:lnTo>
                      <a:pt x="16" y="16"/>
                    </a:lnTo>
                    <a:lnTo>
                      <a:pt x="14" y="24"/>
                    </a:lnTo>
                    <a:lnTo>
                      <a:pt x="10" y="30"/>
                    </a:lnTo>
                    <a:lnTo>
                      <a:pt x="4" y="22"/>
                    </a:lnTo>
                    <a:lnTo>
                      <a:pt x="4" y="16"/>
                    </a:lnTo>
                    <a:lnTo>
                      <a:pt x="0" y="8"/>
                    </a:lnTo>
                    <a:lnTo>
                      <a:pt x="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108" name="Freeform 47">
                <a:extLst>
                  <a:ext uri="{FF2B5EF4-FFF2-40B4-BE49-F238E27FC236}">
                    <a16:creationId xmlns:a16="http://schemas.microsoft.com/office/drawing/2014/main" id="{874A106F-4922-45BC-A087-5F43428F6F60}"/>
                  </a:ext>
                </a:extLst>
              </p:cNvPr>
              <p:cNvSpPr>
                <a:spLocks/>
              </p:cNvSpPr>
              <p:nvPr/>
            </p:nvSpPr>
            <p:spPr bwMode="gray">
              <a:xfrm>
                <a:off x="608" y="1575"/>
                <a:ext cx="14" cy="20"/>
              </a:xfrm>
              <a:custGeom>
                <a:avLst/>
                <a:gdLst>
                  <a:gd name="T0" fmla="*/ 0 w 14"/>
                  <a:gd name="T1" fmla="*/ 0 h 20"/>
                  <a:gd name="T2" fmla="*/ 6 w 14"/>
                  <a:gd name="T3" fmla="*/ 4 h 20"/>
                  <a:gd name="T4" fmla="*/ 14 w 14"/>
                  <a:gd name="T5" fmla="*/ 6 h 20"/>
                  <a:gd name="T6" fmla="*/ 12 w 14"/>
                  <a:gd name="T7" fmla="*/ 16 h 20"/>
                  <a:gd name="T8" fmla="*/ 6 w 14"/>
                  <a:gd name="T9" fmla="*/ 20 h 20"/>
                  <a:gd name="T10" fmla="*/ 0 w 14"/>
                  <a:gd name="T11" fmla="*/ 12 h 20"/>
                  <a:gd name="T12" fmla="*/ 0 w 14"/>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4" h="20">
                    <a:moveTo>
                      <a:pt x="0" y="0"/>
                    </a:moveTo>
                    <a:lnTo>
                      <a:pt x="6" y="4"/>
                    </a:lnTo>
                    <a:lnTo>
                      <a:pt x="14" y="6"/>
                    </a:lnTo>
                    <a:lnTo>
                      <a:pt x="12" y="16"/>
                    </a:lnTo>
                    <a:lnTo>
                      <a:pt x="6" y="20"/>
                    </a:lnTo>
                    <a:lnTo>
                      <a:pt x="0" y="12"/>
                    </a:lnTo>
                    <a:lnTo>
                      <a:pt x="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109" name="Freeform 48">
                <a:extLst>
                  <a:ext uri="{FF2B5EF4-FFF2-40B4-BE49-F238E27FC236}">
                    <a16:creationId xmlns:a16="http://schemas.microsoft.com/office/drawing/2014/main" id="{BAD4BE42-8167-4E7C-8F07-2F66CEBAF54F}"/>
                  </a:ext>
                </a:extLst>
              </p:cNvPr>
              <p:cNvSpPr>
                <a:spLocks/>
              </p:cNvSpPr>
              <p:nvPr/>
            </p:nvSpPr>
            <p:spPr bwMode="gray">
              <a:xfrm>
                <a:off x="560" y="1523"/>
                <a:ext cx="16" cy="30"/>
              </a:xfrm>
              <a:custGeom>
                <a:avLst/>
                <a:gdLst>
                  <a:gd name="T0" fmla="*/ 0 w 16"/>
                  <a:gd name="T1" fmla="*/ 0 h 30"/>
                  <a:gd name="T2" fmla="*/ 10 w 16"/>
                  <a:gd name="T3" fmla="*/ 4 h 30"/>
                  <a:gd name="T4" fmla="*/ 16 w 16"/>
                  <a:gd name="T5" fmla="*/ 16 h 30"/>
                  <a:gd name="T6" fmla="*/ 14 w 16"/>
                  <a:gd name="T7" fmla="*/ 24 h 30"/>
                  <a:gd name="T8" fmla="*/ 10 w 16"/>
                  <a:gd name="T9" fmla="*/ 30 h 30"/>
                  <a:gd name="T10" fmla="*/ 4 w 16"/>
                  <a:gd name="T11" fmla="*/ 22 h 30"/>
                  <a:gd name="T12" fmla="*/ 4 w 16"/>
                  <a:gd name="T13" fmla="*/ 16 h 30"/>
                  <a:gd name="T14" fmla="*/ 0 w 16"/>
                  <a:gd name="T15" fmla="*/ 8 h 30"/>
                  <a:gd name="T16" fmla="*/ 0 w 16"/>
                  <a:gd name="T1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30">
                    <a:moveTo>
                      <a:pt x="0" y="0"/>
                    </a:moveTo>
                    <a:lnTo>
                      <a:pt x="10" y="4"/>
                    </a:lnTo>
                    <a:lnTo>
                      <a:pt x="16" y="16"/>
                    </a:lnTo>
                    <a:lnTo>
                      <a:pt x="14" y="24"/>
                    </a:lnTo>
                    <a:lnTo>
                      <a:pt x="10" y="30"/>
                    </a:lnTo>
                    <a:lnTo>
                      <a:pt x="4" y="22"/>
                    </a:lnTo>
                    <a:lnTo>
                      <a:pt x="4" y="16"/>
                    </a:lnTo>
                    <a:lnTo>
                      <a:pt x="0" y="8"/>
                    </a:lnTo>
                    <a:lnTo>
                      <a:pt x="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110" name="Freeform 49">
                <a:extLst>
                  <a:ext uri="{FF2B5EF4-FFF2-40B4-BE49-F238E27FC236}">
                    <a16:creationId xmlns:a16="http://schemas.microsoft.com/office/drawing/2014/main" id="{FCCF66C6-D67B-49F5-AA42-2A2097F36BD2}"/>
                  </a:ext>
                </a:extLst>
              </p:cNvPr>
              <p:cNvSpPr>
                <a:spLocks/>
              </p:cNvSpPr>
              <p:nvPr/>
            </p:nvSpPr>
            <p:spPr bwMode="gray">
              <a:xfrm>
                <a:off x="608" y="1575"/>
                <a:ext cx="14" cy="20"/>
              </a:xfrm>
              <a:custGeom>
                <a:avLst/>
                <a:gdLst>
                  <a:gd name="T0" fmla="*/ 0 w 14"/>
                  <a:gd name="T1" fmla="*/ 0 h 20"/>
                  <a:gd name="T2" fmla="*/ 6 w 14"/>
                  <a:gd name="T3" fmla="*/ 4 h 20"/>
                  <a:gd name="T4" fmla="*/ 14 w 14"/>
                  <a:gd name="T5" fmla="*/ 6 h 20"/>
                  <a:gd name="T6" fmla="*/ 12 w 14"/>
                  <a:gd name="T7" fmla="*/ 16 h 20"/>
                  <a:gd name="T8" fmla="*/ 6 w 14"/>
                  <a:gd name="T9" fmla="*/ 20 h 20"/>
                  <a:gd name="T10" fmla="*/ 0 w 14"/>
                  <a:gd name="T11" fmla="*/ 12 h 20"/>
                  <a:gd name="T12" fmla="*/ 0 w 14"/>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4" h="20">
                    <a:moveTo>
                      <a:pt x="0" y="0"/>
                    </a:moveTo>
                    <a:lnTo>
                      <a:pt x="6" y="4"/>
                    </a:lnTo>
                    <a:lnTo>
                      <a:pt x="14" y="6"/>
                    </a:lnTo>
                    <a:lnTo>
                      <a:pt x="12" y="16"/>
                    </a:lnTo>
                    <a:lnTo>
                      <a:pt x="6" y="20"/>
                    </a:lnTo>
                    <a:lnTo>
                      <a:pt x="0" y="12"/>
                    </a:lnTo>
                    <a:lnTo>
                      <a:pt x="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111" name="Freeform 50">
                <a:extLst>
                  <a:ext uri="{FF2B5EF4-FFF2-40B4-BE49-F238E27FC236}">
                    <a16:creationId xmlns:a16="http://schemas.microsoft.com/office/drawing/2014/main" id="{5D7D5F30-3568-4C05-ADAB-1497B931BCA0}"/>
                  </a:ext>
                </a:extLst>
              </p:cNvPr>
              <p:cNvSpPr>
                <a:spLocks/>
              </p:cNvSpPr>
              <p:nvPr/>
            </p:nvSpPr>
            <p:spPr bwMode="gray">
              <a:xfrm>
                <a:off x="576" y="1551"/>
                <a:ext cx="14" cy="14"/>
              </a:xfrm>
              <a:custGeom>
                <a:avLst/>
                <a:gdLst>
                  <a:gd name="T0" fmla="*/ 4 w 14"/>
                  <a:gd name="T1" fmla="*/ 0 h 14"/>
                  <a:gd name="T2" fmla="*/ 8 w 14"/>
                  <a:gd name="T3" fmla="*/ 0 h 14"/>
                  <a:gd name="T4" fmla="*/ 14 w 14"/>
                  <a:gd name="T5" fmla="*/ 6 h 14"/>
                  <a:gd name="T6" fmla="*/ 8 w 14"/>
                  <a:gd name="T7" fmla="*/ 10 h 14"/>
                  <a:gd name="T8" fmla="*/ 2 w 14"/>
                  <a:gd name="T9" fmla="*/ 14 h 14"/>
                  <a:gd name="T10" fmla="*/ 0 w 14"/>
                  <a:gd name="T11" fmla="*/ 6 h 14"/>
                  <a:gd name="T12" fmla="*/ 4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4" y="0"/>
                    </a:moveTo>
                    <a:lnTo>
                      <a:pt x="8" y="0"/>
                    </a:lnTo>
                    <a:lnTo>
                      <a:pt x="14" y="6"/>
                    </a:lnTo>
                    <a:lnTo>
                      <a:pt x="8" y="10"/>
                    </a:lnTo>
                    <a:lnTo>
                      <a:pt x="2" y="14"/>
                    </a:lnTo>
                    <a:lnTo>
                      <a:pt x="0" y="6"/>
                    </a:lnTo>
                    <a:lnTo>
                      <a:pt x="4"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grpSp>
        <p:sp>
          <p:nvSpPr>
            <p:cNvPr id="865" name="Freeform 51">
              <a:extLst>
                <a:ext uri="{FF2B5EF4-FFF2-40B4-BE49-F238E27FC236}">
                  <a16:creationId xmlns:a16="http://schemas.microsoft.com/office/drawing/2014/main" id="{1936F901-62CB-4F37-9BC2-4222FD341D83}"/>
                </a:ext>
              </a:extLst>
            </p:cNvPr>
            <p:cNvSpPr>
              <a:spLocks/>
            </p:cNvSpPr>
            <p:nvPr/>
          </p:nvSpPr>
          <p:spPr bwMode="gray">
            <a:xfrm>
              <a:off x="2555839" y="3277182"/>
              <a:ext cx="1505778" cy="743603"/>
            </a:xfrm>
            <a:custGeom>
              <a:avLst/>
              <a:gdLst>
                <a:gd name="T0" fmla="*/ 24 w 912"/>
                <a:gd name="T1" fmla="*/ 30 h 448"/>
                <a:gd name="T2" fmla="*/ 30 w 912"/>
                <a:gd name="T3" fmla="*/ 20 h 448"/>
                <a:gd name="T4" fmla="*/ 472 w 912"/>
                <a:gd name="T5" fmla="*/ 8 h 448"/>
                <a:gd name="T6" fmla="*/ 550 w 912"/>
                <a:gd name="T7" fmla="*/ 28 h 448"/>
                <a:gd name="T8" fmla="*/ 516 w 912"/>
                <a:gd name="T9" fmla="*/ 52 h 448"/>
                <a:gd name="T10" fmla="*/ 562 w 912"/>
                <a:gd name="T11" fmla="*/ 48 h 448"/>
                <a:gd name="T12" fmla="*/ 604 w 912"/>
                <a:gd name="T13" fmla="*/ 56 h 448"/>
                <a:gd name="T14" fmla="*/ 636 w 912"/>
                <a:gd name="T15" fmla="*/ 68 h 448"/>
                <a:gd name="T16" fmla="*/ 600 w 912"/>
                <a:gd name="T17" fmla="*/ 68 h 448"/>
                <a:gd name="T18" fmla="*/ 588 w 912"/>
                <a:gd name="T19" fmla="*/ 94 h 448"/>
                <a:gd name="T20" fmla="*/ 584 w 912"/>
                <a:gd name="T21" fmla="*/ 154 h 448"/>
                <a:gd name="T22" fmla="*/ 608 w 912"/>
                <a:gd name="T23" fmla="*/ 112 h 448"/>
                <a:gd name="T24" fmla="*/ 620 w 912"/>
                <a:gd name="T25" fmla="*/ 84 h 448"/>
                <a:gd name="T26" fmla="*/ 654 w 912"/>
                <a:gd name="T27" fmla="*/ 90 h 448"/>
                <a:gd name="T28" fmla="*/ 652 w 912"/>
                <a:gd name="T29" fmla="*/ 112 h 448"/>
                <a:gd name="T30" fmla="*/ 662 w 912"/>
                <a:gd name="T31" fmla="*/ 134 h 448"/>
                <a:gd name="T32" fmla="*/ 690 w 912"/>
                <a:gd name="T33" fmla="*/ 148 h 448"/>
                <a:gd name="T34" fmla="*/ 720 w 912"/>
                <a:gd name="T35" fmla="*/ 124 h 448"/>
                <a:gd name="T36" fmla="*/ 766 w 912"/>
                <a:gd name="T37" fmla="*/ 100 h 448"/>
                <a:gd name="T38" fmla="*/ 858 w 912"/>
                <a:gd name="T39" fmla="*/ 74 h 448"/>
                <a:gd name="T40" fmla="*/ 900 w 912"/>
                <a:gd name="T41" fmla="*/ 44 h 448"/>
                <a:gd name="T42" fmla="*/ 912 w 912"/>
                <a:gd name="T43" fmla="*/ 90 h 448"/>
                <a:gd name="T44" fmla="*/ 864 w 912"/>
                <a:gd name="T45" fmla="*/ 110 h 448"/>
                <a:gd name="T46" fmla="*/ 862 w 912"/>
                <a:gd name="T47" fmla="*/ 148 h 448"/>
                <a:gd name="T48" fmla="*/ 804 w 912"/>
                <a:gd name="T49" fmla="*/ 166 h 448"/>
                <a:gd name="T50" fmla="*/ 782 w 912"/>
                <a:gd name="T51" fmla="*/ 198 h 448"/>
                <a:gd name="T52" fmla="*/ 770 w 912"/>
                <a:gd name="T53" fmla="*/ 220 h 448"/>
                <a:gd name="T54" fmla="*/ 760 w 912"/>
                <a:gd name="T55" fmla="*/ 214 h 448"/>
                <a:gd name="T56" fmla="*/ 762 w 912"/>
                <a:gd name="T57" fmla="*/ 234 h 448"/>
                <a:gd name="T58" fmla="*/ 762 w 912"/>
                <a:gd name="T59" fmla="*/ 270 h 448"/>
                <a:gd name="T60" fmla="*/ 724 w 912"/>
                <a:gd name="T61" fmla="*/ 298 h 448"/>
                <a:gd name="T62" fmla="*/ 682 w 912"/>
                <a:gd name="T63" fmla="*/ 350 h 448"/>
                <a:gd name="T64" fmla="*/ 704 w 912"/>
                <a:gd name="T65" fmla="*/ 424 h 448"/>
                <a:gd name="T66" fmla="*/ 680 w 912"/>
                <a:gd name="T67" fmla="*/ 428 h 448"/>
                <a:gd name="T68" fmla="*/ 664 w 912"/>
                <a:gd name="T69" fmla="*/ 382 h 448"/>
                <a:gd name="T70" fmla="*/ 626 w 912"/>
                <a:gd name="T71" fmla="*/ 372 h 448"/>
                <a:gd name="T72" fmla="*/ 566 w 912"/>
                <a:gd name="T73" fmla="*/ 354 h 448"/>
                <a:gd name="T74" fmla="*/ 560 w 912"/>
                <a:gd name="T75" fmla="*/ 374 h 448"/>
                <a:gd name="T76" fmla="*/ 516 w 912"/>
                <a:gd name="T77" fmla="*/ 368 h 448"/>
                <a:gd name="T78" fmla="*/ 484 w 912"/>
                <a:gd name="T79" fmla="*/ 372 h 448"/>
                <a:gd name="T80" fmla="*/ 454 w 912"/>
                <a:gd name="T81" fmla="*/ 388 h 448"/>
                <a:gd name="T82" fmla="*/ 430 w 912"/>
                <a:gd name="T83" fmla="*/ 420 h 448"/>
                <a:gd name="T84" fmla="*/ 390 w 912"/>
                <a:gd name="T85" fmla="*/ 400 h 448"/>
                <a:gd name="T86" fmla="*/ 344 w 912"/>
                <a:gd name="T87" fmla="*/ 368 h 448"/>
                <a:gd name="T88" fmla="*/ 302 w 912"/>
                <a:gd name="T89" fmla="*/ 346 h 448"/>
                <a:gd name="T90" fmla="*/ 192 w 912"/>
                <a:gd name="T91" fmla="*/ 334 h 448"/>
                <a:gd name="T92" fmla="*/ 104 w 912"/>
                <a:gd name="T93" fmla="*/ 298 h 448"/>
                <a:gd name="T94" fmla="*/ 58 w 912"/>
                <a:gd name="T95" fmla="*/ 272 h 448"/>
                <a:gd name="T96" fmla="*/ 32 w 912"/>
                <a:gd name="T97" fmla="*/ 228 h 448"/>
                <a:gd name="T98" fmla="*/ 10 w 912"/>
                <a:gd name="T99" fmla="*/ 186 h 448"/>
                <a:gd name="T100" fmla="*/ 6 w 912"/>
                <a:gd name="T101" fmla="*/ 112 h 448"/>
                <a:gd name="T102" fmla="*/ 8 w 912"/>
                <a:gd name="T103" fmla="*/ 42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12" h="448">
                  <a:moveTo>
                    <a:pt x="4" y="38"/>
                  </a:moveTo>
                  <a:lnTo>
                    <a:pt x="0" y="28"/>
                  </a:lnTo>
                  <a:lnTo>
                    <a:pt x="8" y="24"/>
                  </a:lnTo>
                  <a:lnTo>
                    <a:pt x="18" y="28"/>
                  </a:lnTo>
                  <a:lnTo>
                    <a:pt x="24" y="30"/>
                  </a:lnTo>
                  <a:lnTo>
                    <a:pt x="26" y="38"/>
                  </a:lnTo>
                  <a:lnTo>
                    <a:pt x="28" y="44"/>
                  </a:lnTo>
                  <a:lnTo>
                    <a:pt x="34" y="38"/>
                  </a:lnTo>
                  <a:lnTo>
                    <a:pt x="36" y="28"/>
                  </a:lnTo>
                  <a:lnTo>
                    <a:pt x="30" y="20"/>
                  </a:lnTo>
                  <a:lnTo>
                    <a:pt x="30" y="8"/>
                  </a:lnTo>
                  <a:lnTo>
                    <a:pt x="460" y="8"/>
                  </a:lnTo>
                  <a:lnTo>
                    <a:pt x="462" y="0"/>
                  </a:lnTo>
                  <a:lnTo>
                    <a:pt x="470" y="0"/>
                  </a:lnTo>
                  <a:lnTo>
                    <a:pt x="472" y="8"/>
                  </a:lnTo>
                  <a:lnTo>
                    <a:pt x="476" y="12"/>
                  </a:lnTo>
                  <a:lnTo>
                    <a:pt x="488" y="16"/>
                  </a:lnTo>
                  <a:lnTo>
                    <a:pt x="512" y="20"/>
                  </a:lnTo>
                  <a:lnTo>
                    <a:pt x="526" y="24"/>
                  </a:lnTo>
                  <a:lnTo>
                    <a:pt x="550" y="28"/>
                  </a:lnTo>
                  <a:lnTo>
                    <a:pt x="548" y="32"/>
                  </a:lnTo>
                  <a:lnTo>
                    <a:pt x="536" y="36"/>
                  </a:lnTo>
                  <a:lnTo>
                    <a:pt x="528" y="40"/>
                  </a:lnTo>
                  <a:lnTo>
                    <a:pt x="520" y="48"/>
                  </a:lnTo>
                  <a:lnTo>
                    <a:pt x="516" y="52"/>
                  </a:lnTo>
                  <a:lnTo>
                    <a:pt x="526" y="56"/>
                  </a:lnTo>
                  <a:lnTo>
                    <a:pt x="540" y="56"/>
                  </a:lnTo>
                  <a:lnTo>
                    <a:pt x="552" y="56"/>
                  </a:lnTo>
                  <a:lnTo>
                    <a:pt x="558" y="52"/>
                  </a:lnTo>
                  <a:lnTo>
                    <a:pt x="562" y="48"/>
                  </a:lnTo>
                  <a:lnTo>
                    <a:pt x="570" y="42"/>
                  </a:lnTo>
                  <a:lnTo>
                    <a:pt x="574" y="48"/>
                  </a:lnTo>
                  <a:lnTo>
                    <a:pt x="584" y="54"/>
                  </a:lnTo>
                  <a:lnTo>
                    <a:pt x="594" y="58"/>
                  </a:lnTo>
                  <a:lnTo>
                    <a:pt x="604" y="56"/>
                  </a:lnTo>
                  <a:lnTo>
                    <a:pt x="612" y="56"/>
                  </a:lnTo>
                  <a:lnTo>
                    <a:pt x="622" y="54"/>
                  </a:lnTo>
                  <a:lnTo>
                    <a:pt x="628" y="58"/>
                  </a:lnTo>
                  <a:lnTo>
                    <a:pt x="636" y="64"/>
                  </a:lnTo>
                  <a:lnTo>
                    <a:pt x="636" y="68"/>
                  </a:lnTo>
                  <a:lnTo>
                    <a:pt x="628" y="64"/>
                  </a:lnTo>
                  <a:lnTo>
                    <a:pt x="618" y="64"/>
                  </a:lnTo>
                  <a:lnTo>
                    <a:pt x="610" y="70"/>
                  </a:lnTo>
                  <a:lnTo>
                    <a:pt x="604" y="72"/>
                  </a:lnTo>
                  <a:lnTo>
                    <a:pt x="600" y="68"/>
                  </a:lnTo>
                  <a:lnTo>
                    <a:pt x="596" y="72"/>
                  </a:lnTo>
                  <a:lnTo>
                    <a:pt x="588" y="80"/>
                  </a:lnTo>
                  <a:lnTo>
                    <a:pt x="578" y="88"/>
                  </a:lnTo>
                  <a:lnTo>
                    <a:pt x="580" y="96"/>
                  </a:lnTo>
                  <a:lnTo>
                    <a:pt x="588" y="94"/>
                  </a:lnTo>
                  <a:lnTo>
                    <a:pt x="592" y="86"/>
                  </a:lnTo>
                  <a:lnTo>
                    <a:pt x="584" y="104"/>
                  </a:lnTo>
                  <a:lnTo>
                    <a:pt x="580" y="128"/>
                  </a:lnTo>
                  <a:lnTo>
                    <a:pt x="580" y="140"/>
                  </a:lnTo>
                  <a:lnTo>
                    <a:pt x="584" y="154"/>
                  </a:lnTo>
                  <a:lnTo>
                    <a:pt x="594" y="152"/>
                  </a:lnTo>
                  <a:lnTo>
                    <a:pt x="604" y="144"/>
                  </a:lnTo>
                  <a:lnTo>
                    <a:pt x="608" y="134"/>
                  </a:lnTo>
                  <a:lnTo>
                    <a:pt x="608" y="122"/>
                  </a:lnTo>
                  <a:lnTo>
                    <a:pt x="608" y="112"/>
                  </a:lnTo>
                  <a:lnTo>
                    <a:pt x="608" y="100"/>
                  </a:lnTo>
                  <a:lnTo>
                    <a:pt x="608" y="92"/>
                  </a:lnTo>
                  <a:lnTo>
                    <a:pt x="610" y="88"/>
                  </a:lnTo>
                  <a:lnTo>
                    <a:pt x="616" y="88"/>
                  </a:lnTo>
                  <a:lnTo>
                    <a:pt x="620" y="84"/>
                  </a:lnTo>
                  <a:lnTo>
                    <a:pt x="624" y="78"/>
                  </a:lnTo>
                  <a:lnTo>
                    <a:pt x="632" y="76"/>
                  </a:lnTo>
                  <a:lnTo>
                    <a:pt x="640" y="80"/>
                  </a:lnTo>
                  <a:lnTo>
                    <a:pt x="650" y="82"/>
                  </a:lnTo>
                  <a:lnTo>
                    <a:pt x="654" y="90"/>
                  </a:lnTo>
                  <a:lnTo>
                    <a:pt x="652" y="100"/>
                  </a:lnTo>
                  <a:lnTo>
                    <a:pt x="648" y="108"/>
                  </a:lnTo>
                  <a:lnTo>
                    <a:pt x="644" y="112"/>
                  </a:lnTo>
                  <a:lnTo>
                    <a:pt x="646" y="116"/>
                  </a:lnTo>
                  <a:lnTo>
                    <a:pt x="652" y="112"/>
                  </a:lnTo>
                  <a:lnTo>
                    <a:pt x="658" y="108"/>
                  </a:lnTo>
                  <a:lnTo>
                    <a:pt x="664" y="110"/>
                  </a:lnTo>
                  <a:lnTo>
                    <a:pt x="664" y="120"/>
                  </a:lnTo>
                  <a:lnTo>
                    <a:pt x="662" y="126"/>
                  </a:lnTo>
                  <a:lnTo>
                    <a:pt x="662" y="134"/>
                  </a:lnTo>
                  <a:lnTo>
                    <a:pt x="656" y="140"/>
                  </a:lnTo>
                  <a:lnTo>
                    <a:pt x="652" y="148"/>
                  </a:lnTo>
                  <a:lnTo>
                    <a:pt x="660" y="154"/>
                  </a:lnTo>
                  <a:lnTo>
                    <a:pt x="678" y="154"/>
                  </a:lnTo>
                  <a:lnTo>
                    <a:pt x="690" y="148"/>
                  </a:lnTo>
                  <a:lnTo>
                    <a:pt x="702" y="144"/>
                  </a:lnTo>
                  <a:lnTo>
                    <a:pt x="714" y="138"/>
                  </a:lnTo>
                  <a:lnTo>
                    <a:pt x="720" y="136"/>
                  </a:lnTo>
                  <a:lnTo>
                    <a:pt x="722" y="130"/>
                  </a:lnTo>
                  <a:lnTo>
                    <a:pt x="720" y="124"/>
                  </a:lnTo>
                  <a:lnTo>
                    <a:pt x="722" y="120"/>
                  </a:lnTo>
                  <a:lnTo>
                    <a:pt x="744" y="122"/>
                  </a:lnTo>
                  <a:lnTo>
                    <a:pt x="756" y="120"/>
                  </a:lnTo>
                  <a:lnTo>
                    <a:pt x="766" y="112"/>
                  </a:lnTo>
                  <a:lnTo>
                    <a:pt x="766" y="100"/>
                  </a:lnTo>
                  <a:lnTo>
                    <a:pt x="774" y="94"/>
                  </a:lnTo>
                  <a:lnTo>
                    <a:pt x="782" y="88"/>
                  </a:lnTo>
                  <a:lnTo>
                    <a:pt x="840" y="88"/>
                  </a:lnTo>
                  <a:lnTo>
                    <a:pt x="852" y="82"/>
                  </a:lnTo>
                  <a:lnTo>
                    <a:pt x="858" y="74"/>
                  </a:lnTo>
                  <a:lnTo>
                    <a:pt x="862" y="58"/>
                  </a:lnTo>
                  <a:lnTo>
                    <a:pt x="870" y="44"/>
                  </a:lnTo>
                  <a:lnTo>
                    <a:pt x="878" y="36"/>
                  </a:lnTo>
                  <a:lnTo>
                    <a:pt x="886" y="40"/>
                  </a:lnTo>
                  <a:lnTo>
                    <a:pt x="900" y="44"/>
                  </a:lnTo>
                  <a:lnTo>
                    <a:pt x="902" y="52"/>
                  </a:lnTo>
                  <a:lnTo>
                    <a:pt x="900" y="68"/>
                  </a:lnTo>
                  <a:lnTo>
                    <a:pt x="902" y="76"/>
                  </a:lnTo>
                  <a:lnTo>
                    <a:pt x="908" y="82"/>
                  </a:lnTo>
                  <a:lnTo>
                    <a:pt x="912" y="90"/>
                  </a:lnTo>
                  <a:lnTo>
                    <a:pt x="908" y="96"/>
                  </a:lnTo>
                  <a:lnTo>
                    <a:pt x="896" y="96"/>
                  </a:lnTo>
                  <a:lnTo>
                    <a:pt x="884" y="98"/>
                  </a:lnTo>
                  <a:lnTo>
                    <a:pt x="874" y="104"/>
                  </a:lnTo>
                  <a:lnTo>
                    <a:pt x="864" y="110"/>
                  </a:lnTo>
                  <a:lnTo>
                    <a:pt x="858" y="124"/>
                  </a:lnTo>
                  <a:lnTo>
                    <a:pt x="850" y="134"/>
                  </a:lnTo>
                  <a:lnTo>
                    <a:pt x="850" y="142"/>
                  </a:lnTo>
                  <a:lnTo>
                    <a:pt x="854" y="146"/>
                  </a:lnTo>
                  <a:lnTo>
                    <a:pt x="862" y="148"/>
                  </a:lnTo>
                  <a:lnTo>
                    <a:pt x="854" y="154"/>
                  </a:lnTo>
                  <a:lnTo>
                    <a:pt x="848" y="154"/>
                  </a:lnTo>
                  <a:lnTo>
                    <a:pt x="838" y="158"/>
                  </a:lnTo>
                  <a:lnTo>
                    <a:pt x="822" y="162"/>
                  </a:lnTo>
                  <a:lnTo>
                    <a:pt x="804" y="166"/>
                  </a:lnTo>
                  <a:lnTo>
                    <a:pt x="800" y="170"/>
                  </a:lnTo>
                  <a:lnTo>
                    <a:pt x="802" y="182"/>
                  </a:lnTo>
                  <a:lnTo>
                    <a:pt x="796" y="190"/>
                  </a:lnTo>
                  <a:lnTo>
                    <a:pt x="790" y="200"/>
                  </a:lnTo>
                  <a:lnTo>
                    <a:pt x="782" y="198"/>
                  </a:lnTo>
                  <a:lnTo>
                    <a:pt x="786" y="210"/>
                  </a:lnTo>
                  <a:lnTo>
                    <a:pt x="782" y="218"/>
                  </a:lnTo>
                  <a:lnTo>
                    <a:pt x="774" y="228"/>
                  </a:lnTo>
                  <a:lnTo>
                    <a:pt x="770" y="234"/>
                  </a:lnTo>
                  <a:lnTo>
                    <a:pt x="770" y="220"/>
                  </a:lnTo>
                  <a:lnTo>
                    <a:pt x="766" y="208"/>
                  </a:lnTo>
                  <a:lnTo>
                    <a:pt x="768" y="198"/>
                  </a:lnTo>
                  <a:lnTo>
                    <a:pt x="764" y="194"/>
                  </a:lnTo>
                  <a:lnTo>
                    <a:pt x="762" y="202"/>
                  </a:lnTo>
                  <a:lnTo>
                    <a:pt x="760" y="214"/>
                  </a:lnTo>
                  <a:lnTo>
                    <a:pt x="754" y="212"/>
                  </a:lnTo>
                  <a:lnTo>
                    <a:pt x="750" y="214"/>
                  </a:lnTo>
                  <a:lnTo>
                    <a:pt x="758" y="222"/>
                  </a:lnTo>
                  <a:lnTo>
                    <a:pt x="764" y="228"/>
                  </a:lnTo>
                  <a:lnTo>
                    <a:pt x="762" y="234"/>
                  </a:lnTo>
                  <a:lnTo>
                    <a:pt x="764" y="244"/>
                  </a:lnTo>
                  <a:lnTo>
                    <a:pt x="770" y="246"/>
                  </a:lnTo>
                  <a:lnTo>
                    <a:pt x="774" y="256"/>
                  </a:lnTo>
                  <a:lnTo>
                    <a:pt x="770" y="264"/>
                  </a:lnTo>
                  <a:lnTo>
                    <a:pt x="762" y="270"/>
                  </a:lnTo>
                  <a:lnTo>
                    <a:pt x="762" y="278"/>
                  </a:lnTo>
                  <a:lnTo>
                    <a:pt x="752" y="280"/>
                  </a:lnTo>
                  <a:lnTo>
                    <a:pt x="738" y="292"/>
                  </a:lnTo>
                  <a:lnTo>
                    <a:pt x="734" y="296"/>
                  </a:lnTo>
                  <a:lnTo>
                    <a:pt x="724" y="298"/>
                  </a:lnTo>
                  <a:lnTo>
                    <a:pt x="714" y="314"/>
                  </a:lnTo>
                  <a:lnTo>
                    <a:pt x="702" y="318"/>
                  </a:lnTo>
                  <a:lnTo>
                    <a:pt x="696" y="326"/>
                  </a:lnTo>
                  <a:lnTo>
                    <a:pt x="686" y="338"/>
                  </a:lnTo>
                  <a:lnTo>
                    <a:pt x="682" y="350"/>
                  </a:lnTo>
                  <a:lnTo>
                    <a:pt x="686" y="364"/>
                  </a:lnTo>
                  <a:lnTo>
                    <a:pt x="692" y="378"/>
                  </a:lnTo>
                  <a:lnTo>
                    <a:pt x="696" y="392"/>
                  </a:lnTo>
                  <a:lnTo>
                    <a:pt x="702" y="406"/>
                  </a:lnTo>
                  <a:lnTo>
                    <a:pt x="704" y="424"/>
                  </a:lnTo>
                  <a:lnTo>
                    <a:pt x="704" y="440"/>
                  </a:lnTo>
                  <a:lnTo>
                    <a:pt x="702" y="448"/>
                  </a:lnTo>
                  <a:lnTo>
                    <a:pt x="694" y="448"/>
                  </a:lnTo>
                  <a:lnTo>
                    <a:pt x="686" y="440"/>
                  </a:lnTo>
                  <a:lnTo>
                    <a:pt x="680" y="428"/>
                  </a:lnTo>
                  <a:lnTo>
                    <a:pt x="672" y="422"/>
                  </a:lnTo>
                  <a:lnTo>
                    <a:pt x="664" y="416"/>
                  </a:lnTo>
                  <a:lnTo>
                    <a:pt x="662" y="404"/>
                  </a:lnTo>
                  <a:lnTo>
                    <a:pt x="662" y="392"/>
                  </a:lnTo>
                  <a:lnTo>
                    <a:pt x="664" y="382"/>
                  </a:lnTo>
                  <a:lnTo>
                    <a:pt x="656" y="374"/>
                  </a:lnTo>
                  <a:lnTo>
                    <a:pt x="650" y="366"/>
                  </a:lnTo>
                  <a:lnTo>
                    <a:pt x="640" y="362"/>
                  </a:lnTo>
                  <a:lnTo>
                    <a:pt x="634" y="364"/>
                  </a:lnTo>
                  <a:lnTo>
                    <a:pt x="626" y="372"/>
                  </a:lnTo>
                  <a:lnTo>
                    <a:pt x="618" y="362"/>
                  </a:lnTo>
                  <a:lnTo>
                    <a:pt x="606" y="360"/>
                  </a:lnTo>
                  <a:lnTo>
                    <a:pt x="592" y="358"/>
                  </a:lnTo>
                  <a:lnTo>
                    <a:pt x="582" y="354"/>
                  </a:lnTo>
                  <a:lnTo>
                    <a:pt x="566" y="354"/>
                  </a:lnTo>
                  <a:lnTo>
                    <a:pt x="552" y="356"/>
                  </a:lnTo>
                  <a:lnTo>
                    <a:pt x="542" y="358"/>
                  </a:lnTo>
                  <a:lnTo>
                    <a:pt x="548" y="364"/>
                  </a:lnTo>
                  <a:lnTo>
                    <a:pt x="554" y="368"/>
                  </a:lnTo>
                  <a:lnTo>
                    <a:pt x="560" y="374"/>
                  </a:lnTo>
                  <a:lnTo>
                    <a:pt x="552" y="376"/>
                  </a:lnTo>
                  <a:lnTo>
                    <a:pt x="544" y="376"/>
                  </a:lnTo>
                  <a:lnTo>
                    <a:pt x="534" y="378"/>
                  </a:lnTo>
                  <a:lnTo>
                    <a:pt x="526" y="372"/>
                  </a:lnTo>
                  <a:lnTo>
                    <a:pt x="516" y="368"/>
                  </a:lnTo>
                  <a:lnTo>
                    <a:pt x="512" y="370"/>
                  </a:lnTo>
                  <a:lnTo>
                    <a:pt x="508" y="372"/>
                  </a:lnTo>
                  <a:lnTo>
                    <a:pt x="498" y="366"/>
                  </a:lnTo>
                  <a:lnTo>
                    <a:pt x="488" y="366"/>
                  </a:lnTo>
                  <a:lnTo>
                    <a:pt x="484" y="372"/>
                  </a:lnTo>
                  <a:lnTo>
                    <a:pt x="476" y="374"/>
                  </a:lnTo>
                  <a:lnTo>
                    <a:pt x="470" y="370"/>
                  </a:lnTo>
                  <a:lnTo>
                    <a:pt x="466" y="378"/>
                  </a:lnTo>
                  <a:lnTo>
                    <a:pt x="460" y="384"/>
                  </a:lnTo>
                  <a:lnTo>
                    <a:pt x="454" y="388"/>
                  </a:lnTo>
                  <a:lnTo>
                    <a:pt x="442" y="388"/>
                  </a:lnTo>
                  <a:lnTo>
                    <a:pt x="438" y="394"/>
                  </a:lnTo>
                  <a:lnTo>
                    <a:pt x="432" y="400"/>
                  </a:lnTo>
                  <a:lnTo>
                    <a:pt x="428" y="408"/>
                  </a:lnTo>
                  <a:lnTo>
                    <a:pt x="430" y="420"/>
                  </a:lnTo>
                  <a:lnTo>
                    <a:pt x="434" y="432"/>
                  </a:lnTo>
                  <a:lnTo>
                    <a:pt x="422" y="430"/>
                  </a:lnTo>
                  <a:lnTo>
                    <a:pt x="406" y="424"/>
                  </a:lnTo>
                  <a:lnTo>
                    <a:pt x="398" y="412"/>
                  </a:lnTo>
                  <a:lnTo>
                    <a:pt x="390" y="400"/>
                  </a:lnTo>
                  <a:lnTo>
                    <a:pt x="380" y="388"/>
                  </a:lnTo>
                  <a:lnTo>
                    <a:pt x="374" y="374"/>
                  </a:lnTo>
                  <a:lnTo>
                    <a:pt x="360" y="368"/>
                  </a:lnTo>
                  <a:lnTo>
                    <a:pt x="352" y="364"/>
                  </a:lnTo>
                  <a:lnTo>
                    <a:pt x="344" y="368"/>
                  </a:lnTo>
                  <a:lnTo>
                    <a:pt x="342" y="378"/>
                  </a:lnTo>
                  <a:lnTo>
                    <a:pt x="330" y="380"/>
                  </a:lnTo>
                  <a:lnTo>
                    <a:pt x="314" y="370"/>
                  </a:lnTo>
                  <a:lnTo>
                    <a:pt x="312" y="354"/>
                  </a:lnTo>
                  <a:lnTo>
                    <a:pt x="302" y="346"/>
                  </a:lnTo>
                  <a:lnTo>
                    <a:pt x="282" y="330"/>
                  </a:lnTo>
                  <a:lnTo>
                    <a:pt x="262" y="334"/>
                  </a:lnTo>
                  <a:lnTo>
                    <a:pt x="254" y="340"/>
                  </a:lnTo>
                  <a:lnTo>
                    <a:pt x="208" y="340"/>
                  </a:lnTo>
                  <a:lnTo>
                    <a:pt x="192" y="334"/>
                  </a:lnTo>
                  <a:lnTo>
                    <a:pt x="166" y="322"/>
                  </a:lnTo>
                  <a:lnTo>
                    <a:pt x="148" y="316"/>
                  </a:lnTo>
                  <a:lnTo>
                    <a:pt x="116" y="318"/>
                  </a:lnTo>
                  <a:lnTo>
                    <a:pt x="112" y="306"/>
                  </a:lnTo>
                  <a:lnTo>
                    <a:pt x="104" y="298"/>
                  </a:lnTo>
                  <a:lnTo>
                    <a:pt x="98" y="294"/>
                  </a:lnTo>
                  <a:lnTo>
                    <a:pt x="84" y="290"/>
                  </a:lnTo>
                  <a:lnTo>
                    <a:pt x="74" y="282"/>
                  </a:lnTo>
                  <a:lnTo>
                    <a:pt x="60" y="286"/>
                  </a:lnTo>
                  <a:lnTo>
                    <a:pt x="58" y="272"/>
                  </a:lnTo>
                  <a:lnTo>
                    <a:pt x="48" y="258"/>
                  </a:lnTo>
                  <a:lnTo>
                    <a:pt x="38" y="248"/>
                  </a:lnTo>
                  <a:lnTo>
                    <a:pt x="42" y="242"/>
                  </a:lnTo>
                  <a:lnTo>
                    <a:pt x="36" y="238"/>
                  </a:lnTo>
                  <a:lnTo>
                    <a:pt x="32" y="228"/>
                  </a:lnTo>
                  <a:lnTo>
                    <a:pt x="38" y="218"/>
                  </a:lnTo>
                  <a:lnTo>
                    <a:pt x="26" y="218"/>
                  </a:lnTo>
                  <a:lnTo>
                    <a:pt x="18" y="210"/>
                  </a:lnTo>
                  <a:lnTo>
                    <a:pt x="10" y="198"/>
                  </a:lnTo>
                  <a:lnTo>
                    <a:pt x="10" y="186"/>
                  </a:lnTo>
                  <a:lnTo>
                    <a:pt x="2" y="178"/>
                  </a:lnTo>
                  <a:lnTo>
                    <a:pt x="2" y="170"/>
                  </a:lnTo>
                  <a:lnTo>
                    <a:pt x="6" y="148"/>
                  </a:lnTo>
                  <a:lnTo>
                    <a:pt x="2" y="122"/>
                  </a:lnTo>
                  <a:lnTo>
                    <a:pt x="6" y="112"/>
                  </a:lnTo>
                  <a:lnTo>
                    <a:pt x="10" y="64"/>
                  </a:lnTo>
                  <a:lnTo>
                    <a:pt x="16" y="64"/>
                  </a:lnTo>
                  <a:lnTo>
                    <a:pt x="10" y="54"/>
                  </a:lnTo>
                  <a:lnTo>
                    <a:pt x="6" y="48"/>
                  </a:lnTo>
                  <a:lnTo>
                    <a:pt x="8" y="42"/>
                  </a:lnTo>
                  <a:lnTo>
                    <a:pt x="4" y="3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grpSp>
          <p:nvGrpSpPr>
            <p:cNvPr id="866" name="Group 52">
              <a:extLst>
                <a:ext uri="{FF2B5EF4-FFF2-40B4-BE49-F238E27FC236}">
                  <a16:creationId xmlns:a16="http://schemas.microsoft.com/office/drawing/2014/main" id="{66939954-1697-4130-B51F-9533CCD47EF8}"/>
                </a:ext>
              </a:extLst>
            </p:cNvPr>
            <p:cNvGrpSpPr>
              <a:grpSpLocks/>
            </p:cNvGrpSpPr>
            <p:nvPr/>
          </p:nvGrpSpPr>
          <p:grpSpPr bwMode="auto">
            <a:xfrm>
              <a:off x="1641146" y="4100457"/>
              <a:ext cx="125482" cy="89630"/>
              <a:chOff x="170" y="2211"/>
              <a:chExt cx="76" cy="54"/>
            </a:xfrm>
            <a:grpFill/>
          </p:grpSpPr>
          <p:sp>
            <p:nvSpPr>
              <p:cNvPr id="1094" name="Freeform 53">
                <a:extLst>
                  <a:ext uri="{FF2B5EF4-FFF2-40B4-BE49-F238E27FC236}">
                    <a16:creationId xmlns:a16="http://schemas.microsoft.com/office/drawing/2014/main" id="{CCB64BB9-43CC-404C-AF90-566F081D7A50}"/>
                  </a:ext>
                </a:extLst>
              </p:cNvPr>
              <p:cNvSpPr>
                <a:spLocks/>
              </p:cNvSpPr>
              <p:nvPr/>
            </p:nvSpPr>
            <p:spPr bwMode="gray">
              <a:xfrm>
                <a:off x="214" y="2231"/>
                <a:ext cx="12" cy="10"/>
              </a:xfrm>
              <a:custGeom>
                <a:avLst/>
                <a:gdLst>
                  <a:gd name="T0" fmla="*/ 12 w 12"/>
                  <a:gd name="T1" fmla="*/ 6 h 10"/>
                  <a:gd name="T2" fmla="*/ 10 w 12"/>
                  <a:gd name="T3" fmla="*/ 2 h 10"/>
                  <a:gd name="T4" fmla="*/ 4 w 12"/>
                  <a:gd name="T5" fmla="*/ 0 h 10"/>
                  <a:gd name="T6" fmla="*/ 0 w 12"/>
                  <a:gd name="T7" fmla="*/ 4 h 10"/>
                  <a:gd name="T8" fmla="*/ 4 w 12"/>
                  <a:gd name="T9" fmla="*/ 6 h 10"/>
                  <a:gd name="T10" fmla="*/ 10 w 12"/>
                  <a:gd name="T11" fmla="*/ 10 h 10"/>
                  <a:gd name="T12" fmla="*/ 12 w 12"/>
                  <a:gd name="T13" fmla="*/ 6 h 10"/>
                </a:gdLst>
                <a:ahLst/>
                <a:cxnLst>
                  <a:cxn ang="0">
                    <a:pos x="T0" y="T1"/>
                  </a:cxn>
                  <a:cxn ang="0">
                    <a:pos x="T2" y="T3"/>
                  </a:cxn>
                  <a:cxn ang="0">
                    <a:pos x="T4" y="T5"/>
                  </a:cxn>
                  <a:cxn ang="0">
                    <a:pos x="T6" y="T7"/>
                  </a:cxn>
                  <a:cxn ang="0">
                    <a:pos x="T8" y="T9"/>
                  </a:cxn>
                  <a:cxn ang="0">
                    <a:pos x="T10" y="T11"/>
                  </a:cxn>
                  <a:cxn ang="0">
                    <a:pos x="T12" y="T13"/>
                  </a:cxn>
                </a:cxnLst>
                <a:rect l="0" t="0" r="r" b="b"/>
                <a:pathLst>
                  <a:path w="12" h="10">
                    <a:moveTo>
                      <a:pt x="12" y="6"/>
                    </a:moveTo>
                    <a:lnTo>
                      <a:pt x="10" y="2"/>
                    </a:lnTo>
                    <a:lnTo>
                      <a:pt x="4" y="0"/>
                    </a:lnTo>
                    <a:lnTo>
                      <a:pt x="0" y="4"/>
                    </a:lnTo>
                    <a:lnTo>
                      <a:pt x="4" y="6"/>
                    </a:lnTo>
                    <a:lnTo>
                      <a:pt x="10" y="10"/>
                    </a:lnTo>
                    <a:lnTo>
                      <a:pt x="12" y="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95" name="Freeform 54">
                <a:extLst>
                  <a:ext uri="{FF2B5EF4-FFF2-40B4-BE49-F238E27FC236}">
                    <a16:creationId xmlns:a16="http://schemas.microsoft.com/office/drawing/2014/main" id="{B1D10F90-393A-468F-BDE2-3425CB0CF024}"/>
                  </a:ext>
                </a:extLst>
              </p:cNvPr>
              <p:cNvSpPr>
                <a:spLocks/>
              </p:cNvSpPr>
              <p:nvPr/>
            </p:nvSpPr>
            <p:spPr bwMode="gray">
              <a:xfrm>
                <a:off x="230" y="2245"/>
                <a:ext cx="16" cy="20"/>
              </a:xfrm>
              <a:custGeom>
                <a:avLst/>
                <a:gdLst>
                  <a:gd name="T0" fmla="*/ 16 w 16"/>
                  <a:gd name="T1" fmla="*/ 14 h 20"/>
                  <a:gd name="T2" fmla="*/ 8 w 16"/>
                  <a:gd name="T3" fmla="*/ 16 h 20"/>
                  <a:gd name="T4" fmla="*/ 4 w 16"/>
                  <a:gd name="T5" fmla="*/ 20 h 20"/>
                  <a:gd name="T6" fmla="*/ 0 w 16"/>
                  <a:gd name="T7" fmla="*/ 12 h 20"/>
                  <a:gd name="T8" fmla="*/ 0 w 16"/>
                  <a:gd name="T9" fmla="*/ 6 h 20"/>
                  <a:gd name="T10" fmla="*/ 4 w 16"/>
                  <a:gd name="T11" fmla="*/ 0 h 20"/>
                  <a:gd name="T12" fmla="*/ 8 w 16"/>
                  <a:gd name="T13" fmla="*/ 2 h 20"/>
                  <a:gd name="T14" fmla="*/ 14 w 16"/>
                  <a:gd name="T15" fmla="*/ 6 h 20"/>
                  <a:gd name="T16" fmla="*/ 16 w 16"/>
                  <a:gd name="T17" fmla="*/ 1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20">
                    <a:moveTo>
                      <a:pt x="16" y="14"/>
                    </a:moveTo>
                    <a:lnTo>
                      <a:pt x="8" y="16"/>
                    </a:lnTo>
                    <a:lnTo>
                      <a:pt x="4" y="20"/>
                    </a:lnTo>
                    <a:lnTo>
                      <a:pt x="0" y="12"/>
                    </a:lnTo>
                    <a:lnTo>
                      <a:pt x="0" y="6"/>
                    </a:lnTo>
                    <a:lnTo>
                      <a:pt x="4" y="0"/>
                    </a:lnTo>
                    <a:lnTo>
                      <a:pt x="8" y="2"/>
                    </a:lnTo>
                    <a:lnTo>
                      <a:pt x="14" y="6"/>
                    </a:lnTo>
                    <a:lnTo>
                      <a:pt x="16" y="1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96" name="Freeform 55">
                <a:extLst>
                  <a:ext uri="{FF2B5EF4-FFF2-40B4-BE49-F238E27FC236}">
                    <a16:creationId xmlns:a16="http://schemas.microsoft.com/office/drawing/2014/main" id="{A8242263-71CB-4EFB-A567-EB5B44C7B00D}"/>
                  </a:ext>
                </a:extLst>
              </p:cNvPr>
              <p:cNvSpPr>
                <a:spLocks/>
              </p:cNvSpPr>
              <p:nvPr/>
            </p:nvSpPr>
            <p:spPr bwMode="gray">
              <a:xfrm>
                <a:off x="194" y="2219"/>
                <a:ext cx="6" cy="8"/>
              </a:xfrm>
              <a:custGeom>
                <a:avLst/>
                <a:gdLst>
                  <a:gd name="T0" fmla="*/ 6 w 6"/>
                  <a:gd name="T1" fmla="*/ 6 h 8"/>
                  <a:gd name="T2" fmla="*/ 4 w 6"/>
                  <a:gd name="T3" fmla="*/ 0 h 8"/>
                  <a:gd name="T4" fmla="*/ 0 w 6"/>
                  <a:gd name="T5" fmla="*/ 0 h 8"/>
                  <a:gd name="T6" fmla="*/ 0 w 6"/>
                  <a:gd name="T7" fmla="*/ 4 h 8"/>
                  <a:gd name="T8" fmla="*/ 2 w 6"/>
                  <a:gd name="T9" fmla="*/ 8 h 8"/>
                  <a:gd name="T10" fmla="*/ 6 w 6"/>
                  <a:gd name="T11" fmla="*/ 6 h 8"/>
                </a:gdLst>
                <a:ahLst/>
                <a:cxnLst>
                  <a:cxn ang="0">
                    <a:pos x="T0" y="T1"/>
                  </a:cxn>
                  <a:cxn ang="0">
                    <a:pos x="T2" y="T3"/>
                  </a:cxn>
                  <a:cxn ang="0">
                    <a:pos x="T4" y="T5"/>
                  </a:cxn>
                  <a:cxn ang="0">
                    <a:pos x="T6" y="T7"/>
                  </a:cxn>
                  <a:cxn ang="0">
                    <a:pos x="T8" y="T9"/>
                  </a:cxn>
                  <a:cxn ang="0">
                    <a:pos x="T10" y="T11"/>
                  </a:cxn>
                </a:cxnLst>
                <a:rect l="0" t="0" r="r" b="b"/>
                <a:pathLst>
                  <a:path w="6" h="8">
                    <a:moveTo>
                      <a:pt x="6" y="6"/>
                    </a:moveTo>
                    <a:lnTo>
                      <a:pt x="4" y="0"/>
                    </a:lnTo>
                    <a:lnTo>
                      <a:pt x="0" y="0"/>
                    </a:lnTo>
                    <a:lnTo>
                      <a:pt x="0" y="4"/>
                    </a:lnTo>
                    <a:lnTo>
                      <a:pt x="2" y="8"/>
                    </a:lnTo>
                    <a:lnTo>
                      <a:pt x="6" y="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97" name="Freeform 56">
                <a:extLst>
                  <a:ext uri="{FF2B5EF4-FFF2-40B4-BE49-F238E27FC236}">
                    <a16:creationId xmlns:a16="http://schemas.microsoft.com/office/drawing/2014/main" id="{1037CACA-20EC-4F10-8BA0-B1D605BBD9D3}"/>
                  </a:ext>
                </a:extLst>
              </p:cNvPr>
              <p:cNvSpPr>
                <a:spLocks/>
              </p:cNvSpPr>
              <p:nvPr/>
            </p:nvSpPr>
            <p:spPr bwMode="gray">
              <a:xfrm>
                <a:off x="194" y="2219"/>
                <a:ext cx="6" cy="8"/>
              </a:xfrm>
              <a:custGeom>
                <a:avLst/>
                <a:gdLst>
                  <a:gd name="T0" fmla="*/ 6 w 6"/>
                  <a:gd name="T1" fmla="*/ 6 h 8"/>
                  <a:gd name="T2" fmla="*/ 4 w 6"/>
                  <a:gd name="T3" fmla="*/ 0 h 8"/>
                  <a:gd name="T4" fmla="*/ 0 w 6"/>
                  <a:gd name="T5" fmla="*/ 0 h 8"/>
                  <a:gd name="T6" fmla="*/ 0 w 6"/>
                  <a:gd name="T7" fmla="*/ 4 h 8"/>
                  <a:gd name="T8" fmla="*/ 2 w 6"/>
                  <a:gd name="T9" fmla="*/ 8 h 8"/>
                  <a:gd name="T10" fmla="*/ 6 w 6"/>
                  <a:gd name="T11" fmla="*/ 6 h 8"/>
                </a:gdLst>
                <a:ahLst/>
                <a:cxnLst>
                  <a:cxn ang="0">
                    <a:pos x="T0" y="T1"/>
                  </a:cxn>
                  <a:cxn ang="0">
                    <a:pos x="T2" y="T3"/>
                  </a:cxn>
                  <a:cxn ang="0">
                    <a:pos x="T4" y="T5"/>
                  </a:cxn>
                  <a:cxn ang="0">
                    <a:pos x="T6" y="T7"/>
                  </a:cxn>
                  <a:cxn ang="0">
                    <a:pos x="T8" y="T9"/>
                  </a:cxn>
                  <a:cxn ang="0">
                    <a:pos x="T10" y="T11"/>
                  </a:cxn>
                </a:cxnLst>
                <a:rect l="0" t="0" r="r" b="b"/>
                <a:pathLst>
                  <a:path w="6" h="8">
                    <a:moveTo>
                      <a:pt x="6" y="6"/>
                    </a:moveTo>
                    <a:lnTo>
                      <a:pt x="4" y="0"/>
                    </a:lnTo>
                    <a:lnTo>
                      <a:pt x="0" y="0"/>
                    </a:lnTo>
                    <a:lnTo>
                      <a:pt x="0" y="4"/>
                    </a:lnTo>
                    <a:lnTo>
                      <a:pt x="2" y="8"/>
                    </a:lnTo>
                    <a:lnTo>
                      <a:pt x="6" y="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98" name="Freeform 57">
                <a:extLst>
                  <a:ext uri="{FF2B5EF4-FFF2-40B4-BE49-F238E27FC236}">
                    <a16:creationId xmlns:a16="http://schemas.microsoft.com/office/drawing/2014/main" id="{5F111C5C-0DC9-4C33-A38F-877EE14DF696}"/>
                  </a:ext>
                </a:extLst>
              </p:cNvPr>
              <p:cNvSpPr>
                <a:spLocks/>
              </p:cNvSpPr>
              <p:nvPr/>
            </p:nvSpPr>
            <p:spPr bwMode="gray">
              <a:xfrm>
                <a:off x="170" y="2211"/>
                <a:ext cx="6" cy="4"/>
              </a:xfrm>
              <a:custGeom>
                <a:avLst/>
                <a:gdLst>
                  <a:gd name="T0" fmla="*/ 4 w 6"/>
                  <a:gd name="T1" fmla="*/ 0 h 4"/>
                  <a:gd name="T2" fmla="*/ 0 w 6"/>
                  <a:gd name="T3" fmla="*/ 0 h 4"/>
                  <a:gd name="T4" fmla="*/ 2 w 6"/>
                  <a:gd name="T5" fmla="*/ 4 h 4"/>
                  <a:gd name="T6" fmla="*/ 6 w 6"/>
                  <a:gd name="T7" fmla="*/ 4 h 4"/>
                  <a:gd name="T8" fmla="*/ 4 w 6"/>
                  <a:gd name="T9" fmla="*/ 0 h 4"/>
                </a:gdLst>
                <a:ahLst/>
                <a:cxnLst>
                  <a:cxn ang="0">
                    <a:pos x="T0" y="T1"/>
                  </a:cxn>
                  <a:cxn ang="0">
                    <a:pos x="T2" y="T3"/>
                  </a:cxn>
                  <a:cxn ang="0">
                    <a:pos x="T4" y="T5"/>
                  </a:cxn>
                  <a:cxn ang="0">
                    <a:pos x="T6" y="T7"/>
                  </a:cxn>
                  <a:cxn ang="0">
                    <a:pos x="T8" y="T9"/>
                  </a:cxn>
                </a:cxnLst>
                <a:rect l="0" t="0" r="r" b="b"/>
                <a:pathLst>
                  <a:path w="6" h="4">
                    <a:moveTo>
                      <a:pt x="4" y="0"/>
                    </a:moveTo>
                    <a:lnTo>
                      <a:pt x="0" y="0"/>
                    </a:lnTo>
                    <a:lnTo>
                      <a:pt x="2" y="4"/>
                    </a:lnTo>
                    <a:lnTo>
                      <a:pt x="6" y="4"/>
                    </a:lnTo>
                    <a:lnTo>
                      <a:pt x="4"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99" name="Freeform 58">
                <a:extLst>
                  <a:ext uri="{FF2B5EF4-FFF2-40B4-BE49-F238E27FC236}">
                    <a16:creationId xmlns:a16="http://schemas.microsoft.com/office/drawing/2014/main" id="{6AE5C46C-B211-4D32-8E99-63029AF085EA}"/>
                  </a:ext>
                </a:extLst>
              </p:cNvPr>
              <p:cNvSpPr>
                <a:spLocks/>
              </p:cNvSpPr>
              <p:nvPr/>
            </p:nvSpPr>
            <p:spPr bwMode="gray">
              <a:xfrm>
                <a:off x="170" y="2211"/>
                <a:ext cx="6" cy="4"/>
              </a:xfrm>
              <a:custGeom>
                <a:avLst/>
                <a:gdLst>
                  <a:gd name="T0" fmla="*/ 4 w 6"/>
                  <a:gd name="T1" fmla="*/ 0 h 4"/>
                  <a:gd name="T2" fmla="*/ 0 w 6"/>
                  <a:gd name="T3" fmla="*/ 0 h 4"/>
                  <a:gd name="T4" fmla="*/ 2 w 6"/>
                  <a:gd name="T5" fmla="*/ 4 h 4"/>
                  <a:gd name="T6" fmla="*/ 6 w 6"/>
                  <a:gd name="T7" fmla="*/ 4 h 4"/>
                  <a:gd name="T8" fmla="*/ 4 w 6"/>
                  <a:gd name="T9" fmla="*/ 0 h 4"/>
                </a:gdLst>
                <a:ahLst/>
                <a:cxnLst>
                  <a:cxn ang="0">
                    <a:pos x="T0" y="T1"/>
                  </a:cxn>
                  <a:cxn ang="0">
                    <a:pos x="T2" y="T3"/>
                  </a:cxn>
                  <a:cxn ang="0">
                    <a:pos x="T4" y="T5"/>
                  </a:cxn>
                  <a:cxn ang="0">
                    <a:pos x="T6" y="T7"/>
                  </a:cxn>
                  <a:cxn ang="0">
                    <a:pos x="T8" y="T9"/>
                  </a:cxn>
                </a:cxnLst>
                <a:rect l="0" t="0" r="r" b="b"/>
                <a:pathLst>
                  <a:path w="6" h="4">
                    <a:moveTo>
                      <a:pt x="4" y="0"/>
                    </a:moveTo>
                    <a:lnTo>
                      <a:pt x="0" y="0"/>
                    </a:lnTo>
                    <a:lnTo>
                      <a:pt x="2" y="4"/>
                    </a:lnTo>
                    <a:lnTo>
                      <a:pt x="6" y="4"/>
                    </a:lnTo>
                    <a:lnTo>
                      <a:pt x="4"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grpSp>
        <p:sp>
          <p:nvSpPr>
            <p:cNvPr id="867" name="Freeform 59">
              <a:extLst>
                <a:ext uri="{FF2B5EF4-FFF2-40B4-BE49-F238E27FC236}">
                  <a16:creationId xmlns:a16="http://schemas.microsoft.com/office/drawing/2014/main" id="{29E96C3E-659C-4DCC-921C-F582CC739E21}"/>
                </a:ext>
              </a:extLst>
            </p:cNvPr>
            <p:cNvSpPr>
              <a:spLocks/>
            </p:cNvSpPr>
            <p:nvPr/>
          </p:nvSpPr>
          <p:spPr bwMode="gray">
            <a:xfrm>
              <a:off x="3404489" y="4219963"/>
              <a:ext cx="95762" cy="106229"/>
            </a:xfrm>
            <a:custGeom>
              <a:avLst/>
              <a:gdLst>
                <a:gd name="T0" fmla="*/ 34 w 58"/>
                <a:gd name="T1" fmla="*/ 64 h 64"/>
                <a:gd name="T2" fmla="*/ 42 w 58"/>
                <a:gd name="T3" fmla="*/ 56 h 64"/>
                <a:gd name="T4" fmla="*/ 48 w 58"/>
                <a:gd name="T5" fmla="*/ 50 h 64"/>
                <a:gd name="T6" fmla="*/ 52 w 58"/>
                <a:gd name="T7" fmla="*/ 46 h 64"/>
                <a:gd name="T8" fmla="*/ 58 w 58"/>
                <a:gd name="T9" fmla="*/ 38 h 64"/>
                <a:gd name="T10" fmla="*/ 54 w 58"/>
                <a:gd name="T11" fmla="*/ 34 h 64"/>
                <a:gd name="T12" fmla="*/ 48 w 58"/>
                <a:gd name="T13" fmla="*/ 34 h 64"/>
                <a:gd name="T14" fmla="*/ 48 w 58"/>
                <a:gd name="T15" fmla="*/ 0 h 64"/>
                <a:gd name="T16" fmla="*/ 18 w 58"/>
                <a:gd name="T17" fmla="*/ 2 h 64"/>
                <a:gd name="T18" fmla="*/ 16 w 58"/>
                <a:gd name="T19" fmla="*/ 6 h 64"/>
                <a:gd name="T20" fmla="*/ 18 w 58"/>
                <a:gd name="T21" fmla="*/ 14 h 64"/>
                <a:gd name="T22" fmla="*/ 26 w 58"/>
                <a:gd name="T23" fmla="*/ 20 h 64"/>
                <a:gd name="T24" fmla="*/ 30 w 58"/>
                <a:gd name="T25" fmla="*/ 26 h 64"/>
                <a:gd name="T26" fmla="*/ 26 w 58"/>
                <a:gd name="T27" fmla="*/ 28 h 64"/>
                <a:gd name="T28" fmla="*/ 14 w 58"/>
                <a:gd name="T29" fmla="*/ 30 h 64"/>
                <a:gd name="T30" fmla="*/ 10 w 58"/>
                <a:gd name="T31" fmla="*/ 28 h 64"/>
                <a:gd name="T32" fmla="*/ 4 w 58"/>
                <a:gd name="T33" fmla="*/ 36 h 64"/>
                <a:gd name="T34" fmla="*/ 2 w 58"/>
                <a:gd name="T35" fmla="*/ 42 h 64"/>
                <a:gd name="T36" fmla="*/ 0 w 58"/>
                <a:gd name="T37" fmla="*/ 54 h 64"/>
                <a:gd name="T38" fmla="*/ 6 w 58"/>
                <a:gd name="T39" fmla="*/ 58 h 64"/>
                <a:gd name="T40" fmla="*/ 12 w 58"/>
                <a:gd name="T41" fmla="*/ 62 h 64"/>
                <a:gd name="T42" fmla="*/ 22 w 58"/>
                <a:gd name="T43" fmla="*/ 64 h 64"/>
                <a:gd name="T44" fmla="*/ 34 w 58"/>
                <a:gd name="T4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8" h="64">
                  <a:moveTo>
                    <a:pt x="34" y="64"/>
                  </a:moveTo>
                  <a:lnTo>
                    <a:pt x="42" y="56"/>
                  </a:lnTo>
                  <a:lnTo>
                    <a:pt x="48" y="50"/>
                  </a:lnTo>
                  <a:lnTo>
                    <a:pt x="52" y="46"/>
                  </a:lnTo>
                  <a:lnTo>
                    <a:pt x="58" y="38"/>
                  </a:lnTo>
                  <a:lnTo>
                    <a:pt x="54" y="34"/>
                  </a:lnTo>
                  <a:lnTo>
                    <a:pt x="48" y="34"/>
                  </a:lnTo>
                  <a:lnTo>
                    <a:pt x="48" y="0"/>
                  </a:lnTo>
                  <a:lnTo>
                    <a:pt x="18" y="2"/>
                  </a:lnTo>
                  <a:lnTo>
                    <a:pt x="16" y="6"/>
                  </a:lnTo>
                  <a:lnTo>
                    <a:pt x="18" y="14"/>
                  </a:lnTo>
                  <a:lnTo>
                    <a:pt x="26" y="20"/>
                  </a:lnTo>
                  <a:lnTo>
                    <a:pt x="30" y="26"/>
                  </a:lnTo>
                  <a:lnTo>
                    <a:pt x="26" y="28"/>
                  </a:lnTo>
                  <a:lnTo>
                    <a:pt x="14" y="30"/>
                  </a:lnTo>
                  <a:lnTo>
                    <a:pt x="10" y="28"/>
                  </a:lnTo>
                  <a:lnTo>
                    <a:pt x="4" y="36"/>
                  </a:lnTo>
                  <a:lnTo>
                    <a:pt x="2" y="42"/>
                  </a:lnTo>
                  <a:lnTo>
                    <a:pt x="0" y="54"/>
                  </a:lnTo>
                  <a:lnTo>
                    <a:pt x="6" y="58"/>
                  </a:lnTo>
                  <a:lnTo>
                    <a:pt x="12" y="62"/>
                  </a:lnTo>
                  <a:lnTo>
                    <a:pt x="22" y="64"/>
                  </a:lnTo>
                  <a:lnTo>
                    <a:pt x="34" y="6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68" name="Freeform 60">
              <a:extLst>
                <a:ext uri="{FF2B5EF4-FFF2-40B4-BE49-F238E27FC236}">
                  <a16:creationId xmlns:a16="http://schemas.microsoft.com/office/drawing/2014/main" id="{DB7F40F7-BA10-4B7B-8E87-444F7A3B3D28}"/>
                </a:ext>
              </a:extLst>
            </p:cNvPr>
            <p:cNvSpPr>
              <a:spLocks/>
            </p:cNvSpPr>
            <p:nvPr/>
          </p:nvSpPr>
          <p:spPr bwMode="gray">
            <a:xfrm>
              <a:off x="3483741" y="4203366"/>
              <a:ext cx="19813" cy="73033"/>
            </a:xfrm>
            <a:custGeom>
              <a:avLst/>
              <a:gdLst>
                <a:gd name="T0" fmla="*/ 10 w 12"/>
                <a:gd name="T1" fmla="*/ 0 h 44"/>
                <a:gd name="T2" fmla="*/ 12 w 12"/>
                <a:gd name="T3" fmla="*/ 6 h 44"/>
                <a:gd name="T4" fmla="*/ 10 w 12"/>
                <a:gd name="T5" fmla="*/ 12 h 44"/>
                <a:gd name="T6" fmla="*/ 10 w 12"/>
                <a:gd name="T7" fmla="*/ 26 h 44"/>
                <a:gd name="T8" fmla="*/ 10 w 12"/>
                <a:gd name="T9" fmla="*/ 34 h 44"/>
                <a:gd name="T10" fmla="*/ 6 w 12"/>
                <a:gd name="T11" fmla="*/ 38 h 44"/>
                <a:gd name="T12" fmla="*/ 0 w 12"/>
                <a:gd name="T13" fmla="*/ 44 h 44"/>
                <a:gd name="T14" fmla="*/ 0 w 12"/>
                <a:gd name="T15" fmla="*/ 10 h 44"/>
                <a:gd name="T16" fmla="*/ 6 w 12"/>
                <a:gd name="T17" fmla="*/ 4 h 44"/>
                <a:gd name="T18" fmla="*/ 10 w 12"/>
                <a:gd name="T19"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44">
                  <a:moveTo>
                    <a:pt x="10" y="0"/>
                  </a:moveTo>
                  <a:lnTo>
                    <a:pt x="12" y="6"/>
                  </a:lnTo>
                  <a:lnTo>
                    <a:pt x="10" y="12"/>
                  </a:lnTo>
                  <a:lnTo>
                    <a:pt x="10" y="26"/>
                  </a:lnTo>
                  <a:lnTo>
                    <a:pt x="10" y="34"/>
                  </a:lnTo>
                  <a:lnTo>
                    <a:pt x="6" y="38"/>
                  </a:lnTo>
                  <a:lnTo>
                    <a:pt x="0" y="44"/>
                  </a:lnTo>
                  <a:lnTo>
                    <a:pt x="0" y="10"/>
                  </a:lnTo>
                  <a:lnTo>
                    <a:pt x="6" y="4"/>
                  </a:lnTo>
                  <a:lnTo>
                    <a:pt x="1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69" name="Freeform 61">
              <a:extLst>
                <a:ext uri="{FF2B5EF4-FFF2-40B4-BE49-F238E27FC236}">
                  <a16:creationId xmlns:a16="http://schemas.microsoft.com/office/drawing/2014/main" id="{7095A538-D4C3-40C6-9151-E7D2189CCBA7}"/>
                </a:ext>
              </a:extLst>
            </p:cNvPr>
            <p:cNvSpPr>
              <a:spLocks/>
            </p:cNvSpPr>
            <p:nvPr/>
          </p:nvSpPr>
          <p:spPr bwMode="gray">
            <a:xfrm>
              <a:off x="3460626" y="4309595"/>
              <a:ext cx="56136" cy="36517"/>
            </a:xfrm>
            <a:custGeom>
              <a:avLst/>
              <a:gdLst>
                <a:gd name="T0" fmla="*/ 0 w 34"/>
                <a:gd name="T1" fmla="*/ 10 h 22"/>
                <a:gd name="T2" fmla="*/ 12 w 34"/>
                <a:gd name="T3" fmla="*/ 0 h 22"/>
                <a:gd name="T4" fmla="*/ 18 w 34"/>
                <a:gd name="T5" fmla="*/ 4 h 22"/>
                <a:gd name="T6" fmla="*/ 24 w 34"/>
                <a:gd name="T7" fmla="*/ 8 h 22"/>
                <a:gd name="T8" fmla="*/ 32 w 34"/>
                <a:gd name="T9" fmla="*/ 10 h 22"/>
                <a:gd name="T10" fmla="*/ 34 w 34"/>
                <a:gd name="T11" fmla="*/ 14 h 22"/>
                <a:gd name="T12" fmla="*/ 30 w 34"/>
                <a:gd name="T13" fmla="*/ 20 h 22"/>
                <a:gd name="T14" fmla="*/ 26 w 34"/>
                <a:gd name="T15" fmla="*/ 22 h 22"/>
                <a:gd name="T16" fmla="*/ 16 w 34"/>
                <a:gd name="T17" fmla="*/ 18 h 22"/>
                <a:gd name="T18" fmla="*/ 8 w 34"/>
                <a:gd name="T19" fmla="*/ 14 h 22"/>
                <a:gd name="T20" fmla="*/ 0 w 34"/>
                <a:gd name="T21"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 h="22">
                  <a:moveTo>
                    <a:pt x="0" y="10"/>
                  </a:moveTo>
                  <a:lnTo>
                    <a:pt x="12" y="0"/>
                  </a:lnTo>
                  <a:lnTo>
                    <a:pt x="18" y="4"/>
                  </a:lnTo>
                  <a:lnTo>
                    <a:pt x="24" y="8"/>
                  </a:lnTo>
                  <a:lnTo>
                    <a:pt x="32" y="10"/>
                  </a:lnTo>
                  <a:lnTo>
                    <a:pt x="34" y="14"/>
                  </a:lnTo>
                  <a:lnTo>
                    <a:pt x="30" y="20"/>
                  </a:lnTo>
                  <a:lnTo>
                    <a:pt x="26" y="22"/>
                  </a:lnTo>
                  <a:lnTo>
                    <a:pt x="16" y="18"/>
                  </a:lnTo>
                  <a:lnTo>
                    <a:pt x="8" y="14"/>
                  </a:lnTo>
                  <a:lnTo>
                    <a:pt x="0" y="1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70" name="Freeform 62">
              <a:extLst>
                <a:ext uri="{FF2B5EF4-FFF2-40B4-BE49-F238E27FC236}">
                  <a16:creationId xmlns:a16="http://schemas.microsoft.com/office/drawing/2014/main" id="{8775FD35-CCB7-4F1D-996A-D514BD3EF972}"/>
                </a:ext>
              </a:extLst>
            </p:cNvPr>
            <p:cNvSpPr>
              <a:spLocks/>
            </p:cNvSpPr>
            <p:nvPr/>
          </p:nvSpPr>
          <p:spPr bwMode="gray">
            <a:xfrm>
              <a:off x="3480438" y="4273079"/>
              <a:ext cx="158503" cy="79672"/>
            </a:xfrm>
            <a:custGeom>
              <a:avLst/>
              <a:gdLst>
                <a:gd name="T0" fmla="*/ 12 w 96"/>
                <a:gd name="T1" fmla="*/ 6 h 48"/>
                <a:gd name="T2" fmla="*/ 26 w 96"/>
                <a:gd name="T3" fmla="*/ 2 h 48"/>
                <a:gd name="T4" fmla="*/ 34 w 96"/>
                <a:gd name="T5" fmla="*/ 2 h 48"/>
                <a:gd name="T6" fmla="*/ 42 w 96"/>
                <a:gd name="T7" fmla="*/ 4 h 48"/>
                <a:gd name="T8" fmla="*/ 52 w 96"/>
                <a:gd name="T9" fmla="*/ 2 h 48"/>
                <a:gd name="T10" fmla="*/ 64 w 96"/>
                <a:gd name="T11" fmla="*/ 0 h 48"/>
                <a:gd name="T12" fmla="*/ 74 w 96"/>
                <a:gd name="T13" fmla="*/ 0 h 48"/>
                <a:gd name="T14" fmla="*/ 80 w 96"/>
                <a:gd name="T15" fmla="*/ 0 h 48"/>
                <a:gd name="T16" fmla="*/ 84 w 96"/>
                <a:gd name="T17" fmla="*/ 4 h 48"/>
                <a:gd name="T18" fmla="*/ 96 w 96"/>
                <a:gd name="T19" fmla="*/ 12 h 48"/>
                <a:gd name="T20" fmla="*/ 94 w 96"/>
                <a:gd name="T21" fmla="*/ 16 h 48"/>
                <a:gd name="T22" fmla="*/ 88 w 96"/>
                <a:gd name="T23" fmla="*/ 18 h 48"/>
                <a:gd name="T24" fmla="*/ 80 w 96"/>
                <a:gd name="T25" fmla="*/ 18 h 48"/>
                <a:gd name="T26" fmla="*/ 70 w 96"/>
                <a:gd name="T27" fmla="*/ 18 h 48"/>
                <a:gd name="T28" fmla="*/ 64 w 96"/>
                <a:gd name="T29" fmla="*/ 22 h 48"/>
                <a:gd name="T30" fmla="*/ 56 w 96"/>
                <a:gd name="T31" fmla="*/ 30 h 48"/>
                <a:gd name="T32" fmla="*/ 48 w 96"/>
                <a:gd name="T33" fmla="*/ 32 h 48"/>
                <a:gd name="T34" fmla="*/ 42 w 96"/>
                <a:gd name="T35" fmla="*/ 34 h 48"/>
                <a:gd name="T36" fmla="*/ 40 w 96"/>
                <a:gd name="T37" fmla="*/ 42 h 48"/>
                <a:gd name="T38" fmla="*/ 36 w 96"/>
                <a:gd name="T39" fmla="*/ 46 h 48"/>
                <a:gd name="T40" fmla="*/ 30 w 96"/>
                <a:gd name="T41" fmla="*/ 48 h 48"/>
                <a:gd name="T42" fmla="*/ 30 w 96"/>
                <a:gd name="T43" fmla="*/ 42 h 48"/>
                <a:gd name="T44" fmla="*/ 28 w 96"/>
                <a:gd name="T45" fmla="*/ 36 h 48"/>
                <a:gd name="T46" fmla="*/ 22 w 96"/>
                <a:gd name="T47" fmla="*/ 36 h 48"/>
                <a:gd name="T48" fmla="*/ 20 w 96"/>
                <a:gd name="T49" fmla="*/ 32 h 48"/>
                <a:gd name="T50" fmla="*/ 6 w 96"/>
                <a:gd name="T51" fmla="*/ 26 h 48"/>
                <a:gd name="T52" fmla="*/ 0 w 96"/>
                <a:gd name="T53" fmla="*/ 22 h 48"/>
                <a:gd name="T54" fmla="*/ 12 w 96"/>
                <a:gd name="T55" fmla="*/ 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6" h="48">
                  <a:moveTo>
                    <a:pt x="12" y="6"/>
                  </a:moveTo>
                  <a:lnTo>
                    <a:pt x="26" y="2"/>
                  </a:lnTo>
                  <a:lnTo>
                    <a:pt x="34" y="2"/>
                  </a:lnTo>
                  <a:lnTo>
                    <a:pt x="42" y="4"/>
                  </a:lnTo>
                  <a:lnTo>
                    <a:pt x="52" y="2"/>
                  </a:lnTo>
                  <a:lnTo>
                    <a:pt x="64" y="0"/>
                  </a:lnTo>
                  <a:lnTo>
                    <a:pt x="74" y="0"/>
                  </a:lnTo>
                  <a:lnTo>
                    <a:pt x="80" y="0"/>
                  </a:lnTo>
                  <a:lnTo>
                    <a:pt x="84" y="4"/>
                  </a:lnTo>
                  <a:lnTo>
                    <a:pt x="96" y="12"/>
                  </a:lnTo>
                  <a:lnTo>
                    <a:pt x="94" y="16"/>
                  </a:lnTo>
                  <a:lnTo>
                    <a:pt x="88" y="18"/>
                  </a:lnTo>
                  <a:lnTo>
                    <a:pt x="80" y="18"/>
                  </a:lnTo>
                  <a:lnTo>
                    <a:pt x="70" y="18"/>
                  </a:lnTo>
                  <a:lnTo>
                    <a:pt x="64" y="22"/>
                  </a:lnTo>
                  <a:lnTo>
                    <a:pt x="56" y="30"/>
                  </a:lnTo>
                  <a:lnTo>
                    <a:pt x="48" y="32"/>
                  </a:lnTo>
                  <a:lnTo>
                    <a:pt x="42" y="34"/>
                  </a:lnTo>
                  <a:lnTo>
                    <a:pt x="40" y="42"/>
                  </a:lnTo>
                  <a:lnTo>
                    <a:pt x="36" y="46"/>
                  </a:lnTo>
                  <a:lnTo>
                    <a:pt x="30" y="48"/>
                  </a:lnTo>
                  <a:lnTo>
                    <a:pt x="30" y="42"/>
                  </a:lnTo>
                  <a:lnTo>
                    <a:pt x="28" y="36"/>
                  </a:lnTo>
                  <a:lnTo>
                    <a:pt x="22" y="36"/>
                  </a:lnTo>
                  <a:lnTo>
                    <a:pt x="20" y="32"/>
                  </a:lnTo>
                  <a:lnTo>
                    <a:pt x="6" y="26"/>
                  </a:lnTo>
                  <a:lnTo>
                    <a:pt x="0" y="22"/>
                  </a:lnTo>
                  <a:lnTo>
                    <a:pt x="12" y="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71" name="Freeform 63">
              <a:extLst>
                <a:ext uri="{FF2B5EF4-FFF2-40B4-BE49-F238E27FC236}">
                  <a16:creationId xmlns:a16="http://schemas.microsoft.com/office/drawing/2014/main" id="{9FE247A4-6740-4786-82D8-8EEF64E6D081}"/>
                </a:ext>
              </a:extLst>
            </p:cNvPr>
            <p:cNvSpPr>
              <a:spLocks/>
            </p:cNvSpPr>
            <p:nvPr/>
          </p:nvSpPr>
          <p:spPr bwMode="gray">
            <a:xfrm>
              <a:off x="3529970" y="4299635"/>
              <a:ext cx="105669" cy="109548"/>
            </a:xfrm>
            <a:custGeom>
              <a:avLst/>
              <a:gdLst>
                <a:gd name="T0" fmla="*/ 54 w 64"/>
                <a:gd name="T1" fmla="*/ 66 h 66"/>
                <a:gd name="T2" fmla="*/ 44 w 64"/>
                <a:gd name="T3" fmla="*/ 62 h 66"/>
                <a:gd name="T4" fmla="*/ 26 w 64"/>
                <a:gd name="T5" fmla="*/ 60 h 66"/>
                <a:gd name="T6" fmla="*/ 14 w 64"/>
                <a:gd name="T7" fmla="*/ 50 h 66"/>
                <a:gd name="T8" fmla="*/ 6 w 64"/>
                <a:gd name="T9" fmla="*/ 42 h 66"/>
                <a:gd name="T10" fmla="*/ 0 w 64"/>
                <a:gd name="T11" fmla="*/ 32 h 66"/>
                <a:gd name="T12" fmla="*/ 10 w 64"/>
                <a:gd name="T13" fmla="*/ 26 h 66"/>
                <a:gd name="T14" fmla="*/ 12 w 64"/>
                <a:gd name="T15" fmla="*/ 18 h 66"/>
                <a:gd name="T16" fmla="*/ 26 w 64"/>
                <a:gd name="T17" fmla="*/ 14 h 66"/>
                <a:gd name="T18" fmla="*/ 34 w 64"/>
                <a:gd name="T19" fmla="*/ 6 h 66"/>
                <a:gd name="T20" fmla="*/ 40 w 64"/>
                <a:gd name="T21" fmla="*/ 2 h 66"/>
                <a:gd name="T22" fmla="*/ 50 w 64"/>
                <a:gd name="T23" fmla="*/ 2 h 66"/>
                <a:gd name="T24" fmla="*/ 58 w 64"/>
                <a:gd name="T25" fmla="*/ 2 h 66"/>
                <a:gd name="T26" fmla="*/ 64 w 64"/>
                <a:gd name="T27" fmla="*/ 0 h 66"/>
                <a:gd name="T28" fmla="*/ 64 w 64"/>
                <a:gd name="T29" fmla="*/ 6 h 66"/>
                <a:gd name="T30" fmla="*/ 62 w 64"/>
                <a:gd name="T31" fmla="*/ 18 h 66"/>
                <a:gd name="T32" fmla="*/ 58 w 64"/>
                <a:gd name="T33" fmla="*/ 30 h 66"/>
                <a:gd name="T34" fmla="*/ 56 w 64"/>
                <a:gd name="T35" fmla="*/ 42 h 66"/>
                <a:gd name="T36" fmla="*/ 56 w 64"/>
                <a:gd name="T37" fmla="*/ 52 h 66"/>
                <a:gd name="T38" fmla="*/ 54 w 64"/>
                <a:gd name="T3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4" h="66">
                  <a:moveTo>
                    <a:pt x="54" y="66"/>
                  </a:moveTo>
                  <a:lnTo>
                    <a:pt x="44" y="62"/>
                  </a:lnTo>
                  <a:lnTo>
                    <a:pt x="26" y="60"/>
                  </a:lnTo>
                  <a:lnTo>
                    <a:pt x="14" y="50"/>
                  </a:lnTo>
                  <a:lnTo>
                    <a:pt x="6" y="42"/>
                  </a:lnTo>
                  <a:lnTo>
                    <a:pt x="0" y="32"/>
                  </a:lnTo>
                  <a:lnTo>
                    <a:pt x="10" y="26"/>
                  </a:lnTo>
                  <a:lnTo>
                    <a:pt x="12" y="18"/>
                  </a:lnTo>
                  <a:lnTo>
                    <a:pt x="26" y="14"/>
                  </a:lnTo>
                  <a:lnTo>
                    <a:pt x="34" y="6"/>
                  </a:lnTo>
                  <a:lnTo>
                    <a:pt x="40" y="2"/>
                  </a:lnTo>
                  <a:lnTo>
                    <a:pt x="50" y="2"/>
                  </a:lnTo>
                  <a:lnTo>
                    <a:pt x="58" y="2"/>
                  </a:lnTo>
                  <a:lnTo>
                    <a:pt x="64" y="0"/>
                  </a:lnTo>
                  <a:lnTo>
                    <a:pt x="64" y="6"/>
                  </a:lnTo>
                  <a:lnTo>
                    <a:pt x="62" y="18"/>
                  </a:lnTo>
                  <a:lnTo>
                    <a:pt x="58" y="30"/>
                  </a:lnTo>
                  <a:lnTo>
                    <a:pt x="56" y="42"/>
                  </a:lnTo>
                  <a:lnTo>
                    <a:pt x="56" y="52"/>
                  </a:lnTo>
                  <a:lnTo>
                    <a:pt x="54" y="6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72" name="Freeform 64">
              <a:extLst>
                <a:ext uri="{FF2B5EF4-FFF2-40B4-BE49-F238E27FC236}">
                  <a16:creationId xmlns:a16="http://schemas.microsoft.com/office/drawing/2014/main" id="{E849CED0-A867-4604-A0CA-89DB51DE6EB9}"/>
                </a:ext>
              </a:extLst>
            </p:cNvPr>
            <p:cNvSpPr>
              <a:spLocks/>
            </p:cNvSpPr>
            <p:nvPr/>
          </p:nvSpPr>
          <p:spPr bwMode="gray">
            <a:xfrm>
              <a:off x="3569596" y="4399226"/>
              <a:ext cx="82553" cy="73033"/>
            </a:xfrm>
            <a:custGeom>
              <a:avLst/>
              <a:gdLst>
                <a:gd name="T0" fmla="*/ 18 w 50"/>
                <a:gd name="T1" fmla="*/ 20 h 44"/>
                <a:gd name="T2" fmla="*/ 12 w 50"/>
                <a:gd name="T3" fmla="*/ 16 h 44"/>
                <a:gd name="T4" fmla="*/ 10 w 50"/>
                <a:gd name="T5" fmla="*/ 22 h 44"/>
                <a:gd name="T6" fmla="*/ 8 w 50"/>
                <a:gd name="T7" fmla="*/ 24 h 44"/>
                <a:gd name="T8" fmla="*/ 2 w 50"/>
                <a:gd name="T9" fmla="*/ 20 h 44"/>
                <a:gd name="T10" fmla="*/ 0 w 50"/>
                <a:gd name="T11" fmla="*/ 16 h 44"/>
                <a:gd name="T12" fmla="*/ 0 w 50"/>
                <a:gd name="T13" fmla="*/ 10 h 44"/>
                <a:gd name="T14" fmla="*/ 2 w 50"/>
                <a:gd name="T15" fmla="*/ 6 h 44"/>
                <a:gd name="T16" fmla="*/ 2 w 50"/>
                <a:gd name="T17" fmla="*/ 0 h 44"/>
                <a:gd name="T18" fmla="*/ 18 w 50"/>
                <a:gd name="T19" fmla="*/ 2 h 44"/>
                <a:gd name="T20" fmla="*/ 30 w 50"/>
                <a:gd name="T21" fmla="*/ 6 h 44"/>
                <a:gd name="T22" fmla="*/ 34 w 50"/>
                <a:gd name="T23" fmla="*/ 10 h 44"/>
                <a:gd name="T24" fmla="*/ 42 w 50"/>
                <a:gd name="T25" fmla="*/ 18 h 44"/>
                <a:gd name="T26" fmla="*/ 48 w 50"/>
                <a:gd name="T27" fmla="*/ 24 h 44"/>
                <a:gd name="T28" fmla="*/ 50 w 50"/>
                <a:gd name="T29" fmla="*/ 28 h 44"/>
                <a:gd name="T30" fmla="*/ 46 w 50"/>
                <a:gd name="T31" fmla="*/ 30 h 44"/>
                <a:gd name="T32" fmla="*/ 44 w 50"/>
                <a:gd name="T33" fmla="*/ 36 h 44"/>
                <a:gd name="T34" fmla="*/ 42 w 50"/>
                <a:gd name="T35" fmla="*/ 42 h 44"/>
                <a:gd name="T36" fmla="*/ 38 w 50"/>
                <a:gd name="T37" fmla="*/ 44 h 44"/>
                <a:gd name="T38" fmla="*/ 34 w 50"/>
                <a:gd name="T39" fmla="*/ 32 h 44"/>
                <a:gd name="T40" fmla="*/ 28 w 50"/>
                <a:gd name="T41" fmla="*/ 26 h 44"/>
                <a:gd name="T42" fmla="*/ 24 w 50"/>
                <a:gd name="T43" fmla="*/ 24 h 44"/>
                <a:gd name="T44" fmla="*/ 18 w 50"/>
                <a:gd name="T45"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0" h="44">
                  <a:moveTo>
                    <a:pt x="18" y="20"/>
                  </a:moveTo>
                  <a:lnTo>
                    <a:pt x="12" y="16"/>
                  </a:lnTo>
                  <a:lnTo>
                    <a:pt x="10" y="22"/>
                  </a:lnTo>
                  <a:lnTo>
                    <a:pt x="8" y="24"/>
                  </a:lnTo>
                  <a:lnTo>
                    <a:pt x="2" y="20"/>
                  </a:lnTo>
                  <a:lnTo>
                    <a:pt x="0" y="16"/>
                  </a:lnTo>
                  <a:lnTo>
                    <a:pt x="0" y="10"/>
                  </a:lnTo>
                  <a:lnTo>
                    <a:pt x="2" y="6"/>
                  </a:lnTo>
                  <a:lnTo>
                    <a:pt x="2" y="0"/>
                  </a:lnTo>
                  <a:lnTo>
                    <a:pt x="18" y="2"/>
                  </a:lnTo>
                  <a:lnTo>
                    <a:pt x="30" y="6"/>
                  </a:lnTo>
                  <a:lnTo>
                    <a:pt x="34" y="10"/>
                  </a:lnTo>
                  <a:lnTo>
                    <a:pt x="42" y="18"/>
                  </a:lnTo>
                  <a:lnTo>
                    <a:pt x="48" y="24"/>
                  </a:lnTo>
                  <a:lnTo>
                    <a:pt x="50" y="28"/>
                  </a:lnTo>
                  <a:lnTo>
                    <a:pt x="46" y="30"/>
                  </a:lnTo>
                  <a:lnTo>
                    <a:pt x="44" y="36"/>
                  </a:lnTo>
                  <a:lnTo>
                    <a:pt x="42" y="42"/>
                  </a:lnTo>
                  <a:lnTo>
                    <a:pt x="38" y="44"/>
                  </a:lnTo>
                  <a:lnTo>
                    <a:pt x="34" y="32"/>
                  </a:lnTo>
                  <a:lnTo>
                    <a:pt x="28" y="26"/>
                  </a:lnTo>
                  <a:lnTo>
                    <a:pt x="24" y="24"/>
                  </a:lnTo>
                  <a:lnTo>
                    <a:pt x="18" y="2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73" name="Freeform 65">
              <a:extLst>
                <a:ext uri="{FF2B5EF4-FFF2-40B4-BE49-F238E27FC236}">
                  <a16:creationId xmlns:a16="http://schemas.microsoft.com/office/drawing/2014/main" id="{CB3FE85D-0296-4F67-8B58-74B3BA7F306E}"/>
                </a:ext>
              </a:extLst>
            </p:cNvPr>
            <p:cNvSpPr>
              <a:spLocks/>
            </p:cNvSpPr>
            <p:nvPr/>
          </p:nvSpPr>
          <p:spPr bwMode="gray">
            <a:xfrm>
              <a:off x="3632337" y="4442381"/>
              <a:ext cx="168409" cy="63073"/>
            </a:xfrm>
            <a:custGeom>
              <a:avLst/>
              <a:gdLst>
                <a:gd name="T0" fmla="*/ 88 w 102"/>
                <a:gd name="T1" fmla="*/ 34 h 38"/>
                <a:gd name="T2" fmla="*/ 82 w 102"/>
                <a:gd name="T3" fmla="*/ 32 h 38"/>
                <a:gd name="T4" fmla="*/ 80 w 102"/>
                <a:gd name="T5" fmla="*/ 28 h 38"/>
                <a:gd name="T6" fmla="*/ 80 w 102"/>
                <a:gd name="T7" fmla="*/ 22 h 38"/>
                <a:gd name="T8" fmla="*/ 80 w 102"/>
                <a:gd name="T9" fmla="*/ 16 h 38"/>
                <a:gd name="T10" fmla="*/ 78 w 102"/>
                <a:gd name="T11" fmla="*/ 12 h 38"/>
                <a:gd name="T12" fmla="*/ 72 w 102"/>
                <a:gd name="T13" fmla="*/ 10 h 38"/>
                <a:gd name="T14" fmla="*/ 66 w 102"/>
                <a:gd name="T15" fmla="*/ 10 h 38"/>
                <a:gd name="T16" fmla="*/ 62 w 102"/>
                <a:gd name="T17" fmla="*/ 12 h 38"/>
                <a:gd name="T18" fmla="*/ 60 w 102"/>
                <a:gd name="T19" fmla="*/ 16 h 38"/>
                <a:gd name="T20" fmla="*/ 52 w 102"/>
                <a:gd name="T21" fmla="*/ 18 h 38"/>
                <a:gd name="T22" fmla="*/ 48 w 102"/>
                <a:gd name="T23" fmla="*/ 22 h 38"/>
                <a:gd name="T24" fmla="*/ 50 w 102"/>
                <a:gd name="T25" fmla="*/ 26 h 38"/>
                <a:gd name="T26" fmla="*/ 52 w 102"/>
                <a:gd name="T27" fmla="*/ 30 h 38"/>
                <a:gd name="T28" fmla="*/ 52 w 102"/>
                <a:gd name="T29" fmla="*/ 36 h 38"/>
                <a:gd name="T30" fmla="*/ 44 w 102"/>
                <a:gd name="T31" fmla="*/ 38 h 38"/>
                <a:gd name="T32" fmla="*/ 38 w 102"/>
                <a:gd name="T33" fmla="*/ 32 h 38"/>
                <a:gd name="T34" fmla="*/ 32 w 102"/>
                <a:gd name="T35" fmla="*/ 26 h 38"/>
                <a:gd name="T36" fmla="*/ 26 w 102"/>
                <a:gd name="T37" fmla="*/ 22 h 38"/>
                <a:gd name="T38" fmla="*/ 18 w 102"/>
                <a:gd name="T39" fmla="*/ 20 h 38"/>
                <a:gd name="T40" fmla="*/ 14 w 102"/>
                <a:gd name="T41" fmla="*/ 18 h 38"/>
                <a:gd name="T42" fmla="*/ 8 w 102"/>
                <a:gd name="T43" fmla="*/ 20 h 38"/>
                <a:gd name="T44" fmla="*/ 0 w 102"/>
                <a:gd name="T45" fmla="*/ 18 h 38"/>
                <a:gd name="T46" fmla="*/ 4 w 102"/>
                <a:gd name="T47" fmla="*/ 14 h 38"/>
                <a:gd name="T48" fmla="*/ 6 w 102"/>
                <a:gd name="T49" fmla="*/ 8 h 38"/>
                <a:gd name="T50" fmla="*/ 12 w 102"/>
                <a:gd name="T51" fmla="*/ 2 h 38"/>
                <a:gd name="T52" fmla="*/ 18 w 102"/>
                <a:gd name="T53" fmla="*/ 4 h 38"/>
                <a:gd name="T54" fmla="*/ 22 w 102"/>
                <a:gd name="T55" fmla="*/ 8 h 38"/>
                <a:gd name="T56" fmla="*/ 30 w 102"/>
                <a:gd name="T57" fmla="*/ 12 h 38"/>
                <a:gd name="T58" fmla="*/ 38 w 102"/>
                <a:gd name="T59" fmla="*/ 12 h 38"/>
                <a:gd name="T60" fmla="*/ 44 w 102"/>
                <a:gd name="T61" fmla="*/ 10 h 38"/>
                <a:gd name="T62" fmla="*/ 52 w 102"/>
                <a:gd name="T63" fmla="*/ 6 h 38"/>
                <a:gd name="T64" fmla="*/ 62 w 102"/>
                <a:gd name="T65" fmla="*/ 2 h 38"/>
                <a:gd name="T66" fmla="*/ 72 w 102"/>
                <a:gd name="T67" fmla="*/ 0 h 38"/>
                <a:gd name="T68" fmla="*/ 82 w 102"/>
                <a:gd name="T69" fmla="*/ 2 h 38"/>
                <a:gd name="T70" fmla="*/ 88 w 102"/>
                <a:gd name="T71" fmla="*/ 6 h 38"/>
                <a:gd name="T72" fmla="*/ 94 w 102"/>
                <a:gd name="T73" fmla="*/ 10 h 38"/>
                <a:gd name="T74" fmla="*/ 98 w 102"/>
                <a:gd name="T75" fmla="*/ 16 h 38"/>
                <a:gd name="T76" fmla="*/ 102 w 102"/>
                <a:gd name="T77" fmla="*/ 20 h 38"/>
                <a:gd name="T78" fmla="*/ 100 w 102"/>
                <a:gd name="T79" fmla="*/ 26 h 38"/>
                <a:gd name="T80" fmla="*/ 94 w 102"/>
                <a:gd name="T81" fmla="*/ 30 h 38"/>
                <a:gd name="T82" fmla="*/ 88 w 102"/>
                <a:gd name="T83" fmla="*/ 3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2" h="38">
                  <a:moveTo>
                    <a:pt x="88" y="34"/>
                  </a:moveTo>
                  <a:lnTo>
                    <a:pt x="82" y="32"/>
                  </a:lnTo>
                  <a:lnTo>
                    <a:pt x="80" y="28"/>
                  </a:lnTo>
                  <a:lnTo>
                    <a:pt x="80" y="22"/>
                  </a:lnTo>
                  <a:lnTo>
                    <a:pt x="80" y="16"/>
                  </a:lnTo>
                  <a:lnTo>
                    <a:pt x="78" y="12"/>
                  </a:lnTo>
                  <a:lnTo>
                    <a:pt x="72" y="10"/>
                  </a:lnTo>
                  <a:lnTo>
                    <a:pt x="66" y="10"/>
                  </a:lnTo>
                  <a:lnTo>
                    <a:pt x="62" y="12"/>
                  </a:lnTo>
                  <a:lnTo>
                    <a:pt x="60" y="16"/>
                  </a:lnTo>
                  <a:lnTo>
                    <a:pt x="52" y="18"/>
                  </a:lnTo>
                  <a:lnTo>
                    <a:pt x="48" y="22"/>
                  </a:lnTo>
                  <a:lnTo>
                    <a:pt x="50" y="26"/>
                  </a:lnTo>
                  <a:lnTo>
                    <a:pt x="52" y="30"/>
                  </a:lnTo>
                  <a:lnTo>
                    <a:pt x="52" y="36"/>
                  </a:lnTo>
                  <a:lnTo>
                    <a:pt x="44" y="38"/>
                  </a:lnTo>
                  <a:lnTo>
                    <a:pt x="38" y="32"/>
                  </a:lnTo>
                  <a:lnTo>
                    <a:pt x="32" y="26"/>
                  </a:lnTo>
                  <a:lnTo>
                    <a:pt x="26" y="22"/>
                  </a:lnTo>
                  <a:lnTo>
                    <a:pt x="18" y="20"/>
                  </a:lnTo>
                  <a:lnTo>
                    <a:pt x="14" y="18"/>
                  </a:lnTo>
                  <a:lnTo>
                    <a:pt x="8" y="20"/>
                  </a:lnTo>
                  <a:lnTo>
                    <a:pt x="0" y="18"/>
                  </a:lnTo>
                  <a:lnTo>
                    <a:pt x="4" y="14"/>
                  </a:lnTo>
                  <a:lnTo>
                    <a:pt x="6" y="8"/>
                  </a:lnTo>
                  <a:lnTo>
                    <a:pt x="12" y="2"/>
                  </a:lnTo>
                  <a:lnTo>
                    <a:pt x="18" y="4"/>
                  </a:lnTo>
                  <a:lnTo>
                    <a:pt x="22" y="8"/>
                  </a:lnTo>
                  <a:lnTo>
                    <a:pt x="30" y="12"/>
                  </a:lnTo>
                  <a:lnTo>
                    <a:pt x="38" y="12"/>
                  </a:lnTo>
                  <a:lnTo>
                    <a:pt x="44" y="10"/>
                  </a:lnTo>
                  <a:lnTo>
                    <a:pt x="52" y="6"/>
                  </a:lnTo>
                  <a:lnTo>
                    <a:pt x="62" y="2"/>
                  </a:lnTo>
                  <a:lnTo>
                    <a:pt x="72" y="0"/>
                  </a:lnTo>
                  <a:lnTo>
                    <a:pt x="82" y="2"/>
                  </a:lnTo>
                  <a:lnTo>
                    <a:pt x="88" y="6"/>
                  </a:lnTo>
                  <a:lnTo>
                    <a:pt x="94" y="10"/>
                  </a:lnTo>
                  <a:lnTo>
                    <a:pt x="98" y="16"/>
                  </a:lnTo>
                  <a:lnTo>
                    <a:pt x="102" y="20"/>
                  </a:lnTo>
                  <a:lnTo>
                    <a:pt x="100" y="26"/>
                  </a:lnTo>
                  <a:lnTo>
                    <a:pt x="94" y="30"/>
                  </a:lnTo>
                  <a:lnTo>
                    <a:pt x="88" y="3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74" name="Freeform 66">
              <a:extLst>
                <a:ext uri="{FF2B5EF4-FFF2-40B4-BE49-F238E27FC236}">
                  <a16:creationId xmlns:a16="http://schemas.microsoft.com/office/drawing/2014/main" id="{73BF7B22-6FB0-439F-9FAD-B18B885BC174}"/>
                </a:ext>
              </a:extLst>
            </p:cNvPr>
            <p:cNvSpPr>
              <a:spLocks/>
            </p:cNvSpPr>
            <p:nvPr/>
          </p:nvSpPr>
          <p:spPr bwMode="gray">
            <a:xfrm>
              <a:off x="3596014" y="4073898"/>
              <a:ext cx="274078" cy="92950"/>
            </a:xfrm>
            <a:custGeom>
              <a:avLst/>
              <a:gdLst>
                <a:gd name="T0" fmla="*/ 148 w 166"/>
                <a:gd name="T1" fmla="*/ 56 h 56"/>
                <a:gd name="T2" fmla="*/ 140 w 166"/>
                <a:gd name="T3" fmla="*/ 52 h 56"/>
                <a:gd name="T4" fmla="*/ 130 w 166"/>
                <a:gd name="T5" fmla="*/ 52 h 56"/>
                <a:gd name="T6" fmla="*/ 124 w 166"/>
                <a:gd name="T7" fmla="*/ 56 h 56"/>
                <a:gd name="T8" fmla="*/ 116 w 166"/>
                <a:gd name="T9" fmla="*/ 54 h 56"/>
                <a:gd name="T10" fmla="*/ 118 w 166"/>
                <a:gd name="T11" fmla="*/ 46 h 56"/>
                <a:gd name="T12" fmla="*/ 116 w 166"/>
                <a:gd name="T13" fmla="*/ 40 h 56"/>
                <a:gd name="T14" fmla="*/ 104 w 166"/>
                <a:gd name="T15" fmla="*/ 40 h 56"/>
                <a:gd name="T16" fmla="*/ 100 w 166"/>
                <a:gd name="T17" fmla="*/ 32 h 56"/>
                <a:gd name="T18" fmla="*/ 94 w 166"/>
                <a:gd name="T19" fmla="*/ 30 h 56"/>
                <a:gd name="T20" fmla="*/ 80 w 166"/>
                <a:gd name="T21" fmla="*/ 26 h 56"/>
                <a:gd name="T22" fmla="*/ 76 w 166"/>
                <a:gd name="T23" fmla="*/ 22 h 56"/>
                <a:gd name="T24" fmla="*/ 62 w 166"/>
                <a:gd name="T25" fmla="*/ 18 h 56"/>
                <a:gd name="T26" fmla="*/ 48 w 166"/>
                <a:gd name="T27" fmla="*/ 16 h 56"/>
                <a:gd name="T28" fmla="*/ 44 w 166"/>
                <a:gd name="T29" fmla="*/ 12 h 56"/>
                <a:gd name="T30" fmla="*/ 34 w 166"/>
                <a:gd name="T31" fmla="*/ 10 h 56"/>
                <a:gd name="T32" fmla="*/ 28 w 166"/>
                <a:gd name="T33" fmla="*/ 14 h 56"/>
                <a:gd name="T34" fmla="*/ 20 w 166"/>
                <a:gd name="T35" fmla="*/ 18 h 56"/>
                <a:gd name="T36" fmla="*/ 12 w 166"/>
                <a:gd name="T37" fmla="*/ 22 h 56"/>
                <a:gd name="T38" fmla="*/ 0 w 166"/>
                <a:gd name="T39" fmla="*/ 22 h 56"/>
                <a:gd name="T40" fmla="*/ 2 w 166"/>
                <a:gd name="T41" fmla="*/ 16 h 56"/>
                <a:gd name="T42" fmla="*/ 10 w 166"/>
                <a:gd name="T43" fmla="*/ 6 h 56"/>
                <a:gd name="T44" fmla="*/ 26 w 166"/>
                <a:gd name="T45" fmla="*/ 2 h 56"/>
                <a:gd name="T46" fmla="*/ 40 w 166"/>
                <a:gd name="T47" fmla="*/ 0 h 56"/>
                <a:gd name="T48" fmla="*/ 58 w 166"/>
                <a:gd name="T49" fmla="*/ 0 h 56"/>
                <a:gd name="T50" fmla="*/ 74 w 166"/>
                <a:gd name="T51" fmla="*/ 4 h 56"/>
                <a:gd name="T52" fmla="*/ 88 w 166"/>
                <a:gd name="T53" fmla="*/ 10 h 56"/>
                <a:gd name="T54" fmla="*/ 104 w 166"/>
                <a:gd name="T55" fmla="*/ 14 h 56"/>
                <a:gd name="T56" fmla="*/ 110 w 166"/>
                <a:gd name="T57" fmla="*/ 20 h 56"/>
                <a:gd name="T58" fmla="*/ 116 w 166"/>
                <a:gd name="T59" fmla="*/ 24 h 56"/>
                <a:gd name="T60" fmla="*/ 130 w 166"/>
                <a:gd name="T61" fmla="*/ 30 h 56"/>
                <a:gd name="T62" fmla="*/ 142 w 166"/>
                <a:gd name="T63" fmla="*/ 34 h 56"/>
                <a:gd name="T64" fmla="*/ 154 w 166"/>
                <a:gd name="T65" fmla="*/ 40 h 56"/>
                <a:gd name="T66" fmla="*/ 166 w 166"/>
                <a:gd name="T67" fmla="*/ 46 h 56"/>
                <a:gd name="T68" fmla="*/ 160 w 166"/>
                <a:gd name="T69" fmla="*/ 50 h 56"/>
                <a:gd name="T70" fmla="*/ 152 w 166"/>
                <a:gd name="T71" fmla="*/ 52 h 56"/>
                <a:gd name="T72" fmla="*/ 150 w 166"/>
                <a:gd name="T73" fmla="*/ 56 h 56"/>
                <a:gd name="T74" fmla="*/ 148 w 166"/>
                <a:gd name="T75"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6" h="56">
                  <a:moveTo>
                    <a:pt x="148" y="56"/>
                  </a:moveTo>
                  <a:lnTo>
                    <a:pt x="140" y="52"/>
                  </a:lnTo>
                  <a:lnTo>
                    <a:pt x="130" y="52"/>
                  </a:lnTo>
                  <a:lnTo>
                    <a:pt x="124" y="56"/>
                  </a:lnTo>
                  <a:lnTo>
                    <a:pt x="116" y="54"/>
                  </a:lnTo>
                  <a:lnTo>
                    <a:pt x="118" y="46"/>
                  </a:lnTo>
                  <a:lnTo>
                    <a:pt x="116" y="40"/>
                  </a:lnTo>
                  <a:lnTo>
                    <a:pt x="104" y="40"/>
                  </a:lnTo>
                  <a:lnTo>
                    <a:pt x="100" y="32"/>
                  </a:lnTo>
                  <a:lnTo>
                    <a:pt x="94" y="30"/>
                  </a:lnTo>
                  <a:lnTo>
                    <a:pt x="80" y="26"/>
                  </a:lnTo>
                  <a:lnTo>
                    <a:pt x="76" y="22"/>
                  </a:lnTo>
                  <a:lnTo>
                    <a:pt x="62" y="18"/>
                  </a:lnTo>
                  <a:lnTo>
                    <a:pt x="48" y="16"/>
                  </a:lnTo>
                  <a:lnTo>
                    <a:pt x="44" y="12"/>
                  </a:lnTo>
                  <a:lnTo>
                    <a:pt x="34" y="10"/>
                  </a:lnTo>
                  <a:lnTo>
                    <a:pt x="28" y="14"/>
                  </a:lnTo>
                  <a:lnTo>
                    <a:pt x="20" y="18"/>
                  </a:lnTo>
                  <a:lnTo>
                    <a:pt x="12" y="22"/>
                  </a:lnTo>
                  <a:lnTo>
                    <a:pt x="0" y="22"/>
                  </a:lnTo>
                  <a:lnTo>
                    <a:pt x="2" y="16"/>
                  </a:lnTo>
                  <a:lnTo>
                    <a:pt x="10" y="6"/>
                  </a:lnTo>
                  <a:lnTo>
                    <a:pt x="26" y="2"/>
                  </a:lnTo>
                  <a:lnTo>
                    <a:pt x="40" y="0"/>
                  </a:lnTo>
                  <a:lnTo>
                    <a:pt x="58" y="0"/>
                  </a:lnTo>
                  <a:lnTo>
                    <a:pt x="74" y="4"/>
                  </a:lnTo>
                  <a:lnTo>
                    <a:pt x="88" y="10"/>
                  </a:lnTo>
                  <a:lnTo>
                    <a:pt x="104" y="14"/>
                  </a:lnTo>
                  <a:lnTo>
                    <a:pt x="110" y="20"/>
                  </a:lnTo>
                  <a:lnTo>
                    <a:pt x="116" y="24"/>
                  </a:lnTo>
                  <a:lnTo>
                    <a:pt x="130" y="30"/>
                  </a:lnTo>
                  <a:lnTo>
                    <a:pt x="142" y="34"/>
                  </a:lnTo>
                  <a:lnTo>
                    <a:pt x="154" y="40"/>
                  </a:lnTo>
                  <a:lnTo>
                    <a:pt x="166" y="46"/>
                  </a:lnTo>
                  <a:lnTo>
                    <a:pt x="160" y="50"/>
                  </a:lnTo>
                  <a:lnTo>
                    <a:pt x="152" y="52"/>
                  </a:lnTo>
                  <a:lnTo>
                    <a:pt x="150" y="56"/>
                  </a:lnTo>
                  <a:lnTo>
                    <a:pt x="148" y="5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75" name="Freeform 67">
              <a:extLst>
                <a:ext uri="{FF2B5EF4-FFF2-40B4-BE49-F238E27FC236}">
                  <a16:creationId xmlns:a16="http://schemas.microsoft.com/office/drawing/2014/main" id="{66896519-6D3A-4262-AA88-2F2F1844BDA5}"/>
                </a:ext>
              </a:extLst>
            </p:cNvPr>
            <p:cNvSpPr>
              <a:spLocks/>
            </p:cNvSpPr>
            <p:nvPr/>
          </p:nvSpPr>
          <p:spPr bwMode="gray">
            <a:xfrm>
              <a:off x="3870091" y="4160210"/>
              <a:ext cx="72648" cy="49794"/>
            </a:xfrm>
            <a:custGeom>
              <a:avLst/>
              <a:gdLst>
                <a:gd name="T0" fmla="*/ 0 w 44"/>
                <a:gd name="T1" fmla="*/ 28 h 30"/>
                <a:gd name="T2" fmla="*/ 16 w 44"/>
                <a:gd name="T3" fmla="*/ 30 h 30"/>
                <a:gd name="T4" fmla="*/ 32 w 44"/>
                <a:gd name="T5" fmla="*/ 30 h 30"/>
                <a:gd name="T6" fmla="*/ 40 w 44"/>
                <a:gd name="T7" fmla="*/ 30 h 30"/>
                <a:gd name="T8" fmla="*/ 40 w 44"/>
                <a:gd name="T9" fmla="*/ 24 h 30"/>
                <a:gd name="T10" fmla="*/ 36 w 44"/>
                <a:gd name="T11" fmla="*/ 20 h 30"/>
                <a:gd name="T12" fmla="*/ 42 w 44"/>
                <a:gd name="T13" fmla="*/ 18 h 30"/>
                <a:gd name="T14" fmla="*/ 44 w 44"/>
                <a:gd name="T15" fmla="*/ 14 h 30"/>
                <a:gd name="T16" fmla="*/ 42 w 44"/>
                <a:gd name="T17" fmla="*/ 4 h 30"/>
                <a:gd name="T18" fmla="*/ 32 w 44"/>
                <a:gd name="T19" fmla="*/ 2 h 30"/>
                <a:gd name="T20" fmla="*/ 24 w 44"/>
                <a:gd name="T21" fmla="*/ 0 h 30"/>
                <a:gd name="T22" fmla="*/ 16 w 44"/>
                <a:gd name="T23" fmla="*/ 2 h 30"/>
                <a:gd name="T24" fmla="*/ 22 w 44"/>
                <a:gd name="T25" fmla="*/ 6 h 30"/>
                <a:gd name="T26" fmla="*/ 28 w 44"/>
                <a:gd name="T27" fmla="*/ 14 h 30"/>
                <a:gd name="T28" fmla="*/ 28 w 44"/>
                <a:gd name="T29" fmla="*/ 20 h 30"/>
                <a:gd name="T30" fmla="*/ 20 w 44"/>
                <a:gd name="T31" fmla="*/ 20 h 30"/>
                <a:gd name="T32" fmla="*/ 14 w 44"/>
                <a:gd name="T33" fmla="*/ 18 h 30"/>
                <a:gd name="T34" fmla="*/ 6 w 44"/>
                <a:gd name="T35" fmla="*/ 20 h 30"/>
                <a:gd name="T36" fmla="*/ 0 w 44"/>
                <a:gd name="T37" fmla="*/ 20 h 30"/>
                <a:gd name="T38" fmla="*/ 0 w 44"/>
                <a:gd name="T39" fmla="*/ 2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 h="30">
                  <a:moveTo>
                    <a:pt x="0" y="28"/>
                  </a:moveTo>
                  <a:lnTo>
                    <a:pt x="16" y="30"/>
                  </a:lnTo>
                  <a:lnTo>
                    <a:pt x="32" y="30"/>
                  </a:lnTo>
                  <a:lnTo>
                    <a:pt x="40" y="30"/>
                  </a:lnTo>
                  <a:lnTo>
                    <a:pt x="40" y="24"/>
                  </a:lnTo>
                  <a:lnTo>
                    <a:pt x="36" y="20"/>
                  </a:lnTo>
                  <a:lnTo>
                    <a:pt x="42" y="18"/>
                  </a:lnTo>
                  <a:lnTo>
                    <a:pt x="44" y="14"/>
                  </a:lnTo>
                  <a:lnTo>
                    <a:pt x="42" y="4"/>
                  </a:lnTo>
                  <a:lnTo>
                    <a:pt x="32" y="2"/>
                  </a:lnTo>
                  <a:lnTo>
                    <a:pt x="24" y="0"/>
                  </a:lnTo>
                  <a:lnTo>
                    <a:pt x="16" y="2"/>
                  </a:lnTo>
                  <a:lnTo>
                    <a:pt x="22" y="6"/>
                  </a:lnTo>
                  <a:lnTo>
                    <a:pt x="28" y="14"/>
                  </a:lnTo>
                  <a:lnTo>
                    <a:pt x="28" y="20"/>
                  </a:lnTo>
                  <a:lnTo>
                    <a:pt x="20" y="20"/>
                  </a:lnTo>
                  <a:lnTo>
                    <a:pt x="14" y="18"/>
                  </a:lnTo>
                  <a:lnTo>
                    <a:pt x="6" y="20"/>
                  </a:lnTo>
                  <a:lnTo>
                    <a:pt x="0" y="20"/>
                  </a:lnTo>
                  <a:lnTo>
                    <a:pt x="0" y="2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76" name="Freeform 68">
              <a:extLst>
                <a:ext uri="{FF2B5EF4-FFF2-40B4-BE49-F238E27FC236}">
                  <a16:creationId xmlns:a16="http://schemas.microsoft.com/office/drawing/2014/main" id="{9DEBE63A-CA43-4920-BA84-A32E61434687}"/>
                </a:ext>
              </a:extLst>
            </p:cNvPr>
            <p:cNvSpPr>
              <a:spLocks/>
            </p:cNvSpPr>
            <p:nvPr/>
          </p:nvSpPr>
          <p:spPr bwMode="gray">
            <a:xfrm>
              <a:off x="3767725" y="4196726"/>
              <a:ext cx="52834" cy="29876"/>
            </a:xfrm>
            <a:custGeom>
              <a:avLst/>
              <a:gdLst>
                <a:gd name="T0" fmla="*/ 0 w 32"/>
                <a:gd name="T1" fmla="*/ 6 h 18"/>
                <a:gd name="T2" fmla="*/ 6 w 32"/>
                <a:gd name="T3" fmla="*/ 0 h 18"/>
                <a:gd name="T4" fmla="*/ 14 w 32"/>
                <a:gd name="T5" fmla="*/ 0 h 18"/>
                <a:gd name="T6" fmla="*/ 20 w 32"/>
                <a:gd name="T7" fmla="*/ 2 h 18"/>
                <a:gd name="T8" fmla="*/ 28 w 32"/>
                <a:gd name="T9" fmla="*/ 6 h 18"/>
                <a:gd name="T10" fmla="*/ 32 w 32"/>
                <a:gd name="T11" fmla="*/ 10 h 18"/>
                <a:gd name="T12" fmla="*/ 24 w 32"/>
                <a:gd name="T13" fmla="*/ 14 h 18"/>
                <a:gd name="T14" fmla="*/ 18 w 32"/>
                <a:gd name="T15" fmla="*/ 14 h 18"/>
                <a:gd name="T16" fmla="*/ 14 w 32"/>
                <a:gd name="T17" fmla="*/ 18 h 18"/>
                <a:gd name="T18" fmla="*/ 10 w 32"/>
                <a:gd name="T19" fmla="*/ 12 h 18"/>
                <a:gd name="T20" fmla="*/ 6 w 32"/>
                <a:gd name="T21" fmla="*/ 8 h 18"/>
                <a:gd name="T22" fmla="*/ 0 w 32"/>
                <a:gd name="T23" fmla="*/ 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18">
                  <a:moveTo>
                    <a:pt x="0" y="6"/>
                  </a:moveTo>
                  <a:lnTo>
                    <a:pt x="6" y="0"/>
                  </a:lnTo>
                  <a:lnTo>
                    <a:pt x="14" y="0"/>
                  </a:lnTo>
                  <a:lnTo>
                    <a:pt x="20" y="2"/>
                  </a:lnTo>
                  <a:lnTo>
                    <a:pt x="28" y="6"/>
                  </a:lnTo>
                  <a:lnTo>
                    <a:pt x="32" y="10"/>
                  </a:lnTo>
                  <a:lnTo>
                    <a:pt x="24" y="14"/>
                  </a:lnTo>
                  <a:lnTo>
                    <a:pt x="18" y="14"/>
                  </a:lnTo>
                  <a:lnTo>
                    <a:pt x="14" y="18"/>
                  </a:lnTo>
                  <a:lnTo>
                    <a:pt x="10" y="12"/>
                  </a:lnTo>
                  <a:lnTo>
                    <a:pt x="6" y="8"/>
                  </a:lnTo>
                  <a:lnTo>
                    <a:pt x="0" y="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77" name="Freeform 69">
              <a:extLst>
                <a:ext uri="{FF2B5EF4-FFF2-40B4-BE49-F238E27FC236}">
                  <a16:creationId xmlns:a16="http://schemas.microsoft.com/office/drawing/2014/main" id="{9CBBE023-F945-4859-8286-C1E4CEFAFEDF}"/>
                </a:ext>
              </a:extLst>
            </p:cNvPr>
            <p:cNvSpPr>
              <a:spLocks/>
            </p:cNvSpPr>
            <p:nvPr/>
          </p:nvSpPr>
          <p:spPr bwMode="gray">
            <a:xfrm>
              <a:off x="3929530" y="4166850"/>
              <a:ext cx="95762" cy="59754"/>
            </a:xfrm>
            <a:custGeom>
              <a:avLst/>
              <a:gdLst>
                <a:gd name="T0" fmla="*/ 6 w 58"/>
                <a:gd name="T1" fmla="*/ 0 h 36"/>
                <a:gd name="T2" fmla="*/ 16 w 58"/>
                <a:gd name="T3" fmla="*/ 2 h 36"/>
                <a:gd name="T4" fmla="*/ 24 w 58"/>
                <a:gd name="T5" fmla="*/ 2 h 36"/>
                <a:gd name="T6" fmla="*/ 34 w 58"/>
                <a:gd name="T7" fmla="*/ 4 h 36"/>
                <a:gd name="T8" fmla="*/ 40 w 58"/>
                <a:gd name="T9" fmla="*/ 6 h 36"/>
                <a:gd name="T10" fmla="*/ 46 w 58"/>
                <a:gd name="T11" fmla="*/ 10 h 36"/>
                <a:gd name="T12" fmla="*/ 56 w 58"/>
                <a:gd name="T13" fmla="*/ 16 h 36"/>
                <a:gd name="T14" fmla="*/ 58 w 58"/>
                <a:gd name="T15" fmla="*/ 20 h 36"/>
                <a:gd name="T16" fmla="*/ 54 w 58"/>
                <a:gd name="T17" fmla="*/ 24 h 36"/>
                <a:gd name="T18" fmla="*/ 44 w 58"/>
                <a:gd name="T19" fmla="*/ 22 h 36"/>
                <a:gd name="T20" fmla="*/ 38 w 58"/>
                <a:gd name="T21" fmla="*/ 22 h 36"/>
                <a:gd name="T22" fmla="*/ 30 w 58"/>
                <a:gd name="T23" fmla="*/ 24 h 36"/>
                <a:gd name="T24" fmla="*/ 24 w 58"/>
                <a:gd name="T25" fmla="*/ 24 h 36"/>
                <a:gd name="T26" fmla="*/ 20 w 58"/>
                <a:gd name="T27" fmla="*/ 20 h 36"/>
                <a:gd name="T28" fmla="*/ 14 w 58"/>
                <a:gd name="T29" fmla="*/ 22 h 36"/>
                <a:gd name="T30" fmla="*/ 12 w 58"/>
                <a:gd name="T31" fmla="*/ 28 h 36"/>
                <a:gd name="T32" fmla="*/ 12 w 58"/>
                <a:gd name="T33" fmla="*/ 34 h 36"/>
                <a:gd name="T34" fmla="*/ 8 w 58"/>
                <a:gd name="T35" fmla="*/ 36 h 36"/>
                <a:gd name="T36" fmla="*/ 4 w 58"/>
                <a:gd name="T37" fmla="*/ 30 h 36"/>
                <a:gd name="T38" fmla="*/ 4 w 58"/>
                <a:gd name="T39" fmla="*/ 26 h 36"/>
                <a:gd name="T40" fmla="*/ 4 w 58"/>
                <a:gd name="T41" fmla="*/ 20 h 36"/>
                <a:gd name="T42" fmla="*/ 0 w 58"/>
                <a:gd name="T43" fmla="*/ 16 h 36"/>
                <a:gd name="T44" fmla="*/ 6 w 58"/>
                <a:gd name="T45" fmla="*/ 14 h 36"/>
                <a:gd name="T46" fmla="*/ 8 w 58"/>
                <a:gd name="T47" fmla="*/ 10 h 36"/>
                <a:gd name="T48" fmla="*/ 6 w 58"/>
                <a:gd name="T4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8" h="36">
                  <a:moveTo>
                    <a:pt x="6" y="0"/>
                  </a:moveTo>
                  <a:lnTo>
                    <a:pt x="16" y="2"/>
                  </a:lnTo>
                  <a:lnTo>
                    <a:pt x="24" y="2"/>
                  </a:lnTo>
                  <a:lnTo>
                    <a:pt x="34" y="4"/>
                  </a:lnTo>
                  <a:lnTo>
                    <a:pt x="40" y="6"/>
                  </a:lnTo>
                  <a:lnTo>
                    <a:pt x="46" y="10"/>
                  </a:lnTo>
                  <a:lnTo>
                    <a:pt x="56" y="16"/>
                  </a:lnTo>
                  <a:lnTo>
                    <a:pt x="58" y="20"/>
                  </a:lnTo>
                  <a:lnTo>
                    <a:pt x="54" y="24"/>
                  </a:lnTo>
                  <a:lnTo>
                    <a:pt x="44" y="22"/>
                  </a:lnTo>
                  <a:lnTo>
                    <a:pt x="38" y="22"/>
                  </a:lnTo>
                  <a:lnTo>
                    <a:pt x="30" y="24"/>
                  </a:lnTo>
                  <a:lnTo>
                    <a:pt x="24" y="24"/>
                  </a:lnTo>
                  <a:lnTo>
                    <a:pt x="20" y="20"/>
                  </a:lnTo>
                  <a:lnTo>
                    <a:pt x="14" y="22"/>
                  </a:lnTo>
                  <a:lnTo>
                    <a:pt x="12" y="28"/>
                  </a:lnTo>
                  <a:lnTo>
                    <a:pt x="12" y="34"/>
                  </a:lnTo>
                  <a:lnTo>
                    <a:pt x="8" y="36"/>
                  </a:lnTo>
                  <a:lnTo>
                    <a:pt x="4" y="30"/>
                  </a:lnTo>
                  <a:lnTo>
                    <a:pt x="4" y="26"/>
                  </a:lnTo>
                  <a:lnTo>
                    <a:pt x="4" y="20"/>
                  </a:lnTo>
                  <a:lnTo>
                    <a:pt x="0" y="16"/>
                  </a:lnTo>
                  <a:lnTo>
                    <a:pt x="6" y="14"/>
                  </a:lnTo>
                  <a:lnTo>
                    <a:pt x="8" y="10"/>
                  </a:lnTo>
                  <a:lnTo>
                    <a:pt x="6"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78" name="Freeform 70">
              <a:extLst>
                <a:ext uri="{FF2B5EF4-FFF2-40B4-BE49-F238E27FC236}">
                  <a16:creationId xmlns:a16="http://schemas.microsoft.com/office/drawing/2014/main" id="{974ABD61-9F8A-4A5D-9D44-F17E89ADA77A}"/>
                </a:ext>
              </a:extLst>
            </p:cNvPr>
            <p:cNvSpPr>
              <a:spLocks/>
            </p:cNvSpPr>
            <p:nvPr/>
          </p:nvSpPr>
          <p:spPr bwMode="gray">
            <a:xfrm>
              <a:off x="4055011" y="4200045"/>
              <a:ext cx="42928" cy="16599"/>
            </a:xfrm>
            <a:custGeom>
              <a:avLst/>
              <a:gdLst>
                <a:gd name="T0" fmla="*/ 18 w 26"/>
                <a:gd name="T1" fmla="*/ 0 h 10"/>
                <a:gd name="T2" fmla="*/ 8 w 26"/>
                <a:gd name="T3" fmla="*/ 0 h 10"/>
                <a:gd name="T4" fmla="*/ 0 w 26"/>
                <a:gd name="T5" fmla="*/ 4 h 10"/>
                <a:gd name="T6" fmla="*/ 4 w 26"/>
                <a:gd name="T7" fmla="*/ 10 h 10"/>
                <a:gd name="T8" fmla="*/ 12 w 26"/>
                <a:gd name="T9" fmla="*/ 10 h 10"/>
                <a:gd name="T10" fmla="*/ 22 w 26"/>
                <a:gd name="T11" fmla="*/ 10 h 10"/>
                <a:gd name="T12" fmla="*/ 26 w 26"/>
                <a:gd name="T13" fmla="*/ 8 h 10"/>
                <a:gd name="T14" fmla="*/ 26 w 26"/>
                <a:gd name="T15" fmla="*/ 4 h 10"/>
                <a:gd name="T16" fmla="*/ 22 w 26"/>
                <a:gd name="T17" fmla="*/ 0 h 10"/>
                <a:gd name="T18" fmla="*/ 18 w 26"/>
                <a:gd name="T1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0">
                  <a:moveTo>
                    <a:pt x="18" y="0"/>
                  </a:moveTo>
                  <a:lnTo>
                    <a:pt x="8" y="0"/>
                  </a:lnTo>
                  <a:lnTo>
                    <a:pt x="0" y="4"/>
                  </a:lnTo>
                  <a:lnTo>
                    <a:pt x="4" y="10"/>
                  </a:lnTo>
                  <a:lnTo>
                    <a:pt x="12" y="10"/>
                  </a:lnTo>
                  <a:lnTo>
                    <a:pt x="22" y="10"/>
                  </a:lnTo>
                  <a:lnTo>
                    <a:pt x="26" y="8"/>
                  </a:lnTo>
                  <a:lnTo>
                    <a:pt x="26" y="4"/>
                  </a:lnTo>
                  <a:lnTo>
                    <a:pt x="22" y="0"/>
                  </a:lnTo>
                  <a:lnTo>
                    <a:pt x="18"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79" name="Freeform 71">
              <a:extLst>
                <a:ext uri="{FF2B5EF4-FFF2-40B4-BE49-F238E27FC236}">
                  <a16:creationId xmlns:a16="http://schemas.microsoft.com/office/drawing/2014/main" id="{5D31D364-A674-49EE-BA9D-A58CDFA7145C}"/>
                </a:ext>
              </a:extLst>
            </p:cNvPr>
            <p:cNvSpPr>
              <a:spLocks/>
            </p:cNvSpPr>
            <p:nvPr/>
          </p:nvSpPr>
          <p:spPr bwMode="gray">
            <a:xfrm>
              <a:off x="3764423" y="4017466"/>
              <a:ext cx="19813" cy="26557"/>
            </a:xfrm>
            <a:custGeom>
              <a:avLst/>
              <a:gdLst>
                <a:gd name="T0" fmla="*/ 8 w 12"/>
                <a:gd name="T1" fmla="*/ 4 h 16"/>
                <a:gd name="T2" fmla="*/ 2 w 12"/>
                <a:gd name="T3" fmla="*/ 0 h 16"/>
                <a:gd name="T4" fmla="*/ 0 w 12"/>
                <a:gd name="T5" fmla="*/ 8 h 16"/>
                <a:gd name="T6" fmla="*/ 6 w 12"/>
                <a:gd name="T7" fmla="*/ 12 h 16"/>
                <a:gd name="T8" fmla="*/ 10 w 12"/>
                <a:gd name="T9" fmla="*/ 16 h 16"/>
                <a:gd name="T10" fmla="*/ 12 w 12"/>
                <a:gd name="T11" fmla="*/ 10 h 16"/>
                <a:gd name="T12" fmla="*/ 8 w 12"/>
                <a:gd name="T13" fmla="*/ 4 h 16"/>
              </a:gdLst>
              <a:ahLst/>
              <a:cxnLst>
                <a:cxn ang="0">
                  <a:pos x="T0" y="T1"/>
                </a:cxn>
                <a:cxn ang="0">
                  <a:pos x="T2" y="T3"/>
                </a:cxn>
                <a:cxn ang="0">
                  <a:pos x="T4" y="T5"/>
                </a:cxn>
                <a:cxn ang="0">
                  <a:pos x="T6" y="T7"/>
                </a:cxn>
                <a:cxn ang="0">
                  <a:pos x="T8" y="T9"/>
                </a:cxn>
                <a:cxn ang="0">
                  <a:pos x="T10" y="T11"/>
                </a:cxn>
                <a:cxn ang="0">
                  <a:pos x="T12" y="T13"/>
                </a:cxn>
              </a:cxnLst>
              <a:rect l="0" t="0" r="r" b="b"/>
              <a:pathLst>
                <a:path w="12" h="16">
                  <a:moveTo>
                    <a:pt x="8" y="4"/>
                  </a:moveTo>
                  <a:lnTo>
                    <a:pt x="2" y="0"/>
                  </a:lnTo>
                  <a:lnTo>
                    <a:pt x="0" y="8"/>
                  </a:lnTo>
                  <a:lnTo>
                    <a:pt x="6" y="12"/>
                  </a:lnTo>
                  <a:lnTo>
                    <a:pt x="10" y="16"/>
                  </a:lnTo>
                  <a:lnTo>
                    <a:pt x="12" y="10"/>
                  </a:lnTo>
                  <a:lnTo>
                    <a:pt x="8" y="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80" name="Freeform 72">
              <a:extLst>
                <a:ext uri="{FF2B5EF4-FFF2-40B4-BE49-F238E27FC236}">
                  <a16:creationId xmlns:a16="http://schemas.microsoft.com/office/drawing/2014/main" id="{6618E5CE-E12F-4981-957E-744C0017C6F2}"/>
                </a:ext>
              </a:extLst>
            </p:cNvPr>
            <p:cNvSpPr>
              <a:spLocks/>
            </p:cNvSpPr>
            <p:nvPr/>
          </p:nvSpPr>
          <p:spPr bwMode="gray">
            <a:xfrm>
              <a:off x="4114449" y="3805006"/>
              <a:ext cx="19813" cy="13279"/>
            </a:xfrm>
            <a:custGeom>
              <a:avLst/>
              <a:gdLst>
                <a:gd name="T0" fmla="*/ 6 w 12"/>
                <a:gd name="T1" fmla="*/ 0 h 8"/>
                <a:gd name="T2" fmla="*/ 2 w 12"/>
                <a:gd name="T3" fmla="*/ 2 h 8"/>
                <a:gd name="T4" fmla="*/ 0 w 12"/>
                <a:gd name="T5" fmla="*/ 8 h 8"/>
                <a:gd name="T6" fmla="*/ 8 w 12"/>
                <a:gd name="T7" fmla="*/ 8 h 8"/>
                <a:gd name="T8" fmla="*/ 12 w 12"/>
                <a:gd name="T9" fmla="*/ 8 h 8"/>
                <a:gd name="T10" fmla="*/ 6 w 12"/>
                <a:gd name="T11" fmla="*/ 0 h 8"/>
              </a:gdLst>
              <a:ahLst/>
              <a:cxnLst>
                <a:cxn ang="0">
                  <a:pos x="T0" y="T1"/>
                </a:cxn>
                <a:cxn ang="0">
                  <a:pos x="T2" y="T3"/>
                </a:cxn>
                <a:cxn ang="0">
                  <a:pos x="T4" y="T5"/>
                </a:cxn>
                <a:cxn ang="0">
                  <a:pos x="T6" y="T7"/>
                </a:cxn>
                <a:cxn ang="0">
                  <a:pos x="T8" y="T9"/>
                </a:cxn>
                <a:cxn ang="0">
                  <a:pos x="T10" y="T11"/>
                </a:cxn>
              </a:cxnLst>
              <a:rect l="0" t="0" r="r" b="b"/>
              <a:pathLst>
                <a:path w="12" h="8">
                  <a:moveTo>
                    <a:pt x="6" y="0"/>
                  </a:moveTo>
                  <a:lnTo>
                    <a:pt x="2" y="2"/>
                  </a:lnTo>
                  <a:lnTo>
                    <a:pt x="0" y="8"/>
                  </a:lnTo>
                  <a:lnTo>
                    <a:pt x="8" y="8"/>
                  </a:lnTo>
                  <a:lnTo>
                    <a:pt x="12" y="8"/>
                  </a:lnTo>
                  <a:lnTo>
                    <a:pt x="6"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81" name="Freeform 73">
              <a:extLst>
                <a:ext uri="{FF2B5EF4-FFF2-40B4-BE49-F238E27FC236}">
                  <a16:creationId xmlns:a16="http://schemas.microsoft.com/office/drawing/2014/main" id="{72C6F6E6-BAF8-42BB-B475-DB4803C6D38D}"/>
                </a:ext>
              </a:extLst>
            </p:cNvPr>
            <p:cNvSpPr>
              <a:spLocks/>
            </p:cNvSpPr>
            <p:nvPr/>
          </p:nvSpPr>
          <p:spPr bwMode="gray">
            <a:xfrm>
              <a:off x="3754517" y="4366029"/>
              <a:ext cx="307100" cy="441514"/>
            </a:xfrm>
            <a:custGeom>
              <a:avLst/>
              <a:gdLst>
                <a:gd name="T0" fmla="*/ 30 w 186"/>
                <a:gd name="T1" fmla="*/ 72 h 266"/>
                <a:gd name="T2" fmla="*/ 34 w 186"/>
                <a:gd name="T3" fmla="*/ 58 h 266"/>
                <a:gd name="T4" fmla="*/ 50 w 186"/>
                <a:gd name="T5" fmla="*/ 42 h 266"/>
                <a:gd name="T6" fmla="*/ 54 w 186"/>
                <a:gd name="T7" fmla="*/ 28 h 266"/>
                <a:gd name="T8" fmla="*/ 74 w 186"/>
                <a:gd name="T9" fmla="*/ 20 h 266"/>
                <a:gd name="T10" fmla="*/ 88 w 186"/>
                <a:gd name="T11" fmla="*/ 16 h 266"/>
                <a:gd name="T12" fmla="*/ 104 w 186"/>
                <a:gd name="T13" fmla="*/ 6 h 266"/>
                <a:gd name="T14" fmla="*/ 116 w 186"/>
                <a:gd name="T15" fmla="*/ 0 h 266"/>
                <a:gd name="T16" fmla="*/ 118 w 186"/>
                <a:gd name="T17" fmla="*/ 10 h 266"/>
                <a:gd name="T18" fmla="*/ 106 w 186"/>
                <a:gd name="T19" fmla="*/ 18 h 266"/>
                <a:gd name="T20" fmla="*/ 92 w 186"/>
                <a:gd name="T21" fmla="*/ 34 h 266"/>
                <a:gd name="T22" fmla="*/ 92 w 186"/>
                <a:gd name="T23" fmla="*/ 54 h 266"/>
                <a:gd name="T24" fmla="*/ 100 w 186"/>
                <a:gd name="T25" fmla="*/ 64 h 266"/>
                <a:gd name="T26" fmla="*/ 102 w 186"/>
                <a:gd name="T27" fmla="*/ 82 h 266"/>
                <a:gd name="T28" fmla="*/ 136 w 186"/>
                <a:gd name="T29" fmla="*/ 84 h 266"/>
                <a:gd name="T30" fmla="*/ 176 w 186"/>
                <a:gd name="T31" fmla="*/ 96 h 266"/>
                <a:gd name="T32" fmla="*/ 176 w 186"/>
                <a:gd name="T33" fmla="*/ 110 h 266"/>
                <a:gd name="T34" fmla="*/ 176 w 186"/>
                <a:gd name="T35" fmla="*/ 128 h 266"/>
                <a:gd name="T36" fmla="*/ 178 w 186"/>
                <a:gd name="T37" fmla="*/ 136 h 266"/>
                <a:gd name="T38" fmla="*/ 180 w 186"/>
                <a:gd name="T39" fmla="*/ 150 h 266"/>
                <a:gd name="T40" fmla="*/ 184 w 186"/>
                <a:gd name="T41" fmla="*/ 162 h 266"/>
                <a:gd name="T42" fmla="*/ 178 w 186"/>
                <a:gd name="T43" fmla="*/ 168 h 266"/>
                <a:gd name="T44" fmla="*/ 168 w 186"/>
                <a:gd name="T45" fmla="*/ 170 h 266"/>
                <a:gd name="T46" fmla="*/ 140 w 186"/>
                <a:gd name="T47" fmla="*/ 172 h 266"/>
                <a:gd name="T48" fmla="*/ 138 w 186"/>
                <a:gd name="T49" fmla="*/ 176 h 266"/>
                <a:gd name="T50" fmla="*/ 146 w 186"/>
                <a:gd name="T51" fmla="*/ 180 h 266"/>
                <a:gd name="T52" fmla="*/ 152 w 186"/>
                <a:gd name="T53" fmla="*/ 188 h 266"/>
                <a:gd name="T54" fmla="*/ 142 w 186"/>
                <a:gd name="T55" fmla="*/ 186 h 266"/>
                <a:gd name="T56" fmla="*/ 140 w 186"/>
                <a:gd name="T57" fmla="*/ 200 h 266"/>
                <a:gd name="T58" fmla="*/ 148 w 186"/>
                <a:gd name="T59" fmla="*/ 220 h 266"/>
                <a:gd name="T60" fmla="*/ 144 w 186"/>
                <a:gd name="T61" fmla="*/ 252 h 266"/>
                <a:gd name="T62" fmla="*/ 132 w 186"/>
                <a:gd name="T63" fmla="*/ 262 h 266"/>
                <a:gd name="T64" fmla="*/ 136 w 186"/>
                <a:gd name="T65" fmla="*/ 246 h 266"/>
                <a:gd name="T66" fmla="*/ 132 w 186"/>
                <a:gd name="T67" fmla="*/ 234 h 266"/>
                <a:gd name="T68" fmla="*/ 86 w 186"/>
                <a:gd name="T69" fmla="*/ 224 h 266"/>
                <a:gd name="T70" fmla="*/ 64 w 186"/>
                <a:gd name="T71" fmla="*/ 200 h 266"/>
                <a:gd name="T72" fmla="*/ 38 w 186"/>
                <a:gd name="T73" fmla="*/ 192 h 266"/>
                <a:gd name="T74" fmla="*/ 16 w 186"/>
                <a:gd name="T75" fmla="*/ 186 h 266"/>
                <a:gd name="T76" fmla="*/ 4 w 186"/>
                <a:gd name="T77" fmla="*/ 168 h 266"/>
                <a:gd name="T78" fmla="*/ 12 w 186"/>
                <a:gd name="T79" fmla="*/ 158 h 266"/>
                <a:gd name="T80" fmla="*/ 24 w 186"/>
                <a:gd name="T81" fmla="*/ 138 h 266"/>
                <a:gd name="T82" fmla="*/ 24 w 186"/>
                <a:gd name="T83" fmla="*/ 110 h 266"/>
                <a:gd name="T84" fmla="*/ 20 w 186"/>
                <a:gd name="T85" fmla="*/ 90 h 266"/>
                <a:gd name="T86" fmla="*/ 26 w 186"/>
                <a:gd name="T87" fmla="*/ 72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6" h="266">
                  <a:moveTo>
                    <a:pt x="28" y="66"/>
                  </a:moveTo>
                  <a:lnTo>
                    <a:pt x="30" y="72"/>
                  </a:lnTo>
                  <a:lnTo>
                    <a:pt x="34" y="68"/>
                  </a:lnTo>
                  <a:lnTo>
                    <a:pt x="34" y="58"/>
                  </a:lnTo>
                  <a:lnTo>
                    <a:pt x="44" y="50"/>
                  </a:lnTo>
                  <a:lnTo>
                    <a:pt x="50" y="42"/>
                  </a:lnTo>
                  <a:lnTo>
                    <a:pt x="52" y="36"/>
                  </a:lnTo>
                  <a:lnTo>
                    <a:pt x="54" y="28"/>
                  </a:lnTo>
                  <a:lnTo>
                    <a:pt x="68" y="20"/>
                  </a:lnTo>
                  <a:lnTo>
                    <a:pt x="74" y="20"/>
                  </a:lnTo>
                  <a:lnTo>
                    <a:pt x="78" y="16"/>
                  </a:lnTo>
                  <a:lnTo>
                    <a:pt x="88" y="16"/>
                  </a:lnTo>
                  <a:lnTo>
                    <a:pt x="96" y="12"/>
                  </a:lnTo>
                  <a:lnTo>
                    <a:pt x="104" y="6"/>
                  </a:lnTo>
                  <a:lnTo>
                    <a:pt x="110" y="0"/>
                  </a:lnTo>
                  <a:lnTo>
                    <a:pt x="116" y="0"/>
                  </a:lnTo>
                  <a:lnTo>
                    <a:pt x="120" y="2"/>
                  </a:lnTo>
                  <a:lnTo>
                    <a:pt x="118" y="10"/>
                  </a:lnTo>
                  <a:lnTo>
                    <a:pt x="112" y="14"/>
                  </a:lnTo>
                  <a:lnTo>
                    <a:pt x="106" y="18"/>
                  </a:lnTo>
                  <a:lnTo>
                    <a:pt x="96" y="26"/>
                  </a:lnTo>
                  <a:lnTo>
                    <a:pt x="92" y="34"/>
                  </a:lnTo>
                  <a:lnTo>
                    <a:pt x="90" y="48"/>
                  </a:lnTo>
                  <a:lnTo>
                    <a:pt x="92" y="54"/>
                  </a:lnTo>
                  <a:lnTo>
                    <a:pt x="96" y="60"/>
                  </a:lnTo>
                  <a:lnTo>
                    <a:pt x="100" y="64"/>
                  </a:lnTo>
                  <a:lnTo>
                    <a:pt x="102" y="68"/>
                  </a:lnTo>
                  <a:lnTo>
                    <a:pt x="102" y="82"/>
                  </a:lnTo>
                  <a:lnTo>
                    <a:pt x="108" y="86"/>
                  </a:lnTo>
                  <a:lnTo>
                    <a:pt x="136" y="84"/>
                  </a:lnTo>
                  <a:lnTo>
                    <a:pt x="148" y="98"/>
                  </a:lnTo>
                  <a:lnTo>
                    <a:pt x="176" y="96"/>
                  </a:lnTo>
                  <a:lnTo>
                    <a:pt x="182" y="102"/>
                  </a:lnTo>
                  <a:lnTo>
                    <a:pt x="176" y="110"/>
                  </a:lnTo>
                  <a:lnTo>
                    <a:pt x="176" y="120"/>
                  </a:lnTo>
                  <a:lnTo>
                    <a:pt x="176" y="128"/>
                  </a:lnTo>
                  <a:lnTo>
                    <a:pt x="176" y="136"/>
                  </a:lnTo>
                  <a:lnTo>
                    <a:pt x="178" y="136"/>
                  </a:lnTo>
                  <a:lnTo>
                    <a:pt x="180" y="138"/>
                  </a:lnTo>
                  <a:lnTo>
                    <a:pt x="180" y="150"/>
                  </a:lnTo>
                  <a:lnTo>
                    <a:pt x="180" y="160"/>
                  </a:lnTo>
                  <a:lnTo>
                    <a:pt x="184" y="162"/>
                  </a:lnTo>
                  <a:lnTo>
                    <a:pt x="186" y="172"/>
                  </a:lnTo>
                  <a:lnTo>
                    <a:pt x="178" y="168"/>
                  </a:lnTo>
                  <a:lnTo>
                    <a:pt x="174" y="168"/>
                  </a:lnTo>
                  <a:lnTo>
                    <a:pt x="168" y="170"/>
                  </a:lnTo>
                  <a:lnTo>
                    <a:pt x="150" y="170"/>
                  </a:lnTo>
                  <a:lnTo>
                    <a:pt x="140" y="172"/>
                  </a:lnTo>
                  <a:lnTo>
                    <a:pt x="140" y="174"/>
                  </a:lnTo>
                  <a:lnTo>
                    <a:pt x="138" y="176"/>
                  </a:lnTo>
                  <a:lnTo>
                    <a:pt x="140" y="178"/>
                  </a:lnTo>
                  <a:lnTo>
                    <a:pt x="146" y="180"/>
                  </a:lnTo>
                  <a:lnTo>
                    <a:pt x="152" y="182"/>
                  </a:lnTo>
                  <a:lnTo>
                    <a:pt x="152" y="188"/>
                  </a:lnTo>
                  <a:lnTo>
                    <a:pt x="146" y="186"/>
                  </a:lnTo>
                  <a:lnTo>
                    <a:pt x="142" y="186"/>
                  </a:lnTo>
                  <a:lnTo>
                    <a:pt x="140" y="188"/>
                  </a:lnTo>
                  <a:lnTo>
                    <a:pt x="140" y="200"/>
                  </a:lnTo>
                  <a:lnTo>
                    <a:pt x="146" y="208"/>
                  </a:lnTo>
                  <a:lnTo>
                    <a:pt x="148" y="220"/>
                  </a:lnTo>
                  <a:lnTo>
                    <a:pt x="146" y="234"/>
                  </a:lnTo>
                  <a:lnTo>
                    <a:pt x="144" y="252"/>
                  </a:lnTo>
                  <a:lnTo>
                    <a:pt x="138" y="266"/>
                  </a:lnTo>
                  <a:lnTo>
                    <a:pt x="132" y="262"/>
                  </a:lnTo>
                  <a:lnTo>
                    <a:pt x="132" y="252"/>
                  </a:lnTo>
                  <a:lnTo>
                    <a:pt x="136" y="246"/>
                  </a:lnTo>
                  <a:lnTo>
                    <a:pt x="134" y="240"/>
                  </a:lnTo>
                  <a:lnTo>
                    <a:pt x="132" y="234"/>
                  </a:lnTo>
                  <a:lnTo>
                    <a:pt x="90" y="232"/>
                  </a:lnTo>
                  <a:lnTo>
                    <a:pt x="86" y="224"/>
                  </a:lnTo>
                  <a:lnTo>
                    <a:pt x="74" y="212"/>
                  </a:lnTo>
                  <a:lnTo>
                    <a:pt x="64" y="200"/>
                  </a:lnTo>
                  <a:lnTo>
                    <a:pt x="50" y="196"/>
                  </a:lnTo>
                  <a:lnTo>
                    <a:pt x="38" y="192"/>
                  </a:lnTo>
                  <a:lnTo>
                    <a:pt x="26" y="192"/>
                  </a:lnTo>
                  <a:lnTo>
                    <a:pt x="16" y="186"/>
                  </a:lnTo>
                  <a:lnTo>
                    <a:pt x="0" y="176"/>
                  </a:lnTo>
                  <a:lnTo>
                    <a:pt x="4" y="168"/>
                  </a:lnTo>
                  <a:lnTo>
                    <a:pt x="4" y="158"/>
                  </a:lnTo>
                  <a:lnTo>
                    <a:pt x="12" y="158"/>
                  </a:lnTo>
                  <a:lnTo>
                    <a:pt x="20" y="152"/>
                  </a:lnTo>
                  <a:lnTo>
                    <a:pt x="24" y="138"/>
                  </a:lnTo>
                  <a:lnTo>
                    <a:pt x="24" y="124"/>
                  </a:lnTo>
                  <a:lnTo>
                    <a:pt x="24" y="110"/>
                  </a:lnTo>
                  <a:lnTo>
                    <a:pt x="22" y="96"/>
                  </a:lnTo>
                  <a:lnTo>
                    <a:pt x="20" y="90"/>
                  </a:lnTo>
                  <a:lnTo>
                    <a:pt x="14" y="80"/>
                  </a:lnTo>
                  <a:lnTo>
                    <a:pt x="26" y="72"/>
                  </a:lnTo>
                  <a:lnTo>
                    <a:pt x="28" y="6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82" name="Freeform 74">
              <a:extLst>
                <a:ext uri="{FF2B5EF4-FFF2-40B4-BE49-F238E27FC236}">
                  <a16:creationId xmlns:a16="http://schemas.microsoft.com/office/drawing/2014/main" id="{AEE25394-281A-4B2D-9C7C-642F373FFE99}"/>
                </a:ext>
              </a:extLst>
            </p:cNvPr>
            <p:cNvSpPr>
              <a:spLocks/>
            </p:cNvSpPr>
            <p:nvPr/>
          </p:nvSpPr>
          <p:spPr bwMode="gray">
            <a:xfrm>
              <a:off x="3701683" y="4658159"/>
              <a:ext cx="145294" cy="165983"/>
            </a:xfrm>
            <a:custGeom>
              <a:avLst/>
              <a:gdLst>
                <a:gd name="T0" fmla="*/ 26 w 88"/>
                <a:gd name="T1" fmla="*/ 100 h 100"/>
                <a:gd name="T2" fmla="*/ 20 w 88"/>
                <a:gd name="T3" fmla="*/ 94 h 100"/>
                <a:gd name="T4" fmla="*/ 8 w 88"/>
                <a:gd name="T5" fmla="*/ 88 h 100"/>
                <a:gd name="T6" fmla="*/ 8 w 88"/>
                <a:gd name="T7" fmla="*/ 76 h 100"/>
                <a:gd name="T8" fmla="*/ 14 w 88"/>
                <a:gd name="T9" fmla="*/ 72 h 100"/>
                <a:gd name="T10" fmla="*/ 18 w 88"/>
                <a:gd name="T11" fmla="*/ 64 h 100"/>
                <a:gd name="T12" fmla="*/ 18 w 88"/>
                <a:gd name="T13" fmla="*/ 58 h 100"/>
                <a:gd name="T14" fmla="*/ 14 w 88"/>
                <a:gd name="T15" fmla="*/ 58 h 100"/>
                <a:gd name="T16" fmla="*/ 10 w 88"/>
                <a:gd name="T17" fmla="*/ 62 h 100"/>
                <a:gd name="T18" fmla="*/ 6 w 88"/>
                <a:gd name="T19" fmla="*/ 62 h 100"/>
                <a:gd name="T20" fmla="*/ 0 w 88"/>
                <a:gd name="T21" fmla="*/ 58 h 100"/>
                <a:gd name="T22" fmla="*/ 0 w 88"/>
                <a:gd name="T23" fmla="*/ 48 h 100"/>
                <a:gd name="T24" fmla="*/ 2 w 88"/>
                <a:gd name="T25" fmla="*/ 38 h 100"/>
                <a:gd name="T26" fmla="*/ 6 w 88"/>
                <a:gd name="T27" fmla="*/ 26 h 100"/>
                <a:gd name="T28" fmla="*/ 10 w 88"/>
                <a:gd name="T29" fmla="*/ 18 h 100"/>
                <a:gd name="T30" fmla="*/ 14 w 88"/>
                <a:gd name="T31" fmla="*/ 12 h 100"/>
                <a:gd name="T32" fmla="*/ 22 w 88"/>
                <a:gd name="T33" fmla="*/ 6 h 100"/>
                <a:gd name="T34" fmla="*/ 32 w 88"/>
                <a:gd name="T35" fmla="*/ 0 h 100"/>
                <a:gd name="T36" fmla="*/ 58 w 88"/>
                <a:gd name="T37" fmla="*/ 16 h 100"/>
                <a:gd name="T38" fmla="*/ 70 w 88"/>
                <a:gd name="T39" fmla="*/ 16 h 100"/>
                <a:gd name="T40" fmla="*/ 88 w 88"/>
                <a:gd name="T41" fmla="*/ 22 h 100"/>
                <a:gd name="T42" fmla="*/ 86 w 88"/>
                <a:gd name="T43" fmla="*/ 30 h 100"/>
                <a:gd name="T44" fmla="*/ 86 w 88"/>
                <a:gd name="T45" fmla="*/ 40 h 100"/>
                <a:gd name="T46" fmla="*/ 82 w 88"/>
                <a:gd name="T47" fmla="*/ 48 h 100"/>
                <a:gd name="T48" fmla="*/ 76 w 88"/>
                <a:gd name="T49" fmla="*/ 56 h 100"/>
                <a:gd name="T50" fmla="*/ 68 w 88"/>
                <a:gd name="T51" fmla="*/ 62 h 100"/>
                <a:gd name="T52" fmla="*/ 52 w 88"/>
                <a:gd name="T53" fmla="*/ 68 h 100"/>
                <a:gd name="T54" fmla="*/ 46 w 88"/>
                <a:gd name="T55" fmla="*/ 74 h 100"/>
                <a:gd name="T56" fmla="*/ 40 w 88"/>
                <a:gd name="T57" fmla="*/ 82 h 100"/>
                <a:gd name="T58" fmla="*/ 36 w 88"/>
                <a:gd name="T59" fmla="*/ 92 h 100"/>
                <a:gd name="T60" fmla="*/ 26 w 88"/>
                <a:gd name="T61"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8" h="100">
                  <a:moveTo>
                    <a:pt x="26" y="100"/>
                  </a:moveTo>
                  <a:lnTo>
                    <a:pt x="20" y="94"/>
                  </a:lnTo>
                  <a:lnTo>
                    <a:pt x="8" y="88"/>
                  </a:lnTo>
                  <a:lnTo>
                    <a:pt x="8" y="76"/>
                  </a:lnTo>
                  <a:lnTo>
                    <a:pt x="14" y="72"/>
                  </a:lnTo>
                  <a:lnTo>
                    <a:pt x="18" y="64"/>
                  </a:lnTo>
                  <a:lnTo>
                    <a:pt x="18" y="58"/>
                  </a:lnTo>
                  <a:lnTo>
                    <a:pt x="14" y="58"/>
                  </a:lnTo>
                  <a:lnTo>
                    <a:pt x="10" y="62"/>
                  </a:lnTo>
                  <a:lnTo>
                    <a:pt x="6" y="62"/>
                  </a:lnTo>
                  <a:lnTo>
                    <a:pt x="0" y="58"/>
                  </a:lnTo>
                  <a:lnTo>
                    <a:pt x="0" y="48"/>
                  </a:lnTo>
                  <a:lnTo>
                    <a:pt x="2" y="38"/>
                  </a:lnTo>
                  <a:lnTo>
                    <a:pt x="6" y="26"/>
                  </a:lnTo>
                  <a:lnTo>
                    <a:pt x="10" y="18"/>
                  </a:lnTo>
                  <a:lnTo>
                    <a:pt x="14" y="12"/>
                  </a:lnTo>
                  <a:lnTo>
                    <a:pt x="22" y="6"/>
                  </a:lnTo>
                  <a:lnTo>
                    <a:pt x="32" y="0"/>
                  </a:lnTo>
                  <a:lnTo>
                    <a:pt x="58" y="16"/>
                  </a:lnTo>
                  <a:lnTo>
                    <a:pt x="70" y="16"/>
                  </a:lnTo>
                  <a:lnTo>
                    <a:pt x="88" y="22"/>
                  </a:lnTo>
                  <a:lnTo>
                    <a:pt x="86" y="30"/>
                  </a:lnTo>
                  <a:lnTo>
                    <a:pt x="86" y="40"/>
                  </a:lnTo>
                  <a:lnTo>
                    <a:pt x="82" y="48"/>
                  </a:lnTo>
                  <a:lnTo>
                    <a:pt x="76" y="56"/>
                  </a:lnTo>
                  <a:lnTo>
                    <a:pt x="68" y="62"/>
                  </a:lnTo>
                  <a:lnTo>
                    <a:pt x="52" y="68"/>
                  </a:lnTo>
                  <a:lnTo>
                    <a:pt x="46" y="74"/>
                  </a:lnTo>
                  <a:lnTo>
                    <a:pt x="40" y="82"/>
                  </a:lnTo>
                  <a:lnTo>
                    <a:pt x="36" y="92"/>
                  </a:lnTo>
                  <a:lnTo>
                    <a:pt x="26" y="10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83" name="Freeform 75">
              <a:extLst>
                <a:ext uri="{FF2B5EF4-FFF2-40B4-BE49-F238E27FC236}">
                  <a16:creationId xmlns:a16="http://schemas.microsoft.com/office/drawing/2014/main" id="{80EEABF5-D50A-4519-BEA1-98B4364AF91D}"/>
                </a:ext>
              </a:extLst>
            </p:cNvPr>
            <p:cNvSpPr>
              <a:spLocks/>
            </p:cNvSpPr>
            <p:nvPr/>
          </p:nvSpPr>
          <p:spPr bwMode="gray">
            <a:xfrm>
              <a:off x="4193701" y="4405864"/>
              <a:ext cx="33021" cy="26557"/>
            </a:xfrm>
            <a:custGeom>
              <a:avLst/>
              <a:gdLst>
                <a:gd name="T0" fmla="*/ 12 w 20"/>
                <a:gd name="T1" fmla="*/ 0 h 16"/>
                <a:gd name="T2" fmla="*/ 20 w 20"/>
                <a:gd name="T3" fmla="*/ 0 h 16"/>
                <a:gd name="T4" fmla="*/ 18 w 20"/>
                <a:gd name="T5" fmla="*/ 10 h 16"/>
                <a:gd name="T6" fmla="*/ 14 w 20"/>
                <a:gd name="T7" fmla="*/ 16 h 16"/>
                <a:gd name="T8" fmla="*/ 0 w 20"/>
                <a:gd name="T9" fmla="*/ 14 h 16"/>
                <a:gd name="T10" fmla="*/ 6 w 20"/>
                <a:gd name="T11" fmla="*/ 6 h 16"/>
                <a:gd name="T12" fmla="*/ 10 w 20"/>
                <a:gd name="T13" fmla="*/ 6 h 16"/>
                <a:gd name="T14" fmla="*/ 12 w 20"/>
                <a:gd name="T15" fmla="*/ 0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6">
                  <a:moveTo>
                    <a:pt x="12" y="0"/>
                  </a:moveTo>
                  <a:lnTo>
                    <a:pt x="20" y="0"/>
                  </a:lnTo>
                  <a:lnTo>
                    <a:pt x="18" y="10"/>
                  </a:lnTo>
                  <a:lnTo>
                    <a:pt x="14" y="16"/>
                  </a:lnTo>
                  <a:lnTo>
                    <a:pt x="0" y="14"/>
                  </a:lnTo>
                  <a:lnTo>
                    <a:pt x="6" y="6"/>
                  </a:lnTo>
                  <a:lnTo>
                    <a:pt x="10" y="6"/>
                  </a:lnTo>
                  <a:lnTo>
                    <a:pt x="12"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84" name="Freeform 76">
              <a:extLst>
                <a:ext uri="{FF2B5EF4-FFF2-40B4-BE49-F238E27FC236}">
                  <a16:creationId xmlns:a16="http://schemas.microsoft.com/office/drawing/2014/main" id="{35B97ACF-9C36-4D8D-AC88-BD84DC5AD351}"/>
                </a:ext>
              </a:extLst>
            </p:cNvPr>
            <p:cNvSpPr>
              <a:spLocks/>
            </p:cNvSpPr>
            <p:nvPr/>
          </p:nvSpPr>
          <p:spPr bwMode="gray">
            <a:xfrm>
              <a:off x="3903113" y="4369349"/>
              <a:ext cx="346724" cy="305408"/>
            </a:xfrm>
            <a:custGeom>
              <a:avLst/>
              <a:gdLst>
                <a:gd name="T0" fmla="*/ 46 w 210"/>
                <a:gd name="T1" fmla="*/ 8 h 184"/>
                <a:gd name="T2" fmla="*/ 50 w 210"/>
                <a:gd name="T3" fmla="*/ 0 h 184"/>
                <a:gd name="T4" fmla="*/ 52 w 210"/>
                <a:gd name="T5" fmla="*/ 12 h 184"/>
                <a:gd name="T6" fmla="*/ 70 w 210"/>
                <a:gd name="T7" fmla="*/ 16 h 184"/>
                <a:gd name="T8" fmla="*/ 80 w 210"/>
                <a:gd name="T9" fmla="*/ 24 h 184"/>
                <a:gd name="T10" fmla="*/ 108 w 210"/>
                <a:gd name="T11" fmla="*/ 28 h 184"/>
                <a:gd name="T12" fmla="*/ 138 w 210"/>
                <a:gd name="T13" fmla="*/ 32 h 184"/>
                <a:gd name="T14" fmla="*/ 156 w 210"/>
                <a:gd name="T15" fmla="*/ 26 h 184"/>
                <a:gd name="T16" fmla="*/ 174 w 210"/>
                <a:gd name="T17" fmla="*/ 28 h 184"/>
                <a:gd name="T18" fmla="*/ 162 w 210"/>
                <a:gd name="T19" fmla="*/ 32 h 184"/>
                <a:gd name="T20" fmla="*/ 176 w 210"/>
                <a:gd name="T21" fmla="*/ 40 h 184"/>
                <a:gd name="T22" fmla="*/ 192 w 210"/>
                <a:gd name="T23" fmla="*/ 46 h 184"/>
                <a:gd name="T24" fmla="*/ 188 w 210"/>
                <a:gd name="T25" fmla="*/ 56 h 184"/>
                <a:gd name="T26" fmla="*/ 196 w 210"/>
                <a:gd name="T27" fmla="*/ 60 h 184"/>
                <a:gd name="T28" fmla="*/ 210 w 210"/>
                <a:gd name="T29" fmla="*/ 62 h 184"/>
                <a:gd name="T30" fmla="*/ 200 w 210"/>
                <a:gd name="T31" fmla="*/ 76 h 184"/>
                <a:gd name="T32" fmla="*/ 192 w 210"/>
                <a:gd name="T33" fmla="*/ 90 h 184"/>
                <a:gd name="T34" fmla="*/ 190 w 210"/>
                <a:gd name="T35" fmla="*/ 104 h 184"/>
                <a:gd name="T36" fmla="*/ 196 w 210"/>
                <a:gd name="T37" fmla="*/ 116 h 184"/>
                <a:gd name="T38" fmla="*/ 180 w 210"/>
                <a:gd name="T39" fmla="*/ 130 h 184"/>
                <a:gd name="T40" fmla="*/ 164 w 210"/>
                <a:gd name="T41" fmla="*/ 136 h 184"/>
                <a:gd name="T42" fmla="*/ 148 w 210"/>
                <a:gd name="T43" fmla="*/ 134 h 184"/>
                <a:gd name="T44" fmla="*/ 134 w 210"/>
                <a:gd name="T45" fmla="*/ 132 h 184"/>
                <a:gd name="T46" fmla="*/ 142 w 210"/>
                <a:gd name="T47" fmla="*/ 148 h 184"/>
                <a:gd name="T48" fmla="*/ 154 w 210"/>
                <a:gd name="T49" fmla="*/ 156 h 184"/>
                <a:gd name="T50" fmla="*/ 152 w 210"/>
                <a:gd name="T51" fmla="*/ 166 h 184"/>
                <a:gd name="T52" fmla="*/ 140 w 210"/>
                <a:gd name="T53" fmla="*/ 168 h 184"/>
                <a:gd name="T54" fmla="*/ 116 w 210"/>
                <a:gd name="T55" fmla="*/ 184 h 184"/>
                <a:gd name="T56" fmla="*/ 98 w 210"/>
                <a:gd name="T57" fmla="*/ 174 h 184"/>
                <a:gd name="T58" fmla="*/ 94 w 210"/>
                <a:gd name="T59" fmla="*/ 160 h 184"/>
                <a:gd name="T60" fmla="*/ 90 w 210"/>
                <a:gd name="T61" fmla="*/ 136 h 184"/>
                <a:gd name="T62" fmla="*/ 86 w 210"/>
                <a:gd name="T63" fmla="*/ 108 h 184"/>
                <a:gd name="T64" fmla="*/ 86 w 210"/>
                <a:gd name="T65" fmla="*/ 94 h 184"/>
                <a:gd name="T66" fmla="*/ 46 w 210"/>
                <a:gd name="T67" fmla="*/ 82 h 184"/>
                <a:gd name="T68" fmla="*/ 12 w 210"/>
                <a:gd name="T69" fmla="*/ 80 h 184"/>
                <a:gd name="T70" fmla="*/ 0 w 210"/>
                <a:gd name="T71" fmla="*/ 46 h 184"/>
                <a:gd name="T72" fmla="*/ 8 w 210"/>
                <a:gd name="T73" fmla="*/ 22 h 184"/>
                <a:gd name="T74" fmla="*/ 22 w 210"/>
                <a:gd name="T75" fmla="*/ 16 h 184"/>
                <a:gd name="T76" fmla="*/ 22 w 210"/>
                <a:gd name="T77" fmla="*/ 30 h 184"/>
                <a:gd name="T78" fmla="*/ 18 w 210"/>
                <a:gd name="T79" fmla="*/ 46 h 184"/>
                <a:gd name="T80" fmla="*/ 30 w 210"/>
                <a:gd name="T81" fmla="*/ 48 h 184"/>
                <a:gd name="T82" fmla="*/ 30 w 210"/>
                <a:gd name="T83" fmla="*/ 32 h 184"/>
                <a:gd name="T84" fmla="*/ 32 w 210"/>
                <a:gd name="T85" fmla="*/ 20 h 184"/>
                <a:gd name="T86" fmla="*/ 44 w 210"/>
                <a:gd name="T87" fmla="*/ 1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0" h="184">
                  <a:moveTo>
                    <a:pt x="44" y="14"/>
                  </a:moveTo>
                  <a:lnTo>
                    <a:pt x="46" y="8"/>
                  </a:lnTo>
                  <a:lnTo>
                    <a:pt x="46" y="2"/>
                  </a:lnTo>
                  <a:lnTo>
                    <a:pt x="50" y="0"/>
                  </a:lnTo>
                  <a:lnTo>
                    <a:pt x="52" y="4"/>
                  </a:lnTo>
                  <a:lnTo>
                    <a:pt x="52" y="12"/>
                  </a:lnTo>
                  <a:lnTo>
                    <a:pt x="60" y="14"/>
                  </a:lnTo>
                  <a:lnTo>
                    <a:pt x="70" y="16"/>
                  </a:lnTo>
                  <a:lnTo>
                    <a:pt x="76" y="22"/>
                  </a:lnTo>
                  <a:lnTo>
                    <a:pt x="80" y="24"/>
                  </a:lnTo>
                  <a:lnTo>
                    <a:pt x="98" y="28"/>
                  </a:lnTo>
                  <a:lnTo>
                    <a:pt x="108" y="28"/>
                  </a:lnTo>
                  <a:lnTo>
                    <a:pt x="126" y="36"/>
                  </a:lnTo>
                  <a:lnTo>
                    <a:pt x="138" y="32"/>
                  </a:lnTo>
                  <a:lnTo>
                    <a:pt x="146" y="28"/>
                  </a:lnTo>
                  <a:lnTo>
                    <a:pt x="156" y="26"/>
                  </a:lnTo>
                  <a:lnTo>
                    <a:pt x="164" y="28"/>
                  </a:lnTo>
                  <a:lnTo>
                    <a:pt x="174" y="28"/>
                  </a:lnTo>
                  <a:lnTo>
                    <a:pt x="170" y="30"/>
                  </a:lnTo>
                  <a:lnTo>
                    <a:pt x="162" y="32"/>
                  </a:lnTo>
                  <a:lnTo>
                    <a:pt x="164" y="40"/>
                  </a:lnTo>
                  <a:lnTo>
                    <a:pt x="176" y="40"/>
                  </a:lnTo>
                  <a:lnTo>
                    <a:pt x="188" y="42"/>
                  </a:lnTo>
                  <a:lnTo>
                    <a:pt x="192" y="46"/>
                  </a:lnTo>
                  <a:lnTo>
                    <a:pt x="192" y="52"/>
                  </a:lnTo>
                  <a:lnTo>
                    <a:pt x="188" y="56"/>
                  </a:lnTo>
                  <a:lnTo>
                    <a:pt x="188" y="62"/>
                  </a:lnTo>
                  <a:lnTo>
                    <a:pt x="196" y="60"/>
                  </a:lnTo>
                  <a:lnTo>
                    <a:pt x="202" y="58"/>
                  </a:lnTo>
                  <a:lnTo>
                    <a:pt x="210" y="62"/>
                  </a:lnTo>
                  <a:lnTo>
                    <a:pt x="204" y="70"/>
                  </a:lnTo>
                  <a:lnTo>
                    <a:pt x="200" y="76"/>
                  </a:lnTo>
                  <a:lnTo>
                    <a:pt x="202" y="84"/>
                  </a:lnTo>
                  <a:lnTo>
                    <a:pt x="192" y="90"/>
                  </a:lnTo>
                  <a:lnTo>
                    <a:pt x="188" y="96"/>
                  </a:lnTo>
                  <a:lnTo>
                    <a:pt x="190" y="104"/>
                  </a:lnTo>
                  <a:lnTo>
                    <a:pt x="194" y="110"/>
                  </a:lnTo>
                  <a:lnTo>
                    <a:pt x="196" y="116"/>
                  </a:lnTo>
                  <a:lnTo>
                    <a:pt x="192" y="126"/>
                  </a:lnTo>
                  <a:lnTo>
                    <a:pt x="180" y="130"/>
                  </a:lnTo>
                  <a:lnTo>
                    <a:pt x="170" y="132"/>
                  </a:lnTo>
                  <a:lnTo>
                    <a:pt x="164" y="136"/>
                  </a:lnTo>
                  <a:lnTo>
                    <a:pt x="158" y="136"/>
                  </a:lnTo>
                  <a:lnTo>
                    <a:pt x="148" y="134"/>
                  </a:lnTo>
                  <a:lnTo>
                    <a:pt x="140" y="130"/>
                  </a:lnTo>
                  <a:lnTo>
                    <a:pt x="134" y="132"/>
                  </a:lnTo>
                  <a:lnTo>
                    <a:pt x="140" y="138"/>
                  </a:lnTo>
                  <a:lnTo>
                    <a:pt x="142" y="148"/>
                  </a:lnTo>
                  <a:lnTo>
                    <a:pt x="148" y="156"/>
                  </a:lnTo>
                  <a:lnTo>
                    <a:pt x="154" y="156"/>
                  </a:lnTo>
                  <a:lnTo>
                    <a:pt x="154" y="160"/>
                  </a:lnTo>
                  <a:lnTo>
                    <a:pt x="152" y="166"/>
                  </a:lnTo>
                  <a:lnTo>
                    <a:pt x="146" y="166"/>
                  </a:lnTo>
                  <a:lnTo>
                    <a:pt x="140" y="168"/>
                  </a:lnTo>
                  <a:lnTo>
                    <a:pt x="130" y="180"/>
                  </a:lnTo>
                  <a:lnTo>
                    <a:pt x="116" y="184"/>
                  </a:lnTo>
                  <a:lnTo>
                    <a:pt x="106" y="182"/>
                  </a:lnTo>
                  <a:lnTo>
                    <a:pt x="98" y="174"/>
                  </a:lnTo>
                  <a:lnTo>
                    <a:pt x="96" y="170"/>
                  </a:lnTo>
                  <a:lnTo>
                    <a:pt x="94" y="160"/>
                  </a:lnTo>
                  <a:lnTo>
                    <a:pt x="90" y="158"/>
                  </a:lnTo>
                  <a:lnTo>
                    <a:pt x="90" y="136"/>
                  </a:lnTo>
                  <a:lnTo>
                    <a:pt x="86" y="134"/>
                  </a:lnTo>
                  <a:lnTo>
                    <a:pt x="86" y="108"/>
                  </a:lnTo>
                  <a:lnTo>
                    <a:pt x="92" y="100"/>
                  </a:lnTo>
                  <a:lnTo>
                    <a:pt x="86" y="94"/>
                  </a:lnTo>
                  <a:lnTo>
                    <a:pt x="58" y="96"/>
                  </a:lnTo>
                  <a:lnTo>
                    <a:pt x="46" y="82"/>
                  </a:lnTo>
                  <a:lnTo>
                    <a:pt x="18" y="84"/>
                  </a:lnTo>
                  <a:lnTo>
                    <a:pt x="12" y="80"/>
                  </a:lnTo>
                  <a:lnTo>
                    <a:pt x="12" y="66"/>
                  </a:lnTo>
                  <a:lnTo>
                    <a:pt x="0" y="46"/>
                  </a:lnTo>
                  <a:lnTo>
                    <a:pt x="2" y="32"/>
                  </a:lnTo>
                  <a:lnTo>
                    <a:pt x="8" y="22"/>
                  </a:lnTo>
                  <a:lnTo>
                    <a:pt x="18" y="14"/>
                  </a:lnTo>
                  <a:lnTo>
                    <a:pt x="22" y="16"/>
                  </a:lnTo>
                  <a:lnTo>
                    <a:pt x="22" y="20"/>
                  </a:lnTo>
                  <a:lnTo>
                    <a:pt x="22" y="30"/>
                  </a:lnTo>
                  <a:lnTo>
                    <a:pt x="16" y="34"/>
                  </a:lnTo>
                  <a:lnTo>
                    <a:pt x="18" y="46"/>
                  </a:lnTo>
                  <a:lnTo>
                    <a:pt x="22" y="52"/>
                  </a:lnTo>
                  <a:lnTo>
                    <a:pt x="30" y="48"/>
                  </a:lnTo>
                  <a:lnTo>
                    <a:pt x="34" y="40"/>
                  </a:lnTo>
                  <a:lnTo>
                    <a:pt x="30" y="32"/>
                  </a:lnTo>
                  <a:lnTo>
                    <a:pt x="28" y="26"/>
                  </a:lnTo>
                  <a:lnTo>
                    <a:pt x="32" y="20"/>
                  </a:lnTo>
                  <a:lnTo>
                    <a:pt x="38" y="18"/>
                  </a:lnTo>
                  <a:lnTo>
                    <a:pt x="44" y="1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85" name="Freeform 77">
              <a:extLst>
                <a:ext uri="{FF2B5EF4-FFF2-40B4-BE49-F238E27FC236}">
                  <a16:creationId xmlns:a16="http://schemas.microsoft.com/office/drawing/2014/main" id="{895259ED-385D-4BA2-BFDE-2358ECA8696A}"/>
                </a:ext>
              </a:extLst>
            </p:cNvPr>
            <p:cNvSpPr>
              <a:spLocks/>
            </p:cNvSpPr>
            <p:nvPr/>
          </p:nvSpPr>
          <p:spPr bwMode="gray">
            <a:xfrm>
              <a:off x="4213515" y="4472258"/>
              <a:ext cx="115574" cy="189220"/>
            </a:xfrm>
            <a:custGeom>
              <a:avLst/>
              <a:gdLst>
                <a:gd name="T0" fmla="*/ 42 w 70"/>
                <a:gd name="T1" fmla="*/ 30 h 114"/>
                <a:gd name="T2" fmla="*/ 50 w 70"/>
                <a:gd name="T3" fmla="*/ 24 h 114"/>
                <a:gd name="T4" fmla="*/ 58 w 70"/>
                <a:gd name="T5" fmla="*/ 30 h 114"/>
                <a:gd name="T6" fmla="*/ 66 w 70"/>
                <a:gd name="T7" fmla="*/ 40 h 114"/>
                <a:gd name="T8" fmla="*/ 64 w 70"/>
                <a:gd name="T9" fmla="*/ 48 h 114"/>
                <a:gd name="T10" fmla="*/ 60 w 70"/>
                <a:gd name="T11" fmla="*/ 54 h 114"/>
                <a:gd name="T12" fmla="*/ 54 w 70"/>
                <a:gd name="T13" fmla="*/ 62 h 114"/>
                <a:gd name="T14" fmla="*/ 52 w 70"/>
                <a:gd name="T15" fmla="*/ 72 h 114"/>
                <a:gd name="T16" fmla="*/ 56 w 70"/>
                <a:gd name="T17" fmla="*/ 76 h 114"/>
                <a:gd name="T18" fmla="*/ 60 w 70"/>
                <a:gd name="T19" fmla="*/ 82 h 114"/>
                <a:gd name="T20" fmla="*/ 64 w 70"/>
                <a:gd name="T21" fmla="*/ 86 h 114"/>
                <a:gd name="T22" fmla="*/ 66 w 70"/>
                <a:gd name="T23" fmla="*/ 90 h 114"/>
                <a:gd name="T24" fmla="*/ 70 w 70"/>
                <a:gd name="T25" fmla="*/ 100 h 114"/>
                <a:gd name="T26" fmla="*/ 66 w 70"/>
                <a:gd name="T27" fmla="*/ 104 h 114"/>
                <a:gd name="T28" fmla="*/ 58 w 70"/>
                <a:gd name="T29" fmla="*/ 108 h 114"/>
                <a:gd name="T30" fmla="*/ 52 w 70"/>
                <a:gd name="T31" fmla="*/ 112 h 114"/>
                <a:gd name="T32" fmla="*/ 42 w 70"/>
                <a:gd name="T33" fmla="*/ 114 h 114"/>
                <a:gd name="T34" fmla="*/ 34 w 70"/>
                <a:gd name="T35" fmla="*/ 114 h 114"/>
                <a:gd name="T36" fmla="*/ 26 w 70"/>
                <a:gd name="T37" fmla="*/ 106 h 114"/>
                <a:gd name="T38" fmla="*/ 20 w 70"/>
                <a:gd name="T39" fmla="*/ 98 h 114"/>
                <a:gd name="T40" fmla="*/ 20 w 70"/>
                <a:gd name="T41" fmla="*/ 90 h 114"/>
                <a:gd name="T42" fmla="*/ 20 w 70"/>
                <a:gd name="T43" fmla="*/ 78 h 114"/>
                <a:gd name="T44" fmla="*/ 26 w 70"/>
                <a:gd name="T45" fmla="*/ 72 h 114"/>
                <a:gd name="T46" fmla="*/ 22 w 70"/>
                <a:gd name="T47" fmla="*/ 62 h 114"/>
                <a:gd name="T48" fmla="*/ 18 w 70"/>
                <a:gd name="T49" fmla="*/ 50 h 114"/>
                <a:gd name="T50" fmla="*/ 6 w 70"/>
                <a:gd name="T51" fmla="*/ 50 h 114"/>
                <a:gd name="T52" fmla="*/ 2 w 70"/>
                <a:gd name="T53" fmla="*/ 42 h 114"/>
                <a:gd name="T54" fmla="*/ 0 w 70"/>
                <a:gd name="T55" fmla="*/ 34 h 114"/>
                <a:gd name="T56" fmla="*/ 4 w 70"/>
                <a:gd name="T57" fmla="*/ 28 h 114"/>
                <a:gd name="T58" fmla="*/ 14 w 70"/>
                <a:gd name="T59" fmla="*/ 22 h 114"/>
                <a:gd name="T60" fmla="*/ 12 w 70"/>
                <a:gd name="T61" fmla="*/ 14 h 114"/>
                <a:gd name="T62" fmla="*/ 16 w 70"/>
                <a:gd name="T63" fmla="*/ 8 h 114"/>
                <a:gd name="T64" fmla="*/ 22 w 70"/>
                <a:gd name="T65" fmla="*/ 0 h 114"/>
                <a:gd name="T66" fmla="*/ 28 w 70"/>
                <a:gd name="T67" fmla="*/ 2 h 114"/>
                <a:gd name="T68" fmla="*/ 34 w 70"/>
                <a:gd name="T69" fmla="*/ 6 h 114"/>
                <a:gd name="T70" fmla="*/ 42 w 70"/>
                <a:gd name="T71" fmla="*/ 12 h 114"/>
                <a:gd name="T72" fmla="*/ 44 w 70"/>
                <a:gd name="T73" fmla="*/ 16 h 114"/>
                <a:gd name="T74" fmla="*/ 44 w 70"/>
                <a:gd name="T75" fmla="*/ 22 h 114"/>
                <a:gd name="T76" fmla="*/ 42 w 70"/>
                <a:gd name="T77" fmla="*/ 3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0" h="114">
                  <a:moveTo>
                    <a:pt x="42" y="30"/>
                  </a:moveTo>
                  <a:lnTo>
                    <a:pt x="50" y="24"/>
                  </a:lnTo>
                  <a:lnTo>
                    <a:pt x="58" y="30"/>
                  </a:lnTo>
                  <a:lnTo>
                    <a:pt x="66" y="40"/>
                  </a:lnTo>
                  <a:lnTo>
                    <a:pt x="64" y="48"/>
                  </a:lnTo>
                  <a:lnTo>
                    <a:pt x="60" y="54"/>
                  </a:lnTo>
                  <a:lnTo>
                    <a:pt x="54" y="62"/>
                  </a:lnTo>
                  <a:lnTo>
                    <a:pt x="52" y="72"/>
                  </a:lnTo>
                  <a:lnTo>
                    <a:pt x="56" y="76"/>
                  </a:lnTo>
                  <a:lnTo>
                    <a:pt x="60" y="82"/>
                  </a:lnTo>
                  <a:lnTo>
                    <a:pt x="64" y="86"/>
                  </a:lnTo>
                  <a:lnTo>
                    <a:pt x="66" y="90"/>
                  </a:lnTo>
                  <a:lnTo>
                    <a:pt x="70" y="100"/>
                  </a:lnTo>
                  <a:lnTo>
                    <a:pt x="66" y="104"/>
                  </a:lnTo>
                  <a:lnTo>
                    <a:pt x="58" y="108"/>
                  </a:lnTo>
                  <a:lnTo>
                    <a:pt x="52" y="112"/>
                  </a:lnTo>
                  <a:lnTo>
                    <a:pt x="42" y="114"/>
                  </a:lnTo>
                  <a:lnTo>
                    <a:pt x="34" y="114"/>
                  </a:lnTo>
                  <a:lnTo>
                    <a:pt x="26" y="106"/>
                  </a:lnTo>
                  <a:lnTo>
                    <a:pt x="20" y="98"/>
                  </a:lnTo>
                  <a:lnTo>
                    <a:pt x="20" y="90"/>
                  </a:lnTo>
                  <a:lnTo>
                    <a:pt x="20" y="78"/>
                  </a:lnTo>
                  <a:lnTo>
                    <a:pt x="26" y="72"/>
                  </a:lnTo>
                  <a:lnTo>
                    <a:pt x="22" y="62"/>
                  </a:lnTo>
                  <a:lnTo>
                    <a:pt x="18" y="50"/>
                  </a:lnTo>
                  <a:lnTo>
                    <a:pt x="6" y="50"/>
                  </a:lnTo>
                  <a:lnTo>
                    <a:pt x="2" y="42"/>
                  </a:lnTo>
                  <a:lnTo>
                    <a:pt x="0" y="34"/>
                  </a:lnTo>
                  <a:lnTo>
                    <a:pt x="4" y="28"/>
                  </a:lnTo>
                  <a:lnTo>
                    <a:pt x="14" y="22"/>
                  </a:lnTo>
                  <a:lnTo>
                    <a:pt x="12" y="14"/>
                  </a:lnTo>
                  <a:lnTo>
                    <a:pt x="16" y="8"/>
                  </a:lnTo>
                  <a:lnTo>
                    <a:pt x="22" y="0"/>
                  </a:lnTo>
                  <a:lnTo>
                    <a:pt x="28" y="2"/>
                  </a:lnTo>
                  <a:lnTo>
                    <a:pt x="34" y="6"/>
                  </a:lnTo>
                  <a:lnTo>
                    <a:pt x="42" y="12"/>
                  </a:lnTo>
                  <a:lnTo>
                    <a:pt x="44" y="16"/>
                  </a:lnTo>
                  <a:lnTo>
                    <a:pt x="44" y="22"/>
                  </a:lnTo>
                  <a:lnTo>
                    <a:pt x="42" y="3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86" name="Freeform 78">
              <a:extLst>
                <a:ext uri="{FF2B5EF4-FFF2-40B4-BE49-F238E27FC236}">
                  <a16:creationId xmlns:a16="http://schemas.microsoft.com/office/drawing/2014/main" id="{2BEB15BA-FD97-4C25-B066-059C507CD384}"/>
                </a:ext>
              </a:extLst>
            </p:cNvPr>
            <p:cNvSpPr>
              <a:spLocks/>
            </p:cNvSpPr>
            <p:nvPr/>
          </p:nvSpPr>
          <p:spPr bwMode="gray">
            <a:xfrm>
              <a:off x="4388528" y="4541970"/>
              <a:ext cx="79252" cy="99590"/>
            </a:xfrm>
            <a:custGeom>
              <a:avLst/>
              <a:gdLst>
                <a:gd name="T0" fmla="*/ 6 w 48"/>
                <a:gd name="T1" fmla="*/ 0 h 60"/>
                <a:gd name="T2" fmla="*/ 16 w 48"/>
                <a:gd name="T3" fmla="*/ 2 h 60"/>
                <a:gd name="T4" fmla="*/ 28 w 48"/>
                <a:gd name="T5" fmla="*/ 6 h 60"/>
                <a:gd name="T6" fmla="*/ 38 w 48"/>
                <a:gd name="T7" fmla="*/ 12 h 60"/>
                <a:gd name="T8" fmla="*/ 44 w 48"/>
                <a:gd name="T9" fmla="*/ 20 h 60"/>
                <a:gd name="T10" fmla="*/ 48 w 48"/>
                <a:gd name="T11" fmla="*/ 26 h 60"/>
                <a:gd name="T12" fmla="*/ 42 w 48"/>
                <a:gd name="T13" fmla="*/ 34 h 60"/>
                <a:gd name="T14" fmla="*/ 36 w 48"/>
                <a:gd name="T15" fmla="*/ 46 h 60"/>
                <a:gd name="T16" fmla="*/ 30 w 48"/>
                <a:gd name="T17" fmla="*/ 60 h 60"/>
                <a:gd name="T18" fmla="*/ 24 w 48"/>
                <a:gd name="T19" fmla="*/ 56 h 60"/>
                <a:gd name="T20" fmla="*/ 14 w 48"/>
                <a:gd name="T21" fmla="*/ 54 h 60"/>
                <a:gd name="T22" fmla="*/ 8 w 48"/>
                <a:gd name="T23" fmla="*/ 58 h 60"/>
                <a:gd name="T24" fmla="*/ 2 w 48"/>
                <a:gd name="T25" fmla="*/ 58 h 60"/>
                <a:gd name="T26" fmla="*/ 2 w 48"/>
                <a:gd name="T27" fmla="*/ 50 h 60"/>
                <a:gd name="T28" fmla="*/ 6 w 48"/>
                <a:gd name="T29" fmla="*/ 36 h 60"/>
                <a:gd name="T30" fmla="*/ 10 w 48"/>
                <a:gd name="T31" fmla="*/ 28 h 60"/>
                <a:gd name="T32" fmla="*/ 4 w 48"/>
                <a:gd name="T33" fmla="*/ 24 h 60"/>
                <a:gd name="T34" fmla="*/ 0 w 48"/>
                <a:gd name="T35" fmla="*/ 18 h 60"/>
                <a:gd name="T36" fmla="*/ 0 w 48"/>
                <a:gd name="T37" fmla="*/ 12 h 60"/>
                <a:gd name="T38" fmla="*/ 2 w 48"/>
                <a:gd name="T39" fmla="*/ 6 h 60"/>
                <a:gd name="T40" fmla="*/ 6 w 48"/>
                <a:gd name="T41"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8" h="60">
                  <a:moveTo>
                    <a:pt x="6" y="0"/>
                  </a:moveTo>
                  <a:lnTo>
                    <a:pt x="16" y="2"/>
                  </a:lnTo>
                  <a:lnTo>
                    <a:pt x="28" y="6"/>
                  </a:lnTo>
                  <a:lnTo>
                    <a:pt x="38" y="12"/>
                  </a:lnTo>
                  <a:lnTo>
                    <a:pt x="44" y="20"/>
                  </a:lnTo>
                  <a:lnTo>
                    <a:pt x="48" y="26"/>
                  </a:lnTo>
                  <a:lnTo>
                    <a:pt x="42" y="34"/>
                  </a:lnTo>
                  <a:lnTo>
                    <a:pt x="36" y="46"/>
                  </a:lnTo>
                  <a:lnTo>
                    <a:pt x="30" y="60"/>
                  </a:lnTo>
                  <a:lnTo>
                    <a:pt x="24" y="56"/>
                  </a:lnTo>
                  <a:lnTo>
                    <a:pt x="14" y="54"/>
                  </a:lnTo>
                  <a:lnTo>
                    <a:pt x="8" y="58"/>
                  </a:lnTo>
                  <a:lnTo>
                    <a:pt x="2" y="58"/>
                  </a:lnTo>
                  <a:lnTo>
                    <a:pt x="2" y="50"/>
                  </a:lnTo>
                  <a:lnTo>
                    <a:pt x="6" y="36"/>
                  </a:lnTo>
                  <a:lnTo>
                    <a:pt x="10" y="28"/>
                  </a:lnTo>
                  <a:lnTo>
                    <a:pt x="4" y="24"/>
                  </a:lnTo>
                  <a:lnTo>
                    <a:pt x="0" y="18"/>
                  </a:lnTo>
                  <a:lnTo>
                    <a:pt x="0" y="12"/>
                  </a:lnTo>
                  <a:lnTo>
                    <a:pt x="2" y="6"/>
                  </a:lnTo>
                  <a:lnTo>
                    <a:pt x="6"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87" name="Freeform 79">
              <a:extLst>
                <a:ext uri="{FF2B5EF4-FFF2-40B4-BE49-F238E27FC236}">
                  <a16:creationId xmlns:a16="http://schemas.microsoft.com/office/drawing/2014/main" id="{90813E70-9715-4D53-9E87-25A38F2502B5}"/>
                </a:ext>
              </a:extLst>
            </p:cNvPr>
            <p:cNvSpPr>
              <a:spLocks/>
            </p:cNvSpPr>
            <p:nvPr/>
          </p:nvSpPr>
          <p:spPr bwMode="gray">
            <a:xfrm>
              <a:off x="4299370" y="4538651"/>
              <a:ext cx="105669" cy="106229"/>
            </a:xfrm>
            <a:custGeom>
              <a:avLst/>
              <a:gdLst>
                <a:gd name="T0" fmla="*/ 14 w 64"/>
                <a:gd name="T1" fmla="*/ 0 h 64"/>
                <a:gd name="T2" fmla="*/ 22 w 64"/>
                <a:gd name="T3" fmla="*/ 0 h 64"/>
                <a:gd name="T4" fmla="*/ 32 w 64"/>
                <a:gd name="T5" fmla="*/ 2 h 64"/>
                <a:gd name="T6" fmla="*/ 36 w 64"/>
                <a:gd name="T7" fmla="*/ 2 h 64"/>
                <a:gd name="T8" fmla="*/ 42 w 64"/>
                <a:gd name="T9" fmla="*/ 2 h 64"/>
                <a:gd name="T10" fmla="*/ 48 w 64"/>
                <a:gd name="T11" fmla="*/ 2 h 64"/>
                <a:gd name="T12" fmla="*/ 54 w 64"/>
                <a:gd name="T13" fmla="*/ 2 h 64"/>
                <a:gd name="T14" fmla="*/ 60 w 64"/>
                <a:gd name="T15" fmla="*/ 2 h 64"/>
                <a:gd name="T16" fmla="*/ 54 w 64"/>
                <a:gd name="T17" fmla="*/ 14 h 64"/>
                <a:gd name="T18" fmla="*/ 54 w 64"/>
                <a:gd name="T19" fmla="*/ 20 h 64"/>
                <a:gd name="T20" fmla="*/ 58 w 64"/>
                <a:gd name="T21" fmla="*/ 26 h 64"/>
                <a:gd name="T22" fmla="*/ 64 w 64"/>
                <a:gd name="T23" fmla="*/ 30 h 64"/>
                <a:gd name="T24" fmla="*/ 56 w 64"/>
                <a:gd name="T25" fmla="*/ 52 h 64"/>
                <a:gd name="T26" fmla="*/ 56 w 64"/>
                <a:gd name="T27" fmla="*/ 60 h 64"/>
                <a:gd name="T28" fmla="*/ 50 w 64"/>
                <a:gd name="T29" fmla="*/ 58 h 64"/>
                <a:gd name="T30" fmla="*/ 42 w 64"/>
                <a:gd name="T31" fmla="*/ 56 h 64"/>
                <a:gd name="T32" fmla="*/ 36 w 64"/>
                <a:gd name="T33" fmla="*/ 54 h 64"/>
                <a:gd name="T34" fmla="*/ 32 w 64"/>
                <a:gd name="T35" fmla="*/ 54 h 64"/>
                <a:gd name="T36" fmla="*/ 32 w 64"/>
                <a:gd name="T37" fmla="*/ 60 h 64"/>
                <a:gd name="T38" fmla="*/ 30 w 64"/>
                <a:gd name="T39" fmla="*/ 64 h 64"/>
                <a:gd name="T40" fmla="*/ 28 w 64"/>
                <a:gd name="T41" fmla="*/ 64 h 64"/>
                <a:gd name="T42" fmla="*/ 22 w 64"/>
                <a:gd name="T43" fmla="*/ 64 h 64"/>
                <a:gd name="T44" fmla="*/ 18 w 64"/>
                <a:gd name="T45" fmla="*/ 60 h 64"/>
                <a:gd name="T46" fmla="*/ 12 w 64"/>
                <a:gd name="T47" fmla="*/ 46 h 64"/>
                <a:gd name="T48" fmla="*/ 0 w 64"/>
                <a:gd name="T49" fmla="*/ 32 h 64"/>
                <a:gd name="T50" fmla="*/ 2 w 64"/>
                <a:gd name="T51" fmla="*/ 22 h 64"/>
                <a:gd name="T52" fmla="*/ 8 w 64"/>
                <a:gd name="T53" fmla="*/ 14 h 64"/>
                <a:gd name="T54" fmla="*/ 12 w 64"/>
                <a:gd name="T55" fmla="*/ 8 h 64"/>
                <a:gd name="T56" fmla="*/ 14 w 64"/>
                <a:gd name="T5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4" h="64">
                  <a:moveTo>
                    <a:pt x="14" y="0"/>
                  </a:moveTo>
                  <a:lnTo>
                    <a:pt x="22" y="0"/>
                  </a:lnTo>
                  <a:lnTo>
                    <a:pt x="32" y="2"/>
                  </a:lnTo>
                  <a:lnTo>
                    <a:pt x="36" y="2"/>
                  </a:lnTo>
                  <a:lnTo>
                    <a:pt x="42" y="2"/>
                  </a:lnTo>
                  <a:lnTo>
                    <a:pt x="48" y="2"/>
                  </a:lnTo>
                  <a:lnTo>
                    <a:pt x="54" y="2"/>
                  </a:lnTo>
                  <a:lnTo>
                    <a:pt x="60" y="2"/>
                  </a:lnTo>
                  <a:lnTo>
                    <a:pt x="54" y="14"/>
                  </a:lnTo>
                  <a:lnTo>
                    <a:pt x="54" y="20"/>
                  </a:lnTo>
                  <a:lnTo>
                    <a:pt x="58" y="26"/>
                  </a:lnTo>
                  <a:lnTo>
                    <a:pt x="64" y="30"/>
                  </a:lnTo>
                  <a:lnTo>
                    <a:pt x="56" y="52"/>
                  </a:lnTo>
                  <a:lnTo>
                    <a:pt x="56" y="60"/>
                  </a:lnTo>
                  <a:lnTo>
                    <a:pt x="50" y="58"/>
                  </a:lnTo>
                  <a:lnTo>
                    <a:pt x="42" y="56"/>
                  </a:lnTo>
                  <a:lnTo>
                    <a:pt x="36" y="54"/>
                  </a:lnTo>
                  <a:lnTo>
                    <a:pt x="32" y="54"/>
                  </a:lnTo>
                  <a:lnTo>
                    <a:pt x="32" y="60"/>
                  </a:lnTo>
                  <a:lnTo>
                    <a:pt x="30" y="64"/>
                  </a:lnTo>
                  <a:lnTo>
                    <a:pt x="28" y="64"/>
                  </a:lnTo>
                  <a:lnTo>
                    <a:pt x="22" y="64"/>
                  </a:lnTo>
                  <a:lnTo>
                    <a:pt x="18" y="60"/>
                  </a:lnTo>
                  <a:lnTo>
                    <a:pt x="12" y="46"/>
                  </a:lnTo>
                  <a:lnTo>
                    <a:pt x="0" y="32"/>
                  </a:lnTo>
                  <a:lnTo>
                    <a:pt x="2" y="22"/>
                  </a:lnTo>
                  <a:lnTo>
                    <a:pt x="8" y="14"/>
                  </a:lnTo>
                  <a:lnTo>
                    <a:pt x="12" y="8"/>
                  </a:lnTo>
                  <a:lnTo>
                    <a:pt x="14"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88" name="Freeform 80">
              <a:extLst>
                <a:ext uri="{FF2B5EF4-FFF2-40B4-BE49-F238E27FC236}">
                  <a16:creationId xmlns:a16="http://schemas.microsoft.com/office/drawing/2014/main" id="{A0769C81-5AB0-4136-BBBF-7BCF830047CB}"/>
                </a:ext>
              </a:extLst>
            </p:cNvPr>
            <p:cNvSpPr>
              <a:spLocks/>
            </p:cNvSpPr>
            <p:nvPr/>
          </p:nvSpPr>
          <p:spPr bwMode="gray">
            <a:xfrm>
              <a:off x="3688474" y="4694675"/>
              <a:ext cx="326912" cy="484671"/>
            </a:xfrm>
            <a:custGeom>
              <a:avLst/>
              <a:gdLst>
                <a:gd name="T0" fmla="*/ 6 w 198"/>
                <a:gd name="T1" fmla="*/ 60 h 292"/>
                <a:gd name="T2" fmla="*/ 16 w 198"/>
                <a:gd name="T3" fmla="*/ 54 h 292"/>
                <a:gd name="T4" fmla="*/ 24 w 198"/>
                <a:gd name="T5" fmla="*/ 68 h 292"/>
                <a:gd name="T6" fmla="*/ 44 w 198"/>
                <a:gd name="T7" fmla="*/ 70 h 292"/>
                <a:gd name="T8" fmla="*/ 54 w 198"/>
                <a:gd name="T9" fmla="*/ 52 h 292"/>
                <a:gd name="T10" fmla="*/ 72 w 198"/>
                <a:gd name="T11" fmla="*/ 40 h 292"/>
                <a:gd name="T12" fmla="*/ 84 w 198"/>
                <a:gd name="T13" fmla="*/ 34 h 292"/>
                <a:gd name="T14" fmla="*/ 94 w 198"/>
                <a:gd name="T15" fmla="*/ 18 h 292"/>
                <a:gd name="T16" fmla="*/ 104 w 198"/>
                <a:gd name="T17" fmla="*/ 2 h 292"/>
                <a:gd name="T18" fmla="*/ 114 w 198"/>
                <a:gd name="T19" fmla="*/ 14 h 292"/>
                <a:gd name="T20" fmla="*/ 126 w 198"/>
                <a:gd name="T21" fmla="*/ 26 h 292"/>
                <a:gd name="T22" fmla="*/ 172 w 198"/>
                <a:gd name="T23" fmla="*/ 36 h 292"/>
                <a:gd name="T24" fmla="*/ 176 w 198"/>
                <a:gd name="T25" fmla="*/ 48 h 292"/>
                <a:gd name="T26" fmla="*/ 172 w 198"/>
                <a:gd name="T27" fmla="*/ 64 h 292"/>
                <a:gd name="T28" fmla="*/ 172 w 198"/>
                <a:gd name="T29" fmla="*/ 68 h 292"/>
                <a:gd name="T30" fmla="*/ 142 w 198"/>
                <a:gd name="T31" fmla="*/ 76 h 292"/>
                <a:gd name="T32" fmla="*/ 130 w 198"/>
                <a:gd name="T33" fmla="*/ 98 h 292"/>
                <a:gd name="T34" fmla="*/ 116 w 198"/>
                <a:gd name="T35" fmla="*/ 116 h 292"/>
                <a:gd name="T36" fmla="*/ 124 w 198"/>
                <a:gd name="T37" fmla="*/ 138 h 292"/>
                <a:gd name="T38" fmla="*/ 144 w 198"/>
                <a:gd name="T39" fmla="*/ 158 h 292"/>
                <a:gd name="T40" fmla="*/ 162 w 198"/>
                <a:gd name="T41" fmla="*/ 156 h 292"/>
                <a:gd name="T42" fmla="*/ 172 w 198"/>
                <a:gd name="T43" fmla="*/ 154 h 292"/>
                <a:gd name="T44" fmla="*/ 170 w 198"/>
                <a:gd name="T45" fmla="*/ 172 h 292"/>
                <a:gd name="T46" fmla="*/ 188 w 198"/>
                <a:gd name="T47" fmla="*/ 174 h 292"/>
                <a:gd name="T48" fmla="*/ 198 w 198"/>
                <a:gd name="T49" fmla="*/ 208 h 292"/>
                <a:gd name="T50" fmla="*/ 196 w 198"/>
                <a:gd name="T51" fmla="*/ 228 h 292"/>
                <a:gd name="T52" fmla="*/ 190 w 198"/>
                <a:gd name="T53" fmla="*/ 240 h 292"/>
                <a:gd name="T54" fmla="*/ 192 w 198"/>
                <a:gd name="T55" fmla="*/ 256 h 292"/>
                <a:gd name="T56" fmla="*/ 194 w 198"/>
                <a:gd name="T57" fmla="*/ 268 h 292"/>
                <a:gd name="T58" fmla="*/ 184 w 198"/>
                <a:gd name="T59" fmla="*/ 282 h 292"/>
                <a:gd name="T60" fmla="*/ 174 w 198"/>
                <a:gd name="T61" fmla="*/ 292 h 292"/>
                <a:gd name="T62" fmla="*/ 140 w 198"/>
                <a:gd name="T63" fmla="*/ 268 h 292"/>
                <a:gd name="T64" fmla="*/ 100 w 198"/>
                <a:gd name="T65" fmla="*/ 248 h 292"/>
                <a:gd name="T66" fmla="*/ 76 w 198"/>
                <a:gd name="T67" fmla="*/ 222 h 292"/>
                <a:gd name="T68" fmla="*/ 72 w 198"/>
                <a:gd name="T69" fmla="*/ 198 h 292"/>
                <a:gd name="T70" fmla="*/ 56 w 198"/>
                <a:gd name="T71" fmla="*/ 172 h 292"/>
                <a:gd name="T72" fmla="*/ 36 w 198"/>
                <a:gd name="T73" fmla="*/ 132 h 292"/>
                <a:gd name="T74" fmla="*/ 16 w 198"/>
                <a:gd name="T75" fmla="*/ 102 h 292"/>
                <a:gd name="T76" fmla="*/ 6 w 198"/>
                <a:gd name="T77" fmla="*/ 84 h 292"/>
                <a:gd name="T78" fmla="*/ 2 w 198"/>
                <a:gd name="T79" fmla="*/ 68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98" h="292">
                  <a:moveTo>
                    <a:pt x="2" y="68"/>
                  </a:moveTo>
                  <a:lnTo>
                    <a:pt x="6" y="60"/>
                  </a:lnTo>
                  <a:lnTo>
                    <a:pt x="10" y="54"/>
                  </a:lnTo>
                  <a:lnTo>
                    <a:pt x="16" y="54"/>
                  </a:lnTo>
                  <a:lnTo>
                    <a:pt x="16" y="66"/>
                  </a:lnTo>
                  <a:lnTo>
                    <a:pt x="24" y="68"/>
                  </a:lnTo>
                  <a:lnTo>
                    <a:pt x="34" y="78"/>
                  </a:lnTo>
                  <a:lnTo>
                    <a:pt x="44" y="70"/>
                  </a:lnTo>
                  <a:lnTo>
                    <a:pt x="48" y="60"/>
                  </a:lnTo>
                  <a:lnTo>
                    <a:pt x="54" y="52"/>
                  </a:lnTo>
                  <a:lnTo>
                    <a:pt x="60" y="46"/>
                  </a:lnTo>
                  <a:lnTo>
                    <a:pt x="72" y="40"/>
                  </a:lnTo>
                  <a:lnTo>
                    <a:pt x="80" y="36"/>
                  </a:lnTo>
                  <a:lnTo>
                    <a:pt x="84" y="34"/>
                  </a:lnTo>
                  <a:lnTo>
                    <a:pt x="90" y="26"/>
                  </a:lnTo>
                  <a:lnTo>
                    <a:pt x="94" y="18"/>
                  </a:lnTo>
                  <a:lnTo>
                    <a:pt x="96" y="0"/>
                  </a:lnTo>
                  <a:lnTo>
                    <a:pt x="104" y="2"/>
                  </a:lnTo>
                  <a:lnTo>
                    <a:pt x="110" y="10"/>
                  </a:lnTo>
                  <a:lnTo>
                    <a:pt x="114" y="14"/>
                  </a:lnTo>
                  <a:lnTo>
                    <a:pt x="120" y="20"/>
                  </a:lnTo>
                  <a:lnTo>
                    <a:pt x="126" y="26"/>
                  </a:lnTo>
                  <a:lnTo>
                    <a:pt x="130" y="34"/>
                  </a:lnTo>
                  <a:lnTo>
                    <a:pt x="172" y="36"/>
                  </a:lnTo>
                  <a:lnTo>
                    <a:pt x="174" y="42"/>
                  </a:lnTo>
                  <a:lnTo>
                    <a:pt x="176" y="48"/>
                  </a:lnTo>
                  <a:lnTo>
                    <a:pt x="172" y="54"/>
                  </a:lnTo>
                  <a:lnTo>
                    <a:pt x="172" y="64"/>
                  </a:lnTo>
                  <a:lnTo>
                    <a:pt x="178" y="68"/>
                  </a:lnTo>
                  <a:lnTo>
                    <a:pt x="172" y="68"/>
                  </a:lnTo>
                  <a:lnTo>
                    <a:pt x="156" y="70"/>
                  </a:lnTo>
                  <a:lnTo>
                    <a:pt x="142" y="76"/>
                  </a:lnTo>
                  <a:lnTo>
                    <a:pt x="132" y="88"/>
                  </a:lnTo>
                  <a:lnTo>
                    <a:pt x="130" y="98"/>
                  </a:lnTo>
                  <a:lnTo>
                    <a:pt x="124" y="104"/>
                  </a:lnTo>
                  <a:lnTo>
                    <a:pt x="116" y="116"/>
                  </a:lnTo>
                  <a:lnTo>
                    <a:pt x="120" y="126"/>
                  </a:lnTo>
                  <a:lnTo>
                    <a:pt x="124" y="138"/>
                  </a:lnTo>
                  <a:lnTo>
                    <a:pt x="134" y="148"/>
                  </a:lnTo>
                  <a:lnTo>
                    <a:pt x="144" y="158"/>
                  </a:lnTo>
                  <a:lnTo>
                    <a:pt x="152" y="160"/>
                  </a:lnTo>
                  <a:lnTo>
                    <a:pt x="162" y="156"/>
                  </a:lnTo>
                  <a:lnTo>
                    <a:pt x="170" y="148"/>
                  </a:lnTo>
                  <a:lnTo>
                    <a:pt x="172" y="154"/>
                  </a:lnTo>
                  <a:lnTo>
                    <a:pt x="168" y="166"/>
                  </a:lnTo>
                  <a:lnTo>
                    <a:pt x="170" y="172"/>
                  </a:lnTo>
                  <a:lnTo>
                    <a:pt x="176" y="172"/>
                  </a:lnTo>
                  <a:lnTo>
                    <a:pt x="188" y="174"/>
                  </a:lnTo>
                  <a:lnTo>
                    <a:pt x="198" y="200"/>
                  </a:lnTo>
                  <a:lnTo>
                    <a:pt x="198" y="208"/>
                  </a:lnTo>
                  <a:lnTo>
                    <a:pt x="196" y="222"/>
                  </a:lnTo>
                  <a:lnTo>
                    <a:pt x="196" y="228"/>
                  </a:lnTo>
                  <a:lnTo>
                    <a:pt x="194" y="230"/>
                  </a:lnTo>
                  <a:lnTo>
                    <a:pt x="190" y="240"/>
                  </a:lnTo>
                  <a:lnTo>
                    <a:pt x="188" y="250"/>
                  </a:lnTo>
                  <a:lnTo>
                    <a:pt x="192" y="256"/>
                  </a:lnTo>
                  <a:lnTo>
                    <a:pt x="198" y="262"/>
                  </a:lnTo>
                  <a:lnTo>
                    <a:pt x="194" y="268"/>
                  </a:lnTo>
                  <a:lnTo>
                    <a:pt x="186" y="276"/>
                  </a:lnTo>
                  <a:lnTo>
                    <a:pt x="184" y="282"/>
                  </a:lnTo>
                  <a:lnTo>
                    <a:pt x="180" y="290"/>
                  </a:lnTo>
                  <a:lnTo>
                    <a:pt x="174" y="292"/>
                  </a:lnTo>
                  <a:lnTo>
                    <a:pt x="158" y="278"/>
                  </a:lnTo>
                  <a:lnTo>
                    <a:pt x="140" y="268"/>
                  </a:lnTo>
                  <a:lnTo>
                    <a:pt x="118" y="258"/>
                  </a:lnTo>
                  <a:lnTo>
                    <a:pt x="100" y="248"/>
                  </a:lnTo>
                  <a:lnTo>
                    <a:pt x="90" y="236"/>
                  </a:lnTo>
                  <a:lnTo>
                    <a:pt x="76" y="222"/>
                  </a:lnTo>
                  <a:lnTo>
                    <a:pt x="82" y="214"/>
                  </a:lnTo>
                  <a:lnTo>
                    <a:pt x="72" y="198"/>
                  </a:lnTo>
                  <a:lnTo>
                    <a:pt x="64" y="186"/>
                  </a:lnTo>
                  <a:lnTo>
                    <a:pt x="56" y="172"/>
                  </a:lnTo>
                  <a:lnTo>
                    <a:pt x="48" y="152"/>
                  </a:lnTo>
                  <a:lnTo>
                    <a:pt x="36" y="132"/>
                  </a:lnTo>
                  <a:lnTo>
                    <a:pt x="26" y="112"/>
                  </a:lnTo>
                  <a:lnTo>
                    <a:pt x="16" y="102"/>
                  </a:lnTo>
                  <a:lnTo>
                    <a:pt x="4" y="96"/>
                  </a:lnTo>
                  <a:lnTo>
                    <a:pt x="6" y="84"/>
                  </a:lnTo>
                  <a:lnTo>
                    <a:pt x="0" y="78"/>
                  </a:lnTo>
                  <a:lnTo>
                    <a:pt x="2" y="6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89" name="Freeform 81">
              <a:extLst>
                <a:ext uri="{FF2B5EF4-FFF2-40B4-BE49-F238E27FC236}">
                  <a16:creationId xmlns:a16="http://schemas.microsoft.com/office/drawing/2014/main" id="{3CF5A303-F27C-4ABB-9B90-7FD8D00324B7}"/>
                </a:ext>
              </a:extLst>
            </p:cNvPr>
            <p:cNvSpPr>
              <a:spLocks/>
            </p:cNvSpPr>
            <p:nvPr/>
          </p:nvSpPr>
          <p:spPr bwMode="gray">
            <a:xfrm>
              <a:off x="3998875" y="4953608"/>
              <a:ext cx="310401" cy="355203"/>
            </a:xfrm>
            <a:custGeom>
              <a:avLst/>
              <a:gdLst>
                <a:gd name="T0" fmla="*/ 54 w 188"/>
                <a:gd name="T1" fmla="*/ 0 h 214"/>
                <a:gd name="T2" fmla="*/ 68 w 188"/>
                <a:gd name="T3" fmla="*/ 28 h 214"/>
                <a:gd name="T4" fmla="*/ 100 w 188"/>
                <a:gd name="T5" fmla="*/ 44 h 214"/>
                <a:gd name="T6" fmla="*/ 122 w 188"/>
                <a:gd name="T7" fmla="*/ 56 h 214"/>
                <a:gd name="T8" fmla="*/ 146 w 188"/>
                <a:gd name="T9" fmla="*/ 74 h 214"/>
                <a:gd name="T10" fmla="*/ 146 w 188"/>
                <a:gd name="T11" fmla="*/ 90 h 214"/>
                <a:gd name="T12" fmla="*/ 160 w 188"/>
                <a:gd name="T13" fmla="*/ 102 h 214"/>
                <a:gd name="T14" fmla="*/ 174 w 188"/>
                <a:gd name="T15" fmla="*/ 110 h 214"/>
                <a:gd name="T16" fmla="*/ 186 w 188"/>
                <a:gd name="T17" fmla="*/ 126 h 214"/>
                <a:gd name="T18" fmla="*/ 188 w 188"/>
                <a:gd name="T19" fmla="*/ 142 h 214"/>
                <a:gd name="T20" fmla="*/ 184 w 188"/>
                <a:gd name="T21" fmla="*/ 162 h 214"/>
                <a:gd name="T22" fmla="*/ 174 w 188"/>
                <a:gd name="T23" fmla="*/ 160 h 214"/>
                <a:gd name="T24" fmla="*/ 152 w 188"/>
                <a:gd name="T25" fmla="*/ 152 h 214"/>
                <a:gd name="T26" fmla="*/ 126 w 188"/>
                <a:gd name="T27" fmla="*/ 158 h 214"/>
                <a:gd name="T28" fmla="*/ 114 w 188"/>
                <a:gd name="T29" fmla="*/ 174 h 214"/>
                <a:gd name="T30" fmla="*/ 112 w 188"/>
                <a:gd name="T31" fmla="*/ 194 h 214"/>
                <a:gd name="T32" fmla="*/ 90 w 188"/>
                <a:gd name="T33" fmla="*/ 198 h 214"/>
                <a:gd name="T34" fmla="*/ 74 w 188"/>
                <a:gd name="T35" fmla="*/ 200 h 214"/>
                <a:gd name="T36" fmla="*/ 52 w 188"/>
                <a:gd name="T37" fmla="*/ 196 h 214"/>
                <a:gd name="T38" fmla="*/ 40 w 188"/>
                <a:gd name="T39" fmla="*/ 210 h 214"/>
                <a:gd name="T40" fmla="*/ 32 w 188"/>
                <a:gd name="T41" fmla="*/ 214 h 214"/>
                <a:gd name="T42" fmla="*/ 28 w 188"/>
                <a:gd name="T43" fmla="*/ 214 h 214"/>
                <a:gd name="T44" fmla="*/ 22 w 188"/>
                <a:gd name="T45" fmla="*/ 186 h 214"/>
                <a:gd name="T46" fmla="*/ 14 w 188"/>
                <a:gd name="T47" fmla="*/ 156 h 214"/>
                <a:gd name="T48" fmla="*/ 2 w 188"/>
                <a:gd name="T49" fmla="*/ 126 h 214"/>
                <a:gd name="T50" fmla="*/ 6 w 188"/>
                <a:gd name="T51" fmla="*/ 112 h 214"/>
                <a:gd name="T52" fmla="*/ 4 w 188"/>
                <a:gd name="T53" fmla="*/ 100 h 214"/>
                <a:gd name="T54" fmla="*/ 2 w 188"/>
                <a:gd name="T55" fmla="*/ 84 h 214"/>
                <a:gd name="T56" fmla="*/ 8 w 188"/>
                <a:gd name="T57" fmla="*/ 72 h 214"/>
                <a:gd name="T58" fmla="*/ 10 w 188"/>
                <a:gd name="T59" fmla="*/ 44 h 214"/>
                <a:gd name="T60" fmla="*/ 10 w 188"/>
                <a:gd name="T61" fmla="*/ 18 h 214"/>
                <a:gd name="T62" fmla="*/ 34 w 188"/>
                <a:gd name="T63" fmla="*/ 10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8" h="214">
                  <a:moveTo>
                    <a:pt x="42" y="4"/>
                  </a:moveTo>
                  <a:lnTo>
                    <a:pt x="54" y="0"/>
                  </a:lnTo>
                  <a:lnTo>
                    <a:pt x="66" y="0"/>
                  </a:lnTo>
                  <a:lnTo>
                    <a:pt x="68" y="28"/>
                  </a:lnTo>
                  <a:lnTo>
                    <a:pt x="80" y="40"/>
                  </a:lnTo>
                  <a:lnTo>
                    <a:pt x="100" y="44"/>
                  </a:lnTo>
                  <a:lnTo>
                    <a:pt x="104" y="50"/>
                  </a:lnTo>
                  <a:lnTo>
                    <a:pt x="122" y="56"/>
                  </a:lnTo>
                  <a:lnTo>
                    <a:pt x="142" y="62"/>
                  </a:lnTo>
                  <a:lnTo>
                    <a:pt x="146" y="74"/>
                  </a:lnTo>
                  <a:lnTo>
                    <a:pt x="148" y="82"/>
                  </a:lnTo>
                  <a:lnTo>
                    <a:pt x="146" y="90"/>
                  </a:lnTo>
                  <a:lnTo>
                    <a:pt x="148" y="102"/>
                  </a:lnTo>
                  <a:lnTo>
                    <a:pt x="160" y="102"/>
                  </a:lnTo>
                  <a:lnTo>
                    <a:pt x="176" y="102"/>
                  </a:lnTo>
                  <a:lnTo>
                    <a:pt x="174" y="110"/>
                  </a:lnTo>
                  <a:lnTo>
                    <a:pt x="176" y="122"/>
                  </a:lnTo>
                  <a:lnTo>
                    <a:pt x="186" y="126"/>
                  </a:lnTo>
                  <a:lnTo>
                    <a:pt x="188" y="136"/>
                  </a:lnTo>
                  <a:lnTo>
                    <a:pt x="188" y="142"/>
                  </a:lnTo>
                  <a:lnTo>
                    <a:pt x="180" y="156"/>
                  </a:lnTo>
                  <a:lnTo>
                    <a:pt x="184" y="162"/>
                  </a:lnTo>
                  <a:lnTo>
                    <a:pt x="180" y="166"/>
                  </a:lnTo>
                  <a:lnTo>
                    <a:pt x="174" y="160"/>
                  </a:lnTo>
                  <a:lnTo>
                    <a:pt x="164" y="154"/>
                  </a:lnTo>
                  <a:lnTo>
                    <a:pt x="152" y="152"/>
                  </a:lnTo>
                  <a:lnTo>
                    <a:pt x="136" y="154"/>
                  </a:lnTo>
                  <a:lnTo>
                    <a:pt x="126" y="158"/>
                  </a:lnTo>
                  <a:lnTo>
                    <a:pt x="120" y="160"/>
                  </a:lnTo>
                  <a:lnTo>
                    <a:pt x="114" y="174"/>
                  </a:lnTo>
                  <a:lnTo>
                    <a:pt x="114" y="184"/>
                  </a:lnTo>
                  <a:lnTo>
                    <a:pt x="112" y="194"/>
                  </a:lnTo>
                  <a:lnTo>
                    <a:pt x="108" y="198"/>
                  </a:lnTo>
                  <a:lnTo>
                    <a:pt x="90" y="198"/>
                  </a:lnTo>
                  <a:lnTo>
                    <a:pt x="84" y="212"/>
                  </a:lnTo>
                  <a:lnTo>
                    <a:pt x="74" y="200"/>
                  </a:lnTo>
                  <a:lnTo>
                    <a:pt x="60" y="202"/>
                  </a:lnTo>
                  <a:lnTo>
                    <a:pt x="52" y="196"/>
                  </a:lnTo>
                  <a:lnTo>
                    <a:pt x="44" y="202"/>
                  </a:lnTo>
                  <a:lnTo>
                    <a:pt x="40" y="210"/>
                  </a:lnTo>
                  <a:lnTo>
                    <a:pt x="38" y="214"/>
                  </a:lnTo>
                  <a:lnTo>
                    <a:pt x="32" y="214"/>
                  </a:lnTo>
                  <a:lnTo>
                    <a:pt x="30" y="214"/>
                  </a:lnTo>
                  <a:lnTo>
                    <a:pt x="28" y="214"/>
                  </a:lnTo>
                  <a:lnTo>
                    <a:pt x="26" y="200"/>
                  </a:lnTo>
                  <a:lnTo>
                    <a:pt x="22" y="186"/>
                  </a:lnTo>
                  <a:lnTo>
                    <a:pt x="14" y="174"/>
                  </a:lnTo>
                  <a:lnTo>
                    <a:pt x="14" y="156"/>
                  </a:lnTo>
                  <a:lnTo>
                    <a:pt x="8" y="144"/>
                  </a:lnTo>
                  <a:lnTo>
                    <a:pt x="2" y="126"/>
                  </a:lnTo>
                  <a:lnTo>
                    <a:pt x="0" y="118"/>
                  </a:lnTo>
                  <a:lnTo>
                    <a:pt x="6" y="112"/>
                  </a:lnTo>
                  <a:lnTo>
                    <a:pt x="10" y="106"/>
                  </a:lnTo>
                  <a:lnTo>
                    <a:pt x="4" y="100"/>
                  </a:lnTo>
                  <a:lnTo>
                    <a:pt x="0" y="94"/>
                  </a:lnTo>
                  <a:lnTo>
                    <a:pt x="2" y="84"/>
                  </a:lnTo>
                  <a:lnTo>
                    <a:pt x="6" y="74"/>
                  </a:lnTo>
                  <a:lnTo>
                    <a:pt x="8" y="72"/>
                  </a:lnTo>
                  <a:lnTo>
                    <a:pt x="8" y="66"/>
                  </a:lnTo>
                  <a:lnTo>
                    <a:pt x="10" y="44"/>
                  </a:lnTo>
                  <a:lnTo>
                    <a:pt x="0" y="18"/>
                  </a:lnTo>
                  <a:lnTo>
                    <a:pt x="10" y="18"/>
                  </a:lnTo>
                  <a:lnTo>
                    <a:pt x="20" y="16"/>
                  </a:lnTo>
                  <a:lnTo>
                    <a:pt x="34" y="10"/>
                  </a:lnTo>
                  <a:lnTo>
                    <a:pt x="42" y="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90" name="Freeform 82">
              <a:extLst>
                <a:ext uri="{FF2B5EF4-FFF2-40B4-BE49-F238E27FC236}">
                  <a16:creationId xmlns:a16="http://schemas.microsoft.com/office/drawing/2014/main" id="{264214CA-69A8-45AF-88D8-F196959928A5}"/>
                </a:ext>
              </a:extLst>
            </p:cNvPr>
            <p:cNvSpPr>
              <a:spLocks/>
            </p:cNvSpPr>
            <p:nvPr/>
          </p:nvSpPr>
          <p:spPr bwMode="gray">
            <a:xfrm>
              <a:off x="4177191" y="5205902"/>
              <a:ext cx="221243" cy="232376"/>
            </a:xfrm>
            <a:custGeom>
              <a:avLst/>
              <a:gdLst>
                <a:gd name="T0" fmla="*/ 108 w 134"/>
                <a:gd name="T1" fmla="*/ 136 h 140"/>
                <a:gd name="T2" fmla="*/ 94 w 134"/>
                <a:gd name="T3" fmla="*/ 140 h 140"/>
                <a:gd name="T4" fmla="*/ 72 w 134"/>
                <a:gd name="T5" fmla="*/ 140 h 140"/>
                <a:gd name="T6" fmla="*/ 66 w 134"/>
                <a:gd name="T7" fmla="*/ 132 h 140"/>
                <a:gd name="T8" fmla="*/ 72 w 134"/>
                <a:gd name="T9" fmla="*/ 118 h 140"/>
                <a:gd name="T10" fmla="*/ 80 w 134"/>
                <a:gd name="T11" fmla="*/ 106 h 140"/>
                <a:gd name="T12" fmla="*/ 74 w 134"/>
                <a:gd name="T13" fmla="*/ 98 h 140"/>
                <a:gd name="T14" fmla="*/ 54 w 134"/>
                <a:gd name="T15" fmla="*/ 90 h 140"/>
                <a:gd name="T16" fmla="*/ 38 w 134"/>
                <a:gd name="T17" fmla="*/ 78 h 140"/>
                <a:gd name="T18" fmla="*/ 30 w 134"/>
                <a:gd name="T19" fmla="*/ 78 h 140"/>
                <a:gd name="T20" fmla="*/ 20 w 134"/>
                <a:gd name="T21" fmla="*/ 72 h 140"/>
                <a:gd name="T22" fmla="*/ 8 w 134"/>
                <a:gd name="T23" fmla="*/ 60 h 140"/>
                <a:gd name="T24" fmla="*/ 2 w 134"/>
                <a:gd name="T25" fmla="*/ 52 h 140"/>
                <a:gd name="T26" fmla="*/ 0 w 134"/>
                <a:gd name="T27" fmla="*/ 46 h 140"/>
                <a:gd name="T28" fmla="*/ 4 w 134"/>
                <a:gd name="T29" fmla="*/ 42 h 140"/>
                <a:gd name="T30" fmla="*/ 6 w 134"/>
                <a:gd name="T31" fmla="*/ 32 h 140"/>
                <a:gd name="T32" fmla="*/ 6 w 134"/>
                <a:gd name="T33" fmla="*/ 22 h 140"/>
                <a:gd name="T34" fmla="*/ 12 w 134"/>
                <a:gd name="T35" fmla="*/ 8 h 140"/>
                <a:gd name="T36" fmla="*/ 28 w 134"/>
                <a:gd name="T37" fmla="*/ 2 h 140"/>
                <a:gd name="T38" fmla="*/ 44 w 134"/>
                <a:gd name="T39" fmla="*/ 0 h 140"/>
                <a:gd name="T40" fmla="*/ 56 w 134"/>
                <a:gd name="T41" fmla="*/ 2 h 140"/>
                <a:gd name="T42" fmla="*/ 66 w 134"/>
                <a:gd name="T43" fmla="*/ 8 h 140"/>
                <a:gd name="T44" fmla="*/ 72 w 134"/>
                <a:gd name="T45" fmla="*/ 14 h 140"/>
                <a:gd name="T46" fmla="*/ 76 w 134"/>
                <a:gd name="T47" fmla="*/ 22 h 140"/>
                <a:gd name="T48" fmla="*/ 76 w 134"/>
                <a:gd name="T49" fmla="*/ 34 h 140"/>
                <a:gd name="T50" fmla="*/ 76 w 134"/>
                <a:gd name="T51" fmla="*/ 50 h 140"/>
                <a:gd name="T52" fmla="*/ 86 w 134"/>
                <a:gd name="T53" fmla="*/ 50 h 140"/>
                <a:gd name="T54" fmla="*/ 94 w 134"/>
                <a:gd name="T55" fmla="*/ 48 h 140"/>
                <a:gd name="T56" fmla="*/ 104 w 134"/>
                <a:gd name="T57" fmla="*/ 50 h 140"/>
                <a:gd name="T58" fmla="*/ 110 w 134"/>
                <a:gd name="T59" fmla="*/ 54 h 140"/>
                <a:gd name="T60" fmla="*/ 108 w 134"/>
                <a:gd name="T61" fmla="*/ 64 h 140"/>
                <a:gd name="T62" fmla="*/ 112 w 134"/>
                <a:gd name="T63" fmla="*/ 74 h 140"/>
                <a:gd name="T64" fmla="*/ 120 w 134"/>
                <a:gd name="T65" fmla="*/ 82 h 140"/>
                <a:gd name="T66" fmla="*/ 128 w 134"/>
                <a:gd name="T67" fmla="*/ 80 h 140"/>
                <a:gd name="T68" fmla="*/ 134 w 134"/>
                <a:gd name="T69" fmla="*/ 82 h 140"/>
                <a:gd name="T70" fmla="*/ 132 w 134"/>
                <a:gd name="T71" fmla="*/ 90 h 140"/>
                <a:gd name="T72" fmla="*/ 128 w 134"/>
                <a:gd name="T73" fmla="*/ 100 h 140"/>
                <a:gd name="T74" fmla="*/ 128 w 134"/>
                <a:gd name="T75" fmla="*/ 114 h 140"/>
                <a:gd name="T76" fmla="*/ 126 w 134"/>
                <a:gd name="T77" fmla="*/ 120 h 140"/>
                <a:gd name="T78" fmla="*/ 122 w 134"/>
                <a:gd name="T79" fmla="*/ 128 h 140"/>
                <a:gd name="T80" fmla="*/ 112 w 134"/>
                <a:gd name="T81" fmla="*/ 134 h 140"/>
                <a:gd name="T82" fmla="*/ 108 w 134"/>
                <a:gd name="T83" fmla="*/ 13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4" h="140">
                  <a:moveTo>
                    <a:pt x="108" y="136"/>
                  </a:moveTo>
                  <a:lnTo>
                    <a:pt x="94" y="140"/>
                  </a:lnTo>
                  <a:lnTo>
                    <a:pt x="72" y="140"/>
                  </a:lnTo>
                  <a:lnTo>
                    <a:pt x="66" y="132"/>
                  </a:lnTo>
                  <a:lnTo>
                    <a:pt x="72" y="118"/>
                  </a:lnTo>
                  <a:lnTo>
                    <a:pt x="80" y="106"/>
                  </a:lnTo>
                  <a:lnTo>
                    <a:pt x="74" y="98"/>
                  </a:lnTo>
                  <a:lnTo>
                    <a:pt x="54" y="90"/>
                  </a:lnTo>
                  <a:lnTo>
                    <a:pt x="38" y="78"/>
                  </a:lnTo>
                  <a:lnTo>
                    <a:pt x="30" y="78"/>
                  </a:lnTo>
                  <a:lnTo>
                    <a:pt x="20" y="72"/>
                  </a:lnTo>
                  <a:lnTo>
                    <a:pt x="8" y="60"/>
                  </a:lnTo>
                  <a:lnTo>
                    <a:pt x="2" y="52"/>
                  </a:lnTo>
                  <a:lnTo>
                    <a:pt x="0" y="46"/>
                  </a:lnTo>
                  <a:lnTo>
                    <a:pt x="4" y="42"/>
                  </a:lnTo>
                  <a:lnTo>
                    <a:pt x="6" y="32"/>
                  </a:lnTo>
                  <a:lnTo>
                    <a:pt x="6" y="22"/>
                  </a:lnTo>
                  <a:lnTo>
                    <a:pt x="12" y="8"/>
                  </a:lnTo>
                  <a:lnTo>
                    <a:pt x="28" y="2"/>
                  </a:lnTo>
                  <a:lnTo>
                    <a:pt x="44" y="0"/>
                  </a:lnTo>
                  <a:lnTo>
                    <a:pt x="56" y="2"/>
                  </a:lnTo>
                  <a:lnTo>
                    <a:pt x="66" y="8"/>
                  </a:lnTo>
                  <a:lnTo>
                    <a:pt x="72" y="14"/>
                  </a:lnTo>
                  <a:lnTo>
                    <a:pt x="76" y="22"/>
                  </a:lnTo>
                  <a:lnTo>
                    <a:pt x="76" y="34"/>
                  </a:lnTo>
                  <a:lnTo>
                    <a:pt x="76" y="50"/>
                  </a:lnTo>
                  <a:lnTo>
                    <a:pt x="86" y="50"/>
                  </a:lnTo>
                  <a:lnTo>
                    <a:pt x="94" y="48"/>
                  </a:lnTo>
                  <a:lnTo>
                    <a:pt x="104" y="50"/>
                  </a:lnTo>
                  <a:lnTo>
                    <a:pt x="110" y="54"/>
                  </a:lnTo>
                  <a:lnTo>
                    <a:pt x="108" y="64"/>
                  </a:lnTo>
                  <a:lnTo>
                    <a:pt x="112" y="74"/>
                  </a:lnTo>
                  <a:lnTo>
                    <a:pt x="120" y="82"/>
                  </a:lnTo>
                  <a:lnTo>
                    <a:pt x="128" y="80"/>
                  </a:lnTo>
                  <a:lnTo>
                    <a:pt x="134" y="82"/>
                  </a:lnTo>
                  <a:lnTo>
                    <a:pt x="132" y="90"/>
                  </a:lnTo>
                  <a:lnTo>
                    <a:pt x="128" y="100"/>
                  </a:lnTo>
                  <a:lnTo>
                    <a:pt x="128" y="114"/>
                  </a:lnTo>
                  <a:lnTo>
                    <a:pt x="126" y="120"/>
                  </a:lnTo>
                  <a:lnTo>
                    <a:pt x="122" y="128"/>
                  </a:lnTo>
                  <a:lnTo>
                    <a:pt x="112" y="134"/>
                  </a:lnTo>
                  <a:lnTo>
                    <a:pt x="108" y="13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91" name="Freeform 83">
              <a:extLst>
                <a:ext uri="{FF2B5EF4-FFF2-40B4-BE49-F238E27FC236}">
                  <a16:creationId xmlns:a16="http://schemas.microsoft.com/office/drawing/2014/main" id="{599BC40F-3A28-4E2F-A174-FBD5DC7BB48B}"/>
                </a:ext>
              </a:extLst>
            </p:cNvPr>
            <p:cNvSpPr>
              <a:spLocks/>
            </p:cNvSpPr>
            <p:nvPr/>
          </p:nvSpPr>
          <p:spPr bwMode="gray">
            <a:xfrm>
              <a:off x="4289464" y="5504672"/>
              <a:ext cx="138690" cy="149384"/>
            </a:xfrm>
            <a:custGeom>
              <a:avLst/>
              <a:gdLst>
                <a:gd name="T0" fmla="*/ 20 w 84"/>
                <a:gd name="T1" fmla="*/ 0 h 90"/>
                <a:gd name="T2" fmla="*/ 30 w 84"/>
                <a:gd name="T3" fmla="*/ 8 h 90"/>
                <a:gd name="T4" fmla="*/ 38 w 84"/>
                <a:gd name="T5" fmla="*/ 18 h 90"/>
                <a:gd name="T6" fmla="*/ 46 w 84"/>
                <a:gd name="T7" fmla="*/ 20 h 90"/>
                <a:gd name="T8" fmla="*/ 60 w 84"/>
                <a:gd name="T9" fmla="*/ 28 h 90"/>
                <a:gd name="T10" fmla="*/ 72 w 84"/>
                <a:gd name="T11" fmla="*/ 38 h 90"/>
                <a:gd name="T12" fmla="*/ 78 w 84"/>
                <a:gd name="T13" fmla="*/ 44 h 90"/>
                <a:gd name="T14" fmla="*/ 82 w 84"/>
                <a:gd name="T15" fmla="*/ 50 h 90"/>
                <a:gd name="T16" fmla="*/ 80 w 84"/>
                <a:gd name="T17" fmla="*/ 56 h 90"/>
                <a:gd name="T18" fmla="*/ 80 w 84"/>
                <a:gd name="T19" fmla="*/ 62 h 90"/>
                <a:gd name="T20" fmla="*/ 84 w 84"/>
                <a:gd name="T21" fmla="*/ 66 h 90"/>
                <a:gd name="T22" fmla="*/ 80 w 84"/>
                <a:gd name="T23" fmla="*/ 70 h 90"/>
                <a:gd name="T24" fmla="*/ 72 w 84"/>
                <a:gd name="T25" fmla="*/ 80 h 90"/>
                <a:gd name="T26" fmla="*/ 66 w 84"/>
                <a:gd name="T27" fmla="*/ 86 h 90"/>
                <a:gd name="T28" fmla="*/ 62 w 84"/>
                <a:gd name="T29" fmla="*/ 88 h 90"/>
                <a:gd name="T30" fmla="*/ 60 w 84"/>
                <a:gd name="T31" fmla="*/ 90 h 90"/>
                <a:gd name="T32" fmla="*/ 42 w 84"/>
                <a:gd name="T33" fmla="*/ 88 h 90"/>
                <a:gd name="T34" fmla="*/ 28 w 84"/>
                <a:gd name="T35" fmla="*/ 86 h 90"/>
                <a:gd name="T36" fmla="*/ 18 w 84"/>
                <a:gd name="T37" fmla="*/ 82 h 90"/>
                <a:gd name="T38" fmla="*/ 6 w 84"/>
                <a:gd name="T39" fmla="*/ 80 h 90"/>
                <a:gd name="T40" fmla="*/ 0 w 84"/>
                <a:gd name="T41" fmla="*/ 76 h 90"/>
                <a:gd name="T42" fmla="*/ 0 w 84"/>
                <a:gd name="T43" fmla="*/ 60 h 90"/>
                <a:gd name="T44" fmla="*/ 4 w 84"/>
                <a:gd name="T45" fmla="*/ 40 h 90"/>
                <a:gd name="T46" fmla="*/ 6 w 84"/>
                <a:gd name="T47" fmla="*/ 24 h 90"/>
                <a:gd name="T48" fmla="*/ 10 w 84"/>
                <a:gd name="T49" fmla="*/ 8 h 90"/>
                <a:gd name="T50" fmla="*/ 12 w 84"/>
                <a:gd name="T51" fmla="*/ 2 h 90"/>
                <a:gd name="T52" fmla="*/ 20 w 84"/>
                <a:gd name="T53"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4" h="90">
                  <a:moveTo>
                    <a:pt x="20" y="0"/>
                  </a:moveTo>
                  <a:lnTo>
                    <a:pt x="30" y="8"/>
                  </a:lnTo>
                  <a:lnTo>
                    <a:pt x="38" y="18"/>
                  </a:lnTo>
                  <a:lnTo>
                    <a:pt x="46" y="20"/>
                  </a:lnTo>
                  <a:lnTo>
                    <a:pt x="60" y="28"/>
                  </a:lnTo>
                  <a:lnTo>
                    <a:pt x="72" y="38"/>
                  </a:lnTo>
                  <a:lnTo>
                    <a:pt x="78" y="44"/>
                  </a:lnTo>
                  <a:lnTo>
                    <a:pt x="82" y="50"/>
                  </a:lnTo>
                  <a:lnTo>
                    <a:pt x="80" y="56"/>
                  </a:lnTo>
                  <a:lnTo>
                    <a:pt x="80" y="62"/>
                  </a:lnTo>
                  <a:lnTo>
                    <a:pt x="84" y="66"/>
                  </a:lnTo>
                  <a:lnTo>
                    <a:pt x="80" y="70"/>
                  </a:lnTo>
                  <a:lnTo>
                    <a:pt x="72" y="80"/>
                  </a:lnTo>
                  <a:lnTo>
                    <a:pt x="66" y="86"/>
                  </a:lnTo>
                  <a:lnTo>
                    <a:pt x="62" y="88"/>
                  </a:lnTo>
                  <a:lnTo>
                    <a:pt x="60" y="90"/>
                  </a:lnTo>
                  <a:lnTo>
                    <a:pt x="42" y="88"/>
                  </a:lnTo>
                  <a:lnTo>
                    <a:pt x="28" y="86"/>
                  </a:lnTo>
                  <a:lnTo>
                    <a:pt x="18" y="82"/>
                  </a:lnTo>
                  <a:lnTo>
                    <a:pt x="6" y="80"/>
                  </a:lnTo>
                  <a:lnTo>
                    <a:pt x="0" y="76"/>
                  </a:lnTo>
                  <a:lnTo>
                    <a:pt x="0" y="60"/>
                  </a:lnTo>
                  <a:lnTo>
                    <a:pt x="4" y="40"/>
                  </a:lnTo>
                  <a:lnTo>
                    <a:pt x="6" y="24"/>
                  </a:lnTo>
                  <a:lnTo>
                    <a:pt x="10" y="8"/>
                  </a:lnTo>
                  <a:lnTo>
                    <a:pt x="12" y="2"/>
                  </a:lnTo>
                  <a:lnTo>
                    <a:pt x="2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92" name="Freeform 84">
              <a:extLst>
                <a:ext uri="{FF2B5EF4-FFF2-40B4-BE49-F238E27FC236}">
                  <a16:creationId xmlns:a16="http://schemas.microsoft.com/office/drawing/2014/main" id="{57C9AF96-B61B-4DD1-84D4-A149F3AFB936}"/>
                </a:ext>
              </a:extLst>
            </p:cNvPr>
            <p:cNvSpPr>
              <a:spLocks/>
            </p:cNvSpPr>
            <p:nvPr/>
          </p:nvSpPr>
          <p:spPr bwMode="gray">
            <a:xfrm>
              <a:off x="3893206" y="5278935"/>
              <a:ext cx="521738" cy="932823"/>
            </a:xfrm>
            <a:custGeom>
              <a:avLst/>
              <a:gdLst>
                <a:gd name="T0" fmla="*/ 108 w 316"/>
                <a:gd name="T1" fmla="*/ 6 h 562"/>
                <a:gd name="T2" fmla="*/ 138 w 316"/>
                <a:gd name="T3" fmla="*/ 4 h 562"/>
                <a:gd name="T4" fmla="*/ 172 w 316"/>
                <a:gd name="T5" fmla="*/ 2 h 562"/>
                <a:gd name="T6" fmla="*/ 190 w 316"/>
                <a:gd name="T7" fmla="*/ 26 h 562"/>
                <a:gd name="T8" fmla="*/ 210 w 316"/>
                <a:gd name="T9" fmla="*/ 34 h 562"/>
                <a:gd name="T10" fmla="*/ 236 w 316"/>
                <a:gd name="T11" fmla="*/ 50 h 562"/>
                <a:gd name="T12" fmla="*/ 246 w 316"/>
                <a:gd name="T13" fmla="*/ 72 h 562"/>
                <a:gd name="T14" fmla="*/ 266 w 316"/>
                <a:gd name="T15" fmla="*/ 96 h 562"/>
                <a:gd name="T16" fmla="*/ 294 w 316"/>
                <a:gd name="T17" fmla="*/ 84 h 562"/>
                <a:gd name="T18" fmla="*/ 310 w 316"/>
                <a:gd name="T19" fmla="*/ 62 h 562"/>
                <a:gd name="T20" fmla="*/ 312 w 316"/>
                <a:gd name="T21" fmla="*/ 88 h 562"/>
                <a:gd name="T22" fmla="*/ 292 w 316"/>
                <a:gd name="T23" fmla="*/ 104 h 562"/>
                <a:gd name="T24" fmla="*/ 268 w 316"/>
                <a:gd name="T25" fmla="*/ 128 h 562"/>
                <a:gd name="T26" fmla="*/ 252 w 316"/>
                <a:gd name="T27" fmla="*/ 138 h 562"/>
                <a:gd name="T28" fmla="*/ 240 w 316"/>
                <a:gd name="T29" fmla="*/ 192 h 562"/>
                <a:gd name="T30" fmla="*/ 234 w 316"/>
                <a:gd name="T31" fmla="*/ 222 h 562"/>
                <a:gd name="T32" fmla="*/ 258 w 316"/>
                <a:gd name="T33" fmla="*/ 236 h 562"/>
                <a:gd name="T34" fmla="*/ 266 w 316"/>
                <a:gd name="T35" fmla="*/ 254 h 562"/>
                <a:gd name="T36" fmla="*/ 240 w 316"/>
                <a:gd name="T37" fmla="*/ 294 h 562"/>
                <a:gd name="T38" fmla="*/ 190 w 316"/>
                <a:gd name="T39" fmla="*/ 300 h 562"/>
                <a:gd name="T40" fmla="*/ 180 w 316"/>
                <a:gd name="T41" fmla="*/ 314 h 562"/>
                <a:gd name="T42" fmla="*/ 162 w 316"/>
                <a:gd name="T43" fmla="*/ 342 h 562"/>
                <a:gd name="T44" fmla="*/ 136 w 316"/>
                <a:gd name="T45" fmla="*/ 332 h 562"/>
                <a:gd name="T46" fmla="*/ 136 w 316"/>
                <a:gd name="T47" fmla="*/ 362 h 562"/>
                <a:gd name="T48" fmla="*/ 150 w 316"/>
                <a:gd name="T49" fmla="*/ 362 h 562"/>
                <a:gd name="T50" fmla="*/ 158 w 316"/>
                <a:gd name="T51" fmla="*/ 370 h 562"/>
                <a:gd name="T52" fmla="*/ 146 w 316"/>
                <a:gd name="T53" fmla="*/ 368 h 562"/>
                <a:gd name="T54" fmla="*/ 140 w 316"/>
                <a:gd name="T55" fmla="*/ 376 h 562"/>
                <a:gd name="T56" fmla="*/ 132 w 316"/>
                <a:gd name="T57" fmla="*/ 396 h 562"/>
                <a:gd name="T58" fmla="*/ 118 w 316"/>
                <a:gd name="T59" fmla="*/ 414 h 562"/>
                <a:gd name="T60" fmla="*/ 96 w 316"/>
                <a:gd name="T61" fmla="*/ 444 h 562"/>
                <a:gd name="T62" fmla="*/ 112 w 316"/>
                <a:gd name="T63" fmla="*/ 456 h 562"/>
                <a:gd name="T64" fmla="*/ 118 w 316"/>
                <a:gd name="T65" fmla="*/ 474 h 562"/>
                <a:gd name="T66" fmla="*/ 90 w 316"/>
                <a:gd name="T67" fmla="*/ 510 h 562"/>
                <a:gd name="T68" fmla="*/ 70 w 316"/>
                <a:gd name="T69" fmla="*/ 524 h 562"/>
                <a:gd name="T70" fmla="*/ 72 w 316"/>
                <a:gd name="T71" fmla="*/ 552 h 562"/>
                <a:gd name="T72" fmla="*/ 60 w 316"/>
                <a:gd name="T73" fmla="*/ 558 h 562"/>
                <a:gd name="T74" fmla="*/ 18 w 316"/>
                <a:gd name="T75" fmla="*/ 544 h 562"/>
                <a:gd name="T76" fmla="*/ 2 w 316"/>
                <a:gd name="T77" fmla="*/ 520 h 562"/>
                <a:gd name="T78" fmla="*/ 10 w 316"/>
                <a:gd name="T79" fmla="*/ 492 h 562"/>
                <a:gd name="T80" fmla="*/ 28 w 316"/>
                <a:gd name="T81" fmla="*/ 450 h 562"/>
                <a:gd name="T82" fmla="*/ 26 w 316"/>
                <a:gd name="T83" fmla="*/ 400 h 562"/>
                <a:gd name="T84" fmla="*/ 24 w 316"/>
                <a:gd name="T85" fmla="*/ 360 h 562"/>
                <a:gd name="T86" fmla="*/ 36 w 316"/>
                <a:gd name="T87" fmla="*/ 302 h 562"/>
                <a:gd name="T88" fmla="*/ 40 w 316"/>
                <a:gd name="T89" fmla="*/ 278 h 562"/>
                <a:gd name="T90" fmla="*/ 48 w 316"/>
                <a:gd name="T91" fmla="*/ 244 h 562"/>
                <a:gd name="T92" fmla="*/ 56 w 316"/>
                <a:gd name="T93" fmla="*/ 196 h 562"/>
                <a:gd name="T94" fmla="*/ 48 w 316"/>
                <a:gd name="T95" fmla="*/ 156 h 562"/>
                <a:gd name="T96" fmla="*/ 64 w 316"/>
                <a:gd name="T97" fmla="*/ 106 h 562"/>
                <a:gd name="T98" fmla="*/ 76 w 316"/>
                <a:gd name="T99" fmla="*/ 52 h 562"/>
                <a:gd name="T100" fmla="*/ 100 w 316"/>
                <a:gd name="T101" fmla="*/ 30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16" h="562">
                  <a:moveTo>
                    <a:pt x="102" y="18"/>
                  </a:moveTo>
                  <a:lnTo>
                    <a:pt x="104" y="10"/>
                  </a:lnTo>
                  <a:lnTo>
                    <a:pt x="108" y="6"/>
                  </a:lnTo>
                  <a:lnTo>
                    <a:pt x="116" y="0"/>
                  </a:lnTo>
                  <a:lnTo>
                    <a:pt x="124" y="6"/>
                  </a:lnTo>
                  <a:lnTo>
                    <a:pt x="138" y="4"/>
                  </a:lnTo>
                  <a:lnTo>
                    <a:pt x="148" y="16"/>
                  </a:lnTo>
                  <a:lnTo>
                    <a:pt x="154" y="2"/>
                  </a:lnTo>
                  <a:lnTo>
                    <a:pt x="172" y="2"/>
                  </a:lnTo>
                  <a:lnTo>
                    <a:pt x="174" y="8"/>
                  </a:lnTo>
                  <a:lnTo>
                    <a:pt x="180" y="16"/>
                  </a:lnTo>
                  <a:lnTo>
                    <a:pt x="190" y="26"/>
                  </a:lnTo>
                  <a:lnTo>
                    <a:pt x="192" y="28"/>
                  </a:lnTo>
                  <a:lnTo>
                    <a:pt x="202" y="34"/>
                  </a:lnTo>
                  <a:lnTo>
                    <a:pt x="210" y="34"/>
                  </a:lnTo>
                  <a:lnTo>
                    <a:pt x="220" y="40"/>
                  </a:lnTo>
                  <a:lnTo>
                    <a:pt x="226" y="46"/>
                  </a:lnTo>
                  <a:lnTo>
                    <a:pt x="236" y="50"/>
                  </a:lnTo>
                  <a:lnTo>
                    <a:pt x="246" y="54"/>
                  </a:lnTo>
                  <a:lnTo>
                    <a:pt x="252" y="62"/>
                  </a:lnTo>
                  <a:lnTo>
                    <a:pt x="246" y="72"/>
                  </a:lnTo>
                  <a:lnTo>
                    <a:pt x="238" y="88"/>
                  </a:lnTo>
                  <a:lnTo>
                    <a:pt x="244" y="96"/>
                  </a:lnTo>
                  <a:lnTo>
                    <a:pt x="266" y="96"/>
                  </a:lnTo>
                  <a:lnTo>
                    <a:pt x="280" y="92"/>
                  </a:lnTo>
                  <a:lnTo>
                    <a:pt x="288" y="86"/>
                  </a:lnTo>
                  <a:lnTo>
                    <a:pt x="294" y="84"/>
                  </a:lnTo>
                  <a:lnTo>
                    <a:pt x="300" y="70"/>
                  </a:lnTo>
                  <a:lnTo>
                    <a:pt x="300" y="60"/>
                  </a:lnTo>
                  <a:lnTo>
                    <a:pt x="310" y="62"/>
                  </a:lnTo>
                  <a:lnTo>
                    <a:pt x="314" y="66"/>
                  </a:lnTo>
                  <a:lnTo>
                    <a:pt x="316" y="76"/>
                  </a:lnTo>
                  <a:lnTo>
                    <a:pt x="312" y="88"/>
                  </a:lnTo>
                  <a:lnTo>
                    <a:pt x="308" y="94"/>
                  </a:lnTo>
                  <a:lnTo>
                    <a:pt x="300" y="98"/>
                  </a:lnTo>
                  <a:lnTo>
                    <a:pt x="292" y="104"/>
                  </a:lnTo>
                  <a:lnTo>
                    <a:pt x="282" y="112"/>
                  </a:lnTo>
                  <a:lnTo>
                    <a:pt x="274" y="118"/>
                  </a:lnTo>
                  <a:lnTo>
                    <a:pt x="268" y="128"/>
                  </a:lnTo>
                  <a:lnTo>
                    <a:pt x="262" y="132"/>
                  </a:lnTo>
                  <a:lnTo>
                    <a:pt x="260" y="136"/>
                  </a:lnTo>
                  <a:lnTo>
                    <a:pt x="252" y="138"/>
                  </a:lnTo>
                  <a:lnTo>
                    <a:pt x="246" y="160"/>
                  </a:lnTo>
                  <a:lnTo>
                    <a:pt x="244" y="174"/>
                  </a:lnTo>
                  <a:lnTo>
                    <a:pt x="240" y="192"/>
                  </a:lnTo>
                  <a:lnTo>
                    <a:pt x="240" y="212"/>
                  </a:lnTo>
                  <a:lnTo>
                    <a:pt x="236" y="216"/>
                  </a:lnTo>
                  <a:lnTo>
                    <a:pt x="234" y="222"/>
                  </a:lnTo>
                  <a:lnTo>
                    <a:pt x="244" y="224"/>
                  </a:lnTo>
                  <a:lnTo>
                    <a:pt x="254" y="228"/>
                  </a:lnTo>
                  <a:lnTo>
                    <a:pt x="258" y="236"/>
                  </a:lnTo>
                  <a:lnTo>
                    <a:pt x="256" y="244"/>
                  </a:lnTo>
                  <a:lnTo>
                    <a:pt x="258" y="248"/>
                  </a:lnTo>
                  <a:lnTo>
                    <a:pt x="266" y="254"/>
                  </a:lnTo>
                  <a:lnTo>
                    <a:pt x="266" y="268"/>
                  </a:lnTo>
                  <a:lnTo>
                    <a:pt x="254" y="284"/>
                  </a:lnTo>
                  <a:lnTo>
                    <a:pt x="240" y="294"/>
                  </a:lnTo>
                  <a:lnTo>
                    <a:pt x="220" y="296"/>
                  </a:lnTo>
                  <a:lnTo>
                    <a:pt x="206" y="298"/>
                  </a:lnTo>
                  <a:lnTo>
                    <a:pt x="190" y="300"/>
                  </a:lnTo>
                  <a:lnTo>
                    <a:pt x="180" y="298"/>
                  </a:lnTo>
                  <a:lnTo>
                    <a:pt x="178" y="304"/>
                  </a:lnTo>
                  <a:lnTo>
                    <a:pt x="180" y="314"/>
                  </a:lnTo>
                  <a:lnTo>
                    <a:pt x="178" y="330"/>
                  </a:lnTo>
                  <a:lnTo>
                    <a:pt x="170" y="338"/>
                  </a:lnTo>
                  <a:lnTo>
                    <a:pt x="162" y="342"/>
                  </a:lnTo>
                  <a:lnTo>
                    <a:pt x="148" y="336"/>
                  </a:lnTo>
                  <a:lnTo>
                    <a:pt x="142" y="334"/>
                  </a:lnTo>
                  <a:lnTo>
                    <a:pt x="136" y="332"/>
                  </a:lnTo>
                  <a:lnTo>
                    <a:pt x="134" y="338"/>
                  </a:lnTo>
                  <a:lnTo>
                    <a:pt x="136" y="354"/>
                  </a:lnTo>
                  <a:lnTo>
                    <a:pt x="136" y="362"/>
                  </a:lnTo>
                  <a:lnTo>
                    <a:pt x="142" y="364"/>
                  </a:lnTo>
                  <a:lnTo>
                    <a:pt x="150" y="364"/>
                  </a:lnTo>
                  <a:lnTo>
                    <a:pt x="150" y="362"/>
                  </a:lnTo>
                  <a:lnTo>
                    <a:pt x="154" y="360"/>
                  </a:lnTo>
                  <a:lnTo>
                    <a:pt x="158" y="364"/>
                  </a:lnTo>
                  <a:lnTo>
                    <a:pt x="158" y="370"/>
                  </a:lnTo>
                  <a:lnTo>
                    <a:pt x="152" y="374"/>
                  </a:lnTo>
                  <a:lnTo>
                    <a:pt x="148" y="372"/>
                  </a:lnTo>
                  <a:lnTo>
                    <a:pt x="146" y="368"/>
                  </a:lnTo>
                  <a:lnTo>
                    <a:pt x="142" y="368"/>
                  </a:lnTo>
                  <a:lnTo>
                    <a:pt x="138" y="370"/>
                  </a:lnTo>
                  <a:lnTo>
                    <a:pt x="140" y="376"/>
                  </a:lnTo>
                  <a:lnTo>
                    <a:pt x="136" y="382"/>
                  </a:lnTo>
                  <a:lnTo>
                    <a:pt x="130" y="384"/>
                  </a:lnTo>
                  <a:lnTo>
                    <a:pt x="132" y="396"/>
                  </a:lnTo>
                  <a:lnTo>
                    <a:pt x="126" y="408"/>
                  </a:lnTo>
                  <a:lnTo>
                    <a:pt x="124" y="410"/>
                  </a:lnTo>
                  <a:lnTo>
                    <a:pt x="118" y="414"/>
                  </a:lnTo>
                  <a:lnTo>
                    <a:pt x="106" y="420"/>
                  </a:lnTo>
                  <a:lnTo>
                    <a:pt x="94" y="432"/>
                  </a:lnTo>
                  <a:lnTo>
                    <a:pt x="96" y="444"/>
                  </a:lnTo>
                  <a:lnTo>
                    <a:pt x="106" y="454"/>
                  </a:lnTo>
                  <a:lnTo>
                    <a:pt x="106" y="456"/>
                  </a:lnTo>
                  <a:lnTo>
                    <a:pt x="112" y="456"/>
                  </a:lnTo>
                  <a:lnTo>
                    <a:pt x="122" y="458"/>
                  </a:lnTo>
                  <a:lnTo>
                    <a:pt x="122" y="466"/>
                  </a:lnTo>
                  <a:lnTo>
                    <a:pt x="118" y="474"/>
                  </a:lnTo>
                  <a:lnTo>
                    <a:pt x="104" y="486"/>
                  </a:lnTo>
                  <a:lnTo>
                    <a:pt x="94" y="496"/>
                  </a:lnTo>
                  <a:lnTo>
                    <a:pt x="90" y="510"/>
                  </a:lnTo>
                  <a:lnTo>
                    <a:pt x="88" y="516"/>
                  </a:lnTo>
                  <a:lnTo>
                    <a:pt x="76" y="518"/>
                  </a:lnTo>
                  <a:lnTo>
                    <a:pt x="70" y="524"/>
                  </a:lnTo>
                  <a:lnTo>
                    <a:pt x="66" y="538"/>
                  </a:lnTo>
                  <a:lnTo>
                    <a:pt x="68" y="546"/>
                  </a:lnTo>
                  <a:lnTo>
                    <a:pt x="72" y="552"/>
                  </a:lnTo>
                  <a:lnTo>
                    <a:pt x="78" y="560"/>
                  </a:lnTo>
                  <a:lnTo>
                    <a:pt x="76" y="562"/>
                  </a:lnTo>
                  <a:lnTo>
                    <a:pt x="60" y="558"/>
                  </a:lnTo>
                  <a:lnTo>
                    <a:pt x="34" y="558"/>
                  </a:lnTo>
                  <a:lnTo>
                    <a:pt x="24" y="556"/>
                  </a:lnTo>
                  <a:lnTo>
                    <a:pt x="18" y="544"/>
                  </a:lnTo>
                  <a:lnTo>
                    <a:pt x="18" y="528"/>
                  </a:lnTo>
                  <a:lnTo>
                    <a:pt x="6" y="526"/>
                  </a:lnTo>
                  <a:lnTo>
                    <a:pt x="2" y="520"/>
                  </a:lnTo>
                  <a:lnTo>
                    <a:pt x="0" y="510"/>
                  </a:lnTo>
                  <a:lnTo>
                    <a:pt x="2" y="500"/>
                  </a:lnTo>
                  <a:lnTo>
                    <a:pt x="10" y="492"/>
                  </a:lnTo>
                  <a:lnTo>
                    <a:pt x="18" y="480"/>
                  </a:lnTo>
                  <a:lnTo>
                    <a:pt x="20" y="462"/>
                  </a:lnTo>
                  <a:lnTo>
                    <a:pt x="28" y="450"/>
                  </a:lnTo>
                  <a:lnTo>
                    <a:pt x="28" y="424"/>
                  </a:lnTo>
                  <a:lnTo>
                    <a:pt x="30" y="412"/>
                  </a:lnTo>
                  <a:lnTo>
                    <a:pt x="26" y="400"/>
                  </a:lnTo>
                  <a:lnTo>
                    <a:pt x="26" y="380"/>
                  </a:lnTo>
                  <a:lnTo>
                    <a:pt x="22" y="376"/>
                  </a:lnTo>
                  <a:lnTo>
                    <a:pt x="24" y="360"/>
                  </a:lnTo>
                  <a:lnTo>
                    <a:pt x="26" y="348"/>
                  </a:lnTo>
                  <a:lnTo>
                    <a:pt x="28" y="318"/>
                  </a:lnTo>
                  <a:lnTo>
                    <a:pt x="36" y="302"/>
                  </a:lnTo>
                  <a:lnTo>
                    <a:pt x="38" y="296"/>
                  </a:lnTo>
                  <a:lnTo>
                    <a:pt x="40" y="292"/>
                  </a:lnTo>
                  <a:lnTo>
                    <a:pt x="40" y="278"/>
                  </a:lnTo>
                  <a:lnTo>
                    <a:pt x="38" y="254"/>
                  </a:lnTo>
                  <a:lnTo>
                    <a:pt x="44" y="248"/>
                  </a:lnTo>
                  <a:lnTo>
                    <a:pt x="48" y="244"/>
                  </a:lnTo>
                  <a:lnTo>
                    <a:pt x="50" y="224"/>
                  </a:lnTo>
                  <a:lnTo>
                    <a:pt x="54" y="216"/>
                  </a:lnTo>
                  <a:lnTo>
                    <a:pt x="56" y="196"/>
                  </a:lnTo>
                  <a:lnTo>
                    <a:pt x="52" y="180"/>
                  </a:lnTo>
                  <a:lnTo>
                    <a:pt x="48" y="172"/>
                  </a:lnTo>
                  <a:lnTo>
                    <a:pt x="48" y="156"/>
                  </a:lnTo>
                  <a:lnTo>
                    <a:pt x="52" y="148"/>
                  </a:lnTo>
                  <a:lnTo>
                    <a:pt x="56" y="120"/>
                  </a:lnTo>
                  <a:lnTo>
                    <a:pt x="64" y="106"/>
                  </a:lnTo>
                  <a:lnTo>
                    <a:pt x="74" y="92"/>
                  </a:lnTo>
                  <a:lnTo>
                    <a:pt x="80" y="82"/>
                  </a:lnTo>
                  <a:lnTo>
                    <a:pt x="76" y="52"/>
                  </a:lnTo>
                  <a:lnTo>
                    <a:pt x="82" y="46"/>
                  </a:lnTo>
                  <a:lnTo>
                    <a:pt x="90" y="42"/>
                  </a:lnTo>
                  <a:lnTo>
                    <a:pt x="100" y="30"/>
                  </a:lnTo>
                  <a:lnTo>
                    <a:pt x="102" y="1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93" name="Freeform 85">
              <a:extLst>
                <a:ext uri="{FF2B5EF4-FFF2-40B4-BE49-F238E27FC236}">
                  <a16:creationId xmlns:a16="http://schemas.microsoft.com/office/drawing/2014/main" id="{798528A9-F46A-441C-B499-CF6E6D97DEAC}"/>
                </a:ext>
              </a:extLst>
            </p:cNvPr>
            <p:cNvSpPr>
              <a:spLocks/>
            </p:cNvSpPr>
            <p:nvPr/>
          </p:nvSpPr>
          <p:spPr bwMode="gray">
            <a:xfrm>
              <a:off x="3837070" y="5149468"/>
              <a:ext cx="224546" cy="1115405"/>
            </a:xfrm>
            <a:custGeom>
              <a:avLst/>
              <a:gdLst>
                <a:gd name="T0" fmla="*/ 96 w 136"/>
                <a:gd name="T1" fmla="*/ 2 h 672"/>
                <a:gd name="T2" fmla="*/ 112 w 136"/>
                <a:gd name="T3" fmla="*/ 38 h 672"/>
                <a:gd name="T4" fmla="*/ 124 w 136"/>
                <a:gd name="T5" fmla="*/ 82 h 672"/>
                <a:gd name="T6" fmla="*/ 134 w 136"/>
                <a:gd name="T7" fmla="*/ 108 h 672"/>
                <a:gd name="T8" fmla="*/ 110 w 136"/>
                <a:gd name="T9" fmla="*/ 130 h 672"/>
                <a:gd name="T10" fmla="*/ 90 w 136"/>
                <a:gd name="T11" fmla="*/ 198 h 672"/>
                <a:gd name="T12" fmla="*/ 82 w 136"/>
                <a:gd name="T13" fmla="*/ 250 h 672"/>
                <a:gd name="T14" fmla="*/ 84 w 136"/>
                <a:gd name="T15" fmla="*/ 302 h 672"/>
                <a:gd name="T16" fmla="*/ 74 w 136"/>
                <a:gd name="T17" fmla="*/ 354 h 672"/>
                <a:gd name="T18" fmla="*/ 60 w 136"/>
                <a:gd name="T19" fmla="*/ 426 h 672"/>
                <a:gd name="T20" fmla="*/ 60 w 136"/>
                <a:gd name="T21" fmla="*/ 458 h 672"/>
                <a:gd name="T22" fmla="*/ 62 w 136"/>
                <a:gd name="T23" fmla="*/ 502 h 672"/>
                <a:gd name="T24" fmla="*/ 52 w 136"/>
                <a:gd name="T25" fmla="*/ 558 h 672"/>
                <a:gd name="T26" fmla="*/ 34 w 136"/>
                <a:gd name="T27" fmla="*/ 588 h 672"/>
                <a:gd name="T28" fmla="*/ 52 w 136"/>
                <a:gd name="T29" fmla="*/ 606 h 672"/>
                <a:gd name="T30" fmla="*/ 68 w 136"/>
                <a:gd name="T31" fmla="*/ 636 h 672"/>
                <a:gd name="T32" fmla="*/ 88 w 136"/>
                <a:gd name="T33" fmla="*/ 648 h 672"/>
                <a:gd name="T34" fmla="*/ 74 w 136"/>
                <a:gd name="T35" fmla="*/ 666 h 672"/>
                <a:gd name="T36" fmla="*/ 58 w 136"/>
                <a:gd name="T37" fmla="*/ 668 h 672"/>
                <a:gd name="T38" fmla="*/ 70 w 136"/>
                <a:gd name="T39" fmla="*/ 652 h 672"/>
                <a:gd name="T40" fmla="*/ 52 w 136"/>
                <a:gd name="T41" fmla="*/ 662 h 672"/>
                <a:gd name="T42" fmla="*/ 46 w 136"/>
                <a:gd name="T43" fmla="*/ 648 h 672"/>
                <a:gd name="T44" fmla="*/ 38 w 136"/>
                <a:gd name="T45" fmla="*/ 646 h 672"/>
                <a:gd name="T46" fmla="*/ 42 w 136"/>
                <a:gd name="T47" fmla="*/ 632 h 672"/>
                <a:gd name="T48" fmla="*/ 26 w 136"/>
                <a:gd name="T49" fmla="*/ 630 h 672"/>
                <a:gd name="T50" fmla="*/ 20 w 136"/>
                <a:gd name="T51" fmla="*/ 606 h 672"/>
                <a:gd name="T52" fmla="*/ 16 w 136"/>
                <a:gd name="T53" fmla="*/ 590 h 672"/>
                <a:gd name="T54" fmla="*/ 8 w 136"/>
                <a:gd name="T55" fmla="*/ 558 h 672"/>
                <a:gd name="T56" fmla="*/ 18 w 136"/>
                <a:gd name="T57" fmla="*/ 568 h 672"/>
                <a:gd name="T58" fmla="*/ 28 w 136"/>
                <a:gd name="T59" fmla="*/ 556 h 672"/>
                <a:gd name="T60" fmla="*/ 28 w 136"/>
                <a:gd name="T61" fmla="*/ 548 h 672"/>
                <a:gd name="T62" fmla="*/ 18 w 136"/>
                <a:gd name="T63" fmla="*/ 536 h 672"/>
                <a:gd name="T64" fmla="*/ 16 w 136"/>
                <a:gd name="T65" fmla="*/ 530 h 672"/>
                <a:gd name="T66" fmla="*/ 10 w 136"/>
                <a:gd name="T67" fmla="*/ 514 h 672"/>
                <a:gd name="T68" fmla="*/ 24 w 136"/>
                <a:gd name="T69" fmla="*/ 506 h 672"/>
                <a:gd name="T70" fmla="*/ 42 w 136"/>
                <a:gd name="T71" fmla="*/ 494 h 672"/>
                <a:gd name="T72" fmla="*/ 44 w 136"/>
                <a:gd name="T73" fmla="*/ 462 h 672"/>
                <a:gd name="T74" fmla="*/ 46 w 136"/>
                <a:gd name="T75" fmla="*/ 440 h 672"/>
                <a:gd name="T76" fmla="*/ 36 w 136"/>
                <a:gd name="T77" fmla="*/ 428 h 672"/>
                <a:gd name="T78" fmla="*/ 32 w 136"/>
                <a:gd name="T79" fmla="*/ 456 h 672"/>
                <a:gd name="T80" fmla="*/ 22 w 136"/>
                <a:gd name="T81" fmla="*/ 450 h 672"/>
                <a:gd name="T82" fmla="*/ 28 w 136"/>
                <a:gd name="T83" fmla="*/ 426 h 672"/>
                <a:gd name="T84" fmla="*/ 32 w 136"/>
                <a:gd name="T85" fmla="*/ 394 h 672"/>
                <a:gd name="T86" fmla="*/ 34 w 136"/>
                <a:gd name="T87" fmla="*/ 366 h 672"/>
                <a:gd name="T88" fmla="*/ 38 w 136"/>
                <a:gd name="T89" fmla="*/ 346 h 672"/>
                <a:gd name="T90" fmla="*/ 52 w 136"/>
                <a:gd name="T91" fmla="*/ 308 h 672"/>
                <a:gd name="T92" fmla="*/ 64 w 136"/>
                <a:gd name="T93" fmla="*/ 270 h 672"/>
                <a:gd name="T94" fmla="*/ 70 w 136"/>
                <a:gd name="T95" fmla="*/ 214 h 672"/>
                <a:gd name="T96" fmla="*/ 70 w 136"/>
                <a:gd name="T97" fmla="*/ 194 h 672"/>
                <a:gd name="T98" fmla="*/ 82 w 136"/>
                <a:gd name="T99" fmla="*/ 98 h 672"/>
                <a:gd name="T100" fmla="*/ 84 w 136"/>
                <a:gd name="T101" fmla="*/ 18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6" h="672">
                  <a:moveTo>
                    <a:pt x="84" y="18"/>
                  </a:moveTo>
                  <a:lnTo>
                    <a:pt x="90" y="16"/>
                  </a:lnTo>
                  <a:lnTo>
                    <a:pt x="96" y="2"/>
                  </a:lnTo>
                  <a:lnTo>
                    <a:pt x="98" y="0"/>
                  </a:lnTo>
                  <a:lnTo>
                    <a:pt x="102" y="12"/>
                  </a:lnTo>
                  <a:lnTo>
                    <a:pt x="112" y="38"/>
                  </a:lnTo>
                  <a:lnTo>
                    <a:pt x="112" y="56"/>
                  </a:lnTo>
                  <a:lnTo>
                    <a:pt x="120" y="68"/>
                  </a:lnTo>
                  <a:lnTo>
                    <a:pt x="124" y="82"/>
                  </a:lnTo>
                  <a:lnTo>
                    <a:pt x="126" y="96"/>
                  </a:lnTo>
                  <a:lnTo>
                    <a:pt x="136" y="96"/>
                  </a:lnTo>
                  <a:lnTo>
                    <a:pt x="134" y="108"/>
                  </a:lnTo>
                  <a:lnTo>
                    <a:pt x="124" y="120"/>
                  </a:lnTo>
                  <a:lnTo>
                    <a:pt x="116" y="124"/>
                  </a:lnTo>
                  <a:lnTo>
                    <a:pt x="110" y="130"/>
                  </a:lnTo>
                  <a:lnTo>
                    <a:pt x="114" y="160"/>
                  </a:lnTo>
                  <a:lnTo>
                    <a:pt x="96" y="186"/>
                  </a:lnTo>
                  <a:lnTo>
                    <a:pt x="90" y="198"/>
                  </a:lnTo>
                  <a:lnTo>
                    <a:pt x="86" y="222"/>
                  </a:lnTo>
                  <a:lnTo>
                    <a:pt x="82" y="234"/>
                  </a:lnTo>
                  <a:lnTo>
                    <a:pt x="82" y="250"/>
                  </a:lnTo>
                  <a:lnTo>
                    <a:pt x="90" y="274"/>
                  </a:lnTo>
                  <a:lnTo>
                    <a:pt x="88" y="292"/>
                  </a:lnTo>
                  <a:lnTo>
                    <a:pt x="84" y="302"/>
                  </a:lnTo>
                  <a:lnTo>
                    <a:pt x="82" y="322"/>
                  </a:lnTo>
                  <a:lnTo>
                    <a:pt x="72" y="332"/>
                  </a:lnTo>
                  <a:lnTo>
                    <a:pt x="74" y="354"/>
                  </a:lnTo>
                  <a:lnTo>
                    <a:pt x="74" y="370"/>
                  </a:lnTo>
                  <a:lnTo>
                    <a:pt x="62" y="396"/>
                  </a:lnTo>
                  <a:lnTo>
                    <a:pt x="60" y="426"/>
                  </a:lnTo>
                  <a:lnTo>
                    <a:pt x="58" y="438"/>
                  </a:lnTo>
                  <a:lnTo>
                    <a:pt x="56" y="454"/>
                  </a:lnTo>
                  <a:lnTo>
                    <a:pt x="60" y="458"/>
                  </a:lnTo>
                  <a:lnTo>
                    <a:pt x="60" y="478"/>
                  </a:lnTo>
                  <a:lnTo>
                    <a:pt x="64" y="490"/>
                  </a:lnTo>
                  <a:lnTo>
                    <a:pt x="62" y="502"/>
                  </a:lnTo>
                  <a:lnTo>
                    <a:pt x="62" y="528"/>
                  </a:lnTo>
                  <a:lnTo>
                    <a:pt x="54" y="540"/>
                  </a:lnTo>
                  <a:lnTo>
                    <a:pt x="52" y="558"/>
                  </a:lnTo>
                  <a:lnTo>
                    <a:pt x="44" y="570"/>
                  </a:lnTo>
                  <a:lnTo>
                    <a:pt x="36" y="578"/>
                  </a:lnTo>
                  <a:lnTo>
                    <a:pt x="34" y="588"/>
                  </a:lnTo>
                  <a:lnTo>
                    <a:pt x="36" y="596"/>
                  </a:lnTo>
                  <a:lnTo>
                    <a:pt x="40" y="604"/>
                  </a:lnTo>
                  <a:lnTo>
                    <a:pt x="52" y="606"/>
                  </a:lnTo>
                  <a:lnTo>
                    <a:pt x="52" y="622"/>
                  </a:lnTo>
                  <a:lnTo>
                    <a:pt x="58" y="634"/>
                  </a:lnTo>
                  <a:lnTo>
                    <a:pt x="68" y="636"/>
                  </a:lnTo>
                  <a:lnTo>
                    <a:pt x="94" y="636"/>
                  </a:lnTo>
                  <a:lnTo>
                    <a:pt x="96" y="644"/>
                  </a:lnTo>
                  <a:lnTo>
                    <a:pt x="88" y="648"/>
                  </a:lnTo>
                  <a:lnTo>
                    <a:pt x="80" y="650"/>
                  </a:lnTo>
                  <a:lnTo>
                    <a:pt x="74" y="656"/>
                  </a:lnTo>
                  <a:lnTo>
                    <a:pt x="74" y="666"/>
                  </a:lnTo>
                  <a:lnTo>
                    <a:pt x="72" y="672"/>
                  </a:lnTo>
                  <a:lnTo>
                    <a:pt x="64" y="672"/>
                  </a:lnTo>
                  <a:lnTo>
                    <a:pt x="58" y="668"/>
                  </a:lnTo>
                  <a:lnTo>
                    <a:pt x="60" y="664"/>
                  </a:lnTo>
                  <a:lnTo>
                    <a:pt x="66" y="660"/>
                  </a:lnTo>
                  <a:lnTo>
                    <a:pt x="70" y="652"/>
                  </a:lnTo>
                  <a:lnTo>
                    <a:pt x="64" y="648"/>
                  </a:lnTo>
                  <a:lnTo>
                    <a:pt x="56" y="654"/>
                  </a:lnTo>
                  <a:lnTo>
                    <a:pt x="52" y="662"/>
                  </a:lnTo>
                  <a:lnTo>
                    <a:pt x="44" y="660"/>
                  </a:lnTo>
                  <a:lnTo>
                    <a:pt x="38" y="654"/>
                  </a:lnTo>
                  <a:lnTo>
                    <a:pt x="46" y="648"/>
                  </a:lnTo>
                  <a:lnTo>
                    <a:pt x="48" y="644"/>
                  </a:lnTo>
                  <a:lnTo>
                    <a:pt x="46" y="640"/>
                  </a:lnTo>
                  <a:lnTo>
                    <a:pt x="38" y="646"/>
                  </a:lnTo>
                  <a:lnTo>
                    <a:pt x="28" y="646"/>
                  </a:lnTo>
                  <a:lnTo>
                    <a:pt x="30" y="638"/>
                  </a:lnTo>
                  <a:lnTo>
                    <a:pt x="42" y="632"/>
                  </a:lnTo>
                  <a:lnTo>
                    <a:pt x="42" y="628"/>
                  </a:lnTo>
                  <a:lnTo>
                    <a:pt x="34" y="630"/>
                  </a:lnTo>
                  <a:lnTo>
                    <a:pt x="26" y="630"/>
                  </a:lnTo>
                  <a:lnTo>
                    <a:pt x="28" y="622"/>
                  </a:lnTo>
                  <a:lnTo>
                    <a:pt x="22" y="618"/>
                  </a:lnTo>
                  <a:lnTo>
                    <a:pt x="20" y="606"/>
                  </a:lnTo>
                  <a:lnTo>
                    <a:pt x="20" y="602"/>
                  </a:lnTo>
                  <a:lnTo>
                    <a:pt x="20" y="594"/>
                  </a:lnTo>
                  <a:lnTo>
                    <a:pt x="16" y="590"/>
                  </a:lnTo>
                  <a:lnTo>
                    <a:pt x="10" y="582"/>
                  </a:lnTo>
                  <a:lnTo>
                    <a:pt x="6" y="574"/>
                  </a:lnTo>
                  <a:lnTo>
                    <a:pt x="8" y="558"/>
                  </a:lnTo>
                  <a:lnTo>
                    <a:pt x="14" y="558"/>
                  </a:lnTo>
                  <a:lnTo>
                    <a:pt x="16" y="560"/>
                  </a:lnTo>
                  <a:lnTo>
                    <a:pt x="18" y="568"/>
                  </a:lnTo>
                  <a:lnTo>
                    <a:pt x="24" y="566"/>
                  </a:lnTo>
                  <a:lnTo>
                    <a:pt x="24" y="556"/>
                  </a:lnTo>
                  <a:lnTo>
                    <a:pt x="28" y="556"/>
                  </a:lnTo>
                  <a:lnTo>
                    <a:pt x="32" y="554"/>
                  </a:lnTo>
                  <a:lnTo>
                    <a:pt x="32" y="546"/>
                  </a:lnTo>
                  <a:lnTo>
                    <a:pt x="28" y="548"/>
                  </a:lnTo>
                  <a:lnTo>
                    <a:pt x="20" y="550"/>
                  </a:lnTo>
                  <a:lnTo>
                    <a:pt x="18" y="544"/>
                  </a:lnTo>
                  <a:lnTo>
                    <a:pt x="18" y="536"/>
                  </a:lnTo>
                  <a:lnTo>
                    <a:pt x="24" y="534"/>
                  </a:lnTo>
                  <a:lnTo>
                    <a:pt x="24" y="530"/>
                  </a:lnTo>
                  <a:lnTo>
                    <a:pt x="16" y="530"/>
                  </a:lnTo>
                  <a:lnTo>
                    <a:pt x="0" y="530"/>
                  </a:lnTo>
                  <a:lnTo>
                    <a:pt x="6" y="522"/>
                  </a:lnTo>
                  <a:lnTo>
                    <a:pt x="10" y="514"/>
                  </a:lnTo>
                  <a:lnTo>
                    <a:pt x="16" y="506"/>
                  </a:lnTo>
                  <a:lnTo>
                    <a:pt x="22" y="502"/>
                  </a:lnTo>
                  <a:lnTo>
                    <a:pt x="24" y="506"/>
                  </a:lnTo>
                  <a:lnTo>
                    <a:pt x="28" y="518"/>
                  </a:lnTo>
                  <a:lnTo>
                    <a:pt x="36" y="508"/>
                  </a:lnTo>
                  <a:lnTo>
                    <a:pt x="42" y="494"/>
                  </a:lnTo>
                  <a:lnTo>
                    <a:pt x="40" y="484"/>
                  </a:lnTo>
                  <a:lnTo>
                    <a:pt x="38" y="472"/>
                  </a:lnTo>
                  <a:lnTo>
                    <a:pt x="44" y="462"/>
                  </a:lnTo>
                  <a:lnTo>
                    <a:pt x="42" y="452"/>
                  </a:lnTo>
                  <a:lnTo>
                    <a:pt x="44" y="446"/>
                  </a:lnTo>
                  <a:lnTo>
                    <a:pt x="46" y="440"/>
                  </a:lnTo>
                  <a:lnTo>
                    <a:pt x="46" y="428"/>
                  </a:lnTo>
                  <a:lnTo>
                    <a:pt x="40" y="426"/>
                  </a:lnTo>
                  <a:lnTo>
                    <a:pt x="36" y="428"/>
                  </a:lnTo>
                  <a:lnTo>
                    <a:pt x="34" y="438"/>
                  </a:lnTo>
                  <a:lnTo>
                    <a:pt x="32" y="444"/>
                  </a:lnTo>
                  <a:lnTo>
                    <a:pt x="32" y="456"/>
                  </a:lnTo>
                  <a:lnTo>
                    <a:pt x="28" y="462"/>
                  </a:lnTo>
                  <a:lnTo>
                    <a:pt x="22" y="458"/>
                  </a:lnTo>
                  <a:lnTo>
                    <a:pt x="22" y="450"/>
                  </a:lnTo>
                  <a:lnTo>
                    <a:pt x="22" y="438"/>
                  </a:lnTo>
                  <a:lnTo>
                    <a:pt x="26" y="430"/>
                  </a:lnTo>
                  <a:lnTo>
                    <a:pt x="28" y="426"/>
                  </a:lnTo>
                  <a:lnTo>
                    <a:pt x="28" y="416"/>
                  </a:lnTo>
                  <a:lnTo>
                    <a:pt x="30" y="402"/>
                  </a:lnTo>
                  <a:lnTo>
                    <a:pt x="32" y="394"/>
                  </a:lnTo>
                  <a:lnTo>
                    <a:pt x="40" y="386"/>
                  </a:lnTo>
                  <a:lnTo>
                    <a:pt x="36" y="376"/>
                  </a:lnTo>
                  <a:lnTo>
                    <a:pt x="34" y="366"/>
                  </a:lnTo>
                  <a:lnTo>
                    <a:pt x="34" y="358"/>
                  </a:lnTo>
                  <a:lnTo>
                    <a:pt x="32" y="346"/>
                  </a:lnTo>
                  <a:lnTo>
                    <a:pt x="38" y="346"/>
                  </a:lnTo>
                  <a:lnTo>
                    <a:pt x="42" y="332"/>
                  </a:lnTo>
                  <a:lnTo>
                    <a:pt x="48" y="320"/>
                  </a:lnTo>
                  <a:lnTo>
                    <a:pt x="52" y="308"/>
                  </a:lnTo>
                  <a:lnTo>
                    <a:pt x="58" y="292"/>
                  </a:lnTo>
                  <a:lnTo>
                    <a:pt x="60" y="278"/>
                  </a:lnTo>
                  <a:lnTo>
                    <a:pt x="64" y="270"/>
                  </a:lnTo>
                  <a:lnTo>
                    <a:pt x="62" y="232"/>
                  </a:lnTo>
                  <a:lnTo>
                    <a:pt x="62" y="220"/>
                  </a:lnTo>
                  <a:lnTo>
                    <a:pt x="70" y="214"/>
                  </a:lnTo>
                  <a:lnTo>
                    <a:pt x="70" y="206"/>
                  </a:lnTo>
                  <a:lnTo>
                    <a:pt x="66" y="200"/>
                  </a:lnTo>
                  <a:lnTo>
                    <a:pt x="70" y="194"/>
                  </a:lnTo>
                  <a:lnTo>
                    <a:pt x="74" y="174"/>
                  </a:lnTo>
                  <a:lnTo>
                    <a:pt x="80" y="144"/>
                  </a:lnTo>
                  <a:lnTo>
                    <a:pt x="82" y="98"/>
                  </a:lnTo>
                  <a:lnTo>
                    <a:pt x="88" y="52"/>
                  </a:lnTo>
                  <a:lnTo>
                    <a:pt x="86" y="28"/>
                  </a:lnTo>
                  <a:lnTo>
                    <a:pt x="84" y="1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94" name="Freeform 86">
              <a:extLst>
                <a:ext uri="{FF2B5EF4-FFF2-40B4-BE49-F238E27FC236}">
                  <a16:creationId xmlns:a16="http://schemas.microsoft.com/office/drawing/2014/main" id="{9B3C3187-5D4E-4A3B-B065-345B86962D63}"/>
                </a:ext>
              </a:extLst>
            </p:cNvPr>
            <p:cNvSpPr>
              <a:spLocks/>
            </p:cNvSpPr>
            <p:nvPr/>
          </p:nvSpPr>
          <p:spPr bwMode="gray">
            <a:xfrm>
              <a:off x="4021989" y="6234995"/>
              <a:ext cx="92460" cy="76353"/>
            </a:xfrm>
            <a:custGeom>
              <a:avLst/>
              <a:gdLst>
                <a:gd name="T0" fmla="*/ 0 w 56"/>
                <a:gd name="T1" fmla="*/ 0 h 46"/>
                <a:gd name="T2" fmla="*/ 0 w 56"/>
                <a:gd name="T3" fmla="*/ 42 h 46"/>
                <a:gd name="T4" fmla="*/ 12 w 56"/>
                <a:gd name="T5" fmla="*/ 42 h 46"/>
                <a:gd name="T6" fmla="*/ 22 w 56"/>
                <a:gd name="T7" fmla="*/ 42 h 46"/>
                <a:gd name="T8" fmla="*/ 36 w 56"/>
                <a:gd name="T9" fmla="*/ 46 h 46"/>
                <a:gd name="T10" fmla="*/ 50 w 56"/>
                <a:gd name="T11" fmla="*/ 44 h 46"/>
                <a:gd name="T12" fmla="*/ 56 w 56"/>
                <a:gd name="T13" fmla="*/ 42 h 46"/>
                <a:gd name="T14" fmla="*/ 48 w 56"/>
                <a:gd name="T15" fmla="*/ 40 h 46"/>
                <a:gd name="T16" fmla="*/ 32 w 56"/>
                <a:gd name="T17" fmla="*/ 36 h 46"/>
                <a:gd name="T18" fmla="*/ 20 w 56"/>
                <a:gd name="T19" fmla="*/ 28 h 46"/>
                <a:gd name="T20" fmla="*/ 8 w 56"/>
                <a:gd name="T21" fmla="*/ 16 h 46"/>
                <a:gd name="T22" fmla="*/ 6 w 56"/>
                <a:gd name="T23" fmla="*/ 8 h 46"/>
                <a:gd name="T24" fmla="*/ 4 w 56"/>
                <a:gd name="T25" fmla="*/ 2 h 46"/>
                <a:gd name="T26" fmla="*/ 0 w 56"/>
                <a:gd name="T2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 h="46">
                  <a:moveTo>
                    <a:pt x="0" y="0"/>
                  </a:moveTo>
                  <a:lnTo>
                    <a:pt x="0" y="42"/>
                  </a:lnTo>
                  <a:lnTo>
                    <a:pt x="12" y="42"/>
                  </a:lnTo>
                  <a:lnTo>
                    <a:pt x="22" y="42"/>
                  </a:lnTo>
                  <a:lnTo>
                    <a:pt x="36" y="46"/>
                  </a:lnTo>
                  <a:lnTo>
                    <a:pt x="50" y="44"/>
                  </a:lnTo>
                  <a:lnTo>
                    <a:pt x="56" y="42"/>
                  </a:lnTo>
                  <a:lnTo>
                    <a:pt x="48" y="40"/>
                  </a:lnTo>
                  <a:lnTo>
                    <a:pt x="32" y="36"/>
                  </a:lnTo>
                  <a:lnTo>
                    <a:pt x="20" y="28"/>
                  </a:lnTo>
                  <a:lnTo>
                    <a:pt x="8" y="16"/>
                  </a:lnTo>
                  <a:lnTo>
                    <a:pt x="6" y="8"/>
                  </a:lnTo>
                  <a:lnTo>
                    <a:pt x="4" y="2"/>
                  </a:lnTo>
                  <a:lnTo>
                    <a:pt x="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95" name="Freeform 87">
              <a:extLst>
                <a:ext uri="{FF2B5EF4-FFF2-40B4-BE49-F238E27FC236}">
                  <a16:creationId xmlns:a16="http://schemas.microsoft.com/office/drawing/2014/main" id="{E1DD91E8-2BE6-4B51-9C2A-359F512CC9CC}"/>
                </a:ext>
              </a:extLst>
            </p:cNvPr>
            <p:cNvSpPr>
              <a:spLocks/>
            </p:cNvSpPr>
            <p:nvPr/>
          </p:nvSpPr>
          <p:spPr bwMode="gray">
            <a:xfrm>
              <a:off x="3952645" y="6225037"/>
              <a:ext cx="112273" cy="106229"/>
            </a:xfrm>
            <a:custGeom>
              <a:avLst/>
              <a:gdLst>
                <a:gd name="T0" fmla="*/ 2 w 68"/>
                <a:gd name="T1" fmla="*/ 46 h 64"/>
                <a:gd name="T2" fmla="*/ 0 w 68"/>
                <a:gd name="T3" fmla="*/ 40 h 64"/>
                <a:gd name="T4" fmla="*/ 6 w 68"/>
                <a:gd name="T5" fmla="*/ 38 h 64"/>
                <a:gd name="T6" fmla="*/ 10 w 68"/>
                <a:gd name="T7" fmla="*/ 38 h 64"/>
                <a:gd name="T8" fmla="*/ 20 w 68"/>
                <a:gd name="T9" fmla="*/ 38 h 64"/>
                <a:gd name="T10" fmla="*/ 26 w 68"/>
                <a:gd name="T11" fmla="*/ 40 h 64"/>
                <a:gd name="T12" fmla="*/ 30 w 68"/>
                <a:gd name="T13" fmla="*/ 38 h 64"/>
                <a:gd name="T14" fmla="*/ 22 w 68"/>
                <a:gd name="T15" fmla="*/ 32 h 64"/>
                <a:gd name="T16" fmla="*/ 16 w 68"/>
                <a:gd name="T17" fmla="*/ 28 h 64"/>
                <a:gd name="T18" fmla="*/ 18 w 68"/>
                <a:gd name="T19" fmla="*/ 22 h 64"/>
                <a:gd name="T20" fmla="*/ 22 w 68"/>
                <a:gd name="T21" fmla="*/ 22 h 64"/>
                <a:gd name="T22" fmla="*/ 28 w 68"/>
                <a:gd name="T23" fmla="*/ 20 h 64"/>
                <a:gd name="T24" fmla="*/ 26 w 68"/>
                <a:gd name="T25" fmla="*/ 14 h 64"/>
                <a:gd name="T26" fmla="*/ 20 w 68"/>
                <a:gd name="T27" fmla="*/ 16 h 64"/>
                <a:gd name="T28" fmla="*/ 14 w 68"/>
                <a:gd name="T29" fmla="*/ 18 h 64"/>
                <a:gd name="T30" fmla="*/ 12 w 68"/>
                <a:gd name="T31" fmla="*/ 12 h 64"/>
                <a:gd name="T32" fmla="*/ 14 w 68"/>
                <a:gd name="T33" fmla="*/ 8 h 64"/>
                <a:gd name="T34" fmla="*/ 20 w 68"/>
                <a:gd name="T35" fmla="*/ 6 h 64"/>
                <a:gd name="T36" fmla="*/ 24 w 68"/>
                <a:gd name="T37" fmla="*/ 2 h 64"/>
                <a:gd name="T38" fmla="*/ 32 w 68"/>
                <a:gd name="T39" fmla="*/ 0 h 64"/>
                <a:gd name="T40" fmla="*/ 38 w 68"/>
                <a:gd name="T41" fmla="*/ 0 h 64"/>
                <a:gd name="T42" fmla="*/ 42 w 68"/>
                <a:gd name="T43" fmla="*/ 6 h 64"/>
                <a:gd name="T44" fmla="*/ 42 w 68"/>
                <a:gd name="T45" fmla="*/ 48 h 64"/>
                <a:gd name="T46" fmla="*/ 64 w 68"/>
                <a:gd name="T47" fmla="*/ 48 h 64"/>
                <a:gd name="T48" fmla="*/ 68 w 68"/>
                <a:gd name="T49" fmla="*/ 52 h 64"/>
                <a:gd name="T50" fmla="*/ 68 w 68"/>
                <a:gd name="T51" fmla="*/ 56 h 64"/>
                <a:gd name="T52" fmla="*/ 60 w 68"/>
                <a:gd name="T53" fmla="*/ 58 h 64"/>
                <a:gd name="T54" fmla="*/ 52 w 68"/>
                <a:gd name="T55" fmla="*/ 58 h 64"/>
                <a:gd name="T56" fmla="*/ 44 w 68"/>
                <a:gd name="T57" fmla="*/ 60 h 64"/>
                <a:gd name="T58" fmla="*/ 42 w 68"/>
                <a:gd name="T59" fmla="*/ 64 h 64"/>
                <a:gd name="T60" fmla="*/ 34 w 68"/>
                <a:gd name="T61" fmla="*/ 62 h 64"/>
                <a:gd name="T62" fmla="*/ 24 w 68"/>
                <a:gd name="T63" fmla="*/ 60 h 64"/>
                <a:gd name="T64" fmla="*/ 20 w 68"/>
                <a:gd name="T65" fmla="*/ 56 h 64"/>
                <a:gd name="T66" fmla="*/ 20 w 68"/>
                <a:gd name="T67" fmla="*/ 50 h 64"/>
                <a:gd name="T68" fmla="*/ 16 w 68"/>
                <a:gd name="T69" fmla="*/ 50 h 64"/>
                <a:gd name="T70" fmla="*/ 12 w 68"/>
                <a:gd name="T71" fmla="*/ 50 h 64"/>
                <a:gd name="T72" fmla="*/ 12 w 68"/>
                <a:gd name="T73" fmla="*/ 56 h 64"/>
                <a:gd name="T74" fmla="*/ 2 w 68"/>
                <a:gd name="T75" fmla="*/ 52 h 64"/>
                <a:gd name="T76" fmla="*/ 2 w 68"/>
                <a:gd name="T77" fmla="*/ 4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8" h="64">
                  <a:moveTo>
                    <a:pt x="2" y="46"/>
                  </a:moveTo>
                  <a:lnTo>
                    <a:pt x="0" y="40"/>
                  </a:lnTo>
                  <a:lnTo>
                    <a:pt x="6" y="38"/>
                  </a:lnTo>
                  <a:lnTo>
                    <a:pt x="10" y="38"/>
                  </a:lnTo>
                  <a:lnTo>
                    <a:pt x="20" y="38"/>
                  </a:lnTo>
                  <a:lnTo>
                    <a:pt x="26" y="40"/>
                  </a:lnTo>
                  <a:lnTo>
                    <a:pt x="30" y="38"/>
                  </a:lnTo>
                  <a:lnTo>
                    <a:pt x="22" y="32"/>
                  </a:lnTo>
                  <a:lnTo>
                    <a:pt x="16" y="28"/>
                  </a:lnTo>
                  <a:lnTo>
                    <a:pt x="18" y="22"/>
                  </a:lnTo>
                  <a:lnTo>
                    <a:pt x="22" y="22"/>
                  </a:lnTo>
                  <a:lnTo>
                    <a:pt x="28" y="20"/>
                  </a:lnTo>
                  <a:lnTo>
                    <a:pt x="26" y="14"/>
                  </a:lnTo>
                  <a:lnTo>
                    <a:pt x="20" y="16"/>
                  </a:lnTo>
                  <a:lnTo>
                    <a:pt x="14" y="18"/>
                  </a:lnTo>
                  <a:lnTo>
                    <a:pt x="12" y="12"/>
                  </a:lnTo>
                  <a:lnTo>
                    <a:pt x="14" y="8"/>
                  </a:lnTo>
                  <a:lnTo>
                    <a:pt x="20" y="6"/>
                  </a:lnTo>
                  <a:lnTo>
                    <a:pt x="24" y="2"/>
                  </a:lnTo>
                  <a:lnTo>
                    <a:pt x="32" y="0"/>
                  </a:lnTo>
                  <a:lnTo>
                    <a:pt x="38" y="0"/>
                  </a:lnTo>
                  <a:lnTo>
                    <a:pt x="42" y="6"/>
                  </a:lnTo>
                  <a:lnTo>
                    <a:pt x="42" y="48"/>
                  </a:lnTo>
                  <a:lnTo>
                    <a:pt x="64" y="48"/>
                  </a:lnTo>
                  <a:lnTo>
                    <a:pt x="68" y="52"/>
                  </a:lnTo>
                  <a:lnTo>
                    <a:pt x="68" y="56"/>
                  </a:lnTo>
                  <a:lnTo>
                    <a:pt x="60" y="58"/>
                  </a:lnTo>
                  <a:lnTo>
                    <a:pt x="52" y="58"/>
                  </a:lnTo>
                  <a:lnTo>
                    <a:pt x="44" y="60"/>
                  </a:lnTo>
                  <a:lnTo>
                    <a:pt x="42" y="64"/>
                  </a:lnTo>
                  <a:lnTo>
                    <a:pt x="34" y="62"/>
                  </a:lnTo>
                  <a:lnTo>
                    <a:pt x="24" y="60"/>
                  </a:lnTo>
                  <a:lnTo>
                    <a:pt x="20" y="56"/>
                  </a:lnTo>
                  <a:lnTo>
                    <a:pt x="20" y="50"/>
                  </a:lnTo>
                  <a:lnTo>
                    <a:pt x="16" y="50"/>
                  </a:lnTo>
                  <a:lnTo>
                    <a:pt x="12" y="50"/>
                  </a:lnTo>
                  <a:lnTo>
                    <a:pt x="12" y="56"/>
                  </a:lnTo>
                  <a:lnTo>
                    <a:pt x="2" y="52"/>
                  </a:lnTo>
                  <a:lnTo>
                    <a:pt x="2" y="4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96" name="Freeform 88">
              <a:extLst>
                <a:ext uri="{FF2B5EF4-FFF2-40B4-BE49-F238E27FC236}">
                  <a16:creationId xmlns:a16="http://schemas.microsoft.com/office/drawing/2014/main" id="{82A0C04F-F1AB-4904-98FC-2D268D67F7AA}"/>
                </a:ext>
              </a:extLst>
            </p:cNvPr>
            <p:cNvSpPr>
              <a:spLocks/>
            </p:cNvSpPr>
            <p:nvPr/>
          </p:nvSpPr>
          <p:spPr bwMode="gray">
            <a:xfrm>
              <a:off x="4230025" y="6178562"/>
              <a:ext cx="29719" cy="29876"/>
            </a:xfrm>
            <a:custGeom>
              <a:avLst/>
              <a:gdLst>
                <a:gd name="T0" fmla="*/ 6 w 18"/>
                <a:gd name="T1" fmla="*/ 4 h 18"/>
                <a:gd name="T2" fmla="*/ 12 w 18"/>
                <a:gd name="T3" fmla="*/ 0 h 18"/>
                <a:gd name="T4" fmla="*/ 18 w 18"/>
                <a:gd name="T5" fmla="*/ 2 h 18"/>
                <a:gd name="T6" fmla="*/ 18 w 18"/>
                <a:gd name="T7" fmla="*/ 6 h 18"/>
                <a:gd name="T8" fmla="*/ 14 w 18"/>
                <a:gd name="T9" fmla="*/ 10 h 18"/>
                <a:gd name="T10" fmla="*/ 8 w 18"/>
                <a:gd name="T11" fmla="*/ 16 h 18"/>
                <a:gd name="T12" fmla="*/ 4 w 18"/>
                <a:gd name="T13" fmla="*/ 18 h 18"/>
                <a:gd name="T14" fmla="*/ 0 w 18"/>
                <a:gd name="T15" fmla="*/ 16 h 18"/>
                <a:gd name="T16" fmla="*/ 0 w 18"/>
                <a:gd name="T17" fmla="*/ 12 h 18"/>
                <a:gd name="T18" fmla="*/ 4 w 18"/>
                <a:gd name="T19" fmla="*/ 8 h 18"/>
                <a:gd name="T20" fmla="*/ 6 w 18"/>
                <a:gd name="T21" fmla="*/ 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 h="18">
                  <a:moveTo>
                    <a:pt x="6" y="4"/>
                  </a:moveTo>
                  <a:lnTo>
                    <a:pt x="12" y="0"/>
                  </a:lnTo>
                  <a:lnTo>
                    <a:pt x="18" y="2"/>
                  </a:lnTo>
                  <a:lnTo>
                    <a:pt x="18" y="6"/>
                  </a:lnTo>
                  <a:lnTo>
                    <a:pt x="14" y="10"/>
                  </a:lnTo>
                  <a:lnTo>
                    <a:pt x="8" y="16"/>
                  </a:lnTo>
                  <a:lnTo>
                    <a:pt x="4" y="18"/>
                  </a:lnTo>
                  <a:lnTo>
                    <a:pt x="0" y="16"/>
                  </a:lnTo>
                  <a:lnTo>
                    <a:pt x="0" y="12"/>
                  </a:lnTo>
                  <a:lnTo>
                    <a:pt x="4" y="8"/>
                  </a:lnTo>
                  <a:lnTo>
                    <a:pt x="6" y="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97" name="Freeform 89">
              <a:extLst>
                <a:ext uri="{FF2B5EF4-FFF2-40B4-BE49-F238E27FC236}">
                  <a16:creationId xmlns:a16="http://schemas.microsoft.com/office/drawing/2014/main" id="{8ECD711D-2C9B-4661-BE7F-BEDAF72469E2}"/>
                </a:ext>
              </a:extLst>
            </p:cNvPr>
            <p:cNvSpPr>
              <a:spLocks/>
            </p:cNvSpPr>
            <p:nvPr/>
          </p:nvSpPr>
          <p:spPr bwMode="gray">
            <a:xfrm>
              <a:off x="4256442" y="6181882"/>
              <a:ext cx="46230" cy="33197"/>
            </a:xfrm>
            <a:custGeom>
              <a:avLst/>
              <a:gdLst>
                <a:gd name="T0" fmla="*/ 6 w 28"/>
                <a:gd name="T1" fmla="*/ 8 h 20"/>
                <a:gd name="T2" fmla="*/ 10 w 28"/>
                <a:gd name="T3" fmla="*/ 0 h 20"/>
                <a:gd name="T4" fmla="*/ 16 w 28"/>
                <a:gd name="T5" fmla="*/ 0 h 20"/>
                <a:gd name="T6" fmla="*/ 22 w 28"/>
                <a:gd name="T7" fmla="*/ 0 h 20"/>
                <a:gd name="T8" fmla="*/ 28 w 28"/>
                <a:gd name="T9" fmla="*/ 2 h 20"/>
                <a:gd name="T10" fmla="*/ 28 w 28"/>
                <a:gd name="T11" fmla="*/ 6 h 20"/>
                <a:gd name="T12" fmla="*/ 22 w 28"/>
                <a:gd name="T13" fmla="*/ 8 h 20"/>
                <a:gd name="T14" fmla="*/ 18 w 28"/>
                <a:gd name="T15" fmla="*/ 10 h 20"/>
                <a:gd name="T16" fmla="*/ 16 w 28"/>
                <a:gd name="T17" fmla="*/ 10 h 20"/>
                <a:gd name="T18" fmla="*/ 12 w 28"/>
                <a:gd name="T19" fmla="*/ 14 h 20"/>
                <a:gd name="T20" fmla="*/ 8 w 28"/>
                <a:gd name="T21" fmla="*/ 16 h 20"/>
                <a:gd name="T22" fmla="*/ 6 w 28"/>
                <a:gd name="T23" fmla="*/ 20 h 20"/>
                <a:gd name="T24" fmla="*/ 0 w 28"/>
                <a:gd name="T25" fmla="*/ 18 h 20"/>
                <a:gd name="T26" fmla="*/ 0 w 28"/>
                <a:gd name="T27" fmla="*/ 12 h 20"/>
                <a:gd name="T28" fmla="*/ 2 w 28"/>
                <a:gd name="T29" fmla="*/ 10 h 20"/>
                <a:gd name="T30" fmla="*/ 6 w 28"/>
                <a:gd name="T31" fmla="*/ 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 h="20">
                  <a:moveTo>
                    <a:pt x="6" y="8"/>
                  </a:moveTo>
                  <a:lnTo>
                    <a:pt x="10" y="0"/>
                  </a:lnTo>
                  <a:lnTo>
                    <a:pt x="16" y="0"/>
                  </a:lnTo>
                  <a:lnTo>
                    <a:pt x="22" y="0"/>
                  </a:lnTo>
                  <a:lnTo>
                    <a:pt x="28" y="2"/>
                  </a:lnTo>
                  <a:lnTo>
                    <a:pt x="28" y="6"/>
                  </a:lnTo>
                  <a:lnTo>
                    <a:pt x="22" y="8"/>
                  </a:lnTo>
                  <a:lnTo>
                    <a:pt x="18" y="10"/>
                  </a:lnTo>
                  <a:lnTo>
                    <a:pt x="16" y="10"/>
                  </a:lnTo>
                  <a:lnTo>
                    <a:pt x="12" y="14"/>
                  </a:lnTo>
                  <a:lnTo>
                    <a:pt x="8" y="16"/>
                  </a:lnTo>
                  <a:lnTo>
                    <a:pt x="6" y="20"/>
                  </a:lnTo>
                  <a:lnTo>
                    <a:pt x="0" y="18"/>
                  </a:lnTo>
                  <a:lnTo>
                    <a:pt x="0" y="12"/>
                  </a:lnTo>
                  <a:lnTo>
                    <a:pt x="2" y="10"/>
                  </a:lnTo>
                  <a:lnTo>
                    <a:pt x="6" y="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98" name="Freeform 90">
              <a:extLst>
                <a:ext uri="{FF2B5EF4-FFF2-40B4-BE49-F238E27FC236}">
                  <a16:creationId xmlns:a16="http://schemas.microsoft.com/office/drawing/2014/main" id="{BF9B2A95-6C35-42C1-ADA9-A04CCCB2087B}"/>
                </a:ext>
              </a:extLst>
            </p:cNvPr>
            <p:cNvSpPr>
              <a:spLocks/>
            </p:cNvSpPr>
            <p:nvPr/>
          </p:nvSpPr>
          <p:spPr bwMode="gray">
            <a:xfrm>
              <a:off x="3879997" y="4555250"/>
              <a:ext cx="1023665" cy="1058970"/>
            </a:xfrm>
            <a:custGeom>
              <a:avLst/>
              <a:gdLst>
                <a:gd name="T0" fmla="*/ 366 w 620"/>
                <a:gd name="T1" fmla="*/ 36 h 638"/>
                <a:gd name="T2" fmla="*/ 378 w 620"/>
                <a:gd name="T3" fmla="*/ 70 h 638"/>
                <a:gd name="T4" fmla="*/ 362 w 620"/>
                <a:gd name="T5" fmla="*/ 100 h 638"/>
                <a:gd name="T6" fmla="*/ 388 w 620"/>
                <a:gd name="T7" fmla="*/ 78 h 638"/>
                <a:gd name="T8" fmla="*/ 402 w 620"/>
                <a:gd name="T9" fmla="*/ 98 h 638"/>
                <a:gd name="T10" fmla="*/ 404 w 620"/>
                <a:gd name="T11" fmla="*/ 108 h 638"/>
                <a:gd name="T12" fmla="*/ 420 w 620"/>
                <a:gd name="T13" fmla="*/ 92 h 638"/>
                <a:gd name="T14" fmla="*/ 472 w 620"/>
                <a:gd name="T15" fmla="*/ 114 h 638"/>
                <a:gd name="T16" fmla="*/ 476 w 620"/>
                <a:gd name="T17" fmla="*/ 126 h 638"/>
                <a:gd name="T18" fmla="*/ 516 w 620"/>
                <a:gd name="T19" fmla="*/ 130 h 638"/>
                <a:gd name="T20" fmla="*/ 572 w 620"/>
                <a:gd name="T21" fmla="*/ 152 h 638"/>
                <a:gd name="T22" fmla="*/ 614 w 620"/>
                <a:gd name="T23" fmla="*/ 174 h 638"/>
                <a:gd name="T24" fmla="*/ 600 w 620"/>
                <a:gd name="T25" fmla="*/ 246 h 638"/>
                <a:gd name="T26" fmla="*/ 570 w 620"/>
                <a:gd name="T27" fmla="*/ 286 h 638"/>
                <a:gd name="T28" fmla="*/ 556 w 620"/>
                <a:gd name="T29" fmla="*/ 322 h 638"/>
                <a:gd name="T30" fmla="*/ 544 w 620"/>
                <a:gd name="T31" fmla="*/ 392 h 638"/>
                <a:gd name="T32" fmla="*/ 512 w 620"/>
                <a:gd name="T33" fmla="*/ 446 h 638"/>
                <a:gd name="T34" fmla="*/ 454 w 620"/>
                <a:gd name="T35" fmla="*/ 468 h 638"/>
                <a:gd name="T36" fmla="*/ 408 w 620"/>
                <a:gd name="T37" fmla="*/ 494 h 638"/>
                <a:gd name="T38" fmla="*/ 398 w 620"/>
                <a:gd name="T39" fmla="*/ 550 h 638"/>
                <a:gd name="T40" fmla="*/ 374 w 620"/>
                <a:gd name="T41" fmla="*/ 588 h 638"/>
                <a:gd name="T42" fmla="*/ 352 w 620"/>
                <a:gd name="T43" fmla="*/ 606 h 638"/>
                <a:gd name="T44" fmla="*/ 370 w 620"/>
                <a:gd name="T45" fmla="*/ 584 h 638"/>
                <a:gd name="T46" fmla="*/ 352 w 620"/>
                <a:gd name="T47" fmla="*/ 596 h 638"/>
                <a:gd name="T48" fmla="*/ 342 w 620"/>
                <a:gd name="T49" fmla="*/ 622 h 638"/>
                <a:gd name="T50" fmla="*/ 330 w 620"/>
                <a:gd name="T51" fmla="*/ 622 h 638"/>
                <a:gd name="T52" fmla="*/ 286 w 620"/>
                <a:gd name="T53" fmla="*/ 590 h 638"/>
                <a:gd name="T54" fmla="*/ 300 w 620"/>
                <a:gd name="T55" fmla="*/ 540 h 638"/>
                <a:gd name="T56" fmla="*/ 322 w 620"/>
                <a:gd name="T57" fmla="*/ 502 h 638"/>
                <a:gd name="T58" fmla="*/ 314 w 620"/>
                <a:gd name="T59" fmla="*/ 474 h 638"/>
                <a:gd name="T60" fmla="*/ 290 w 620"/>
                <a:gd name="T61" fmla="*/ 446 h 638"/>
                <a:gd name="T62" fmla="*/ 256 w 620"/>
                <a:gd name="T63" fmla="*/ 414 h 638"/>
                <a:gd name="T64" fmla="*/ 260 w 620"/>
                <a:gd name="T65" fmla="*/ 376 h 638"/>
                <a:gd name="T66" fmla="*/ 220 w 620"/>
                <a:gd name="T67" fmla="*/ 342 h 638"/>
                <a:gd name="T68" fmla="*/ 214 w 620"/>
                <a:gd name="T69" fmla="*/ 302 h 638"/>
                <a:gd name="T70" fmla="*/ 162 w 620"/>
                <a:gd name="T71" fmla="*/ 282 h 638"/>
                <a:gd name="T72" fmla="*/ 116 w 620"/>
                <a:gd name="T73" fmla="*/ 244 h 638"/>
                <a:gd name="T74" fmla="*/ 60 w 620"/>
                <a:gd name="T75" fmla="*/ 256 h 638"/>
                <a:gd name="T76" fmla="*/ 48 w 620"/>
                <a:gd name="T77" fmla="*/ 238 h 638"/>
                <a:gd name="T78" fmla="*/ 8 w 620"/>
                <a:gd name="T79" fmla="*/ 222 h 638"/>
                <a:gd name="T80" fmla="*/ 26 w 620"/>
                <a:gd name="T81" fmla="*/ 160 h 638"/>
                <a:gd name="T82" fmla="*/ 70 w 620"/>
                <a:gd name="T83" fmla="*/ 120 h 638"/>
                <a:gd name="T84" fmla="*/ 66 w 620"/>
                <a:gd name="T85" fmla="*/ 72 h 638"/>
                <a:gd name="T86" fmla="*/ 92 w 620"/>
                <a:gd name="T87" fmla="*/ 56 h 638"/>
                <a:gd name="T88" fmla="*/ 130 w 620"/>
                <a:gd name="T89" fmla="*/ 72 h 638"/>
                <a:gd name="T90" fmla="*/ 168 w 620"/>
                <a:gd name="T91" fmla="*/ 44 h 638"/>
                <a:gd name="T92" fmla="*/ 154 w 620"/>
                <a:gd name="T93" fmla="*/ 18 h 638"/>
                <a:gd name="T94" fmla="*/ 194 w 620"/>
                <a:gd name="T95" fmla="*/ 18 h 638"/>
                <a:gd name="T96" fmla="*/ 228 w 620"/>
                <a:gd name="T97" fmla="*/ 22 h 638"/>
                <a:gd name="T98" fmla="*/ 244 w 620"/>
                <a:gd name="T99" fmla="*/ 64 h 638"/>
                <a:gd name="T100" fmla="*/ 276 w 620"/>
                <a:gd name="T101" fmla="*/ 54 h 638"/>
                <a:gd name="T102" fmla="*/ 290 w 620"/>
                <a:gd name="T103" fmla="*/ 44 h 638"/>
                <a:gd name="T104" fmla="*/ 332 w 620"/>
                <a:gd name="T105" fmla="*/ 4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20" h="638">
                  <a:moveTo>
                    <a:pt x="356" y="18"/>
                  </a:moveTo>
                  <a:lnTo>
                    <a:pt x="362" y="20"/>
                  </a:lnTo>
                  <a:lnTo>
                    <a:pt x="366" y="24"/>
                  </a:lnTo>
                  <a:lnTo>
                    <a:pt x="364" y="28"/>
                  </a:lnTo>
                  <a:lnTo>
                    <a:pt x="366" y="36"/>
                  </a:lnTo>
                  <a:lnTo>
                    <a:pt x="368" y="44"/>
                  </a:lnTo>
                  <a:lnTo>
                    <a:pt x="376" y="54"/>
                  </a:lnTo>
                  <a:lnTo>
                    <a:pt x="382" y="60"/>
                  </a:lnTo>
                  <a:lnTo>
                    <a:pt x="382" y="68"/>
                  </a:lnTo>
                  <a:lnTo>
                    <a:pt x="378" y="70"/>
                  </a:lnTo>
                  <a:lnTo>
                    <a:pt x="370" y="76"/>
                  </a:lnTo>
                  <a:lnTo>
                    <a:pt x="362" y="84"/>
                  </a:lnTo>
                  <a:lnTo>
                    <a:pt x="360" y="88"/>
                  </a:lnTo>
                  <a:lnTo>
                    <a:pt x="360" y="96"/>
                  </a:lnTo>
                  <a:lnTo>
                    <a:pt x="362" y="100"/>
                  </a:lnTo>
                  <a:lnTo>
                    <a:pt x="368" y="98"/>
                  </a:lnTo>
                  <a:lnTo>
                    <a:pt x="372" y="92"/>
                  </a:lnTo>
                  <a:lnTo>
                    <a:pt x="372" y="82"/>
                  </a:lnTo>
                  <a:lnTo>
                    <a:pt x="380" y="78"/>
                  </a:lnTo>
                  <a:lnTo>
                    <a:pt x="388" y="78"/>
                  </a:lnTo>
                  <a:lnTo>
                    <a:pt x="392" y="82"/>
                  </a:lnTo>
                  <a:lnTo>
                    <a:pt x="400" y="84"/>
                  </a:lnTo>
                  <a:lnTo>
                    <a:pt x="404" y="88"/>
                  </a:lnTo>
                  <a:lnTo>
                    <a:pt x="404" y="92"/>
                  </a:lnTo>
                  <a:lnTo>
                    <a:pt x="402" y="98"/>
                  </a:lnTo>
                  <a:lnTo>
                    <a:pt x="398" y="102"/>
                  </a:lnTo>
                  <a:lnTo>
                    <a:pt x="392" y="108"/>
                  </a:lnTo>
                  <a:lnTo>
                    <a:pt x="392" y="116"/>
                  </a:lnTo>
                  <a:lnTo>
                    <a:pt x="396" y="116"/>
                  </a:lnTo>
                  <a:lnTo>
                    <a:pt x="404" y="108"/>
                  </a:lnTo>
                  <a:lnTo>
                    <a:pt x="406" y="108"/>
                  </a:lnTo>
                  <a:lnTo>
                    <a:pt x="408" y="104"/>
                  </a:lnTo>
                  <a:lnTo>
                    <a:pt x="410" y="98"/>
                  </a:lnTo>
                  <a:lnTo>
                    <a:pt x="414" y="94"/>
                  </a:lnTo>
                  <a:lnTo>
                    <a:pt x="420" y="92"/>
                  </a:lnTo>
                  <a:lnTo>
                    <a:pt x="426" y="94"/>
                  </a:lnTo>
                  <a:lnTo>
                    <a:pt x="440" y="98"/>
                  </a:lnTo>
                  <a:lnTo>
                    <a:pt x="448" y="104"/>
                  </a:lnTo>
                  <a:lnTo>
                    <a:pt x="462" y="110"/>
                  </a:lnTo>
                  <a:lnTo>
                    <a:pt x="472" y="114"/>
                  </a:lnTo>
                  <a:lnTo>
                    <a:pt x="472" y="120"/>
                  </a:lnTo>
                  <a:lnTo>
                    <a:pt x="468" y="126"/>
                  </a:lnTo>
                  <a:lnTo>
                    <a:pt x="466" y="134"/>
                  </a:lnTo>
                  <a:lnTo>
                    <a:pt x="468" y="134"/>
                  </a:lnTo>
                  <a:lnTo>
                    <a:pt x="476" y="126"/>
                  </a:lnTo>
                  <a:lnTo>
                    <a:pt x="482" y="124"/>
                  </a:lnTo>
                  <a:lnTo>
                    <a:pt x="488" y="122"/>
                  </a:lnTo>
                  <a:lnTo>
                    <a:pt x="496" y="124"/>
                  </a:lnTo>
                  <a:lnTo>
                    <a:pt x="506" y="128"/>
                  </a:lnTo>
                  <a:lnTo>
                    <a:pt x="516" y="130"/>
                  </a:lnTo>
                  <a:lnTo>
                    <a:pt x="528" y="130"/>
                  </a:lnTo>
                  <a:lnTo>
                    <a:pt x="538" y="132"/>
                  </a:lnTo>
                  <a:lnTo>
                    <a:pt x="548" y="134"/>
                  </a:lnTo>
                  <a:lnTo>
                    <a:pt x="560" y="142"/>
                  </a:lnTo>
                  <a:lnTo>
                    <a:pt x="572" y="152"/>
                  </a:lnTo>
                  <a:lnTo>
                    <a:pt x="582" y="160"/>
                  </a:lnTo>
                  <a:lnTo>
                    <a:pt x="592" y="166"/>
                  </a:lnTo>
                  <a:lnTo>
                    <a:pt x="602" y="164"/>
                  </a:lnTo>
                  <a:lnTo>
                    <a:pt x="610" y="164"/>
                  </a:lnTo>
                  <a:lnTo>
                    <a:pt x="614" y="174"/>
                  </a:lnTo>
                  <a:lnTo>
                    <a:pt x="620" y="190"/>
                  </a:lnTo>
                  <a:lnTo>
                    <a:pt x="620" y="206"/>
                  </a:lnTo>
                  <a:lnTo>
                    <a:pt x="618" y="224"/>
                  </a:lnTo>
                  <a:lnTo>
                    <a:pt x="608" y="236"/>
                  </a:lnTo>
                  <a:lnTo>
                    <a:pt x="600" y="246"/>
                  </a:lnTo>
                  <a:lnTo>
                    <a:pt x="580" y="264"/>
                  </a:lnTo>
                  <a:lnTo>
                    <a:pt x="580" y="272"/>
                  </a:lnTo>
                  <a:lnTo>
                    <a:pt x="578" y="278"/>
                  </a:lnTo>
                  <a:lnTo>
                    <a:pt x="574" y="282"/>
                  </a:lnTo>
                  <a:lnTo>
                    <a:pt x="570" y="286"/>
                  </a:lnTo>
                  <a:lnTo>
                    <a:pt x="562" y="290"/>
                  </a:lnTo>
                  <a:lnTo>
                    <a:pt x="556" y="294"/>
                  </a:lnTo>
                  <a:lnTo>
                    <a:pt x="554" y="302"/>
                  </a:lnTo>
                  <a:lnTo>
                    <a:pt x="554" y="310"/>
                  </a:lnTo>
                  <a:lnTo>
                    <a:pt x="556" y="322"/>
                  </a:lnTo>
                  <a:lnTo>
                    <a:pt x="556" y="338"/>
                  </a:lnTo>
                  <a:lnTo>
                    <a:pt x="554" y="350"/>
                  </a:lnTo>
                  <a:lnTo>
                    <a:pt x="552" y="366"/>
                  </a:lnTo>
                  <a:lnTo>
                    <a:pt x="548" y="376"/>
                  </a:lnTo>
                  <a:lnTo>
                    <a:pt x="544" y="392"/>
                  </a:lnTo>
                  <a:lnTo>
                    <a:pt x="536" y="408"/>
                  </a:lnTo>
                  <a:lnTo>
                    <a:pt x="528" y="420"/>
                  </a:lnTo>
                  <a:lnTo>
                    <a:pt x="524" y="434"/>
                  </a:lnTo>
                  <a:lnTo>
                    <a:pt x="518" y="440"/>
                  </a:lnTo>
                  <a:lnTo>
                    <a:pt x="512" y="446"/>
                  </a:lnTo>
                  <a:lnTo>
                    <a:pt x="508" y="452"/>
                  </a:lnTo>
                  <a:lnTo>
                    <a:pt x="494" y="456"/>
                  </a:lnTo>
                  <a:lnTo>
                    <a:pt x="482" y="456"/>
                  </a:lnTo>
                  <a:lnTo>
                    <a:pt x="464" y="458"/>
                  </a:lnTo>
                  <a:lnTo>
                    <a:pt x="454" y="468"/>
                  </a:lnTo>
                  <a:lnTo>
                    <a:pt x="446" y="472"/>
                  </a:lnTo>
                  <a:lnTo>
                    <a:pt x="438" y="472"/>
                  </a:lnTo>
                  <a:lnTo>
                    <a:pt x="430" y="480"/>
                  </a:lnTo>
                  <a:lnTo>
                    <a:pt x="418" y="484"/>
                  </a:lnTo>
                  <a:lnTo>
                    <a:pt x="408" y="494"/>
                  </a:lnTo>
                  <a:lnTo>
                    <a:pt x="404" y="502"/>
                  </a:lnTo>
                  <a:lnTo>
                    <a:pt x="402" y="516"/>
                  </a:lnTo>
                  <a:lnTo>
                    <a:pt x="402" y="526"/>
                  </a:lnTo>
                  <a:lnTo>
                    <a:pt x="404" y="542"/>
                  </a:lnTo>
                  <a:lnTo>
                    <a:pt x="398" y="550"/>
                  </a:lnTo>
                  <a:lnTo>
                    <a:pt x="390" y="560"/>
                  </a:lnTo>
                  <a:lnTo>
                    <a:pt x="384" y="566"/>
                  </a:lnTo>
                  <a:lnTo>
                    <a:pt x="380" y="574"/>
                  </a:lnTo>
                  <a:lnTo>
                    <a:pt x="376" y="584"/>
                  </a:lnTo>
                  <a:lnTo>
                    <a:pt x="374" y="588"/>
                  </a:lnTo>
                  <a:lnTo>
                    <a:pt x="370" y="592"/>
                  </a:lnTo>
                  <a:lnTo>
                    <a:pt x="366" y="600"/>
                  </a:lnTo>
                  <a:lnTo>
                    <a:pt x="360" y="604"/>
                  </a:lnTo>
                  <a:lnTo>
                    <a:pt x="352" y="610"/>
                  </a:lnTo>
                  <a:lnTo>
                    <a:pt x="352" y="606"/>
                  </a:lnTo>
                  <a:lnTo>
                    <a:pt x="352" y="604"/>
                  </a:lnTo>
                  <a:lnTo>
                    <a:pt x="356" y="600"/>
                  </a:lnTo>
                  <a:lnTo>
                    <a:pt x="360" y="596"/>
                  </a:lnTo>
                  <a:lnTo>
                    <a:pt x="366" y="590"/>
                  </a:lnTo>
                  <a:lnTo>
                    <a:pt x="370" y="584"/>
                  </a:lnTo>
                  <a:lnTo>
                    <a:pt x="368" y="580"/>
                  </a:lnTo>
                  <a:lnTo>
                    <a:pt x="364" y="582"/>
                  </a:lnTo>
                  <a:lnTo>
                    <a:pt x="360" y="586"/>
                  </a:lnTo>
                  <a:lnTo>
                    <a:pt x="356" y="592"/>
                  </a:lnTo>
                  <a:lnTo>
                    <a:pt x="352" y="596"/>
                  </a:lnTo>
                  <a:lnTo>
                    <a:pt x="348" y="600"/>
                  </a:lnTo>
                  <a:lnTo>
                    <a:pt x="348" y="606"/>
                  </a:lnTo>
                  <a:lnTo>
                    <a:pt x="346" y="612"/>
                  </a:lnTo>
                  <a:lnTo>
                    <a:pt x="344" y="618"/>
                  </a:lnTo>
                  <a:lnTo>
                    <a:pt x="342" y="622"/>
                  </a:lnTo>
                  <a:lnTo>
                    <a:pt x="336" y="630"/>
                  </a:lnTo>
                  <a:lnTo>
                    <a:pt x="332" y="638"/>
                  </a:lnTo>
                  <a:lnTo>
                    <a:pt x="328" y="634"/>
                  </a:lnTo>
                  <a:lnTo>
                    <a:pt x="328" y="628"/>
                  </a:lnTo>
                  <a:lnTo>
                    <a:pt x="330" y="622"/>
                  </a:lnTo>
                  <a:lnTo>
                    <a:pt x="326" y="614"/>
                  </a:lnTo>
                  <a:lnTo>
                    <a:pt x="320" y="610"/>
                  </a:lnTo>
                  <a:lnTo>
                    <a:pt x="308" y="600"/>
                  </a:lnTo>
                  <a:lnTo>
                    <a:pt x="294" y="592"/>
                  </a:lnTo>
                  <a:lnTo>
                    <a:pt x="286" y="590"/>
                  </a:lnTo>
                  <a:lnTo>
                    <a:pt x="278" y="580"/>
                  </a:lnTo>
                  <a:lnTo>
                    <a:pt x="268" y="572"/>
                  </a:lnTo>
                  <a:lnTo>
                    <a:pt x="270" y="568"/>
                  </a:lnTo>
                  <a:lnTo>
                    <a:pt x="276" y="564"/>
                  </a:lnTo>
                  <a:lnTo>
                    <a:pt x="300" y="540"/>
                  </a:lnTo>
                  <a:lnTo>
                    <a:pt x="308" y="534"/>
                  </a:lnTo>
                  <a:lnTo>
                    <a:pt x="316" y="530"/>
                  </a:lnTo>
                  <a:lnTo>
                    <a:pt x="320" y="524"/>
                  </a:lnTo>
                  <a:lnTo>
                    <a:pt x="324" y="512"/>
                  </a:lnTo>
                  <a:lnTo>
                    <a:pt x="322" y="502"/>
                  </a:lnTo>
                  <a:lnTo>
                    <a:pt x="318" y="498"/>
                  </a:lnTo>
                  <a:lnTo>
                    <a:pt x="308" y="496"/>
                  </a:lnTo>
                  <a:lnTo>
                    <a:pt x="308" y="490"/>
                  </a:lnTo>
                  <a:lnTo>
                    <a:pt x="312" y="482"/>
                  </a:lnTo>
                  <a:lnTo>
                    <a:pt x="314" y="474"/>
                  </a:lnTo>
                  <a:lnTo>
                    <a:pt x="308" y="472"/>
                  </a:lnTo>
                  <a:lnTo>
                    <a:pt x="300" y="474"/>
                  </a:lnTo>
                  <a:lnTo>
                    <a:pt x="292" y="466"/>
                  </a:lnTo>
                  <a:lnTo>
                    <a:pt x="288" y="456"/>
                  </a:lnTo>
                  <a:lnTo>
                    <a:pt x="290" y="446"/>
                  </a:lnTo>
                  <a:lnTo>
                    <a:pt x="284" y="442"/>
                  </a:lnTo>
                  <a:lnTo>
                    <a:pt x="274" y="440"/>
                  </a:lnTo>
                  <a:lnTo>
                    <a:pt x="266" y="442"/>
                  </a:lnTo>
                  <a:lnTo>
                    <a:pt x="256" y="442"/>
                  </a:lnTo>
                  <a:lnTo>
                    <a:pt x="256" y="414"/>
                  </a:lnTo>
                  <a:lnTo>
                    <a:pt x="252" y="406"/>
                  </a:lnTo>
                  <a:lnTo>
                    <a:pt x="256" y="402"/>
                  </a:lnTo>
                  <a:lnTo>
                    <a:pt x="252" y="396"/>
                  </a:lnTo>
                  <a:lnTo>
                    <a:pt x="260" y="382"/>
                  </a:lnTo>
                  <a:lnTo>
                    <a:pt x="260" y="376"/>
                  </a:lnTo>
                  <a:lnTo>
                    <a:pt x="258" y="366"/>
                  </a:lnTo>
                  <a:lnTo>
                    <a:pt x="248" y="362"/>
                  </a:lnTo>
                  <a:lnTo>
                    <a:pt x="246" y="350"/>
                  </a:lnTo>
                  <a:lnTo>
                    <a:pt x="248" y="342"/>
                  </a:lnTo>
                  <a:lnTo>
                    <a:pt x="220" y="342"/>
                  </a:lnTo>
                  <a:lnTo>
                    <a:pt x="218" y="330"/>
                  </a:lnTo>
                  <a:lnTo>
                    <a:pt x="218" y="326"/>
                  </a:lnTo>
                  <a:lnTo>
                    <a:pt x="220" y="322"/>
                  </a:lnTo>
                  <a:lnTo>
                    <a:pt x="218" y="314"/>
                  </a:lnTo>
                  <a:lnTo>
                    <a:pt x="214" y="302"/>
                  </a:lnTo>
                  <a:lnTo>
                    <a:pt x="196" y="298"/>
                  </a:lnTo>
                  <a:lnTo>
                    <a:pt x="184" y="292"/>
                  </a:lnTo>
                  <a:lnTo>
                    <a:pt x="176" y="290"/>
                  </a:lnTo>
                  <a:lnTo>
                    <a:pt x="172" y="284"/>
                  </a:lnTo>
                  <a:lnTo>
                    <a:pt x="162" y="282"/>
                  </a:lnTo>
                  <a:lnTo>
                    <a:pt x="152" y="280"/>
                  </a:lnTo>
                  <a:lnTo>
                    <a:pt x="140" y="268"/>
                  </a:lnTo>
                  <a:lnTo>
                    <a:pt x="138" y="240"/>
                  </a:lnTo>
                  <a:lnTo>
                    <a:pt x="126" y="240"/>
                  </a:lnTo>
                  <a:lnTo>
                    <a:pt x="116" y="244"/>
                  </a:lnTo>
                  <a:lnTo>
                    <a:pt x="114" y="244"/>
                  </a:lnTo>
                  <a:lnTo>
                    <a:pt x="106" y="250"/>
                  </a:lnTo>
                  <a:lnTo>
                    <a:pt x="92" y="256"/>
                  </a:lnTo>
                  <a:lnTo>
                    <a:pt x="72" y="258"/>
                  </a:lnTo>
                  <a:lnTo>
                    <a:pt x="60" y="256"/>
                  </a:lnTo>
                  <a:lnTo>
                    <a:pt x="54" y="256"/>
                  </a:lnTo>
                  <a:lnTo>
                    <a:pt x="52" y="250"/>
                  </a:lnTo>
                  <a:lnTo>
                    <a:pt x="56" y="238"/>
                  </a:lnTo>
                  <a:lnTo>
                    <a:pt x="54" y="232"/>
                  </a:lnTo>
                  <a:lnTo>
                    <a:pt x="48" y="238"/>
                  </a:lnTo>
                  <a:lnTo>
                    <a:pt x="38" y="242"/>
                  </a:lnTo>
                  <a:lnTo>
                    <a:pt x="36" y="244"/>
                  </a:lnTo>
                  <a:lnTo>
                    <a:pt x="28" y="242"/>
                  </a:lnTo>
                  <a:lnTo>
                    <a:pt x="18" y="232"/>
                  </a:lnTo>
                  <a:lnTo>
                    <a:pt x="8" y="222"/>
                  </a:lnTo>
                  <a:lnTo>
                    <a:pt x="0" y="200"/>
                  </a:lnTo>
                  <a:lnTo>
                    <a:pt x="8" y="188"/>
                  </a:lnTo>
                  <a:lnTo>
                    <a:pt x="14" y="182"/>
                  </a:lnTo>
                  <a:lnTo>
                    <a:pt x="16" y="172"/>
                  </a:lnTo>
                  <a:lnTo>
                    <a:pt x="26" y="160"/>
                  </a:lnTo>
                  <a:lnTo>
                    <a:pt x="40" y="154"/>
                  </a:lnTo>
                  <a:lnTo>
                    <a:pt x="62" y="152"/>
                  </a:lnTo>
                  <a:lnTo>
                    <a:pt x="68" y="138"/>
                  </a:lnTo>
                  <a:lnTo>
                    <a:pt x="68" y="126"/>
                  </a:lnTo>
                  <a:lnTo>
                    <a:pt x="70" y="120"/>
                  </a:lnTo>
                  <a:lnTo>
                    <a:pt x="72" y="106"/>
                  </a:lnTo>
                  <a:lnTo>
                    <a:pt x="70" y="94"/>
                  </a:lnTo>
                  <a:lnTo>
                    <a:pt x="64" y="86"/>
                  </a:lnTo>
                  <a:lnTo>
                    <a:pt x="64" y="74"/>
                  </a:lnTo>
                  <a:lnTo>
                    <a:pt x="66" y="72"/>
                  </a:lnTo>
                  <a:lnTo>
                    <a:pt x="76" y="74"/>
                  </a:lnTo>
                  <a:lnTo>
                    <a:pt x="76" y="68"/>
                  </a:lnTo>
                  <a:lnTo>
                    <a:pt x="64" y="64"/>
                  </a:lnTo>
                  <a:lnTo>
                    <a:pt x="64" y="58"/>
                  </a:lnTo>
                  <a:lnTo>
                    <a:pt x="92" y="56"/>
                  </a:lnTo>
                  <a:lnTo>
                    <a:pt x="102" y="54"/>
                  </a:lnTo>
                  <a:lnTo>
                    <a:pt x="108" y="56"/>
                  </a:lnTo>
                  <a:lnTo>
                    <a:pt x="112" y="62"/>
                  </a:lnTo>
                  <a:lnTo>
                    <a:pt x="120" y="70"/>
                  </a:lnTo>
                  <a:lnTo>
                    <a:pt x="130" y="72"/>
                  </a:lnTo>
                  <a:lnTo>
                    <a:pt x="144" y="68"/>
                  </a:lnTo>
                  <a:lnTo>
                    <a:pt x="150" y="62"/>
                  </a:lnTo>
                  <a:lnTo>
                    <a:pt x="156" y="56"/>
                  </a:lnTo>
                  <a:lnTo>
                    <a:pt x="168" y="52"/>
                  </a:lnTo>
                  <a:lnTo>
                    <a:pt x="168" y="44"/>
                  </a:lnTo>
                  <a:lnTo>
                    <a:pt x="162" y="44"/>
                  </a:lnTo>
                  <a:lnTo>
                    <a:pt x="156" y="36"/>
                  </a:lnTo>
                  <a:lnTo>
                    <a:pt x="154" y="26"/>
                  </a:lnTo>
                  <a:lnTo>
                    <a:pt x="148" y="20"/>
                  </a:lnTo>
                  <a:lnTo>
                    <a:pt x="154" y="18"/>
                  </a:lnTo>
                  <a:lnTo>
                    <a:pt x="162" y="22"/>
                  </a:lnTo>
                  <a:lnTo>
                    <a:pt x="174" y="22"/>
                  </a:lnTo>
                  <a:lnTo>
                    <a:pt x="178" y="24"/>
                  </a:lnTo>
                  <a:lnTo>
                    <a:pt x="184" y="20"/>
                  </a:lnTo>
                  <a:lnTo>
                    <a:pt x="194" y="18"/>
                  </a:lnTo>
                  <a:lnTo>
                    <a:pt x="206" y="14"/>
                  </a:lnTo>
                  <a:lnTo>
                    <a:pt x="210" y="4"/>
                  </a:lnTo>
                  <a:lnTo>
                    <a:pt x="208" y="0"/>
                  </a:lnTo>
                  <a:lnTo>
                    <a:pt x="220" y="0"/>
                  </a:lnTo>
                  <a:lnTo>
                    <a:pt x="228" y="22"/>
                  </a:lnTo>
                  <a:lnTo>
                    <a:pt x="222" y="28"/>
                  </a:lnTo>
                  <a:lnTo>
                    <a:pt x="222" y="48"/>
                  </a:lnTo>
                  <a:lnTo>
                    <a:pt x="228" y="56"/>
                  </a:lnTo>
                  <a:lnTo>
                    <a:pt x="236" y="64"/>
                  </a:lnTo>
                  <a:lnTo>
                    <a:pt x="244" y="64"/>
                  </a:lnTo>
                  <a:lnTo>
                    <a:pt x="254" y="62"/>
                  </a:lnTo>
                  <a:lnTo>
                    <a:pt x="260" y="58"/>
                  </a:lnTo>
                  <a:lnTo>
                    <a:pt x="268" y="54"/>
                  </a:lnTo>
                  <a:lnTo>
                    <a:pt x="272" y="50"/>
                  </a:lnTo>
                  <a:lnTo>
                    <a:pt x="276" y="54"/>
                  </a:lnTo>
                  <a:lnTo>
                    <a:pt x="282" y="54"/>
                  </a:lnTo>
                  <a:lnTo>
                    <a:pt x="284" y="54"/>
                  </a:lnTo>
                  <a:lnTo>
                    <a:pt x="286" y="48"/>
                  </a:lnTo>
                  <a:lnTo>
                    <a:pt x="286" y="44"/>
                  </a:lnTo>
                  <a:lnTo>
                    <a:pt x="290" y="44"/>
                  </a:lnTo>
                  <a:lnTo>
                    <a:pt x="300" y="46"/>
                  </a:lnTo>
                  <a:lnTo>
                    <a:pt x="310" y="50"/>
                  </a:lnTo>
                  <a:lnTo>
                    <a:pt x="316" y="50"/>
                  </a:lnTo>
                  <a:lnTo>
                    <a:pt x="322" y="46"/>
                  </a:lnTo>
                  <a:lnTo>
                    <a:pt x="332" y="48"/>
                  </a:lnTo>
                  <a:lnTo>
                    <a:pt x="338" y="52"/>
                  </a:lnTo>
                  <a:lnTo>
                    <a:pt x="350" y="24"/>
                  </a:lnTo>
                  <a:lnTo>
                    <a:pt x="356" y="1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99" name="Freeform 91">
              <a:extLst>
                <a:ext uri="{FF2B5EF4-FFF2-40B4-BE49-F238E27FC236}">
                  <a16:creationId xmlns:a16="http://schemas.microsoft.com/office/drawing/2014/main" id="{346B3A75-0AD9-4410-9739-503E5FCFD21A}"/>
                </a:ext>
              </a:extLst>
            </p:cNvPr>
            <p:cNvSpPr>
              <a:spLocks/>
            </p:cNvSpPr>
            <p:nvPr/>
          </p:nvSpPr>
          <p:spPr bwMode="gray">
            <a:xfrm>
              <a:off x="6105642" y="1929400"/>
              <a:ext cx="275729" cy="199179"/>
            </a:xfrm>
            <a:custGeom>
              <a:avLst/>
              <a:gdLst>
                <a:gd name="T0" fmla="*/ 55 w 167"/>
                <a:gd name="T1" fmla="*/ 84 h 120"/>
                <a:gd name="T2" fmla="*/ 71 w 167"/>
                <a:gd name="T3" fmla="*/ 80 h 120"/>
                <a:gd name="T4" fmla="*/ 43 w 167"/>
                <a:gd name="T5" fmla="*/ 78 h 120"/>
                <a:gd name="T6" fmla="*/ 55 w 167"/>
                <a:gd name="T7" fmla="*/ 64 h 120"/>
                <a:gd name="T8" fmla="*/ 85 w 167"/>
                <a:gd name="T9" fmla="*/ 60 h 120"/>
                <a:gd name="T10" fmla="*/ 89 w 167"/>
                <a:gd name="T11" fmla="*/ 48 h 120"/>
                <a:gd name="T12" fmla="*/ 71 w 167"/>
                <a:gd name="T13" fmla="*/ 52 h 120"/>
                <a:gd name="T14" fmla="*/ 65 w 167"/>
                <a:gd name="T15" fmla="*/ 42 h 120"/>
                <a:gd name="T16" fmla="*/ 55 w 167"/>
                <a:gd name="T17" fmla="*/ 48 h 120"/>
                <a:gd name="T18" fmla="*/ 37 w 167"/>
                <a:gd name="T19" fmla="*/ 64 h 120"/>
                <a:gd name="T20" fmla="*/ 11 w 167"/>
                <a:gd name="T21" fmla="*/ 46 h 120"/>
                <a:gd name="T22" fmla="*/ 19 w 167"/>
                <a:gd name="T23" fmla="*/ 28 h 120"/>
                <a:gd name="T24" fmla="*/ 11 w 167"/>
                <a:gd name="T25" fmla="*/ 24 h 120"/>
                <a:gd name="T26" fmla="*/ 0 w 167"/>
                <a:gd name="T27" fmla="*/ 20 h 120"/>
                <a:gd name="T28" fmla="*/ 19 w 167"/>
                <a:gd name="T29" fmla="*/ 8 h 120"/>
                <a:gd name="T30" fmla="*/ 47 w 167"/>
                <a:gd name="T31" fmla="*/ 10 h 120"/>
                <a:gd name="T32" fmla="*/ 55 w 167"/>
                <a:gd name="T33" fmla="*/ 12 h 120"/>
                <a:gd name="T34" fmla="*/ 73 w 167"/>
                <a:gd name="T35" fmla="*/ 14 h 120"/>
                <a:gd name="T36" fmla="*/ 77 w 167"/>
                <a:gd name="T37" fmla="*/ 28 h 120"/>
                <a:gd name="T38" fmla="*/ 89 w 167"/>
                <a:gd name="T39" fmla="*/ 38 h 120"/>
                <a:gd name="T40" fmla="*/ 83 w 167"/>
                <a:gd name="T41" fmla="*/ 12 h 120"/>
                <a:gd name="T42" fmla="*/ 85 w 167"/>
                <a:gd name="T43" fmla="*/ 0 h 120"/>
                <a:gd name="T44" fmla="*/ 107 w 167"/>
                <a:gd name="T45" fmla="*/ 8 h 120"/>
                <a:gd name="T46" fmla="*/ 111 w 167"/>
                <a:gd name="T47" fmla="*/ 22 h 120"/>
                <a:gd name="T48" fmla="*/ 127 w 167"/>
                <a:gd name="T49" fmla="*/ 22 h 120"/>
                <a:gd name="T50" fmla="*/ 151 w 167"/>
                <a:gd name="T51" fmla="*/ 36 h 120"/>
                <a:gd name="T52" fmla="*/ 159 w 167"/>
                <a:gd name="T53" fmla="*/ 48 h 120"/>
                <a:gd name="T54" fmla="*/ 123 w 167"/>
                <a:gd name="T55" fmla="*/ 60 h 120"/>
                <a:gd name="T56" fmla="*/ 117 w 167"/>
                <a:gd name="T57" fmla="*/ 84 h 120"/>
                <a:gd name="T58" fmla="*/ 101 w 167"/>
                <a:gd name="T59" fmla="*/ 102 h 120"/>
                <a:gd name="T60" fmla="*/ 81 w 167"/>
                <a:gd name="T61" fmla="*/ 114 h 120"/>
                <a:gd name="T62" fmla="*/ 67 w 167"/>
                <a:gd name="T63" fmla="*/ 104 h 120"/>
                <a:gd name="T64" fmla="*/ 45 w 167"/>
                <a:gd name="T65" fmla="*/ 9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7" h="120">
                  <a:moveTo>
                    <a:pt x="45" y="92"/>
                  </a:moveTo>
                  <a:lnTo>
                    <a:pt x="55" y="84"/>
                  </a:lnTo>
                  <a:lnTo>
                    <a:pt x="83" y="88"/>
                  </a:lnTo>
                  <a:lnTo>
                    <a:pt x="71" y="80"/>
                  </a:lnTo>
                  <a:lnTo>
                    <a:pt x="59" y="76"/>
                  </a:lnTo>
                  <a:lnTo>
                    <a:pt x="43" y="78"/>
                  </a:lnTo>
                  <a:lnTo>
                    <a:pt x="43" y="68"/>
                  </a:lnTo>
                  <a:lnTo>
                    <a:pt x="55" y="64"/>
                  </a:lnTo>
                  <a:lnTo>
                    <a:pt x="69" y="60"/>
                  </a:lnTo>
                  <a:lnTo>
                    <a:pt x="85" y="60"/>
                  </a:lnTo>
                  <a:lnTo>
                    <a:pt x="97" y="56"/>
                  </a:lnTo>
                  <a:lnTo>
                    <a:pt x="89" y="48"/>
                  </a:lnTo>
                  <a:lnTo>
                    <a:pt x="83" y="52"/>
                  </a:lnTo>
                  <a:lnTo>
                    <a:pt x="71" y="52"/>
                  </a:lnTo>
                  <a:lnTo>
                    <a:pt x="71" y="44"/>
                  </a:lnTo>
                  <a:lnTo>
                    <a:pt x="65" y="42"/>
                  </a:lnTo>
                  <a:lnTo>
                    <a:pt x="61" y="48"/>
                  </a:lnTo>
                  <a:lnTo>
                    <a:pt x="55" y="48"/>
                  </a:lnTo>
                  <a:lnTo>
                    <a:pt x="51" y="56"/>
                  </a:lnTo>
                  <a:lnTo>
                    <a:pt x="37" y="64"/>
                  </a:lnTo>
                  <a:lnTo>
                    <a:pt x="27" y="58"/>
                  </a:lnTo>
                  <a:lnTo>
                    <a:pt x="11" y="46"/>
                  </a:lnTo>
                  <a:lnTo>
                    <a:pt x="7" y="36"/>
                  </a:lnTo>
                  <a:lnTo>
                    <a:pt x="19" y="28"/>
                  </a:lnTo>
                  <a:lnTo>
                    <a:pt x="19" y="24"/>
                  </a:lnTo>
                  <a:lnTo>
                    <a:pt x="11" y="24"/>
                  </a:lnTo>
                  <a:lnTo>
                    <a:pt x="2" y="30"/>
                  </a:lnTo>
                  <a:lnTo>
                    <a:pt x="0" y="20"/>
                  </a:lnTo>
                  <a:lnTo>
                    <a:pt x="4" y="12"/>
                  </a:lnTo>
                  <a:lnTo>
                    <a:pt x="19" y="8"/>
                  </a:lnTo>
                  <a:lnTo>
                    <a:pt x="33" y="8"/>
                  </a:lnTo>
                  <a:lnTo>
                    <a:pt x="47" y="10"/>
                  </a:lnTo>
                  <a:lnTo>
                    <a:pt x="51" y="26"/>
                  </a:lnTo>
                  <a:lnTo>
                    <a:pt x="55" y="12"/>
                  </a:lnTo>
                  <a:lnTo>
                    <a:pt x="63" y="10"/>
                  </a:lnTo>
                  <a:lnTo>
                    <a:pt x="73" y="14"/>
                  </a:lnTo>
                  <a:lnTo>
                    <a:pt x="75" y="22"/>
                  </a:lnTo>
                  <a:lnTo>
                    <a:pt x="77" y="28"/>
                  </a:lnTo>
                  <a:lnTo>
                    <a:pt x="83" y="36"/>
                  </a:lnTo>
                  <a:lnTo>
                    <a:pt x="89" y="38"/>
                  </a:lnTo>
                  <a:lnTo>
                    <a:pt x="87" y="24"/>
                  </a:lnTo>
                  <a:lnTo>
                    <a:pt x="83" y="12"/>
                  </a:lnTo>
                  <a:lnTo>
                    <a:pt x="81" y="4"/>
                  </a:lnTo>
                  <a:lnTo>
                    <a:pt x="85" y="0"/>
                  </a:lnTo>
                  <a:lnTo>
                    <a:pt x="95" y="4"/>
                  </a:lnTo>
                  <a:lnTo>
                    <a:pt x="107" y="8"/>
                  </a:lnTo>
                  <a:lnTo>
                    <a:pt x="103" y="20"/>
                  </a:lnTo>
                  <a:lnTo>
                    <a:pt x="111" y="22"/>
                  </a:lnTo>
                  <a:lnTo>
                    <a:pt x="115" y="16"/>
                  </a:lnTo>
                  <a:lnTo>
                    <a:pt x="127" y="22"/>
                  </a:lnTo>
                  <a:lnTo>
                    <a:pt x="127" y="30"/>
                  </a:lnTo>
                  <a:lnTo>
                    <a:pt x="151" y="36"/>
                  </a:lnTo>
                  <a:lnTo>
                    <a:pt x="167" y="44"/>
                  </a:lnTo>
                  <a:lnTo>
                    <a:pt x="159" y="48"/>
                  </a:lnTo>
                  <a:lnTo>
                    <a:pt x="137" y="52"/>
                  </a:lnTo>
                  <a:lnTo>
                    <a:pt x="123" y="60"/>
                  </a:lnTo>
                  <a:lnTo>
                    <a:pt x="119" y="68"/>
                  </a:lnTo>
                  <a:lnTo>
                    <a:pt x="117" y="84"/>
                  </a:lnTo>
                  <a:lnTo>
                    <a:pt x="107" y="88"/>
                  </a:lnTo>
                  <a:lnTo>
                    <a:pt x="101" y="102"/>
                  </a:lnTo>
                  <a:lnTo>
                    <a:pt x="93" y="120"/>
                  </a:lnTo>
                  <a:lnTo>
                    <a:pt x="81" y="114"/>
                  </a:lnTo>
                  <a:lnTo>
                    <a:pt x="81" y="102"/>
                  </a:lnTo>
                  <a:lnTo>
                    <a:pt x="67" y="104"/>
                  </a:lnTo>
                  <a:lnTo>
                    <a:pt x="59" y="98"/>
                  </a:lnTo>
                  <a:lnTo>
                    <a:pt x="45" y="9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00" name="Freeform 92">
              <a:extLst>
                <a:ext uri="{FF2B5EF4-FFF2-40B4-BE49-F238E27FC236}">
                  <a16:creationId xmlns:a16="http://schemas.microsoft.com/office/drawing/2014/main" id="{A3A714C4-5741-402A-8B0F-3EFCBE758A57}"/>
                </a:ext>
              </a:extLst>
            </p:cNvPr>
            <p:cNvSpPr>
              <a:spLocks/>
            </p:cNvSpPr>
            <p:nvPr/>
          </p:nvSpPr>
          <p:spPr bwMode="gray">
            <a:xfrm>
              <a:off x="6298817" y="1899523"/>
              <a:ext cx="237754" cy="82991"/>
            </a:xfrm>
            <a:custGeom>
              <a:avLst/>
              <a:gdLst>
                <a:gd name="T0" fmla="*/ 62 w 144"/>
                <a:gd name="T1" fmla="*/ 38 h 50"/>
                <a:gd name="T2" fmla="*/ 52 w 144"/>
                <a:gd name="T3" fmla="*/ 38 h 50"/>
                <a:gd name="T4" fmla="*/ 34 w 144"/>
                <a:gd name="T5" fmla="*/ 38 h 50"/>
                <a:gd name="T6" fmla="*/ 36 w 144"/>
                <a:gd name="T7" fmla="*/ 30 h 50"/>
                <a:gd name="T8" fmla="*/ 54 w 144"/>
                <a:gd name="T9" fmla="*/ 28 h 50"/>
                <a:gd name="T10" fmla="*/ 60 w 144"/>
                <a:gd name="T11" fmla="*/ 24 h 50"/>
                <a:gd name="T12" fmla="*/ 50 w 144"/>
                <a:gd name="T13" fmla="*/ 22 h 50"/>
                <a:gd name="T14" fmla="*/ 34 w 144"/>
                <a:gd name="T15" fmla="*/ 22 h 50"/>
                <a:gd name="T16" fmla="*/ 18 w 144"/>
                <a:gd name="T17" fmla="*/ 26 h 50"/>
                <a:gd name="T18" fmla="*/ 2 w 144"/>
                <a:gd name="T19" fmla="*/ 24 h 50"/>
                <a:gd name="T20" fmla="*/ 0 w 144"/>
                <a:gd name="T21" fmla="*/ 18 h 50"/>
                <a:gd name="T22" fmla="*/ 10 w 144"/>
                <a:gd name="T23" fmla="*/ 14 h 50"/>
                <a:gd name="T24" fmla="*/ 22 w 144"/>
                <a:gd name="T25" fmla="*/ 6 h 50"/>
                <a:gd name="T26" fmla="*/ 30 w 144"/>
                <a:gd name="T27" fmla="*/ 6 h 50"/>
                <a:gd name="T28" fmla="*/ 46 w 144"/>
                <a:gd name="T29" fmla="*/ 10 h 50"/>
                <a:gd name="T30" fmla="*/ 56 w 144"/>
                <a:gd name="T31" fmla="*/ 10 h 50"/>
                <a:gd name="T32" fmla="*/ 66 w 144"/>
                <a:gd name="T33" fmla="*/ 12 h 50"/>
                <a:gd name="T34" fmla="*/ 74 w 144"/>
                <a:gd name="T35" fmla="*/ 0 h 50"/>
                <a:gd name="T36" fmla="*/ 82 w 144"/>
                <a:gd name="T37" fmla="*/ 14 h 50"/>
                <a:gd name="T38" fmla="*/ 96 w 144"/>
                <a:gd name="T39" fmla="*/ 8 h 50"/>
                <a:gd name="T40" fmla="*/ 114 w 144"/>
                <a:gd name="T41" fmla="*/ 10 h 50"/>
                <a:gd name="T42" fmla="*/ 132 w 144"/>
                <a:gd name="T43" fmla="*/ 14 h 50"/>
                <a:gd name="T44" fmla="*/ 144 w 144"/>
                <a:gd name="T45" fmla="*/ 16 h 50"/>
                <a:gd name="T46" fmla="*/ 138 w 144"/>
                <a:gd name="T47" fmla="*/ 22 h 50"/>
                <a:gd name="T48" fmla="*/ 122 w 144"/>
                <a:gd name="T49" fmla="*/ 30 h 50"/>
                <a:gd name="T50" fmla="*/ 114 w 144"/>
                <a:gd name="T51" fmla="*/ 38 h 50"/>
                <a:gd name="T52" fmla="*/ 100 w 144"/>
                <a:gd name="T53" fmla="*/ 38 h 50"/>
                <a:gd name="T54" fmla="*/ 92 w 144"/>
                <a:gd name="T55" fmla="*/ 50 h 50"/>
                <a:gd name="T56" fmla="*/ 74 w 144"/>
                <a:gd name="T57" fmla="*/ 46 h 50"/>
                <a:gd name="T58" fmla="*/ 68 w 144"/>
                <a:gd name="T59" fmla="*/ 38 h 50"/>
                <a:gd name="T60" fmla="*/ 62 w 144"/>
                <a:gd name="T61" fmla="*/ 3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4" h="50">
                  <a:moveTo>
                    <a:pt x="62" y="38"/>
                  </a:moveTo>
                  <a:lnTo>
                    <a:pt x="52" y="38"/>
                  </a:lnTo>
                  <a:lnTo>
                    <a:pt x="34" y="38"/>
                  </a:lnTo>
                  <a:lnTo>
                    <a:pt x="36" y="30"/>
                  </a:lnTo>
                  <a:lnTo>
                    <a:pt x="54" y="28"/>
                  </a:lnTo>
                  <a:lnTo>
                    <a:pt x="60" y="24"/>
                  </a:lnTo>
                  <a:lnTo>
                    <a:pt x="50" y="22"/>
                  </a:lnTo>
                  <a:lnTo>
                    <a:pt x="34" y="22"/>
                  </a:lnTo>
                  <a:lnTo>
                    <a:pt x="18" y="26"/>
                  </a:lnTo>
                  <a:lnTo>
                    <a:pt x="2" y="24"/>
                  </a:lnTo>
                  <a:lnTo>
                    <a:pt x="0" y="18"/>
                  </a:lnTo>
                  <a:lnTo>
                    <a:pt x="10" y="14"/>
                  </a:lnTo>
                  <a:lnTo>
                    <a:pt x="22" y="6"/>
                  </a:lnTo>
                  <a:lnTo>
                    <a:pt x="30" y="6"/>
                  </a:lnTo>
                  <a:lnTo>
                    <a:pt x="46" y="10"/>
                  </a:lnTo>
                  <a:lnTo>
                    <a:pt x="56" y="10"/>
                  </a:lnTo>
                  <a:lnTo>
                    <a:pt x="66" y="12"/>
                  </a:lnTo>
                  <a:lnTo>
                    <a:pt x="74" y="0"/>
                  </a:lnTo>
                  <a:lnTo>
                    <a:pt x="82" y="14"/>
                  </a:lnTo>
                  <a:lnTo>
                    <a:pt x="96" y="8"/>
                  </a:lnTo>
                  <a:lnTo>
                    <a:pt x="114" y="10"/>
                  </a:lnTo>
                  <a:lnTo>
                    <a:pt x="132" y="14"/>
                  </a:lnTo>
                  <a:lnTo>
                    <a:pt x="144" y="16"/>
                  </a:lnTo>
                  <a:lnTo>
                    <a:pt x="138" y="22"/>
                  </a:lnTo>
                  <a:lnTo>
                    <a:pt x="122" y="30"/>
                  </a:lnTo>
                  <a:lnTo>
                    <a:pt x="114" y="38"/>
                  </a:lnTo>
                  <a:lnTo>
                    <a:pt x="100" y="38"/>
                  </a:lnTo>
                  <a:lnTo>
                    <a:pt x="92" y="50"/>
                  </a:lnTo>
                  <a:lnTo>
                    <a:pt x="74" y="46"/>
                  </a:lnTo>
                  <a:lnTo>
                    <a:pt x="68" y="38"/>
                  </a:lnTo>
                  <a:lnTo>
                    <a:pt x="62" y="3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01" name="Freeform 93">
              <a:extLst>
                <a:ext uri="{FF2B5EF4-FFF2-40B4-BE49-F238E27FC236}">
                  <a16:creationId xmlns:a16="http://schemas.microsoft.com/office/drawing/2014/main" id="{1E91237B-8344-4547-8075-1BB3D0C2B3E6}"/>
                </a:ext>
              </a:extLst>
            </p:cNvPr>
            <p:cNvSpPr>
              <a:spLocks/>
            </p:cNvSpPr>
            <p:nvPr/>
          </p:nvSpPr>
          <p:spPr bwMode="gray">
            <a:xfrm>
              <a:off x="6364860" y="2035629"/>
              <a:ext cx="95762" cy="53115"/>
            </a:xfrm>
            <a:custGeom>
              <a:avLst/>
              <a:gdLst>
                <a:gd name="T0" fmla="*/ 10 w 58"/>
                <a:gd name="T1" fmla="*/ 8 h 32"/>
                <a:gd name="T2" fmla="*/ 14 w 58"/>
                <a:gd name="T3" fmla="*/ 4 h 32"/>
                <a:gd name="T4" fmla="*/ 30 w 58"/>
                <a:gd name="T5" fmla="*/ 0 h 32"/>
                <a:gd name="T6" fmla="*/ 38 w 58"/>
                <a:gd name="T7" fmla="*/ 0 h 32"/>
                <a:gd name="T8" fmla="*/ 42 w 58"/>
                <a:gd name="T9" fmla="*/ 8 h 32"/>
                <a:gd name="T10" fmla="*/ 48 w 58"/>
                <a:gd name="T11" fmla="*/ 12 h 32"/>
                <a:gd name="T12" fmla="*/ 58 w 58"/>
                <a:gd name="T13" fmla="*/ 12 h 32"/>
                <a:gd name="T14" fmla="*/ 52 w 58"/>
                <a:gd name="T15" fmla="*/ 20 h 32"/>
                <a:gd name="T16" fmla="*/ 38 w 58"/>
                <a:gd name="T17" fmla="*/ 28 h 32"/>
                <a:gd name="T18" fmla="*/ 26 w 58"/>
                <a:gd name="T19" fmla="*/ 32 h 32"/>
                <a:gd name="T20" fmla="*/ 26 w 58"/>
                <a:gd name="T21" fmla="*/ 20 h 32"/>
                <a:gd name="T22" fmla="*/ 18 w 58"/>
                <a:gd name="T23" fmla="*/ 20 h 32"/>
                <a:gd name="T24" fmla="*/ 10 w 58"/>
                <a:gd name="T25" fmla="*/ 22 h 32"/>
                <a:gd name="T26" fmla="*/ 4 w 58"/>
                <a:gd name="T27" fmla="*/ 28 h 32"/>
                <a:gd name="T28" fmla="*/ 0 w 58"/>
                <a:gd name="T29" fmla="*/ 20 h 32"/>
                <a:gd name="T30" fmla="*/ 6 w 58"/>
                <a:gd name="T31" fmla="*/ 14 h 32"/>
                <a:gd name="T32" fmla="*/ 10 w 58"/>
                <a:gd name="T33"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8" h="32">
                  <a:moveTo>
                    <a:pt x="10" y="8"/>
                  </a:moveTo>
                  <a:lnTo>
                    <a:pt x="14" y="4"/>
                  </a:lnTo>
                  <a:lnTo>
                    <a:pt x="30" y="0"/>
                  </a:lnTo>
                  <a:lnTo>
                    <a:pt x="38" y="0"/>
                  </a:lnTo>
                  <a:lnTo>
                    <a:pt x="42" y="8"/>
                  </a:lnTo>
                  <a:lnTo>
                    <a:pt x="48" y="12"/>
                  </a:lnTo>
                  <a:lnTo>
                    <a:pt x="58" y="12"/>
                  </a:lnTo>
                  <a:lnTo>
                    <a:pt x="52" y="20"/>
                  </a:lnTo>
                  <a:lnTo>
                    <a:pt x="38" y="28"/>
                  </a:lnTo>
                  <a:lnTo>
                    <a:pt x="26" y="32"/>
                  </a:lnTo>
                  <a:lnTo>
                    <a:pt x="26" y="20"/>
                  </a:lnTo>
                  <a:lnTo>
                    <a:pt x="18" y="20"/>
                  </a:lnTo>
                  <a:lnTo>
                    <a:pt x="10" y="22"/>
                  </a:lnTo>
                  <a:lnTo>
                    <a:pt x="4" y="28"/>
                  </a:lnTo>
                  <a:lnTo>
                    <a:pt x="0" y="20"/>
                  </a:lnTo>
                  <a:lnTo>
                    <a:pt x="6" y="14"/>
                  </a:lnTo>
                  <a:lnTo>
                    <a:pt x="10" y="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02" name="Freeform 94">
              <a:extLst>
                <a:ext uri="{FF2B5EF4-FFF2-40B4-BE49-F238E27FC236}">
                  <a16:creationId xmlns:a16="http://schemas.microsoft.com/office/drawing/2014/main" id="{09D68118-F13E-42C0-AEF7-10006793AEB2}"/>
                </a:ext>
              </a:extLst>
            </p:cNvPr>
            <p:cNvSpPr>
              <a:spLocks/>
            </p:cNvSpPr>
            <p:nvPr/>
          </p:nvSpPr>
          <p:spPr bwMode="gray">
            <a:xfrm>
              <a:off x="6962547" y="3539434"/>
              <a:ext cx="85856" cy="73033"/>
            </a:xfrm>
            <a:custGeom>
              <a:avLst/>
              <a:gdLst>
                <a:gd name="T0" fmla="*/ 0 w 52"/>
                <a:gd name="T1" fmla="*/ 6 h 44"/>
                <a:gd name="T2" fmla="*/ 6 w 52"/>
                <a:gd name="T3" fmla="*/ 4 h 44"/>
                <a:gd name="T4" fmla="*/ 16 w 52"/>
                <a:gd name="T5" fmla="*/ 0 h 44"/>
                <a:gd name="T6" fmla="*/ 24 w 52"/>
                <a:gd name="T7" fmla="*/ 0 h 44"/>
                <a:gd name="T8" fmla="*/ 28 w 52"/>
                <a:gd name="T9" fmla="*/ 4 h 44"/>
                <a:gd name="T10" fmla="*/ 30 w 52"/>
                <a:gd name="T11" fmla="*/ 10 h 44"/>
                <a:gd name="T12" fmla="*/ 32 w 52"/>
                <a:gd name="T13" fmla="*/ 18 h 44"/>
                <a:gd name="T14" fmla="*/ 36 w 52"/>
                <a:gd name="T15" fmla="*/ 24 h 44"/>
                <a:gd name="T16" fmla="*/ 40 w 52"/>
                <a:gd name="T17" fmla="*/ 28 h 44"/>
                <a:gd name="T18" fmla="*/ 46 w 52"/>
                <a:gd name="T19" fmla="*/ 30 h 44"/>
                <a:gd name="T20" fmla="*/ 50 w 52"/>
                <a:gd name="T21" fmla="*/ 34 h 44"/>
                <a:gd name="T22" fmla="*/ 52 w 52"/>
                <a:gd name="T23" fmla="*/ 38 h 44"/>
                <a:gd name="T24" fmla="*/ 50 w 52"/>
                <a:gd name="T25" fmla="*/ 44 h 44"/>
                <a:gd name="T26" fmla="*/ 42 w 52"/>
                <a:gd name="T27" fmla="*/ 42 h 44"/>
                <a:gd name="T28" fmla="*/ 40 w 52"/>
                <a:gd name="T29" fmla="*/ 34 h 44"/>
                <a:gd name="T30" fmla="*/ 34 w 52"/>
                <a:gd name="T31" fmla="*/ 32 h 44"/>
                <a:gd name="T32" fmla="*/ 28 w 52"/>
                <a:gd name="T33" fmla="*/ 28 h 44"/>
                <a:gd name="T34" fmla="*/ 20 w 52"/>
                <a:gd name="T35" fmla="*/ 28 h 44"/>
                <a:gd name="T36" fmla="*/ 18 w 52"/>
                <a:gd name="T37" fmla="*/ 32 h 44"/>
                <a:gd name="T38" fmla="*/ 12 w 52"/>
                <a:gd name="T39" fmla="*/ 28 h 44"/>
                <a:gd name="T40" fmla="*/ 0 w 52"/>
                <a:gd name="T41" fmla="*/ 28 h 44"/>
                <a:gd name="T42" fmla="*/ 0 w 52"/>
                <a:gd name="T43" fmla="*/ 16 h 44"/>
                <a:gd name="T44" fmla="*/ 0 w 52"/>
                <a:gd name="T45" fmla="*/ 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2" h="44">
                  <a:moveTo>
                    <a:pt x="0" y="6"/>
                  </a:moveTo>
                  <a:lnTo>
                    <a:pt x="6" y="4"/>
                  </a:lnTo>
                  <a:lnTo>
                    <a:pt x="16" y="0"/>
                  </a:lnTo>
                  <a:lnTo>
                    <a:pt x="24" y="0"/>
                  </a:lnTo>
                  <a:lnTo>
                    <a:pt x="28" y="4"/>
                  </a:lnTo>
                  <a:lnTo>
                    <a:pt x="30" y="10"/>
                  </a:lnTo>
                  <a:lnTo>
                    <a:pt x="32" y="18"/>
                  </a:lnTo>
                  <a:lnTo>
                    <a:pt x="36" y="24"/>
                  </a:lnTo>
                  <a:lnTo>
                    <a:pt x="40" y="28"/>
                  </a:lnTo>
                  <a:lnTo>
                    <a:pt x="46" y="30"/>
                  </a:lnTo>
                  <a:lnTo>
                    <a:pt x="50" y="34"/>
                  </a:lnTo>
                  <a:lnTo>
                    <a:pt x="52" y="38"/>
                  </a:lnTo>
                  <a:lnTo>
                    <a:pt x="50" y="44"/>
                  </a:lnTo>
                  <a:lnTo>
                    <a:pt x="42" y="42"/>
                  </a:lnTo>
                  <a:lnTo>
                    <a:pt x="40" y="34"/>
                  </a:lnTo>
                  <a:lnTo>
                    <a:pt x="34" y="32"/>
                  </a:lnTo>
                  <a:lnTo>
                    <a:pt x="28" y="28"/>
                  </a:lnTo>
                  <a:lnTo>
                    <a:pt x="20" y="28"/>
                  </a:lnTo>
                  <a:lnTo>
                    <a:pt x="18" y="32"/>
                  </a:lnTo>
                  <a:lnTo>
                    <a:pt x="12" y="28"/>
                  </a:lnTo>
                  <a:lnTo>
                    <a:pt x="0" y="28"/>
                  </a:lnTo>
                  <a:lnTo>
                    <a:pt x="0" y="16"/>
                  </a:lnTo>
                  <a:lnTo>
                    <a:pt x="0" y="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03" name="Freeform 95">
              <a:extLst>
                <a:ext uri="{FF2B5EF4-FFF2-40B4-BE49-F238E27FC236}">
                  <a16:creationId xmlns:a16="http://schemas.microsoft.com/office/drawing/2014/main" id="{0434F2B0-178E-4CA9-8834-4FBC968BF747}"/>
                </a:ext>
              </a:extLst>
            </p:cNvPr>
            <p:cNvSpPr>
              <a:spLocks/>
            </p:cNvSpPr>
            <p:nvPr/>
          </p:nvSpPr>
          <p:spPr bwMode="gray">
            <a:xfrm>
              <a:off x="7002174" y="3519516"/>
              <a:ext cx="138690" cy="109548"/>
            </a:xfrm>
            <a:custGeom>
              <a:avLst/>
              <a:gdLst>
                <a:gd name="T0" fmla="*/ 20 w 84"/>
                <a:gd name="T1" fmla="*/ 0 h 66"/>
                <a:gd name="T2" fmla="*/ 26 w 84"/>
                <a:gd name="T3" fmla="*/ 2 h 66"/>
                <a:gd name="T4" fmla="*/ 32 w 84"/>
                <a:gd name="T5" fmla="*/ 8 h 66"/>
                <a:gd name="T6" fmla="*/ 42 w 84"/>
                <a:gd name="T7" fmla="*/ 14 h 66"/>
                <a:gd name="T8" fmla="*/ 46 w 84"/>
                <a:gd name="T9" fmla="*/ 12 h 66"/>
                <a:gd name="T10" fmla="*/ 52 w 84"/>
                <a:gd name="T11" fmla="*/ 6 h 66"/>
                <a:gd name="T12" fmla="*/ 56 w 84"/>
                <a:gd name="T13" fmla="*/ 2 h 66"/>
                <a:gd name="T14" fmla="*/ 60 w 84"/>
                <a:gd name="T15" fmla="*/ 8 h 66"/>
                <a:gd name="T16" fmla="*/ 66 w 84"/>
                <a:gd name="T17" fmla="*/ 20 h 66"/>
                <a:gd name="T18" fmla="*/ 70 w 84"/>
                <a:gd name="T19" fmla="*/ 24 h 66"/>
                <a:gd name="T20" fmla="*/ 80 w 84"/>
                <a:gd name="T21" fmla="*/ 28 h 66"/>
                <a:gd name="T22" fmla="*/ 84 w 84"/>
                <a:gd name="T23" fmla="*/ 30 h 66"/>
                <a:gd name="T24" fmla="*/ 84 w 84"/>
                <a:gd name="T25" fmla="*/ 36 h 66"/>
                <a:gd name="T26" fmla="*/ 72 w 84"/>
                <a:gd name="T27" fmla="*/ 36 h 66"/>
                <a:gd name="T28" fmla="*/ 68 w 84"/>
                <a:gd name="T29" fmla="*/ 38 h 66"/>
                <a:gd name="T30" fmla="*/ 66 w 84"/>
                <a:gd name="T31" fmla="*/ 44 h 66"/>
                <a:gd name="T32" fmla="*/ 68 w 84"/>
                <a:gd name="T33" fmla="*/ 48 h 66"/>
                <a:gd name="T34" fmla="*/ 68 w 84"/>
                <a:gd name="T35" fmla="*/ 50 h 66"/>
                <a:gd name="T36" fmla="*/ 68 w 84"/>
                <a:gd name="T37" fmla="*/ 52 h 66"/>
                <a:gd name="T38" fmla="*/ 68 w 84"/>
                <a:gd name="T39" fmla="*/ 54 h 66"/>
                <a:gd name="T40" fmla="*/ 60 w 84"/>
                <a:gd name="T41" fmla="*/ 54 h 66"/>
                <a:gd name="T42" fmla="*/ 60 w 84"/>
                <a:gd name="T43" fmla="*/ 58 h 66"/>
                <a:gd name="T44" fmla="*/ 60 w 84"/>
                <a:gd name="T45" fmla="*/ 62 h 66"/>
                <a:gd name="T46" fmla="*/ 60 w 84"/>
                <a:gd name="T47" fmla="*/ 66 h 66"/>
                <a:gd name="T48" fmla="*/ 52 w 84"/>
                <a:gd name="T49" fmla="*/ 66 h 66"/>
                <a:gd name="T50" fmla="*/ 46 w 84"/>
                <a:gd name="T51" fmla="*/ 62 h 66"/>
                <a:gd name="T52" fmla="*/ 52 w 84"/>
                <a:gd name="T53" fmla="*/ 58 h 66"/>
                <a:gd name="T54" fmla="*/ 48 w 84"/>
                <a:gd name="T55" fmla="*/ 52 h 66"/>
                <a:gd name="T56" fmla="*/ 48 w 84"/>
                <a:gd name="T57" fmla="*/ 44 h 66"/>
                <a:gd name="T58" fmla="*/ 44 w 84"/>
                <a:gd name="T59" fmla="*/ 42 h 66"/>
                <a:gd name="T60" fmla="*/ 42 w 84"/>
                <a:gd name="T61" fmla="*/ 44 h 66"/>
                <a:gd name="T62" fmla="*/ 38 w 84"/>
                <a:gd name="T63" fmla="*/ 48 h 66"/>
                <a:gd name="T64" fmla="*/ 32 w 84"/>
                <a:gd name="T65" fmla="*/ 52 h 66"/>
                <a:gd name="T66" fmla="*/ 26 w 84"/>
                <a:gd name="T67" fmla="*/ 56 h 66"/>
                <a:gd name="T68" fmla="*/ 28 w 84"/>
                <a:gd name="T69" fmla="*/ 50 h 66"/>
                <a:gd name="T70" fmla="*/ 26 w 84"/>
                <a:gd name="T71" fmla="*/ 46 h 66"/>
                <a:gd name="T72" fmla="*/ 12 w 84"/>
                <a:gd name="T73" fmla="*/ 36 h 66"/>
                <a:gd name="T74" fmla="*/ 6 w 84"/>
                <a:gd name="T75" fmla="*/ 20 h 66"/>
                <a:gd name="T76" fmla="*/ 4 w 84"/>
                <a:gd name="T77" fmla="*/ 16 h 66"/>
                <a:gd name="T78" fmla="*/ 0 w 84"/>
                <a:gd name="T79" fmla="*/ 12 h 66"/>
                <a:gd name="T80" fmla="*/ 6 w 84"/>
                <a:gd name="T81" fmla="*/ 8 h 66"/>
                <a:gd name="T82" fmla="*/ 12 w 84"/>
                <a:gd name="T83" fmla="*/ 12 h 66"/>
                <a:gd name="T84" fmla="*/ 18 w 84"/>
                <a:gd name="T85" fmla="*/ 18 h 66"/>
                <a:gd name="T86" fmla="*/ 24 w 84"/>
                <a:gd name="T87" fmla="*/ 18 h 66"/>
                <a:gd name="T88" fmla="*/ 26 w 84"/>
                <a:gd name="T89" fmla="*/ 14 h 66"/>
                <a:gd name="T90" fmla="*/ 22 w 84"/>
                <a:gd name="T91" fmla="*/ 8 h 66"/>
                <a:gd name="T92" fmla="*/ 16 w 84"/>
                <a:gd name="T93" fmla="*/ 2 h 66"/>
                <a:gd name="T94" fmla="*/ 20 w 84"/>
                <a:gd name="T95"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4" h="66">
                  <a:moveTo>
                    <a:pt x="20" y="0"/>
                  </a:moveTo>
                  <a:lnTo>
                    <a:pt x="26" y="2"/>
                  </a:lnTo>
                  <a:lnTo>
                    <a:pt x="32" y="8"/>
                  </a:lnTo>
                  <a:lnTo>
                    <a:pt x="42" y="14"/>
                  </a:lnTo>
                  <a:lnTo>
                    <a:pt x="46" y="12"/>
                  </a:lnTo>
                  <a:lnTo>
                    <a:pt x="52" y="6"/>
                  </a:lnTo>
                  <a:lnTo>
                    <a:pt x="56" y="2"/>
                  </a:lnTo>
                  <a:lnTo>
                    <a:pt x="60" y="8"/>
                  </a:lnTo>
                  <a:lnTo>
                    <a:pt x="66" y="20"/>
                  </a:lnTo>
                  <a:lnTo>
                    <a:pt x="70" y="24"/>
                  </a:lnTo>
                  <a:lnTo>
                    <a:pt x="80" y="28"/>
                  </a:lnTo>
                  <a:lnTo>
                    <a:pt x="84" y="30"/>
                  </a:lnTo>
                  <a:lnTo>
                    <a:pt x="84" y="36"/>
                  </a:lnTo>
                  <a:lnTo>
                    <a:pt x="72" y="36"/>
                  </a:lnTo>
                  <a:lnTo>
                    <a:pt x="68" y="38"/>
                  </a:lnTo>
                  <a:lnTo>
                    <a:pt x="66" y="44"/>
                  </a:lnTo>
                  <a:lnTo>
                    <a:pt x="68" y="48"/>
                  </a:lnTo>
                  <a:lnTo>
                    <a:pt x="68" y="50"/>
                  </a:lnTo>
                  <a:lnTo>
                    <a:pt x="68" y="52"/>
                  </a:lnTo>
                  <a:lnTo>
                    <a:pt x="68" y="54"/>
                  </a:lnTo>
                  <a:lnTo>
                    <a:pt x="60" y="54"/>
                  </a:lnTo>
                  <a:lnTo>
                    <a:pt x="60" y="58"/>
                  </a:lnTo>
                  <a:lnTo>
                    <a:pt x="60" y="62"/>
                  </a:lnTo>
                  <a:lnTo>
                    <a:pt x="60" y="66"/>
                  </a:lnTo>
                  <a:lnTo>
                    <a:pt x="52" y="66"/>
                  </a:lnTo>
                  <a:lnTo>
                    <a:pt x="46" y="62"/>
                  </a:lnTo>
                  <a:lnTo>
                    <a:pt x="52" y="58"/>
                  </a:lnTo>
                  <a:lnTo>
                    <a:pt x="48" y="52"/>
                  </a:lnTo>
                  <a:lnTo>
                    <a:pt x="48" y="44"/>
                  </a:lnTo>
                  <a:lnTo>
                    <a:pt x="44" y="42"/>
                  </a:lnTo>
                  <a:lnTo>
                    <a:pt x="42" y="44"/>
                  </a:lnTo>
                  <a:lnTo>
                    <a:pt x="38" y="48"/>
                  </a:lnTo>
                  <a:lnTo>
                    <a:pt x="32" y="52"/>
                  </a:lnTo>
                  <a:lnTo>
                    <a:pt x="26" y="56"/>
                  </a:lnTo>
                  <a:lnTo>
                    <a:pt x="28" y="50"/>
                  </a:lnTo>
                  <a:lnTo>
                    <a:pt x="26" y="46"/>
                  </a:lnTo>
                  <a:lnTo>
                    <a:pt x="12" y="36"/>
                  </a:lnTo>
                  <a:lnTo>
                    <a:pt x="6" y="20"/>
                  </a:lnTo>
                  <a:lnTo>
                    <a:pt x="4" y="16"/>
                  </a:lnTo>
                  <a:lnTo>
                    <a:pt x="0" y="12"/>
                  </a:lnTo>
                  <a:lnTo>
                    <a:pt x="6" y="8"/>
                  </a:lnTo>
                  <a:lnTo>
                    <a:pt x="12" y="12"/>
                  </a:lnTo>
                  <a:lnTo>
                    <a:pt x="18" y="18"/>
                  </a:lnTo>
                  <a:lnTo>
                    <a:pt x="24" y="18"/>
                  </a:lnTo>
                  <a:lnTo>
                    <a:pt x="26" y="14"/>
                  </a:lnTo>
                  <a:lnTo>
                    <a:pt x="22" y="8"/>
                  </a:lnTo>
                  <a:lnTo>
                    <a:pt x="16" y="2"/>
                  </a:lnTo>
                  <a:lnTo>
                    <a:pt x="2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04" name="Freeform 96">
              <a:extLst>
                <a:ext uri="{FF2B5EF4-FFF2-40B4-BE49-F238E27FC236}">
                  <a16:creationId xmlns:a16="http://schemas.microsoft.com/office/drawing/2014/main" id="{F6F9B9F0-D8CF-4BB4-AA6F-CBCBE30CB5CE}"/>
                </a:ext>
              </a:extLst>
            </p:cNvPr>
            <p:cNvSpPr>
              <a:spLocks/>
            </p:cNvSpPr>
            <p:nvPr/>
          </p:nvSpPr>
          <p:spPr bwMode="gray">
            <a:xfrm>
              <a:off x="6866786" y="3466402"/>
              <a:ext cx="178316" cy="82991"/>
            </a:xfrm>
            <a:custGeom>
              <a:avLst/>
              <a:gdLst>
                <a:gd name="T0" fmla="*/ 0 w 108"/>
                <a:gd name="T1" fmla="*/ 2 h 50"/>
                <a:gd name="T2" fmla="*/ 12 w 108"/>
                <a:gd name="T3" fmla="*/ 0 h 50"/>
                <a:gd name="T4" fmla="*/ 18 w 108"/>
                <a:gd name="T5" fmla="*/ 4 h 50"/>
                <a:gd name="T6" fmla="*/ 24 w 108"/>
                <a:gd name="T7" fmla="*/ 8 h 50"/>
                <a:gd name="T8" fmla="*/ 34 w 108"/>
                <a:gd name="T9" fmla="*/ 6 h 50"/>
                <a:gd name="T10" fmla="*/ 42 w 108"/>
                <a:gd name="T11" fmla="*/ 6 h 50"/>
                <a:gd name="T12" fmla="*/ 52 w 108"/>
                <a:gd name="T13" fmla="*/ 12 h 50"/>
                <a:gd name="T14" fmla="*/ 56 w 108"/>
                <a:gd name="T15" fmla="*/ 14 h 50"/>
                <a:gd name="T16" fmla="*/ 66 w 108"/>
                <a:gd name="T17" fmla="*/ 18 h 50"/>
                <a:gd name="T18" fmla="*/ 72 w 108"/>
                <a:gd name="T19" fmla="*/ 18 h 50"/>
                <a:gd name="T20" fmla="*/ 82 w 108"/>
                <a:gd name="T21" fmla="*/ 16 h 50"/>
                <a:gd name="T22" fmla="*/ 92 w 108"/>
                <a:gd name="T23" fmla="*/ 22 h 50"/>
                <a:gd name="T24" fmla="*/ 94 w 108"/>
                <a:gd name="T25" fmla="*/ 24 h 50"/>
                <a:gd name="T26" fmla="*/ 102 w 108"/>
                <a:gd name="T27" fmla="*/ 32 h 50"/>
                <a:gd name="T28" fmla="*/ 98 w 108"/>
                <a:gd name="T29" fmla="*/ 34 h 50"/>
                <a:gd name="T30" fmla="*/ 104 w 108"/>
                <a:gd name="T31" fmla="*/ 40 h 50"/>
                <a:gd name="T32" fmla="*/ 108 w 108"/>
                <a:gd name="T33" fmla="*/ 46 h 50"/>
                <a:gd name="T34" fmla="*/ 106 w 108"/>
                <a:gd name="T35" fmla="*/ 50 h 50"/>
                <a:gd name="T36" fmla="*/ 100 w 108"/>
                <a:gd name="T37" fmla="*/ 50 h 50"/>
                <a:gd name="T38" fmla="*/ 88 w 108"/>
                <a:gd name="T39" fmla="*/ 40 h 50"/>
                <a:gd name="T40" fmla="*/ 82 w 108"/>
                <a:gd name="T41" fmla="*/ 44 h 50"/>
                <a:gd name="T42" fmla="*/ 74 w 108"/>
                <a:gd name="T43" fmla="*/ 44 h 50"/>
                <a:gd name="T44" fmla="*/ 66 w 108"/>
                <a:gd name="T45" fmla="*/ 46 h 50"/>
                <a:gd name="T46" fmla="*/ 58 w 108"/>
                <a:gd name="T47" fmla="*/ 50 h 50"/>
                <a:gd name="T48" fmla="*/ 52 w 108"/>
                <a:gd name="T49" fmla="*/ 46 h 50"/>
                <a:gd name="T50" fmla="*/ 46 w 108"/>
                <a:gd name="T51" fmla="*/ 40 h 50"/>
                <a:gd name="T52" fmla="*/ 38 w 108"/>
                <a:gd name="T53" fmla="*/ 38 h 50"/>
                <a:gd name="T54" fmla="*/ 36 w 108"/>
                <a:gd name="T55" fmla="*/ 44 h 50"/>
                <a:gd name="T56" fmla="*/ 26 w 108"/>
                <a:gd name="T57" fmla="*/ 40 h 50"/>
                <a:gd name="T58" fmla="*/ 30 w 108"/>
                <a:gd name="T59" fmla="*/ 32 h 50"/>
                <a:gd name="T60" fmla="*/ 26 w 108"/>
                <a:gd name="T61" fmla="*/ 22 h 50"/>
                <a:gd name="T62" fmla="*/ 20 w 108"/>
                <a:gd name="T63" fmla="*/ 14 h 50"/>
                <a:gd name="T64" fmla="*/ 12 w 108"/>
                <a:gd name="T65" fmla="*/ 10 h 50"/>
                <a:gd name="T66" fmla="*/ 6 w 108"/>
                <a:gd name="T67" fmla="*/ 6 h 50"/>
                <a:gd name="T68" fmla="*/ 0 w 108"/>
                <a:gd name="T69" fmla="*/ 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50">
                  <a:moveTo>
                    <a:pt x="0" y="2"/>
                  </a:moveTo>
                  <a:lnTo>
                    <a:pt x="12" y="0"/>
                  </a:lnTo>
                  <a:lnTo>
                    <a:pt x="18" y="4"/>
                  </a:lnTo>
                  <a:lnTo>
                    <a:pt x="24" y="8"/>
                  </a:lnTo>
                  <a:lnTo>
                    <a:pt x="34" y="6"/>
                  </a:lnTo>
                  <a:lnTo>
                    <a:pt x="42" y="6"/>
                  </a:lnTo>
                  <a:lnTo>
                    <a:pt x="52" y="12"/>
                  </a:lnTo>
                  <a:lnTo>
                    <a:pt x="56" y="14"/>
                  </a:lnTo>
                  <a:lnTo>
                    <a:pt x="66" y="18"/>
                  </a:lnTo>
                  <a:lnTo>
                    <a:pt x="72" y="18"/>
                  </a:lnTo>
                  <a:lnTo>
                    <a:pt x="82" y="16"/>
                  </a:lnTo>
                  <a:lnTo>
                    <a:pt x="92" y="22"/>
                  </a:lnTo>
                  <a:lnTo>
                    <a:pt x="94" y="24"/>
                  </a:lnTo>
                  <a:lnTo>
                    <a:pt x="102" y="32"/>
                  </a:lnTo>
                  <a:lnTo>
                    <a:pt x="98" y="34"/>
                  </a:lnTo>
                  <a:lnTo>
                    <a:pt x="104" y="40"/>
                  </a:lnTo>
                  <a:lnTo>
                    <a:pt x="108" y="46"/>
                  </a:lnTo>
                  <a:lnTo>
                    <a:pt x="106" y="50"/>
                  </a:lnTo>
                  <a:lnTo>
                    <a:pt x="100" y="50"/>
                  </a:lnTo>
                  <a:lnTo>
                    <a:pt x="88" y="40"/>
                  </a:lnTo>
                  <a:lnTo>
                    <a:pt x="82" y="44"/>
                  </a:lnTo>
                  <a:lnTo>
                    <a:pt x="74" y="44"/>
                  </a:lnTo>
                  <a:lnTo>
                    <a:pt x="66" y="46"/>
                  </a:lnTo>
                  <a:lnTo>
                    <a:pt x="58" y="50"/>
                  </a:lnTo>
                  <a:lnTo>
                    <a:pt x="52" y="46"/>
                  </a:lnTo>
                  <a:lnTo>
                    <a:pt x="46" y="40"/>
                  </a:lnTo>
                  <a:lnTo>
                    <a:pt x="38" y="38"/>
                  </a:lnTo>
                  <a:lnTo>
                    <a:pt x="36" y="44"/>
                  </a:lnTo>
                  <a:lnTo>
                    <a:pt x="26" y="40"/>
                  </a:lnTo>
                  <a:lnTo>
                    <a:pt x="30" y="32"/>
                  </a:lnTo>
                  <a:lnTo>
                    <a:pt x="26" y="22"/>
                  </a:lnTo>
                  <a:lnTo>
                    <a:pt x="20" y="14"/>
                  </a:lnTo>
                  <a:lnTo>
                    <a:pt x="12" y="10"/>
                  </a:lnTo>
                  <a:lnTo>
                    <a:pt x="6" y="6"/>
                  </a:lnTo>
                  <a:lnTo>
                    <a:pt x="0" y="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05" name="Freeform 97">
              <a:extLst>
                <a:ext uri="{FF2B5EF4-FFF2-40B4-BE49-F238E27FC236}">
                  <a16:creationId xmlns:a16="http://schemas.microsoft.com/office/drawing/2014/main" id="{3A2D7E63-A876-4EFD-B456-FDA0812C6930}"/>
                </a:ext>
              </a:extLst>
            </p:cNvPr>
            <p:cNvSpPr>
              <a:spLocks/>
            </p:cNvSpPr>
            <p:nvPr/>
          </p:nvSpPr>
          <p:spPr bwMode="gray">
            <a:xfrm>
              <a:off x="7200302" y="3496278"/>
              <a:ext cx="366538" cy="229056"/>
            </a:xfrm>
            <a:custGeom>
              <a:avLst/>
              <a:gdLst>
                <a:gd name="T0" fmla="*/ 20 w 222"/>
                <a:gd name="T1" fmla="*/ 104 h 138"/>
                <a:gd name="T2" fmla="*/ 18 w 222"/>
                <a:gd name="T3" fmla="*/ 80 h 138"/>
                <a:gd name="T4" fmla="*/ 24 w 222"/>
                <a:gd name="T5" fmla="*/ 72 h 138"/>
                <a:gd name="T6" fmla="*/ 12 w 222"/>
                <a:gd name="T7" fmla="*/ 56 h 138"/>
                <a:gd name="T8" fmla="*/ 8 w 222"/>
                <a:gd name="T9" fmla="*/ 50 h 138"/>
                <a:gd name="T10" fmla="*/ 0 w 222"/>
                <a:gd name="T11" fmla="*/ 52 h 138"/>
                <a:gd name="T12" fmla="*/ 0 w 222"/>
                <a:gd name="T13" fmla="*/ 44 h 138"/>
                <a:gd name="T14" fmla="*/ 6 w 222"/>
                <a:gd name="T15" fmla="*/ 36 h 138"/>
                <a:gd name="T16" fmla="*/ 12 w 222"/>
                <a:gd name="T17" fmla="*/ 40 h 138"/>
                <a:gd name="T18" fmla="*/ 28 w 222"/>
                <a:gd name="T19" fmla="*/ 40 h 138"/>
                <a:gd name="T20" fmla="*/ 34 w 222"/>
                <a:gd name="T21" fmla="*/ 32 h 138"/>
                <a:gd name="T22" fmla="*/ 26 w 222"/>
                <a:gd name="T23" fmla="*/ 24 h 138"/>
                <a:gd name="T24" fmla="*/ 20 w 222"/>
                <a:gd name="T25" fmla="*/ 16 h 138"/>
                <a:gd name="T26" fmla="*/ 14 w 222"/>
                <a:gd name="T27" fmla="*/ 10 h 138"/>
                <a:gd name="T28" fmla="*/ 4 w 222"/>
                <a:gd name="T29" fmla="*/ 14 h 138"/>
                <a:gd name="T30" fmla="*/ 2 w 222"/>
                <a:gd name="T31" fmla="*/ 28 h 138"/>
                <a:gd name="T32" fmla="*/ 0 w 222"/>
                <a:gd name="T33" fmla="*/ 22 h 138"/>
                <a:gd name="T34" fmla="*/ 0 w 222"/>
                <a:gd name="T35" fmla="*/ 12 h 138"/>
                <a:gd name="T36" fmla="*/ 10 w 222"/>
                <a:gd name="T37" fmla="*/ 6 h 138"/>
                <a:gd name="T38" fmla="*/ 24 w 222"/>
                <a:gd name="T39" fmla="*/ 4 h 138"/>
                <a:gd name="T40" fmla="*/ 36 w 222"/>
                <a:gd name="T41" fmla="*/ 12 h 138"/>
                <a:gd name="T42" fmla="*/ 44 w 222"/>
                <a:gd name="T43" fmla="*/ 26 h 138"/>
                <a:gd name="T44" fmla="*/ 54 w 222"/>
                <a:gd name="T45" fmla="*/ 28 h 138"/>
                <a:gd name="T46" fmla="*/ 68 w 222"/>
                <a:gd name="T47" fmla="*/ 26 h 138"/>
                <a:gd name="T48" fmla="*/ 68 w 222"/>
                <a:gd name="T49" fmla="*/ 14 h 138"/>
                <a:gd name="T50" fmla="*/ 96 w 222"/>
                <a:gd name="T51" fmla="*/ 0 h 138"/>
                <a:gd name="T52" fmla="*/ 102 w 222"/>
                <a:gd name="T53" fmla="*/ 6 h 138"/>
                <a:gd name="T54" fmla="*/ 116 w 222"/>
                <a:gd name="T55" fmla="*/ 8 h 138"/>
                <a:gd name="T56" fmla="*/ 118 w 222"/>
                <a:gd name="T57" fmla="*/ 12 h 138"/>
                <a:gd name="T58" fmla="*/ 118 w 222"/>
                <a:gd name="T59" fmla="*/ 28 h 138"/>
                <a:gd name="T60" fmla="*/ 144 w 222"/>
                <a:gd name="T61" fmla="*/ 28 h 138"/>
                <a:gd name="T62" fmla="*/ 158 w 222"/>
                <a:gd name="T63" fmla="*/ 54 h 138"/>
                <a:gd name="T64" fmla="*/ 178 w 222"/>
                <a:gd name="T65" fmla="*/ 66 h 138"/>
                <a:gd name="T66" fmla="*/ 200 w 222"/>
                <a:gd name="T67" fmla="*/ 82 h 138"/>
                <a:gd name="T68" fmla="*/ 212 w 222"/>
                <a:gd name="T69" fmla="*/ 84 h 138"/>
                <a:gd name="T70" fmla="*/ 222 w 222"/>
                <a:gd name="T71" fmla="*/ 90 h 138"/>
                <a:gd name="T72" fmla="*/ 222 w 222"/>
                <a:gd name="T73" fmla="*/ 98 h 138"/>
                <a:gd name="T74" fmla="*/ 210 w 222"/>
                <a:gd name="T75" fmla="*/ 98 h 138"/>
                <a:gd name="T76" fmla="*/ 194 w 222"/>
                <a:gd name="T77" fmla="*/ 104 h 138"/>
                <a:gd name="T78" fmla="*/ 182 w 222"/>
                <a:gd name="T79" fmla="*/ 122 h 138"/>
                <a:gd name="T80" fmla="*/ 170 w 222"/>
                <a:gd name="T81" fmla="*/ 126 h 138"/>
                <a:gd name="T82" fmla="*/ 160 w 222"/>
                <a:gd name="T83" fmla="*/ 138 h 138"/>
                <a:gd name="T84" fmla="*/ 150 w 222"/>
                <a:gd name="T85" fmla="*/ 134 h 138"/>
                <a:gd name="T86" fmla="*/ 138 w 222"/>
                <a:gd name="T87" fmla="*/ 134 h 138"/>
                <a:gd name="T88" fmla="*/ 136 w 222"/>
                <a:gd name="T89" fmla="*/ 112 h 138"/>
                <a:gd name="T90" fmla="*/ 126 w 222"/>
                <a:gd name="T91" fmla="*/ 110 h 138"/>
                <a:gd name="T92" fmla="*/ 68 w 222"/>
                <a:gd name="T93" fmla="*/ 84 h 138"/>
                <a:gd name="T94" fmla="*/ 42 w 222"/>
                <a:gd name="T95" fmla="*/ 88 h 138"/>
                <a:gd name="T96" fmla="*/ 20 w 222"/>
                <a:gd name="T97" fmla="*/ 104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2" h="138">
                  <a:moveTo>
                    <a:pt x="20" y="104"/>
                  </a:moveTo>
                  <a:lnTo>
                    <a:pt x="18" y="80"/>
                  </a:lnTo>
                  <a:lnTo>
                    <a:pt x="24" y="72"/>
                  </a:lnTo>
                  <a:lnTo>
                    <a:pt x="12" y="56"/>
                  </a:lnTo>
                  <a:lnTo>
                    <a:pt x="8" y="50"/>
                  </a:lnTo>
                  <a:lnTo>
                    <a:pt x="0" y="52"/>
                  </a:lnTo>
                  <a:lnTo>
                    <a:pt x="0" y="44"/>
                  </a:lnTo>
                  <a:lnTo>
                    <a:pt x="6" y="36"/>
                  </a:lnTo>
                  <a:lnTo>
                    <a:pt x="12" y="40"/>
                  </a:lnTo>
                  <a:lnTo>
                    <a:pt x="28" y="40"/>
                  </a:lnTo>
                  <a:lnTo>
                    <a:pt x="34" y="32"/>
                  </a:lnTo>
                  <a:lnTo>
                    <a:pt x="26" y="24"/>
                  </a:lnTo>
                  <a:lnTo>
                    <a:pt x="20" y="16"/>
                  </a:lnTo>
                  <a:lnTo>
                    <a:pt x="14" y="10"/>
                  </a:lnTo>
                  <a:lnTo>
                    <a:pt x="4" y="14"/>
                  </a:lnTo>
                  <a:lnTo>
                    <a:pt x="2" y="28"/>
                  </a:lnTo>
                  <a:lnTo>
                    <a:pt x="0" y="22"/>
                  </a:lnTo>
                  <a:lnTo>
                    <a:pt x="0" y="12"/>
                  </a:lnTo>
                  <a:lnTo>
                    <a:pt x="10" y="6"/>
                  </a:lnTo>
                  <a:lnTo>
                    <a:pt x="24" y="4"/>
                  </a:lnTo>
                  <a:lnTo>
                    <a:pt x="36" y="12"/>
                  </a:lnTo>
                  <a:lnTo>
                    <a:pt x="44" y="26"/>
                  </a:lnTo>
                  <a:lnTo>
                    <a:pt x="54" y="28"/>
                  </a:lnTo>
                  <a:lnTo>
                    <a:pt x="68" y="26"/>
                  </a:lnTo>
                  <a:lnTo>
                    <a:pt x="68" y="14"/>
                  </a:lnTo>
                  <a:lnTo>
                    <a:pt x="96" y="0"/>
                  </a:lnTo>
                  <a:lnTo>
                    <a:pt x="102" y="6"/>
                  </a:lnTo>
                  <a:lnTo>
                    <a:pt x="116" y="8"/>
                  </a:lnTo>
                  <a:lnTo>
                    <a:pt x="118" y="12"/>
                  </a:lnTo>
                  <a:lnTo>
                    <a:pt x="118" y="28"/>
                  </a:lnTo>
                  <a:lnTo>
                    <a:pt x="144" y="28"/>
                  </a:lnTo>
                  <a:lnTo>
                    <a:pt x="158" y="54"/>
                  </a:lnTo>
                  <a:lnTo>
                    <a:pt x="178" y="66"/>
                  </a:lnTo>
                  <a:lnTo>
                    <a:pt x="200" y="82"/>
                  </a:lnTo>
                  <a:lnTo>
                    <a:pt x="212" y="84"/>
                  </a:lnTo>
                  <a:lnTo>
                    <a:pt x="222" y="90"/>
                  </a:lnTo>
                  <a:lnTo>
                    <a:pt x="222" y="98"/>
                  </a:lnTo>
                  <a:lnTo>
                    <a:pt x="210" y="98"/>
                  </a:lnTo>
                  <a:lnTo>
                    <a:pt x="194" y="104"/>
                  </a:lnTo>
                  <a:lnTo>
                    <a:pt x="182" y="122"/>
                  </a:lnTo>
                  <a:lnTo>
                    <a:pt x="170" y="126"/>
                  </a:lnTo>
                  <a:lnTo>
                    <a:pt x="160" y="138"/>
                  </a:lnTo>
                  <a:lnTo>
                    <a:pt x="150" y="134"/>
                  </a:lnTo>
                  <a:lnTo>
                    <a:pt x="138" y="134"/>
                  </a:lnTo>
                  <a:lnTo>
                    <a:pt x="136" y="112"/>
                  </a:lnTo>
                  <a:lnTo>
                    <a:pt x="126" y="110"/>
                  </a:lnTo>
                  <a:lnTo>
                    <a:pt x="68" y="84"/>
                  </a:lnTo>
                  <a:lnTo>
                    <a:pt x="42" y="88"/>
                  </a:lnTo>
                  <a:lnTo>
                    <a:pt x="20" y="10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06" name="Freeform 98">
              <a:extLst>
                <a:ext uri="{FF2B5EF4-FFF2-40B4-BE49-F238E27FC236}">
                  <a16:creationId xmlns:a16="http://schemas.microsoft.com/office/drawing/2014/main" id="{B0CE2371-3DCE-46B0-997E-EFA828271EFB}"/>
                </a:ext>
              </a:extLst>
            </p:cNvPr>
            <p:cNvSpPr>
              <a:spLocks/>
            </p:cNvSpPr>
            <p:nvPr/>
          </p:nvSpPr>
          <p:spPr bwMode="gray">
            <a:xfrm>
              <a:off x="7586653" y="3552713"/>
              <a:ext cx="194827" cy="126147"/>
            </a:xfrm>
            <a:custGeom>
              <a:avLst/>
              <a:gdLst>
                <a:gd name="T0" fmla="*/ 24 w 118"/>
                <a:gd name="T1" fmla="*/ 14 h 76"/>
                <a:gd name="T2" fmla="*/ 32 w 118"/>
                <a:gd name="T3" fmla="*/ 10 h 76"/>
                <a:gd name="T4" fmla="*/ 36 w 118"/>
                <a:gd name="T5" fmla="*/ 2 h 76"/>
                <a:gd name="T6" fmla="*/ 48 w 118"/>
                <a:gd name="T7" fmla="*/ 0 h 76"/>
                <a:gd name="T8" fmla="*/ 54 w 118"/>
                <a:gd name="T9" fmla="*/ 2 h 76"/>
                <a:gd name="T10" fmla="*/ 52 w 118"/>
                <a:gd name="T11" fmla="*/ 8 h 76"/>
                <a:gd name="T12" fmla="*/ 50 w 118"/>
                <a:gd name="T13" fmla="*/ 14 h 76"/>
                <a:gd name="T14" fmla="*/ 52 w 118"/>
                <a:gd name="T15" fmla="*/ 20 h 76"/>
                <a:gd name="T16" fmla="*/ 54 w 118"/>
                <a:gd name="T17" fmla="*/ 28 h 76"/>
                <a:gd name="T18" fmla="*/ 66 w 118"/>
                <a:gd name="T19" fmla="*/ 28 h 76"/>
                <a:gd name="T20" fmla="*/ 80 w 118"/>
                <a:gd name="T21" fmla="*/ 30 h 76"/>
                <a:gd name="T22" fmla="*/ 100 w 118"/>
                <a:gd name="T23" fmla="*/ 30 h 76"/>
                <a:gd name="T24" fmla="*/ 98 w 118"/>
                <a:gd name="T25" fmla="*/ 36 h 76"/>
                <a:gd name="T26" fmla="*/ 100 w 118"/>
                <a:gd name="T27" fmla="*/ 44 h 76"/>
                <a:gd name="T28" fmla="*/ 106 w 118"/>
                <a:gd name="T29" fmla="*/ 46 h 76"/>
                <a:gd name="T30" fmla="*/ 118 w 118"/>
                <a:gd name="T31" fmla="*/ 44 h 76"/>
                <a:gd name="T32" fmla="*/ 118 w 118"/>
                <a:gd name="T33" fmla="*/ 64 h 76"/>
                <a:gd name="T34" fmla="*/ 90 w 118"/>
                <a:gd name="T35" fmla="*/ 64 h 76"/>
                <a:gd name="T36" fmla="*/ 80 w 118"/>
                <a:gd name="T37" fmla="*/ 70 h 76"/>
                <a:gd name="T38" fmla="*/ 64 w 118"/>
                <a:gd name="T39" fmla="*/ 76 h 76"/>
                <a:gd name="T40" fmla="*/ 64 w 118"/>
                <a:gd name="T41" fmla="*/ 70 h 76"/>
                <a:gd name="T42" fmla="*/ 66 w 118"/>
                <a:gd name="T43" fmla="*/ 62 h 76"/>
                <a:gd name="T44" fmla="*/ 64 w 118"/>
                <a:gd name="T45" fmla="*/ 50 h 76"/>
                <a:gd name="T46" fmla="*/ 56 w 118"/>
                <a:gd name="T47" fmla="*/ 44 h 76"/>
                <a:gd name="T48" fmla="*/ 46 w 118"/>
                <a:gd name="T49" fmla="*/ 60 h 76"/>
                <a:gd name="T50" fmla="*/ 38 w 118"/>
                <a:gd name="T51" fmla="*/ 62 h 76"/>
                <a:gd name="T52" fmla="*/ 18 w 118"/>
                <a:gd name="T53" fmla="*/ 74 h 76"/>
                <a:gd name="T54" fmla="*/ 8 w 118"/>
                <a:gd name="T55" fmla="*/ 70 h 76"/>
                <a:gd name="T56" fmla="*/ 8 w 118"/>
                <a:gd name="T57" fmla="*/ 62 h 76"/>
                <a:gd name="T58" fmla="*/ 16 w 118"/>
                <a:gd name="T59" fmla="*/ 52 h 76"/>
                <a:gd name="T60" fmla="*/ 10 w 118"/>
                <a:gd name="T61" fmla="*/ 50 h 76"/>
                <a:gd name="T62" fmla="*/ 12 w 118"/>
                <a:gd name="T63" fmla="*/ 36 h 76"/>
                <a:gd name="T64" fmla="*/ 0 w 118"/>
                <a:gd name="T65" fmla="*/ 36 h 76"/>
                <a:gd name="T66" fmla="*/ 0 w 118"/>
                <a:gd name="T67" fmla="*/ 26 h 76"/>
                <a:gd name="T68" fmla="*/ 20 w 118"/>
                <a:gd name="T69" fmla="*/ 26 h 76"/>
                <a:gd name="T70" fmla="*/ 18 w 118"/>
                <a:gd name="T71" fmla="*/ 12 h 76"/>
                <a:gd name="T72" fmla="*/ 24 w 118"/>
                <a:gd name="T73" fmla="*/ 1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8" h="76">
                  <a:moveTo>
                    <a:pt x="24" y="14"/>
                  </a:moveTo>
                  <a:lnTo>
                    <a:pt x="32" y="10"/>
                  </a:lnTo>
                  <a:lnTo>
                    <a:pt x="36" y="2"/>
                  </a:lnTo>
                  <a:lnTo>
                    <a:pt x="48" y="0"/>
                  </a:lnTo>
                  <a:lnTo>
                    <a:pt x="54" y="2"/>
                  </a:lnTo>
                  <a:lnTo>
                    <a:pt x="52" y="8"/>
                  </a:lnTo>
                  <a:lnTo>
                    <a:pt x="50" y="14"/>
                  </a:lnTo>
                  <a:lnTo>
                    <a:pt x="52" y="20"/>
                  </a:lnTo>
                  <a:lnTo>
                    <a:pt x="54" y="28"/>
                  </a:lnTo>
                  <a:lnTo>
                    <a:pt x="66" y="28"/>
                  </a:lnTo>
                  <a:lnTo>
                    <a:pt x="80" y="30"/>
                  </a:lnTo>
                  <a:lnTo>
                    <a:pt x="100" y="30"/>
                  </a:lnTo>
                  <a:lnTo>
                    <a:pt x="98" y="36"/>
                  </a:lnTo>
                  <a:lnTo>
                    <a:pt x="100" y="44"/>
                  </a:lnTo>
                  <a:lnTo>
                    <a:pt x="106" y="46"/>
                  </a:lnTo>
                  <a:lnTo>
                    <a:pt x="118" y="44"/>
                  </a:lnTo>
                  <a:lnTo>
                    <a:pt x="118" y="64"/>
                  </a:lnTo>
                  <a:lnTo>
                    <a:pt x="90" y="64"/>
                  </a:lnTo>
                  <a:lnTo>
                    <a:pt x="80" y="70"/>
                  </a:lnTo>
                  <a:lnTo>
                    <a:pt x="64" y="76"/>
                  </a:lnTo>
                  <a:lnTo>
                    <a:pt x="64" y="70"/>
                  </a:lnTo>
                  <a:lnTo>
                    <a:pt x="66" y="62"/>
                  </a:lnTo>
                  <a:lnTo>
                    <a:pt x="64" y="50"/>
                  </a:lnTo>
                  <a:lnTo>
                    <a:pt x="56" y="44"/>
                  </a:lnTo>
                  <a:lnTo>
                    <a:pt x="46" y="60"/>
                  </a:lnTo>
                  <a:lnTo>
                    <a:pt x="38" y="62"/>
                  </a:lnTo>
                  <a:lnTo>
                    <a:pt x="18" y="74"/>
                  </a:lnTo>
                  <a:lnTo>
                    <a:pt x="8" y="70"/>
                  </a:lnTo>
                  <a:lnTo>
                    <a:pt x="8" y="62"/>
                  </a:lnTo>
                  <a:lnTo>
                    <a:pt x="16" y="52"/>
                  </a:lnTo>
                  <a:lnTo>
                    <a:pt x="10" y="50"/>
                  </a:lnTo>
                  <a:lnTo>
                    <a:pt x="12" y="36"/>
                  </a:lnTo>
                  <a:lnTo>
                    <a:pt x="0" y="36"/>
                  </a:lnTo>
                  <a:lnTo>
                    <a:pt x="0" y="26"/>
                  </a:lnTo>
                  <a:lnTo>
                    <a:pt x="20" y="26"/>
                  </a:lnTo>
                  <a:lnTo>
                    <a:pt x="18" y="12"/>
                  </a:lnTo>
                  <a:lnTo>
                    <a:pt x="24" y="1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07" name="Freeform 99">
              <a:extLst>
                <a:ext uri="{FF2B5EF4-FFF2-40B4-BE49-F238E27FC236}">
                  <a16:creationId xmlns:a16="http://schemas.microsoft.com/office/drawing/2014/main" id="{23070099-E881-430F-966D-C4B12F6D03F8}"/>
                </a:ext>
              </a:extLst>
            </p:cNvPr>
            <p:cNvSpPr>
              <a:spLocks/>
            </p:cNvSpPr>
            <p:nvPr/>
          </p:nvSpPr>
          <p:spPr bwMode="gray">
            <a:xfrm>
              <a:off x="7289461" y="3406648"/>
              <a:ext cx="439185" cy="262253"/>
            </a:xfrm>
            <a:custGeom>
              <a:avLst/>
              <a:gdLst>
                <a:gd name="T0" fmla="*/ 0 w 266"/>
                <a:gd name="T1" fmla="*/ 82 h 158"/>
                <a:gd name="T2" fmla="*/ 0 w 266"/>
                <a:gd name="T3" fmla="*/ 8 h 158"/>
                <a:gd name="T4" fmla="*/ 18 w 266"/>
                <a:gd name="T5" fmla="*/ 4 h 158"/>
                <a:gd name="T6" fmla="*/ 46 w 266"/>
                <a:gd name="T7" fmla="*/ 0 h 158"/>
                <a:gd name="T8" fmla="*/ 54 w 266"/>
                <a:gd name="T9" fmla="*/ 6 h 158"/>
                <a:gd name="T10" fmla="*/ 70 w 266"/>
                <a:gd name="T11" fmla="*/ 16 h 158"/>
                <a:gd name="T12" fmla="*/ 80 w 266"/>
                <a:gd name="T13" fmla="*/ 20 h 158"/>
                <a:gd name="T14" fmla="*/ 94 w 266"/>
                <a:gd name="T15" fmla="*/ 38 h 158"/>
                <a:gd name="T16" fmla="*/ 132 w 266"/>
                <a:gd name="T17" fmla="*/ 36 h 158"/>
                <a:gd name="T18" fmla="*/ 140 w 266"/>
                <a:gd name="T19" fmla="*/ 34 h 158"/>
                <a:gd name="T20" fmla="*/ 158 w 266"/>
                <a:gd name="T21" fmla="*/ 52 h 158"/>
                <a:gd name="T22" fmla="*/ 158 w 266"/>
                <a:gd name="T23" fmla="*/ 60 h 158"/>
                <a:gd name="T24" fmla="*/ 168 w 266"/>
                <a:gd name="T25" fmla="*/ 68 h 158"/>
                <a:gd name="T26" fmla="*/ 170 w 266"/>
                <a:gd name="T27" fmla="*/ 84 h 158"/>
                <a:gd name="T28" fmla="*/ 188 w 266"/>
                <a:gd name="T29" fmla="*/ 82 h 158"/>
                <a:gd name="T30" fmla="*/ 192 w 266"/>
                <a:gd name="T31" fmla="*/ 84 h 158"/>
                <a:gd name="T32" fmla="*/ 192 w 266"/>
                <a:gd name="T33" fmla="*/ 94 h 158"/>
                <a:gd name="T34" fmla="*/ 200 w 266"/>
                <a:gd name="T35" fmla="*/ 94 h 158"/>
                <a:gd name="T36" fmla="*/ 202 w 266"/>
                <a:gd name="T37" fmla="*/ 84 h 158"/>
                <a:gd name="T38" fmla="*/ 214 w 266"/>
                <a:gd name="T39" fmla="*/ 74 h 158"/>
                <a:gd name="T40" fmla="*/ 234 w 266"/>
                <a:gd name="T41" fmla="*/ 62 h 158"/>
                <a:gd name="T42" fmla="*/ 230 w 266"/>
                <a:gd name="T43" fmla="*/ 72 h 158"/>
                <a:gd name="T44" fmla="*/ 228 w 266"/>
                <a:gd name="T45" fmla="*/ 76 h 158"/>
                <a:gd name="T46" fmla="*/ 236 w 266"/>
                <a:gd name="T47" fmla="*/ 80 h 158"/>
                <a:gd name="T48" fmla="*/ 248 w 266"/>
                <a:gd name="T49" fmla="*/ 76 h 158"/>
                <a:gd name="T50" fmla="*/ 258 w 266"/>
                <a:gd name="T51" fmla="*/ 82 h 158"/>
                <a:gd name="T52" fmla="*/ 266 w 266"/>
                <a:gd name="T53" fmla="*/ 90 h 158"/>
                <a:gd name="T54" fmla="*/ 258 w 266"/>
                <a:gd name="T55" fmla="*/ 98 h 158"/>
                <a:gd name="T56" fmla="*/ 248 w 266"/>
                <a:gd name="T57" fmla="*/ 102 h 158"/>
                <a:gd name="T58" fmla="*/ 236 w 266"/>
                <a:gd name="T59" fmla="*/ 102 h 158"/>
                <a:gd name="T60" fmla="*/ 232 w 266"/>
                <a:gd name="T61" fmla="*/ 98 h 158"/>
                <a:gd name="T62" fmla="*/ 234 w 266"/>
                <a:gd name="T63" fmla="*/ 90 h 158"/>
                <a:gd name="T64" fmla="*/ 228 w 266"/>
                <a:gd name="T65" fmla="*/ 88 h 158"/>
                <a:gd name="T66" fmla="*/ 216 w 266"/>
                <a:gd name="T67" fmla="*/ 90 h 158"/>
                <a:gd name="T68" fmla="*/ 212 w 266"/>
                <a:gd name="T69" fmla="*/ 98 h 158"/>
                <a:gd name="T70" fmla="*/ 204 w 266"/>
                <a:gd name="T71" fmla="*/ 102 h 158"/>
                <a:gd name="T72" fmla="*/ 198 w 266"/>
                <a:gd name="T73" fmla="*/ 100 h 158"/>
                <a:gd name="T74" fmla="*/ 200 w 266"/>
                <a:gd name="T75" fmla="*/ 114 h 158"/>
                <a:gd name="T76" fmla="*/ 180 w 266"/>
                <a:gd name="T77" fmla="*/ 114 h 158"/>
                <a:gd name="T78" fmla="*/ 180 w 266"/>
                <a:gd name="T79" fmla="*/ 124 h 158"/>
                <a:gd name="T80" fmla="*/ 192 w 266"/>
                <a:gd name="T81" fmla="*/ 124 h 158"/>
                <a:gd name="T82" fmla="*/ 190 w 266"/>
                <a:gd name="T83" fmla="*/ 138 h 158"/>
                <a:gd name="T84" fmla="*/ 196 w 266"/>
                <a:gd name="T85" fmla="*/ 140 h 158"/>
                <a:gd name="T86" fmla="*/ 188 w 266"/>
                <a:gd name="T87" fmla="*/ 150 h 158"/>
                <a:gd name="T88" fmla="*/ 188 w 266"/>
                <a:gd name="T89" fmla="*/ 158 h 158"/>
                <a:gd name="T90" fmla="*/ 168 w 266"/>
                <a:gd name="T91" fmla="*/ 152 h 158"/>
                <a:gd name="T92" fmla="*/ 168 w 266"/>
                <a:gd name="T93" fmla="*/ 144 h 158"/>
                <a:gd name="T94" fmla="*/ 158 w 266"/>
                <a:gd name="T95" fmla="*/ 138 h 158"/>
                <a:gd name="T96" fmla="*/ 146 w 266"/>
                <a:gd name="T97" fmla="*/ 136 h 158"/>
                <a:gd name="T98" fmla="*/ 104 w 266"/>
                <a:gd name="T99" fmla="*/ 108 h 158"/>
                <a:gd name="T100" fmla="*/ 90 w 266"/>
                <a:gd name="T101" fmla="*/ 82 h 158"/>
                <a:gd name="T102" fmla="*/ 64 w 266"/>
                <a:gd name="T103" fmla="*/ 82 h 158"/>
                <a:gd name="T104" fmla="*/ 64 w 266"/>
                <a:gd name="T105" fmla="*/ 66 h 158"/>
                <a:gd name="T106" fmla="*/ 62 w 266"/>
                <a:gd name="T107" fmla="*/ 62 h 158"/>
                <a:gd name="T108" fmla="*/ 48 w 266"/>
                <a:gd name="T109" fmla="*/ 60 h 158"/>
                <a:gd name="T110" fmla="*/ 42 w 266"/>
                <a:gd name="T111" fmla="*/ 54 h 158"/>
                <a:gd name="T112" fmla="*/ 14 w 266"/>
                <a:gd name="T113" fmla="*/ 68 h 158"/>
                <a:gd name="T114" fmla="*/ 14 w 266"/>
                <a:gd name="T115" fmla="*/ 80 h 158"/>
                <a:gd name="T116" fmla="*/ 0 w 266"/>
                <a:gd name="T117" fmla="*/ 8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6" h="158">
                  <a:moveTo>
                    <a:pt x="0" y="82"/>
                  </a:moveTo>
                  <a:lnTo>
                    <a:pt x="0" y="8"/>
                  </a:lnTo>
                  <a:lnTo>
                    <a:pt x="18" y="4"/>
                  </a:lnTo>
                  <a:lnTo>
                    <a:pt x="46" y="0"/>
                  </a:lnTo>
                  <a:lnTo>
                    <a:pt x="54" y="6"/>
                  </a:lnTo>
                  <a:lnTo>
                    <a:pt x="70" y="16"/>
                  </a:lnTo>
                  <a:lnTo>
                    <a:pt x="80" y="20"/>
                  </a:lnTo>
                  <a:lnTo>
                    <a:pt x="94" y="38"/>
                  </a:lnTo>
                  <a:lnTo>
                    <a:pt x="132" y="36"/>
                  </a:lnTo>
                  <a:lnTo>
                    <a:pt x="140" y="34"/>
                  </a:lnTo>
                  <a:lnTo>
                    <a:pt x="158" y="52"/>
                  </a:lnTo>
                  <a:lnTo>
                    <a:pt x="158" y="60"/>
                  </a:lnTo>
                  <a:lnTo>
                    <a:pt x="168" y="68"/>
                  </a:lnTo>
                  <a:lnTo>
                    <a:pt x="170" y="84"/>
                  </a:lnTo>
                  <a:lnTo>
                    <a:pt x="188" y="82"/>
                  </a:lnTo>
                  <a:lnTo>
                    <a:pt x="192" y="84"/>
                  </a:lnTo>
                  <a:lnTo>
                    <a:pt x="192" y="94"/>
                  </a:lnTo>
                  <a:lnTo>
                    <a:pt x="200" y="94"/>
                  </a:lnTo>
                  <a:lnTo>
                    <a:pt x="202" y="84"/>
                  </a:lnTo>
                  <a:lnTo>
                    <a:pt x="214" y="74"/>
                  </a:lnTo>
                  <a:lnTo>
                    <a:pt x="234" y="62"/>
                  </a:lnTo>
                  <a:lnTo>
                    <a:pt x="230" y="72"/>
                  </a:lnTo>
                  <a:lnTo>
                    <a:pt x="228" y="76"/>
                  </a:lnTo>
                  <a:lnTo>
                    <a:pt x="236" y="80"/>
                  </a:lnTo>
                  <a:lnTo>
                    <a:pt x="248" y="76"/>
                  </a:lnTo>
                  <a:lnTo>
                    <a:pt x="258" y="82"/>
                  </a:lnTo>
                  <a:lnTo>
                    <a:pt x="266" y="90"/>
                  </a:lnTo>
                  <a:lnTo>
                    <a:pt x="258" y="98"/>
                  </a:lnTo>
                  <a:lnTo>
                    <a:pt x="248" y="102"/>
                  </a:lnTo>
                  <a:lnTo>
                    <a:pt x="236" y="102"/>
                  </a:lnTo>
                  <a:lnTo>
                    <a:pt x="232" y="98"/>
                  </a:lnTo>
                  <a:lnTo>
                    <a:pt x="234" y="90"/>
                  </a:lnTo>
                  <a:lnTo>
                    <a:pt x="228" y="88"/>
                  </a:lnTo>
                  <a:lnTo>
                    <a:pt x="216" y="90"/>
                  </a:lnTo>
                  <a:lnTo>
                    <a:pt x="212" y="98"/>
                  </a:lnTo>
                  <a:lnTo>
                    <a:pt x="204" y="102"/>
                  </a:lnTo>
                  <a:lnTo>
                    <a:pt x="198" y="100"/>
                  </a:lnTo>
                  <a:lnTo>
                    <a:pt x="200" y="114"/>
                  </a:lnTo>
                  <a:lnTo>
                    <a:pt x="180" y="114"/>
                  </a:lnTo>
                  <a:lnTo>
                    <a:pt x="180" y="124"/>
                  </a:lnTo>
                  <a:lnTo>
                    <a:pt x="192" y="124"/>
                  </a:lnTo>
                  <a:lnTo>
                    <a:pt x="190" y="138"/>
                  </a:lnTo>
                  <a:lnTo>
                    <a:pt x="196" y="140"/>
                  </a:lnTo>
                  <a:lnTo>
                    <a:pt x="188" y="150"/>
                  </a:lnTo>
                  <a:lnTo>
                    <a:pt x="188" y="158"/>
                  </a:lnTo>
                  <a:lnTo>
                    <a:pt x="168" y="152"/>
                  </a:lnTo>
                  <a:lnTo>
                    <a:pt x="168" y="144"/>
                  </a:lnTo>
                  <a:lnTo>
                    <a:pt x="158" y="138"/>
                  </a:lnTo>
                  <a:lnTo>
                    <a:pt x="146" y="136"/>
                  </a:lnTo>
                  <a:lnTo>
                    <a:pt x="104" y="108"/>
                  </a:lnTo>
                  <a:lnTo>
                    <a:pt x="90" y="82"/>
                  </a:lnTo>
                  <a:lnTo>
                    <a:pt x="64" y="82"/>
                  </a:lnTo>
                  <a:lnTo>
                    <a:pt x="64" y="66"/>
                  </a:lnTo>
                  <a:lnTo>
                    <a:pt x="62" y="62"/>
                  </a:lnTo>
                  <a:lnTo>
                    <a:pt x="48" y="60"/>
                  </a:lnTo>
                  <a:lnTo>
                    <a:pt x="42" y="54"/>
                  </a:lnTo>
                  <a:lnTo>
                    <a:pt x="14" y="68"/>
                  </a:lnTo>
                  <a:lnTo>
                    <a:pt x="14" y="80"/>
                  </a:lnTo>
                  <a:lnTo>
                    <a:pt x="0" y="8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08" name="Freeform 100">
              <a:extLst>
                <a:ext uri="{FF2B5EF4-FFF2-40B4-BE49-F238E27FC236}">
                  <a16:creationId xmlns:a16="http://schemas.microsoft.com/office/drawing/2014/main" id="{19387E4A-57F2-44E4-B0E6-6F292F95AEE9}"/>
                </a:ext>
              </a:extLst>
            </p:cNvPr>
            <p:cNvSpPr>
              <a:spLocks/>
            </p:cNvSpPr>
            <p:nvPr/>
          </p:nvSpPr>
          <p:spPr bwMode="gray">
            <a:xfrm>
              <a:off x="7665905" y="3476360"/>
              <a:ext cx="260870" cy="126147"/>
            </a:xfrm>
            <a:custGeom>
              <a:avLst/>
              <a:gdLst>
                <a:gd name="T0" fmla="*/ 6 w 158"/>
                <a:gd name="T1" fmla="*/ 20 h 76"/>
                <a:gd name="T2" fmla="*/ 16 w 158"/>
                <a:gd name="T3" fmla="*/ 8 h 76"/>
                <a:gd name="T4" fmla="*/ 28 w 158"/>
                <a:gd name="T5" fmla="*/ 8 h 76"/>
                <a:gd name="T6" fmla="*/ 32 w 158"/>
                <a:gd name="T7" fmla="*/ 12 h 76"/>
                <a:gd name="T8" fmla="*/ 50 w 158"/>
                <a:gd name="T9" fmla="*/ 10 h 76"/>
                <a:gd name="T10" fmla="*/ 52 w 158"/>
                <a:gd name="T11" fmla="*/ 4 h 76"/>
                <a:gd name="T12" fmla="*/ 60 w 158"/>
                <a:gd name="T13" fmla="*/ 0 h 76"/>
                <a:gd name="T14" fmla="*/ 72 w 158"/>
                <a:gd name="T15" fmla="*/ 2 h 76"/>
                <a:gd name="T16" fmla="*/ 74 w 158"/>
                <a:gd name="T17" fmla="*/ 10 h 76"/>
                <a:gd name="T18" fmla="*/ 134 w 158"/>
                <a:gd name="T19" fmla="*/ 8 h 76"/>
                <a:gd name="T20" fmla="*/ 140 w 158"/>
                <a:gd name="T21" fmla="*/ 14 h 76"/>
                <a:gd name="T22" fmla="*/ 148 w 158"/>
                <a:gd name="T23" fmla="*/ 16 h 76"/>
                <a:gd name="T24" fmla="*/ 158 w 158"/>
                <a:gd name="T25" fmla="*/ 20 h 76"/>
                <a:gd name="T26" fmla="*/ 152 w 158"/>
                <a:gd name="T27" fmla="*/ 24 h 76"/>
                <a:gd name="T28" fmla="*/ 138 w 158"/>
                <a:gd name="T29" fmla="*/ 32 h 76"/>
                <a:gd name="T30" fmla="*/ 126 w 158"/>
                <a:gd name="T31" fmla="*/ 36 h 76"/>
                <a:gd name="T32" fmla="*/ 122 w 158"/>
                <a:gd name="T33" fmla="*/ 44 h 76"/>
                <a:gd name="T34" fmla="*/ 102 w 158"/>
                <a:gd name="T35" fmla="*/ 44 h 76"/>
                <a:gd name="T36" fmla="*/ 98 w 158"/>
                <a:gd name="T37" fmla="*/ 54 h 76"/>
                <a:gd name="T38" fmla="*/ 82 w 158"/>
                <a:gd name="T39" fmla="*/ 58 h 76"/>
                <a:gd name="T40" fmla="*/ 82 w 158"/>
                <a:gd name="T41" fmla="*/ 52 h 76"/>
                <a:gd name="T42" fmla="*/ 68 w 158"/>
                <a:gd name="T43" fmla="*/ 52 h 76"/>
                <a:gd name="T44" fmla="*/ 66 w 158"/>
                <a:gd name="T45" fmla="*/ 58 h 76"/>
                <a:gd name="T46" fmla="*/ 58 w 158"/>
                <a:gd name="T47" fmla="*/ 62 h 76"/>
                <a:gd name="T48" fmla="*/ 54 w 158"/>
                <a:gd name="T49" fmla="*/ 66 h 76"/>
                <a:gd name="T50" fmla="*/ 52 w 158"/>
                <a:gd name="T51" fmla="*/ 76 h 76"/>
                <a:gd name="T52" fmla="*/ 32 w 158"/>
                <a:gd name="T53" fmla="*/ 76 h 76"/>
                <a:gd name="T54" fmla="*/ 18 w 158"/>
                <a:gd name="T55" fmla="*/ 74 h 76"/>
                <a:gd name="T56" fmla="*/ 6 w 158"/>
                <a:gd name="T57" fmla="*/ 74 h 76"/>
                <a:gd name="T58" fmla="*/ 4 w 158"/>
                <a:gd name="T59" fmla="*/ 66 h 76"/>
                <a:gd name="T60" fmla="*/ 2 w 158"/>
                <a:gd name="T61" fmla="*/ 60 h 76"/>
                <a:gd name="T62" fmla="*/ 4 w 158"/>
                <a:gd name="T63" fmla="*/ 56 h 76"/>
                <a:gd name="T64" fmla="*/ 8 w 158"/>
                <a:gd name="T65" fmla="*/ 60 h 76"/>
                <a:gd name="T66" fmla="*/ 20 w 158"/>
                <a:gd name="T67" fmla="*/ 60 h 76"/>
                <a:gd name="T68" fmla="*/ 30 w 158"/>
                <a:gd name="T69" fmla="*/ 56 h 76"/>
                <a:gd name="T70" fmla="*/ 38 w 158"/>
                <a:gd name="T71" fmla="*/ 48 h 76"/>
                <a:gd name="T72" fmla="*/ 30 w 158"/>
                <a:gd name="T73" fmla="*/ 40 h 76"/>
                <a:gd name="T74" fmla="*/ 20 w 158"/>
                <a:gd name="T75" fmla="*/ 34 h 76"/>
                <a:gd name="T76" fmla="*/ 8 w 158"/>
                <a:gd name="T77" fmla="*/ 38 h 76"/>
                <a:gd name="T78" fmla="*/ 0 w 158"/>
                <a:gd name="T79" fmla="*/ 34 h 76"/>
                <a:gd name="T80" fmla="*/ 2 w 158"/>
                <a:gd name="T81" fmla="*/ 30 h 76"/>
                <a:gd name="T82" fmla="*/ 6 w 158"/>
                <a:gd name="T83" fmla="*/ 2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8" h="76">
                  <a:moveTo>
                    <a:pt x="6" y="20"/>
                  </a:moveTo>
                  <a:lnTo>
                    <a:pt x="16" y="8"/>
                  </a:lnTo>
                  <a:lnTo>
                    <a:pt x="28" y="8"/>
                  </a:lnTo>
                  <a:lnTo>
                    <a:pt x="32" y="12"/>
                  </a:lnTo>
                  <a:lnTo>
                    <a:pt x="50" y="10"/>
                  </a:lnTo>
                  <a:lnTo>
                    <a:pt x="52" y="4"/>
                  </a:lnTo>
                  <a:lnTo>
                    <a:pt x="60" y="0"/>
                  </a:lnTo>
                  <a:lnTo>
                    <a:pt x="72" y="2"/>
                  </a:lnTo>
                  <a:lnTo>
                    <a:pt x="74" y="10"/>
                  </a:lnTo>
                  <a:lnTo>
                    <a:pt x="134" y="8"/>
                  </a:lnTo>
                  <a:lnTo>
                    <a:pt x="140" y="14"/>
                  </a:lnTo>
                  <a:lnTo>
                    <a:pt x="148" y="16"/>
                  </a:lnTo>
                  <a:lnTo>
                    <a:pt x="158" y="20"/>
                  </a:lnTo>
                  <a:lnTo>
                    <a:pt x="152" y="24"/>
                  </a:lnTo>
                  <a:lnTo>
                    <a:pt x="138" y="32"/>
                  </a:lnTo>
                  <a:lnTo>
                    <a:pt x="126" y="36"/>
                  </a:lnTo>
                  <a:lnTo>
                    <a:pt x="122" y="44"/>
                  </a:lnTo>
                  <a:lnTo>
                    <a:pt x="102" y="44"/>
                  </a:lnTo>
                  <a:lnTo>
                    <a:pt x="98" y="54"/>
                  </a:lnTo>
                  <a:lnTo>
                    <a:pt x="82" y="58"/>
                  </a:lnTo>
                  <a:lnTo>
                    <a:pt x="82" y="52"/>
                  </a:lnTo>
                  <a:lnTo>
                    <a:pt x="68" y="52"/>
                  </a:lnTo>
                  <a:lnTo>
                    <a:pt x="66" y="58"/>
                  </a:lnTo>
                  <a:lnTo>
                    <a:pt x="58" y="62"/>
                  </a:lnTo>
                  <a:lnTo>
                    <a:pt x="54" y="66"/>
                  </a:lnTo>
                  <a:lnTo>
                    <a:pt x="52" y="76"/>
                  </a:lnTo>
                  <a:lnTo>
                    <a:pt x="32" y="76"/>
                  </a:lnTo>
                  <a:lnTo>
                    <a:pt x="18" y="74"/>
                  </a:lnTo>
                  <a:lnTo>
                    <a:pt x="6" y="74"/>
                  </a:lnTo>
                  <a:lnTo>
                    <a:pt x="4" y="66"/>
                  </a:lnTo>
                  <a:lnTo>
                    <a:pt x="2" y="60"/>
                  </a:lnTo>
                  <a:lnTo>
                    <a:pt x="4" y="56"/>
                  </a:lnTo>
                  <a:lnTo>
                    <a:pt x="8" y="60"/>
                  </a:lnTo>
                  <a:lnTo>
                    <a:pt x="20" y="60"/>
                  </a:lnTo>
                  <a:lnTo>
                    <a:pt x="30" y="56"/>
                  </a:lnTo>
                  <a:lnTo>
                    <a:pt x="38" y="48"/>
                  </a:lnTo>
                  <a:lnTo>
                    <a:pt x="30" y="40"/>
                  </a:lnTo>
                  <a:lnTo>
                    <a:pt x="20" y="34"/>
                  </a:lnTo>
                  <a:lnTo>
                    <a:pt x="8" y="38"/>
                  </a:lnTo>
                  <a:lnTo>
                    <a:pt x="0" y="34"/>
                  </a:lnTo>
                  <a:lnTo>
                    <a:pt x="2" y="30"/>
                  </a:lnTo>
                  <a:lnTo>
                    <a:pt x="6" y="2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09" name="Freeform 101">
              <a:extLst>
                <a:ext uri="{FF2B5EF4-FFF2-40B4-BE49-F238E27FC236}">
                  <a16:creationId xmlns:a16="http://schemas.microsoft.com/office/drawing/2014/main" id="{E3A38454-E615-4FE2-A5D5-5D52119C1854}"/>
                </a:ext>
              </a:extLst>
            </p:cNvPr>
            <p:cNvSpPr>
              <a:spLocks/>
            </p:cNvSpPr>
            <p:nvPr/>
          </p:nvSpPr>
          <p:spPr bwMode="gray">
            <a:xfrm>
              <a:off x="7041800" y="3084641"/>
              <a:ext cx="1056686" cy="478031"/>
            </a:xfrm>
            <a:custGeom>
              <a:avLst/>
              <a:gdLst>
                <a:gd name="T0" fmla="*/ 94 w 640"/>
                <a:gd name="T1" fmla="*/ 260 h 298"/>
                <a:gd name="T2" fmla="*/ 66 w 640"/>
                <a:gd name="T3" fmla="*/ 234 h 298"/>
                <a:gd name="T4" fmla="*/ 64 w 640"/>
                <a:gd name="T5" fmla="*/ 220 h 298"/>
                <a:gd name="T6" fmla="*/ 76 w 640"/>
                <a:gd name="T7" fmla="*/ 210 h 298"/>
                <a:gd name="T8" fmla="*/ 94 w 640"/>
                <a:gd name="T9" fmla="*/ 208 h 298"/>
                <a:gd name="T10" fmla="*/ 108 w 640"/>
                <a:gd name="T11" fmla="*/ 196 h 298"/>
                <a:gd name="T12" fmla="*/ 82 w 640"/>
                <a:gd name="T13" fmla="*/ 176 h 298"/>
                <a:gd name="T14" fmla="*/ 40 w 640"/>
                <a:gd name="T15" fmla="*/ 188 h 298"/>
                <a:gd name="T16" fmla="*/ 24 w 640"/>
                <a:gd name="T17" fmla="*/ 158 h 298"/>
                <a:gd name="T18" fmla="*/ 0 w 640"/>
                <a:gd name="T19" fmla="*/ 140 h 298"/>
                <a:gd name="T20" fmla="*/ 18 w 640"/>
                <a:gd name="T21" fmla="*/ 102 h 298"/>
                <a:gd name="T22" fmla="*/ 34 w 640"/>
                <a:gd name="T23" fmla="*/ 114 h 298"/>
                <a:gd name="T24" fmla="*/ 60 w 640"/>
                <a:gd name="T25" fmla="*/ 84 h 298"/>
                <a:gd name="T26" fmla="*/ 112 w 640"/>
                <a:gd name="T27" fmla="*/ 84 h 298"/>
                <a:gd name="T28" fmla="*/ 150 w 640"/>
                <a:gd name="T29" fmla="*/ 100 h 298"/>
                <a:gd name="T30" fmla="*/ 190 w 640"/>
                <a:gd name="T31" fmla="*/ 90 h 298"/>
                <a:gd name="T32" fmla="*/ 226 w 640"/>
                <a:gd name="T33" fmla="*/ 98 h 298"/>
                <a:gd name="T34" fmla="*/ 228 w 640"/>
                <a:gd name="T35" fmla="*/ 80 h 298"/>
                <a:gd name="T36" fmla="*/ 220 w 640"/>
                <a:gd name="T37" fmla="*/ 68 h 298"/>
                <a:gd name="T38" fmla="*/ 228 w 640"/>
                <a:gd name="T39" fmla="*/ 52 h 298"/>
                <a:gd name="T40" fmla="*/ 236 w 640"/>
                <a:gd name="T41" fmla="*/ 40 h 298"/>
                <a:gd name="T42" fmla="*/ 254 w 640"/>
                <a:gd name="T43" fmla="*/ 28 h 298"/>
                <a:gd name="T44" fmla="*/ 316 w 640"/>
                <a:gd name="T45" fmla="*/ 10 h 298"/>
                <a:gd name="T46" fmla="*/ 364 w 640"/>
                <a:gd name="T47" fmla="*/ 0 h 298"/>
                <a:gd name="T48" fmla="*/ 388 w 640"/>
                <a:gd name="T49" fmla="*/ 16 h 298"/>
                <a:gd name="T50" fmla="*/ 418 w 640"/>
                <a:gd name="T51" fmla="*/ 28 h 298"/>
                <a:gd name="T52" fmla="*/ 456 w 640"/>
                <a:gd name="T53" fmla="*/ 28 h 298"/>
                <a:gd name="T54" fmla="*/ 480 w 640"/>
                <a:gd name="T55" fmla="*/ 32 h 298"/>
                <a:gd name="T56" fmla="*/ 510 w 640"/>
                <a:gd name="T57" fmla="*/ 60 h 298"/>
                <a:gd name="T58" fmla="*/ 528 w 640"/>
                <a:gd name="T59" fmla="*/ 92 h 298"/>
                <a:gd name="T60" fmla="*/ 540 w 640"/>
                <a:gd name="T61" fmla="*/ 84 h 298"/>
                <a:gd name="T62" fmla="*/ 562 w 640"/>
                <a:gd name="T63" fmla="*/ 96 h 298"/>
                <a:gd name="T64" fmla="*/ 590 w 640"/>
                <a:gd name="T65" fmla="*/ 92 h 298"/>
                <a:gd name="T66" fmla="*/ 614 w 640"/>
                <a:gd name="T67" fmla="*/ 116 h 298"/>
                <a:gd name="T68" fmla="*/ 640 w 640"/>
                <a:gd name="T69" fmla="*/ 132 h 298"/>
                <a:gd name="T70" fmla="*/ 626 w 640"/>
                <a:gd name="T71" fmla="*/ 142 h 298"/>
                <a:gd name="T72" fmla="*/ 622 w 640"/>
                <a:gd name="T73" fmla="*/ 170 h 298"/>
                <a:gd name="T74" fmla="*/ 596 w 640"/>
                <a:gd name="T75" fmla="*/ 172 h 298"/>
                <a:gd name="T76" fmla="*/ 570 w 640"/>
                <a:gd name="T77" fmla="*/ 194 h 298"/>
                <a:gd name="T78" fmla="*/ 548 w 640"/>
                <a:gd name="T79" fmla="*/ 208 h 298"/>
                <a:gd name="T80" fmla="*/ 538 w 640"/>
                <a:gd name="T81" fmla="*/ 232 h 298"/>
                <a:gd name="T82" fmla="*/ 536 w 640"/>
                <a:gd name="T83" fmla="*/ 256 h 298"/>
                <a:gd name="T84" fmla="*/ 526 w 640"/>
                <a:gd name="T85" fmla="*/ 262 h 298"/>
                <a:gd name="T86" fmla="*/ 512 w 640"/>
                <a:gd name="T87" fmla="*/ 254 h 298"/>
                <a:gd name="T88" fmla="*/ 450 w 640"/>
                <a:gd name="T89" fmla="*/ 248 h 298"/>
                <a:gd name="T90" fmla="*/ 430 w 640"/>
                <a:gd name="T91" fmla="*/ 250 h 298"/>
                <a:gd name="T92" fmla="*/ 410 w 640"/>
                <a:gd name="T93" fmla="*/ 258 h 298"/>
                <a:gd name="T94" fmla="*/ 394 w 640"/>
                <a:gd name="T95" fmla="*/ 254 h 298"/>
                <a:gd name="T96" fmla="*/ 376 w 640"/>
                <a:gd name="T97" fmla="*/ 270 h 298"/>
                <a:gd name="T98" fmla="*/ 350 w 640"/>
                <a:gd name="T99" fmla="*/ 298 h 298"/>
                <a:gd name="T100" fmla="*/ 342 w 640"/>
                <a:gd name="T101" fmla="*/ 288 h 298"/>
                <a:gd name="T102" fmla="*/ 320 w 640"/>
                <a:gd name="T103" fmla="*/ 288 h 298"/>
                <a:gd name="T104" fmla="*/ 308 w 640"/>
                <a:gd name="T105" fmla="*/ 264 h 298"/>
                <a:gd name="T106" fmla="*/ 290 w 640"/>
                <a:gd name="T107" fmla="*/ 238 h 298"/>
                <a:gd name="T108" fmla="*/ 244 w 640"/>
                <a:gd name="T109" fmla="*/ 242 h 298"/>
                <a:gd name="T110" fmla="*/ 204 w 640"/>
                <a:gd name="T111" fmla="*/ 210 h 298"/>
                <a:gd name="T112" fmla="*/ 168 w 640"/>
                <a:gd name="T113" fmla="*/ 208 h 298"/>
                <a:gd name="T114" fmla="*/ 150 w 640"/>
                <a:gd name="T115" fmla="*/ 286 h 298"/>
                <a:gd name="T116" fmla="*/ 132 w 640"/>
                <a:gd name="T117" fmla="*/ 270 h 298"/>
                <a:gd name="T118" fmla="*/ 114 w 640"/>
                <a:gd name="T119" fmla="*/ 264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40" h="298">
                  <a:moveTo>
                    <a:pt x="108" y="262"/>
                  </a:moveTo>
                  <a:lnTo>
                    <a:pt x="94" y="260"/>
                  </a:lnTo>
                  <a:lnTo>
                    <a:pt x="78" y="248"/>
                  </a:lnTo>
                  <a:lnTo>
                    <a:pt x="66" y="234"/>
                  </a:lnTo>
                  <a:lnTo>
                    <a:pt x="58" y="224"/>
                  </a:lnTo>
                  <a:lnTo>
                    <a:pt x="64" y="220"/>
                  </a:lnTo>
                  <a:lnTo>
                    <a:pt x="78" y="222"/>
                  </a:lnTo>
                  <a:lnTo>
                    <a:pt x="76" y="210"/>
                  </a:lnTo>
                  <a:lnTo>
                    <a:pt x="82" y="206"/>
                  </a:lnTo>
                  <a:lnTo>
                    <a:pt x="94" y="208"/>
                  </a:lnTo>
                  <a:lnTo>
                    <a:pt x="104" y="210"/>
                  </a:lnTo>
                  <a:lnTo>
                    <a:pt x="108" y="196"/>
                  </a:lnTo>
                  <a:lnTo>
                    <a:pt x="100" y="176"/>
                  </a:lnTo>
                  <a:lnTo>
                    <a:pt x="82" y="176"/>
                  </a:lnTo>
                  <a:lnTo>
                    <a:pt x="64" y="178"/>
                  </a:lnTo>
                  <a:lnTo>
                    <a:pt x="40" y="188"/>
                  </a:lnTo>
                  <a:lnTo>
                    <a:pt x="36" y="174"/>
                  </a:lnTo>
                  <a:lnTo>
                    <a:pt x="24" y="158"/>
                  </a:lnTo>
                  <a:lnTo>
                    <a:pt x="10" y="154"/>
                  </a:lnTo>
                  <a:lnTo>
                    <a:pt x="0" y="140"/>
                  </a:lnTo>
                  <a:lnTo>
                    <a:pt x="6" y="116"/>
                  </a:lnTo>
                  <a:lnTo>
                    <a:pt x="18" y="102"/>
                  </a:lnTo>
                  <a:lnTo>
                    <a:pt x="26" y="118"/>
                  </a:lnTo>
                  <a:lnTo>
                    <a:pt x="34" y="114"/>
                  </a:lnTo>
                  <a:lnTo>
                    <a:pt x="36" y="102"/>
                  </a:lnTo>
                  <a:lnTo>
                    <a:pt x="60" y="84"/>
                  </a:lnTo>
                  <a:lnTo>
                    <a:pt x="76" y="78"/>
                  </a:lnTo>
                  <a:lnTo>
                    <a:pt x="112" y="84"/>
                  </a:lnTo>
                  <a:lnTo>
                    <a:pt x="136" y="98"/>
                  </a:lnTo>
                  <a:lnTo>
                    <a:pt x="150" y="100"/>
                  </a:lnTo>
                  <a:lnTo>
                    <a:pt x="172" y="90"/>
                  </a:lnTo>
                  <a:lnTo>
                    <a:pt x="190" y="90"/>
                  </a:lnTo>
                  <a:lnTo>
                    <a:pt x="200" y="100"/>
                  </a:lnTo>
                  <a:lnTo>
                    <a:pt x="226" y="98"/>
                  </a:lnTo>
                  <a:lnTo>
                    <a:pt x="238" y="88"/>
                  </a:lnTo>
                  <a:lnTo>
                    <a:pt x="228" y="80"/>
                  </a:lnTo>
                  <a:lnTo>
                    <a:pt x="214" y="76"/>
                  </a:lnTo>
                  <a:lnTo>
                    <a:pt x="220" y="68"/>
                  </a:lnTo>
                  <a:lnTo>
                    <a:pt x="226" y="62"/>
                  </a:lnTo>
                  <a:lnTo>
                    <a:pt x="228" y="52"/>
                  </a:lnTo>
                  <a:lnTo>
                    <a:pt x="240" y="48"/>
                  </a:lnTo>
                  <a:lnTo>
                    <a:pt x="236" y="40"/>
                  </a:lnTo>
                  <a:lnTo>
                    <a:pt x="232" y="30"/>
                  </a:lnTo>
                  <a:lnTo>
                    <a:pt x="254" y="28"/>
                  </a:lnTo>
                  <a:lnTo>
                    <a:pt x="280" y="20"/>
                  </a:lnTo>
                  <a:lnTo>
                    <a:pt x="316" y="10"/>
                  </a:lnTo>
                  <a:lnTo>
                    <a:pt x="346" y="4"/>
                  </a:lnTo>
                  <a:lnTo>
                    <a:pt x="364" y="0"/>
                  </a:lnTo>
                  <a:lnTo>
                    <a:pt x="384" y="2"/>
                  </a:lnTo>
                  <a:lnTo>
                    <a:pt x="388" y="16"/>
                  </a:lnTo>
                  <a:lnTo>
                    <a:pt x="398" y="22"/>
                  </a:lnTo>
                  <a:lnTo>
                    <a:pt x="418" y="28"/>
                  </a:lnTo>
                  <a:lnTo>
                    <a:pt x="438" y="38"/>
                  </a:lnTo>
                  <a:lnTo>
                    <a:pt x="456" y="28"/>
                  </a:lnTo>
                  <a:lnTo>
                    <a:pt x="478" y="22"/>
                  </a:lnTo>
                  <a:lnTo>
                    <a:pt x="480" y="32"/>
                  </a:lnTo>
                  <a:lnTo>
                    <a:pt x="498" y="44"/>
                  </a:lnTo>
                  <a:lnTo>
                    <a:pt x="510" y="60"/>
                  </a:lnTo>
                  <a:lnTo>
                    <a:pt x="524" y="84"/>
                  </a:lnTo>
                  <a:lnTo>
                    <a:pt x="528" y="92"/>
                  </a:lnTo>
                  <a:lnTo>
                    <a:pt x="536" y="92"/>
                  </a:lnTo>
                  <a:lnTo>
                    <a:pt x="540" y="84"/>
                  </a:lnTo>
                  <a:lnTo>
                    <a:pt x="550" y="90"/>
                  </a:lnTo>
                  <a:lnTo>
                    <a:pt x="562" y="96"/>
                  </a:lnTo>
                  <a:lnTo>
                    <a:pt x="572" y="94"/>
                  </a:lnTo>
                  <a:lnTo>
                    <a:pt x="590" y="92"/>
                  </a:lnTo>
                  <a:lnTo>
                    <a:pt x="600" y="106"/>
                  </a:lnTo>
                  <a:lnTo>
                    <a:pt x="614" y="116"/>
                  </a:lnTo>
                  <a:lnTo>
                    <a:pt x="636" y="118"/>
                  </a:lnTo>
                  <a:lnTo>
                    <a:pt x="640" y="132"/>
                  </a:lnTo>
                  <a:lnTo>
                    <a:pt x="638" y="142"/>
                  </a:lnTo>
                  <a:lnTo>
                    <a:pt x="626" y="142"/>
                  </a:lnTo>
                  <a:lnTo>
                    <a:pt x="622" y="156"/>
                  </a:lnTo>
                  <a:lnTo>
                    <a:pt x="622" y="170"/>
                  </a:lnTo>
                  <a:lnTo>
                    <a:pt x="612" y="172"/>
                  </a:lnTo>
                  <a:lnTo>
                    <a:pt x="596" y="172"/>
                  </a:lnTo>
                  <a:lnTo>
                    <a:pt x="580" y="170"/>
                  </a:lnTo>
                  <a:lnTo>
                    <a:pt x="570" y="194"/>
                  </a:lnTo>
                  <a:lnTo>
                    <a:pt x="566" y="208"/>
                  </a:lnTo>
                  <a:lnTo>
                    <a:pt x="548" y="208"/>
                  </a:lnTo>
                  <a:lnTo>
                    <a:pt x="536" y="214"/>
                  </a:lnTo>
                  <a:lnTo>
                    <a:pt x="538" y="232"/>
                  </a:lnTo>
                  <a:lnTo>
                    <a:pt x="544" y="248"/>
                  </a:lnTo>
                  <a:lnTo>
                    <a:pt x="536" y="256"/>
                  </a:lnTo>
                  <a:lnTo>
                    <a:pt x="536" y="266"/>
                  </a:lnTo>
                  <a:lnTo>
                    <a:pt x="526" y="262"/>
                  </a:lnTo>
                  <a:lnTo>
                    <a:pt x="518" y="260"/>
                  </a:lnTo>
                  <a:lnTo>
                    <a:pt x="512" y="254"/>
                  </a:lnTo>
                  <a:lnTo>
                    <a:pt x="452" y="256"/>
                  </a:lnTo>
                  <a:lnTo>
                    <a:pt x="450" y="248"/>
                  </a:lnTo>
                  <a:lnTo>
                    <a:pt x="438" y="246"/>
                  </a:lnTo>
                  <a:lnTo>
                    <a:pt x="430" y="250"/>
                  </a:lnTo>
                  <a:lnTo>
                    <a:pt x="428" y="256"/>
                  </a:lnTo>
                  <a:lnTo>
                    <a:pt x="410" y="258"/>
                  </a:lnTo>
                  <a:lnTo>
                    <a:pt x="406" y="254"/>
                  </a:lnTo>
                  <a:lnTo>
                    <a:pt x="394" y="254"/>
                  </a:lnTo>
                  <a:lnTo>
                    <a:pt x="384" y="266"/>
                  </a:lnTo>
                  <a:lnTo>
                    <a:pt x="376" y="270"/>
                  </a:lnTo>
                  <a:lnTo>
                    <a:pt x="352" y="288"/>
                  </a:lnTo>
                  <a:lnTo>
                    <a:pt x="350" y="298"/>
                  </a:lnTo>
                  <a:lnTo>
                    <a:pt x="342" y="298"/>
                  </a:lnTo>
                  <a:lnTo>
                    <a:pt x="342" y="288"/>
                  </a:lnTo>
                  <a:lnTo>
                    <a:pt x="338" y="286"/>
                  </a:lnTo>
                  <a:lnTo>
                    <a:pt x="320" y="288"/>
                  </a:lnTo>
                  <a:lnTo>
                    <a:pt x="318" y="272"/>
                  </a:lnTo>
                  <a:lnTo>
                    <a:pt x="308" y="264"/>
                  </a:lnTo>
                  <a:lnTo>
                    <a:pt x="308" y="256"/>
                  </a:lnTo>
                  <a:lnTo>
                    <a:pt x="290" y="238"/>
                  </a:lnTo>
                  <a:lnTo>
                    <a:pt x="282" y="240"/>
                  </a:lnTo>
                  <a:lnTo>
                    <a:pt x="244" y="242"/>
                  </a:lnTo>
                  <a:lnTo>
                    <a:pt x="230" y="224"/>
                  </a:lnTo>
                  <a:lnTo>
                    <a:pt x="204" y="210"/>
                  </a:lnTo>
                  <a:lnTo>
                    <a:pt x="196" y="204"/>
                  </a:lnTo>
                  <a:lnTo>
                    <a:pt x="168" y="208"/>
                  </a:lnTo>
                  <a:lnTo>
                    <a:pt x="150" y="212"/>
                  </a:lnTo>
                  <a:lnTo>
                    <a:pt x="150" y="286"/>
                  </a:lnTo>
                  <a:lnTo>
                    <a:pt x="140" y="284"/>
                  </a:lnTo>
                  <a:lnTo>
                    <a:pt x="132" y="270"/>
                  </a:lnTo>
                  <a:lnTo>
                    <a:pt x="120" y="262"/>
                  </a:lnTo>
                  <a:lnTo>
                    <a:pt x="114" y="264"/>
                  </a:lnTo>
                  <a:lnTo>
                    <a:pt x="108" y="26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10" name="Freeform 102">
              <a:extLst>
                <a:ext uri="{FF2B5EF4-FFF2-40B4-BE49-F238E27FC236}">
                  <a16:creationId xmlns:a16="http://schemas.microsoft.com/office/drawing/2014/main" id="{990B8087-EA27-4506-80D5-B9E62C362DC5}"/>
                </a:ext>
              </a:extLst>
            </p:cNvPr>
            <p:cNvSpPr>
              <a:spLocks/>
            </p:cNvSpPr>
            <p:nvPr/>
          </p:nvSpPr>
          <p:spPr bwMode="gray">
            <a:xfrm>
              <a:off x="6539956" y="2078783"/>
              <a:ext cx="4259765" cy="1477248"/>
            </a:xfrm>
            <a:custGeom>
              <a:avLst/>
              <a:gdLst>
                <a:gd name="T0" fmla="*/ 336 w 2580"/>
                <a:gd name="T1" fmla="*/ 878 h 890"/>
                <a:gd name="T2" fmla="*/ 254 w 2580"/>
                <a:gd name="T3" fmla="*/ 858 h 890"/>
                <a:gd name="T4" fmla="*/ 174 w 2580"/>
                <a:gd name="T5" fmla="*/ 796 h 890"/>
                <a:gd name="T6" fmla="*/ 164 w 2580"/>
                <a:gd name="T7" fmla="*/ 716 h 890"/>
                <a:gd name="T8" fmla="*/ 72 w 2580"/>
                <a:gd name="T9" fmla="*/ 674 h 890"/>
                <a:gd name="T10" fmla="*/ 14 w 2580"/>
                <a:gd name="T11" fmla="*/ 584 h 890"/>
                <a:gd name="T12" fmla="*/ 22 w 2580"/>
                <a:gd name="T13" fmla="*/ 486 h 890"/>
                <a:gd name="T14" fmla="*/ 34 w 2580"/>
                <a:gd name="T15" fmla="*/ 336 h 890"/>
                <a:gd name="T16" fmla="*/ 80 w 2580"/>
                <a:gd name="T17" fmla="*/ 244 h 890"/>
                <a:gd name="T18" fmla="*/ 172 w 2580"/>
                <a:gd name="T19" fmla="*/ 348 h 890"/>
                <a:gd name="T20" fmla="*/ 122 w 2580"/>
                <a:gd name="T21" fmla="*/ 386 h 890"/>
                <a:gd name="T22" fmla="*/ 180 w 2580"/>
                <a:gd name="T23" fmla="*/ 380 h 890"/>
                <a:gd name="T24" fmla="*/ 262 w 2580"/>
                <a:gd name="T25" fmla="*/ 310 h 890"/>
                <a:gd name="T26" fmla="*/ 318 w 2580"/>
                <a:gd name="T27" fmla="*/ 326 h 890"/>
                <a:gd name="T28" fmla="*/ 476 w 2580"/>
                <a:gd name="T29" fmla="*/ 278 h 890"/>
                <a:gd name="T30" fmla="*/ 498 w 2580"/>
                <a:gd name="T31" fmla="*/ 226 h 890"/>
                <a:gd name="T32" fmla="*/ 626 w 2580"/>
                <a:gd name="T33" fmla="*/ 246 h 890"/>
                <a:gd name="T34" fmla="*/ 716 w 2580"/>
                <a:gd name="T35" fmla="*/ 182 h 890"/>
                <a:gd name="T36" fmla="*/ 666 w 2580"/>
                <a:gd name="T37" fmla="*/ 324 h 890"/>
                <a:gd name="T38" fmla="*/ 778 w 2580"/>
                <a:gd name="T39" fmla="*/ 270 h 890"/>
                <a:gd name="T40" fmla="*/ 734 w 2580"/>
                <a:gd name="T41" fmla="*/ 204 h 890"/>
                <a:gd name="T42" fmla="*/ 780 w 2580"/>
                <a:gd name="T43" fmla="*/ 204 h 890"/>
                <a:gd name="T44" fmla="*/ 798 w 2580"/>
                <a:gd name="T45" fmla="*/ 162 h 890"/>
                <a:gd name="T46" fmla="*/ 946 w 2580"/>
                <a:gd name="T47" fmla="*/ 120 h 890"/>
                <a:gd name="T48" fmla="*/ 1230 w 2580"/>
                <a:gd name="T49" fmla="*/ 2 h 890"/>
                <a:gd name="T50" fmla="*/ 1326 w 2580"/>
                <a:gd name="T51" fmla="*/ 102 h 890"/>
                <a:gd name="T52" fmla="*/ 1336 w 2580"/>
                <a:gd name="T53" fmla="*/ 122 h 890"/>
                <a:gd name="T54" fmla="*/ 1564 w 2580"/>
                <a:gd name="T55" fmla="*/ 138 h 890"/>
                <a:gd name="T56" fmla="*/ 1720 w 2580"/>
                <a:gd name="T57" fmla="*/ 190 h 890"/>
                <a:gd name="T58" fmla="*/ 1926 w 2580"/>
                <a:gd name="T59" fmla="*/ 172 h 890"/>
                <a:gd name="T60" fmla="*/ 2108 w 2580"/>
                <a:gd name="T61" fmla="*/ 246 h 890"/>
                <a:gd name="T62" fmla="*/ 2274 w 2580"/>
                <a:gd name="T63" fmla="*/ 272 h 890"/>
                <a:gd name="T64" fmla="*/ 2442 w 2580"/>
                <a:gd name="T65" fmla="*/ 276 h 890"/>
                <a:gd name="T66" fmla="*/ 2568 w 2580"/>
                <a:gd name="T67" fmla="*/ 332 h 890"/>
                <a:gd name="T68" fmla="*/ 2446 w 2580"/>
                <a:gd name="T69" fmla="*/ 360 h 890"/>
                <a:gd name="T70" fmla="*/ 2368 w 2580"/>
                <a:gd name="T71" fmla="*/ 380 h 890"/>
                <a:gd name="T72" fmla="*/ 2306 w 2580"/>
                <a:gd name="T73" fmla="*/ 464 h 890"/>
                <a:gd name="T74" fmla="*/ 2136 w 2580"/>
                <a:gd name="T75" fmla="*/ 534 h 890"/>
                <a:gd name="T76" fmla="*/ 2104 w 2580"/>
                <a:gd name="T77" fmla="*/ 634 h 890"/>
                <a:gd name="T78" fmla="*/ 2034 w 2580"/>
                <a:gd name="T79" fmla="*/ 582 h 890"/>
                <a:gd name="T80" fmla="*/ 2166 w 2580"/>
                <a:gd name="T81" fmla="*/ 430 h 890"/>
                <a:gd name="T82" fmla="*/ 2058 w 2580"/>
                <a:gd name="T83" fmla="*/ 456 h 890"/>
                <a:gd name="T84" fmla="*/ 1966 w 2580"/>
                <a:gd name="T85" fmla="*/ 504 h 890"/>
                <a:gd name="T86" fmla="*/ 1734 w 2580"/>
                <a:gd name="T87" fmla="*/ 620 h 890"/>
                <a:gd name="T88" fmla="*/ 1794 w 2580"/>
                <a:gd name="T89" fmla="*/ 728 h 890"/>
                <a:gd name="T90" fmla="*/ 1660 w 2580"/>
                <a:gd name="T91" fmla="*/ 810 h 890"/>
                <a:gd name="T92" fmla="*/ 1666 w 2580"/>
                <a:gd name="T93" fmla="*/ 764 h 890"/>
                <a:gd name="T94" fmla="*/ 1472 w 2580"/>
                <a:gd name="T95" fmla="*/ 652 h 890"/>
                <a:gd name="T96" fmla="*/ 1418 w 2580"/>
                <a:gd name="T97" fmla="*/ 718 h 890"/>
                <a:gd name="T98" fmla="*/ 1276 w 2580"/>
                <a:gd name="T99" fmla="*/ 718 h 890"/>
                <a:gd name="T100" fmla="*/ 1132 w 2580"/>
                <a:gd name="T101" fmla="*/ 674 h 890"/>
                <a:gd name="T102" fmla="*/ 1024 w 2580"/>
                <a:gd name="T103" fmla="*/ 700 h 890"/>
                <a:gd name="T104" fmla="*/ 894 w 2580"/>
                <a:gd name="T105" fmla="*/ 696 h 890"/>
                <a:gd name="T106" fmla="*/ 760 w 2580"/>
                <a:gd name="T107" fmla="*/ 632 h 890"/>
                <a:gd name="T108" fmla="*/ 536 w 2580"/>
                <a:gd name="T109" fmla="*/ 634 h 890"/>
                <a:gd name="T110" fmla="*/ 530 w 2580"/>
                <a:gd name="T111" fmla="*/ 702 h 890"/>
                <a:gd name="T112" fmla="*/ 340 w 2580"/>
                <a:gd name="T113" fmla="*/ 706 h 890"/>
                <a:gd name="T114" fmla="*/ 344 w 2580"/>
                <a:gd name="T115" fmla="*/ 792 h 890"/>
                <a:gd name="connsiteX0" fmla="*/ 1333 w 10000"/>
                <a:gd name="connsiteY0" fmla="*/ 8899 h 10000"/>
                <a:gd name="connsiteX1" fmla="*/ 1271 w 10000"/>
                <a:gd name="connsiteY1" fmla="*/ 9034 h 10000"/>
                <a:gd name="connsiteX2" fmla="*/ 1233 w 10000"/>
                <a:gd name="connsiteY2" fmla="*/ 9101 h 10000"/>
                <a:gd name="connsiteX3" fmla="*/ 1217 w 10000"/>
                <a:gd name="connsiteY3" fmla="*/ 9191 h 10000"/>
                <a:gd name="connsiteX4" fmla="*/ 1186 w 10000"/>
                <a:gd name="connsiteY4" fmla="*/ 9303 h 10000"/>
                <a:gd name="connsiteX5" fmla="*/ 1217 w 10000"/>
                <a:gd name="connsiteY5" fmla="*/ 9371 h 10000"/>
                <a:gd name="connsiteX6" fmla="*/ 1240 w 10000"/>
                <a:gd name="connsiteY6" fmla="*/ 9483 h 10000"/>
                <a:gd name="connsiteX7" fmla="*/ 1248 w 10000"/>
                <a:gd name="connsiteY7" fmla="*/ 9685 h 10000"/>
                <a:gd name="connsiteX8" fmla="*/ 1302 w 10000"/>
                <a:gd name="connsiteY8" fmla="*/ 9865 h 10000"/>
                <a:gd name="connsiteX9" fmla="*/ 1264 w 10000"/>
                <a:gd name="connsiteY9" fmla="*/ 9978 h 10000"/>
                <a:gd name="connsiteX10" fmla="*/ 1248 w 10000"/>
                <a:gd name="connsiteY10" fmla="*/ 10000 h 10000"/>
                <a:gd name="connsiteX11" fmla="*/ 1186 w 10000"/>
                <a:gd name="connsiteY11" fmla="*/ 9865 h 10000"/>
                <a:gd name="connsiteX12" fmla="*/ 1163 w 10000"/>
                <a:gd name="connsiteY12" fmla="*/ 9843 h 10000"/>
                <a:gd name="connsiteX13" fmla="*/ 1124 w 10000"/>
                <a:gd name="connsiteY13" fmla="*/ 9730 h 10000"/>
                <a:gd name="connsiteX14" fmla="*/ 1085 w 10000"/>
                <a:gd name="connsiteY14" fmla="*/ 9663 h 10000"/>
                <a:gd name="connsiteX15" fmla="*/ 1047 w 10000"/>
                <a:gd name="connsiteY15" fmla="*/ 9685 h 10000"/>
                <a:gd name="connsiteX16" fmla="*/ 1023 w 10000"/>
                <a:gd name="connsiteY16" fmla="*/ 9685 h 10000"/>
                <a:gd name="connsiteX17" fmla="*/ 984 w 10000"/>
                <a:gd name="connsiteY17" fmla="*/ 9640 h 10000"/>
                <a:gd name="connsiteX18" fmla="*/ 930 w 10000"/>
                <a:gd name="connsiteY18" fmla="*/ 9551 h 10000"/>
                <a:gd name="connsiteX19" fmla="*/ 899 w 10000"/>
                <a:gd name="connsiteY19" fmla="*/ 9551 h 10000"/>
                <a:gd name="connsiteX20" fmla="*/ 860 w 10000"/>
                <a:gd name="connsiteY20" fmla="*/ 9573 h 10000"/>
                <a:gd name="connsiteX21" fmla="*/ 814 w 10000"/>
                <a:gd name="connsiteY21" fmla="*/ 9483 h 10000"/>
                <a:gd name="connsiteX22" fmla="*/ 767 w 10000"/>
                <a:gd name="connsiteY22" fmla="*/ 9506 h 10000"/>
                <a:gd name="connsiteX23" fmla="*/ 667 w 10000"/>
                <a:gd name="connsiteY23" fmla="*/ 9303 h 10000"/>
                <a:gd name="connsiteX24" fmla="*/ 612 w 10000"/>
                <a:gd name="connsiteY24" fmla="*/ 9236 h 10000"/>
                <a:gd name="connsiteX25" fmla="*/ 628 w 10000"/>
                <a:gd name="connsiteY25" fmla="*/ 9079 h 10000"/>
                <a:gd name="connsiteX26" fmla="*/ 674 w 10000"/>
                <a:gd name="connsiteY26" fmla="*/ 8944 h 10000"/>
                <a:gd name="connsiteX27" fmla="*/ 667 w 10000"/>
                <a:gd name="connsiteY27" fmla="*/ 8831 h 10000"/>
                <a:gd name="connsiteX28" fmla="*/ 729 w 10000"/>
                <a:gd name="connsiteY28" fmla="*/ 8719 h 10000"/>
                <a:gd name="connsiteX29" fmla="*/ 659 w 10000"/>
                <a:gd name="connsiteY29" fmla="*/ 8697 h 10000"/>
                <a:gd name="connsiteX30" fmla="*/ 667 w 10000"/>
                <a:gd name="connsiteY30" fmla="*/ 8607 h 10000"/>
                <a:gd name="connsiteX31" fmla="*/ 705 w 10000"/>
                <a:gd name="connsiteY31" fmla="*/ 8562 h 10000"/>
                <a:gd name="connsiteX32" fmla="*/ 767 w 10000"/>
                <a:gd name="connsiteY32" fmla="*/ 8517 h 10000"/>
                <a:gd name="connsiteX33" fmla="*/ 775 w 10000"/>
                <a:gd name="connsiteY33" fmla="*/ 8157 h 10000"/>
                <a:gd name="connsiteX34" fmla="*/ 713 w 10000"/>
                <a:gd name="connsiteY34" fmla="*/ 8045 h 10000"/>
                <a:gd name="connsiteX35" fmla="*/ 636 w 10000"/>
                <a:gd name="connsiteY35" fmla="*/ 8045 h 10000"/>
                <a:gd name="connsiteX36" fmla="*/ 628 w 10000"/>
                <a:gd name="connsiteY36" fmla="*/ 7978 h 10000"/>
                <a:gd name="connsiteX37" fmla="*/ 504 w 10000"/>
                <a:gd name="connsiteY37" fmla="*/ 7955 h 10000"/>
                <a:gd name="connsiteX38" fmla="*/ 488 w 10000"/>
                <a:gd name="connsiteY38" fmla="*/ 7798 h 10000"/>
                <a:gd name="connsiteX39" fmla="*/ 419 w 10000"/>
                <a:gd name="connsiteY39" fmla="*/ 7753 h 10000"/>
                <a:gd name="connsiteX40" fmla="*/ 426 w 10000"/>
                <a:gd name="connsiteY40" fmla="*/ 7618 h 10000"/>
                <a:gd name="connsiteX41" fmla="*/ 411 w 10000"/>
                <a:gd name="connsiteY41" fmla="*/ 7506 h 10000"/>
                <a:gd name="connsiteX42" fmla="*/ 318 w 10000"/>
                <a:gd name="connsiteY42" fmla="*/ 7506 h 10000"/>
                <a:gd name="connsiteX43" fmla="*/ 302 w 10000"/>
                <a:gd name="connsiteY43" fmla="*/ 7551 h 10000"/>
                <a:gd name="connsiteX44" fmla="*/ 279 w 10000"/>
                <a:gd name="connsiteY44" fmla="*/ 7573 h 10000"/>
                <a:gd name="connsiteX45" fmla="*/ 248 w 10000"/>
                <a:gd name="connsiteY45" fmla="*/ 7528 h 10000"/>
                <a:gd name="connsiteX46" fmla="*/ 248 w 10000"/>
                <a:gd name="connsiteY46" fmla="*/ 7303 h 10000"/>
                <a:gd name="connsiteX47" fmla="*/ 318 w 10000"/>
                <a:gd name="connsiteY47" fmla="*/ 7303 h 10000"/>
                <a:gd name="connsiteX48" fmla="*/ 326 w 10000"/>
                <a:gd name="connsiteY48" fmla="*/ 7281 h 10000"/>
                <a:gd name="connsiteX49" fmla="*/ 217 w 10000"/>
                <a:gd name="connsiteY49" fmla="*/ 6944 h 10000"/>
                <a:gd name="connsiteX50" fmla="*/ 202 w 10000"/>
                <a:gd name="connsiteY50" fmla="*/ 6697 h 10000"/>
                <a:gd name="connsiteX51" fmla="*/ 124 w 10000"/>
                <a:gd name="connsiteY51" fmla="*/ 6674 h 10000"/>
                <a:gd name="connsiteX52" fmla="*/ 124 w 10000"/>
                <a:gd name="connsiteY52" fmla="*/ 6607 h 10000"/>
                <a:gd name="connsiteX53" fmla="*/ 54 w 10000"/>
                <a:gd name="connsiteY53" fmla="*/ 6562 h 10000"/>
                <a:gd name="connsiteX54" fmla="*/ 39 w 10000"/>
                <a:gd name="connsiteY54" fmla="*/ 6494 h 10000"/>
                <a:gd name="connsiteX55" fmla="*/ 23 w 10000"/>
                <a:gd name="connsiteY55" fmla="*/ 6315 h 10000"/>
                <a:gd name="connsiteX56" fmla="*/ 0 w 10000"/>
                <a:gd name="connsiteY56" fmla="*/ 6180 h 10000"/>
                <a:gd name="connsiteX57" fmla="*/ 8 w 10000"/>
                <a:gd name="connsiteY57" fmla="*/ 6045 h 10000"/>
                <a:gd name="connsiteX58" fmla="*/ 8 w 10000"/>
                <a:gd name="connsiteY58" fmla="*/ 5865 h 10000"/>
                <a:gd name="connsiteX59" fmla="*/ 31 w 10000"/>
                <a:gd name="connsiteY59" fmla="*/ 5730 h 10000"/>
                <a:gd name="connsiteX60" fmla="*/ 101 w 10000"/>
                <a:gd name="connsiteY60" fmla="*/ 5573 h 10000"/>
                <a:gd name="connsiteX61" fmla="*/ 155 w 10000"/>
                <a:gd name="connsiteY61" fmla="*/ 5551 h 10000"/>
                <a:gd name="connsiteX62" fmla="*/ 85 w 10000"/>
                <a:gd name="connsiteY62" fmla="*/ 5461 h 10000"/>
                <a:gd name="connsiteX63" fmla="*/ 47 w 10000"/>
                <a:gd name="connsiteY63" fmla="*/ 5326 h 10000"/>
                <a:gd name="connsiteX64" fmla="*/ 180 w 10000"/>
                <a:gd name="connsiteY64" fmla="*/ 4975 h 10000"/>
                <a:gd name="connsiteX65" fmla="*/ 248 w 10000"/>
                <a:gd name="connsiteY65" fmla="*/ 4764 h 10000"/>
                <a:gd name="connsiteX66" fmla="*/ 155 w 10000"/>
                <a:gd name="connsiteY66" fmla="*/ 4562 h 10000"/>
                <a:gd name="connsiteX67" fmla="*/ 194 w 10000"/>
                <a:gd name="connsiteY67" fmla="*/ 4449 h 10000"/>
                <a:gd name="connsiteX68" fmla="*/ 163 w 10000"/>
                <a:gd name="connsiteY68" fmla="*/ 4292 h 10000"/>
                <a:gd name="connsiteX69" fmla="*/ 124 w 10000"/>
                <a:gd name="connsiteY69" fmla="*/ 4180 h 10000"/>
                <a:gd name="connsiteX70" fmla="*/ 155 w 10000"/>
                <a:gd name="connsiteY70" fmla="*/ 3955 h 10000"/>
                <a:gd name="connsiteX71" fmla="*/ 132 w 10000"/>
                <a:gd name="connsiteY71" fmla="*/ 3775 h 10000"/>
                <a:gd name="connsiteX72" fmla="*/ 93 w 10000"/>
                <a:gd name="connsiteY72" fmla="*/ 3573 h 10000"/>
                <a:gd name="connsiteX73" fmla="*/ 155 w 10000"/>
                <a:gd name="connsiteY73" fmla="*/ 3393 h 10000"/>
                <a:gd name="connsiteX74" fmla="*/ 62 w 10000"/>
                <a:gd name="connsiteY74" fmla="*/ 3236 h 10000"/>
                <a:gd name="connsiteX75" fmla="*/ 78 w 10000"/>
                <a:gd name="connsiteY75" fmla="*/ 2989 h 10000"/>
                <a:gd name="connsiteX76" fmla="*/ 116 w 10000"/>
                <a:gd name="connsiteY76" fmla="*/ 2876 h 10000"/>
                <a:gd name="connsiteX77" fmla="*/ 155 w 10000"/>
                <a:gd name="connsiteY77" fmla="*/ 2854 h 10000"/>
                <a:gd name="connsiteX78" fmla="*/ 155 w 10000"/>
                <a:gd name="connsiteY78" fmla="*/ 2787 h 10000"/>
                <a:gd name="connsiteX79" fmla="*/ 240 w 10000"/>
                <a:gd name="connsiteY79" fmla="*/ 2742 h 10000"/>
                <a:gd name="connsiteX80" fmla="*/ 310 w 10000"/>
                <a:gd name="connsiteY80" fmla="*/ 2742 h 10000"/>
                <a:gd name="connsiteX81" fmla="*/ 333 w 10000"/>
                <a:gd name="connsiteY81" fmla="*/ 2854 h 10000"/>
                <a:gd name="connsiteX82" fmla="*/ 372 w 10000"/>
                <a:gd name="connsiteY82" fmla="*/ 2899 h 10000"/>
                <a:gd name="connsiteX83" fmla="*/ 519 w 10000"/>
                <a:gd name="connsiteY83" fmla="*/ 2921 h 10000"/>
                <a:gd name="connsiteX84" fmla="*/ 628 w 10000"/>
                <a:gd name="connsiteY84" fmla="*/ 3079 h 10000"/>
                <a:gd name="connsiteX85" fmla="*/ 729 w 10000"/>
                <a:gd name="connsiteY85" fmla="*/ 3258 h 10000"/>
                <a:gd name="connsiteX86" fmla="*/ 845 w 10000"/>
                <a:gd name="connsiteY86" fmla="*/ 3438 h 10000"/>
                <a:gd name="connsiteX87" fmla="*/ 853 w 10000"/>
                <a:gd name="connsiteY87" fmla="*/ 3640 h 10000"/>
                <a:gd name="connsiteX88" fmla="*/ 783 w 10000"/>
                <a:gd name="connsiteY88" fmla="*/ 3820 h 10000"/>
                <a:gd name="connsiteX89" fmla="*/ 667 w 10000"/>
                <a:gd name="connsiteY89" fmla="*/ 3910 h 10000"/>
                <a:gd name="connsiteX90" fmla="*/ 566 w 10000"/>
                <a:gd name="connsiteY90" fmla="*/ 3798 h 10000"/>
                <a:gd name="connsiteX91" fmla="*/ 450 w 10000"/>
                <a:gd name="connsiteY91" fmla="*/ 3730 h 10000"/>
                <a:gd name="connsiteX92" fmla="*/ 364 w 10000"/>
                <a:gd name="connsiteY92" fmla="*/ 3640 h 10000"/>
                <a:gd name="connsiteX93" fmla="*/ 295 w 10000"/>
                <a:gd name="connsiteY93" fmla="*/ 3551 h 10000"/>
                <a:gd name="connsiteX94" fmla="*/ 349 w 10000"/>
                <a:gd name="connsiteY94" fmla="*/ 3753 h 10000"/>
                <a:gd name="connsiteX95" fmla="*/ 411 w 10000"/>
                <a:gd name="connsiteY95" fmla="*/ 3843 h 10000"/>
                <a:gd name="connsiteX96" fmla="*/ 442 w 10000"/>
                <a:gd name="connsiteY96" fmla="*/ 3910 h 10000"/>
                <a:gd name="connsiteX97" fmla="*/ 450 w 10000"/>
                <a:gd name="connsiteY97" fmla="*/ 4045 h 10000"/>
                <a:gd name="connsiteX98" fmla="*/ 473 w 10000"/>
                <a:gd name="connsiteY98" fmla="*/ 4337 h 10000"/>
                <a:gd name="connsiteX99" fmla="*/ 512 w 10000"/>
                <a:gd name="connsiteY99" fmla="*/ 4360 h 10000"/>
                <a:gd name="connsiteX100" fmla="*/ 574 w 10000"/>
                <a:gd name="connsiteY100" fmla="*/ 4517 h 10000"/>
                <a:gd name="connsiteX101" fmla="*/ 651 w 10000"/>
                <a:gd name="connsiteY101" fmla="*/ 4517 h 10000"/>
                <a:gd name="connsiteX102" fmla="*/ 659 w 10000"/>
                <a:gd name="connsiteY102" fmla="*/ 4404 h 10000"/>
                <a:gd name="connsiteX103" fmla="*/ 612 w 10000"/>
                <a:gd name="connsiteY103" fmla="*/ 4360 h 10000"/>
                <a:gd name="connsiteX104" fmla="*/ 574 w 10000"/>
                <a:gd name="connsiteY104" fmla="*/ 4225 h 10000"/>
                <a:gd name="connsiteX105" fmla="*/ 605 w 10000"/>
                <a:gd name="connsiteY105" fmla="*/ 4112 h 10000"/>
                <a:gd name="connsiteX106" fmla="*/ 651 w 10000"/>
                <a:gd name="connsiteY106" fmla="*/ 4225 h 10000"/>
                <a:gd name="connsiteX107" fmla="*/ 698 w 10000"/>
                <a:gd name="connsiteY107" fmla="*/ 4270 h 10000"/>
                <a:gd name="connsiteX108" fmla="*/ 798 w 10000"/>
                <a:gd name="connsiteY108" fmla="*/ 4337 h 10000"/>
                <a:gd name="connsiteX109" fmla="*/ 798 w 10000"/>
                <a:gd name="connsiteY109" fmla="*/ 4225 h 10000"/>
                <a:gd name="connsiteX110" fmla="*/ 760 w 10000"/>
                <a:gd name="connsiteY110" fmla="*/ 4090 h 10000"/>
                <a:gd name="connsiteX111" fmla="*/ 806 w 10000"/>
                <a:gd name="connsiteY111" fmla="*/ 3955 h 10000"/>
                <a:gd name="connsiteX112" fmla="*/ 876 w 10000"/>
                <a:gd name="connsiteY112" fmla="*/ 3843 h 10000"/>
                <a:gd name="connsiteX113" fmla="*/ 915 w 10000"/>
                <a:gd name="connsiteY113" fmla="*/ 3753 h 10000"/>
                <a:gd name="connsiteX114" fmla="*/ 1023 w 10000"/>
                <a:gd name="connsiteY114" fmla="*/ 3843 h 10000"/>
                <a:gd name="connsiteX115" fmla="*/ 1047 w 10000"/>
                <a:gd name="connsiteY115" fmla="*/ 3573 h 10000"/>
                <a:gd name="connsiteX116" fmla="*/ 1016 w 10000"/>
                <a:gd name="connsiteY116" fmla="*/ 3483 h 10000"/>
                <a:gd name="connsiteX117" fmla="*/ 1031 w 10000"/>
                <a:gd name="connsiteY117" fmla="*/ 3236 h 10000"/>
                <a:gd name="connsiteX118" fmla="*/ 1000 w 10000"/>
                <a:gd name="connsiteY118" fmla="*/ 3146 h 10000"/>
                <a:gd name="connsiteX119" fmla="*/ 1132 w 10000"/>
                <a:gd name="connsiteY119" fmla="*/ 3124 h 10000"/>
                <a:gd name="connsiteX120" fmla="*/ 1178 w 10000"/>
                <a:gd name="connsiteY120" fmla="*/ 3281 h 10000"/>
                <a:gd name="connsiteX121" fmla="*/ 1178 w 10000"/>
                <a:gd name="connsiteY121" fmla="*/ 3371 h 10000"/>
                <a:gd name="connsiteX122" fmla="*/ 1116 w 10000"/>
                <a:gd name="connsiteY122" fmla="*/ 3371 h 10000"/>
                <a:gd name="connsiteX123" fmla="*/ 1078 w 10000"/>
                <a:gd name="connsiteY123" fmla="*/ 3483 h 10000"/>
                <a:gd name="connsiteX124" fmla="*/ 1140 w 10000"/>
                <a:gd name="connsiteY124" fmla="*/ 3640 h 10000"/>
                <a:gd name="connsiteX125" fmla="*/ 1233 w 10000"/>
                <a:gd name="connsiteY125" fmla="*/ 3663 h 10000"/>
                <a:gd name="connsiteX126" fmla="*/ 1271 w 10000"/>
                <a:gd name="connsiteY126" fmla="*/ 3393 h 10000"/>
                <a:gd name="connsiteX127" fmla="*/ 1496 w 10000"/>
                <a:gd name="connsiteY127" fmla="*/ 3146 h 10000"/>
                <a:gd name="connsiteX128" fmla="*/ 1535 w 10000"/>
                <a:gd name="connsiteY128" fmla="*/ 3169 h 10000"/>
                <a:gd name="connsiteX129" fmla="*/ 1581 w 10000"/>
                <a:gd name="connsiteY129" fmla="*/ 3034 h 10000"/>
                <a:gd name="connsiteX130" fmla="*/ 1628 w 10000"/>
                <a:gd name="connsiteY130" fmla="*/ 2989 h 10000"/>
                <a:gd name="connsiteX131" fmla="*/ 1612 w 10000"/>
                <a:gd name="connsiteY131" fmla="*/ 3191 h 10000"/>
                <a:gd name="connsiteX132" fmla="*/ 1690 w 10000"/>
                <a:gd name="connsiteY132" fmla="*/ 3191 h 10000"/>
                <a:gd name="connsiteX133" fmla="*/ 1705 w 10000"/>
                <a:gd name="connsiteY133" fmla="*/ 3101 h 10000"/>
                <a:gd name="connsiteX134" fmla="*/ 1845 w 10000"/>
                <a:gd name="connsiteY134" fmla="*/ 3124 h 10000"/>
                <a:gd name="connsiteX135" fmla="*/ 1938 w 10000"/>
                <a:gd name="connsiteY135" fmla="*/ 2966 h 10000"/>
                <a:gd name="connsiteX136" fmla="*/ 1953 w 10000"/>
                <a:gd name="connsiteY136" fmla="*/ 3079 h 10000"/>
                <a:gd name="connsiteX137" fmla="*/ 1946 w 10000"/>
                <a:gd name="connsiteY137" fmla="*/ 3169 h 10000"/>
                <a:gd name="connsiteX138" fmla="*/ 1984 w 10000"/>
                <a:gd name="connsiteY138" fmla="*/ 3169 h 10000"/>
                <a:gd name="connsiteX139" fmla="*/ 2000 w 10000"/>
                <a:gd name="connsiteY139" fmla="*/ 3079 h 10000"/>
                <a:gd name="connsiteX140" fmla="*/ 2062 w 10000"/>
                <a:gd name="connsiteY140" fmla="*/ 2966 h 10000"/>
                <a:gd name="connsiteX141" fmla="*/ 2016 w 10000"/>
                <a:gd name="connsiteY141" fmla="*/ 2787 h 10000"/>
                <a:gd name="connsiteX142" fmla="*/ 1930 w 10000"/>
                <a:gd name="connsiteY142" fmla="*/ 2697 h 10000"/>
                <a:gd name="connsiteX143" fmla="*/ 1930 w 10000"/>
                <a:gd name="connsiteY143" fmla="*/ 2539 h 10000"/>
                <a:gd name="connsiteX144" fmla="*/ 1961 w 10000"/>
                <a:gd name="connsiteY144" fmla="*/ 2517 h 10000"/>
                <a:gd name="connsiteX145" fmla="*/ 2039 w 10000"/>
                <a:gd name="connsiteY145" fmla="*/ 2719 h 10000"/>
                <a:gd name="connsiteX146" fmla="*/ 2163 w 10000"/>
                <a:gd name="connsiteY146" fmla="*/ 2742 h 10000"/>
                <a:gd name="connsiteX147" fmla="*/ 2295 w 10000"/>
                <a:gd name="connsiteY147" fmla="*/ 2876 h 10000"/>
                <a:gd name="connsiteX148" fmla="*/ 2403 w 10000"/>
                <a:gd name="connsiteY148" fmla="*/ 3011 h 10000"/>
                <a:gd name="connsiteX149" fmla="*/ 2519 w 10000"/>
                <a:gd name="connsiteY149" fmla="*/ 3191 h 10000"/>
                <a:gd name="connsiteX150" fmla="*/ 2550 w 10000"/>
                <a:gd name="connsiteY150" fmla="*/ 3034 h 10000"/>
                <a:gd name="connsiteX151" fmla="*/ 2496 w 10000"/>
                <a:gd name="connsiteY151" fmla="*/ 2876 h 10000"/>
                <a:gd name="connsiteX152" fmla="*/ 2426 w 10000"/>
                <a:gd name="connsiteY152" fmla="*/ 2764 h 10000"/>
                <a:gd name="connsiteX153" fmla="*/ 2426 w 10000"/>
                <a:gd name="connsiteY153" fmla="*/ 2652 h 10000"/>
                <a:gd name="connsiteX154" fmla="*/ 2457 w 10000"/>
                <a:gd name="connsiteY154" fmla="*/ 2427 h 10000"/>
                <a:gd name="connsiteX155" fmla="*/ 2419 w 10000"/>
                <a:gd name="connsiteY155" fmla="*/ 2360 h 10000"/>
                <a:gd name="connsiteX156" fmla="*/ 2426 w 10000"/>
                <a:gd name="connsiteY156" fmla="*/ 2292 h 10000"/>
                <a:gd name="connsiteX157" fmla="*/ 2519 w 10000"/>
                <a:gd name="connsiteY157" fmla="*/ 2090 h 10000"/>
                <a:gd name="connsiteX158" fmla="*/ 2581 w 10000"/>
                <a:gd name="connsiteY158" fmla="*/ 1730 h 10000"/>
                <a:gd name="connsiteX159" fmla="*/ 2775 w 10000"/>
                <a:gd name="connsiteY159" fmla="*/ 1775 h 10000"/>
                <a:gd name="connsiteX160" fmla="*/ 2791 w 10000"/>
                <a:gd name="connsiteY160" fmla="*/ 1843 h 10000"/>
                <a:gd name="connsiteX161" fmla="*/ 2775 w 10000"/>
                <a:gd name="connsiteY161" fmla="*/ 2045 h 10000"/>
                <a:gd name="connsiteX162" fmla="*/ 2736 w 10000"/>
                <a:gd name="connsiteY162" fmla="*/ 2225 h 10000"/>
                <a:gd name="connsiteX163" fmla="*/ 2775 w 10000"/>
                <a:gd name="connsiteY163" fmla="*/ 2315 h 10000"/>
                <a:gd name="connsiteX164" fmla="*/ 2791 w 10000"/>
                <a:gd name="connsiteY164" fmla="*/ 2517 h 10000"/>
                <a:gd name="connsiteX165" fmla="*/ 2775 w 10000"/>
                <a:gd name="connsiteY165" fmla="*/ 3011 h 10000"/>
                <a:gd name="connsiteX166" fmla="*/ 2837 w 10000"/>
                <a:gd name="connsiteY166" fmla="*/ 3146 h 10000"/>
                <a:gd name="connsiteX167" fmla="*/ 2806 w 10000"/>
                <a:gd name="connsiteY167" fmla="*/ 3348 h 10000"/>
                <a:gd name="connsiteX168" fmla="*/ 2698 w 10000"/>
                <a:gd name="connsiteY168" fmla="*/ 3618 h 10000"/>
                <a:gd name="connsiteX169" fmla="*/ 2643 w 10000"/>
                <a:gd name="connsiteY169" fmla="*/ 3685 h 10000"/>
                <a:gd name="connsiteX170" fmla="*/ 2581 w 10000"/>
                <a:gd name="connsiteY170" fmla="*/ 3640 h 10000"/>
                <a:gd name="connsiteX171" fmla="*/ 2550 w 10000"/>
                <a:gd name="connsiteY171" fmla="*/ 3685 h 10000"/>
                <a:gd name="connsiteX172" fmla="*/ 2597 w 10000"/>
                <a:gd name="connsiteY172" fmla="*/ 3775 h 10000"/>
                <a:gd name="connsiteX173" fmla="*/ 2667 w 10000"/>
                <a:gd name="connsiteY173" fmla="*/ 3820 h 10000"/>
                <a:gd name="connsiteX174" fmla="*/ 2736 w 10000"/>
                <a:gd name="connsiteY174" fmla="*/ 3843 h 10000"/>
                <a:gd name="connsiteX175" fmla="*/ 2814 w 10000"/>
                <a:gd name="connsiteY175" fmla="*/ 3663 h 10000"/>
                <a:gd name="connsiteX176" fmla="*/ 2922 w 10000"/>
                <a:gd name="connsiteY176" fmla="*/ 3348 h 10000"/>
                <a:gd name="connsiteX177" fmla="*/ 2891 w 10000"/>
                <a:gd name="connsiteY177" fmla="*/ 3169 h 10000"/>
                <a:gd name="connsiteX178" fmla="*/ 2930 w 10000"/>
                <a:gd name="connsiteY178" fmla="*/ 2989 h 10000"/>
                <a:gd name="connsiteX179" fmla="*/ 3016 w 10000"/>
                <a:gd name="connsiteY179" fmla="*/ 3034 h 10000"/>
                <a:gd name="connsiteX180" fmla="*/ 3054 w 10000"/>
                <a:gd name="connsiteY180" fmla="*/ 3146 h 10000"/>
                <a:gd name="connsiteX181" fmla="*/ 3070 w 10000"/>
                <a:gd name="connsiteY181" fmla="*/ 3326 h 10000"/>
                <a:gd name="connsiteX182" fmla="*/ 3124 w 10000"/>
                <a:gd name="connsiteY182" fmla="*/ 3191 h 10000"/>
                <a:gd name="connsiteX183" fmla="*/ 3093 w 10000"/>
                <a:gd name="connsiteY183" fmla="*/ 3011 h 10000"/>
                <a:gd name="connsiteX184" fmla="*/ 3016 w 10000"/>
                <a:gd name="connsiteY184" fmla="*/ 2944 h 10000"/>
                <a:gd name="connsiteX185" fmla="*/ 2853 w 10000"/>
                <a:gd name="connsiteY185" fmla="*/ 2921 h 10000"/>
                <a:gd name="connsiteX186" fmla="*/ 2853 w 10000"/>
                <a:gd name="connsiteY186" fmla="*/ 2697 h 10000"/>
                <a:gd name="connsiteX187" fmla="*/ 2884 w 10000"/>
                <a:gd name="connsiteY187" fmla="*/ 2472 h 10000"/>
                <a:gd name="connsiteX188" fmla="*/ 2845 w 10000"/>
                <a:gd name="connsiteY188" fmla="*/ 2292 h 10000"/>
                <a:gd name="connsiteX189" fmla="*/ 2822 w 10000"/>
                <a:gd name="connsiteY189" fmla="*/ 2157 h 10000"/>
                <a:gd name="connsiteX190" fmla="*/ 2868 w 10000"/>
                <a:gd name="connsiteY190" fmla="*/ 2022 h 10000"/>
                <a:gd name="connsiteX191" fmla="*/ 2922 w 10000"/>
                <a:gd name="connsiteY191" fmla="*/ 1955 h 10000"/>
                <a:gd name="connsiteX192" fmla="*/ 2930 w 10000"/>
                <a:gd name="connsiteY192" fmla="*/ 1775 h 10000"/>
                <a:gd name="connsiteX193" fmla="*/ 2961 w 10000"/>
                <a:gd name="connsiteY193" fmla="*/ 1775 h 10000"/>
                <a:gd name="connsiteX194" fmla="*/ 2969 w 10000"/>
                <a:gd name="connsiteY194" fmla="*/ 1978 h 10000"/>
                <a:gd name="connsiteX195" fmla="*/ 2946 w 10000"/>
                <a:gd name="connsiteY195" fmla="*/ 2135 h 10000"/>
                <a:gd name="connsiteX196" fmla="*/ 2961 w 10000"/>
                <a:gd name="connsiteY196" fmla="*/ 2247 h 10000"/>
                <a:gd name="connsiteX197" fmla="*/ 3023 w 10000"/>
                <a:gd name="connsiteY197" fmla="*/ 2292 h 10000"/>
                <a:gd name="connsiteX198" fmla="*/ 3116 w 10000"/>
                <a:gd name="connsiteY198" fmla="*/ 2360 h 10000"/>
                <a:gd name="connsiteX199" fmla="*/ 3163 w 10000"/>
                <a:gd name="connsiteY199" fmla="*/ 2360 h 10000"/>
                <a:gd name="connsiteX200" fmla="*/ 3109 w 10000"/>
                <a:gd name="connsiteY200" fmla="*/ 2247 h 10000"/>
                <a:gd name="connsiteX201" fmla="*/ 3031 w 10000"/>
                <a:gd name="connsiteY201" fmla="*/ 2180 h 10000"/>
                <a:gd name="connsiteX202" fmla="*/ 3000 w 10000"/>
                <a:gd name="connsiteY202" fmla="*/ 2045 h 10000"/>
                <a:gd name="connsiteX203" fmla="*/ 3047 w 10000"/>
                <a:gd name="connsiteY203" fmla="*/ 2000 h 10000"/>
                <a:gd name="connsiteX204" fmla="*/ 3124 w 10000"/>
                <a:gd name="connsiteY204" fmla="*/ 2045 h 10000"/>
                <a:gd name="connsiteX205" fmla="*/ 3070 w 10000"/>
                <a:gd name="connsiteY205" fmla="*/ 1865 h 10000"/>
                <a:gd name="connsiteX206" fmla="*/ 3093 w 10000"/>
                <a:gd name="connsiteY206" fmla="*/ 1820 h 10000"/>
                <a:gd name="connsiteX207" fmla="*/ 3225 w 10000"/>
                <a:gd name="connsiteY207" fmla="*/ 1933 h 10000"/>
                <a:gd name="connsiteX208" fmla="*/ 3302 w 10000"/>
                <a:gd name="connsiteY208" fmla="*/ 2112 h 10000"/>
                <a:gd name="connsiteX209" fmla="*/ 3411 w 10000"/>
                <a:gd name="connsiteY209" fmla="*/ 2112 h 10000"/>
                <a:gd name="connsiteX210" fmla="*/ 3357 w 10000"/>
                <a:gd name="connsiteY210" fmla="*/ 1955 h 10000"/>
                <a:gd name="connsiteX211" fmla="*/ 3287 w 10000"/>
                <a:gd name="connsiteY211" fmla="*/ 1798 h 10000"/>
                <a:gd name="connsiteX212" fmla="*/ 3264 w 10000"/>
                <a:gd name="connsiteY212" fmla="*/ 1551 h 10000"/>
                <a:gd name="connsiteX213" fmla="*/ 3310 w 10000"/>
                <a:gd name="connsiteY213" fmla="*/ 1461 h 10000"/>
                <a:gd name="connsiteX214" fmla="*/ 3488 w 10000"/>
                <a:gd name="connsiteY214" fmla="*/ 1438 h 10000"/>
                <a:gd name="connsiteX215" fmla="*/ 3667 w 10000"/>
                <a:gd name="connsiteY215" fmla="*/ 1348 h 10000"/>
                <a:gd name="connsiteX216" fmla="*/ 3620 w 10000"/>
                <a:gd name="connsiteY216" fmla="*/ 1101 h 10000"/>
                <a:gd name="connsiteX217" fmla="*/ 3767 w 10000"/>
                <a:gd name="connsiteY217" fmla="*/ 899 h 10000"/>
                <a:gd name="connsiteX218" fmla="*/ 4093 w 10000"/>
                <a:gd name="connsiteY218" fmla="*/ 584 h 10000"/>
                <a:gd name="connsiteX219" fmla="*/ 4233 w 10000"/>
                <a:gd name="connsiteY219" fmla="*/ 539 h 10000"/>
                <a:gd name="connsiteX220" fmla="*/ 4364 w 10000"/>
                <a:gd name="connsiteY220" fmla="*/ 584 h 10000"/>
                <a:gd name="connsiteX221" fmla="*/ 4558 w 10000"/>
                <a:gd name="connsiteY221" fmla="*/ 404 h 10000"/>
                <a:gd name="connsiteX222" fmla="*/ 4543 w 10000"/>
                <a:gd name="connsiteY222" fmla="*/ 225 h 10000"/>
                <a:gd name="connsiteX223" fmla="*/ 4636 w 10000"/>
                <a:gd name="connsiteY223" fmla="*/ 0 h 10000"/>
                <a:gd name="connsiteX224" fmla="*/ 4767 w 10000"/>
                <a:gd name="connsiteY224" fmla="*/ 22 h 10000"/>
                <a:gd name="connsiteX225" fmla="*/ 4837 w 10000"/>
                <a:gd name="connsiteY225" fmla="*/ 90 h 10000"/>
                <a:gd name="connsiteX226" fmla="*/ 4752 w 10000"/>
                <a:gd name="connsiteY226" fmla="*/ 225 h 10000"/>
                <a:gd name="connsiteX227" fmla="*/ 4915 w 10000"/>
                <a:gd name="connsiteY227" fmla="*/ 247 h 10000"/>
                <a:gd name="connsiteX228" fmla="*/ 4884 w 10000"/>
                <a:gd name="connsiteY228" fmla="*/ 404 h 10000"/>
                <a:gd name="connsiteX229" fmla="*/ 5178 w 10000"/>
                <a:gd name="connsiteY229" fmla="*/ 382 h 10000"/>
                <a:gd name="connsiteX230" fmla="*/ 5287 w 10000"/>
                <a:gd name="connsiteY230" fmla="*/ 584 h 10000"/>
                <a:gd name="connsiteX231" fmla="*/ 5302 w 10000"/>
                <a:gd name="connsiteY231" fmla="*/ 719 h 10000"/>
                <a:gd name="connsiteX232" fmla="*/ 5271 w 10000"/>
                <a:gd name="connsiteY232" fmla="*/ 944 h 10000"/>
                <a:gd name="connsiteX233" fmla="*/ 5140 w 10000"/>
                <a:gd name="connsiteY233" fmla="*/ 1146 h 10000"/>
                <a:gd name="connsiteX234" fmla="*/ 5000 w 10000"/>
                <a:gd name="connsiteY234" fmla="*/ 1371 h 10000"/>
                <a:gd name="connsiteX235" fmla="*/ 4806 w 10000"/>
                <a:gd name="connsiteY235" fmla="*/ 1685 h 10000"/>
                <a:gd name="connsiteX236" fmla="*/ 4822 w 10000"/>
                <a:gd name="connsiteY236" fmla="*/ 1730 h 10000"/>
                <a:gd name="connsiteX237" fmla="*/ 4907 w 10000"/>
                <a:gd name="connsiteY237" fmla="*/ 1640 h 10000"/>
                <a:gd name="connsiteX238" fmla="*/ 5070 w 10000"/>
                <a:gd name="connsiteY238" fmla="*/ 1506 h 10000"/>
                <a:gd name="connsiteX239" fmla="*/ 5062 w 10000"/>
                <a:gd name="connsiteY239" fmla="*/ 1416 h 10000"/>
                <a:gd name="connsiteX240" fmla="*/ 5101 w 10000"/>
                <a:gd name="connsiteY240" fmla="*/ 1303 h 10000"/>
                <a:gd name="connsiteX241" fmla="*/ 5163 w 10000"/>
                <a:gd name="connsiteY241" fmla="*/ 1258 h 10000"/>
                <a:gd name="connsiteX242" fmla="*/ 5178 w 10000"/>
                <a:gd name="connsiteY242" fmla="*/ 1371 h 10000"/>
                <a:gd name="connsiteX243" fmla="*/ 5225 w 10000"/>
                <a:gd name="connsiteY243" fmla="*/ 1416 h 10000"/>
                <a:gd name="connsiteX244" fmla="*/ 5295 w 10000"/>
                <a:gd name="connsiteY244" fmla="*/ 1551 h 10000"/>
                <a:gd name="connsiteX245" fmla="*/ 5333 w 10000"/>
                <a:gd name="connsiteY245" fmla="*/ 1483 h 10000"/>
                <a:gd name="connsiteX246" fmla="*/ 5620 w 10000"/>
                <a:gd name="connsiteY246" fmla="*/ 1506 h 10000"/>
                <a:gd name="connsiteX247" fmla="*/ 5620 w 10000"/>
                <a:gd name="connsiteY247" fmla="*/ 1618 h 10000"/>
                <a:gd name="connsiteX248" fmla="*/ 5899 w 10000"/>
                <a:gd name="connsiteY248" fmla="*/ 1708 h 10000"/>
                <a:gd name="connsiteX249" fmla="*/ 5930 w 10000"/>
                <a:gd name="connsiteY249" fmla="*/ 1416 h 10000"/>
                <a:gd name="connsiteX250" fmla="*/ 5984 w 10000"/>
                <a:gd name="connsiteY250" fmla="*/ 1438 h 10000"/>
                <a:gd name="connsiteX251" fmla="*/ 6062 w 10000"/>
                <a:gd name="connsiteY251" fmla="*/ 1551 h 10000"/>
                <a:gd name="connsiteX252" fmla="*/ 6186 w 10000"/>
                <a:gd name="connsiteY252" fmla="*/ 1528 h 10000"/>
                <a:gd name="connsiteX253" fmla="*/ 6256 w 10000"/>
                <a:gd name="connsiteY253" fmla="*/ 1753 h 10000"/>
                <a:gd name="connsiteX254" fmla="*/ 6271 w 10000"/>
                <a:gd name="connsiteY254" fmla="*/ 1955 h 10000"/>
                <a:gd name="connsiteX255" fmla="*/ 6225 w 10000"/>
                <a:gd name="connsiteY255" fmla="*/ 2045 h 10000"/>
                <a:gd name="connsiteX256" fmla="*/ 6310 w 10000"/>
                <a:gd name="connsiteY256" fmla="*/ 2337 h 10000"/>
                <a:gd name="connsiteX257" fmla="*/ 6395 w 10000"/>
                <a:gd name="connsiteY257" fmla="*/ 2404 h 10000"/>
                <a:gd name="connsiteX258" fmla="*/ 6473 w 10000"/>
                <a:gd name="connsiteY258" fmla="*/ 2067 h 10000"/>
                <a:gd name="connsiteX259" fmla="*/ 6574 w 10000"/>
                <a:gd name="connsiteY259" fmla="*/ 2225 h 10000"/>
                <a:gd name="connsiteX260" fmla="*/ 6667 w 10000"/>
                <a:gd name="connsiteY260" fmla="*/ 2135 h 10000"/>
                <a:gd name="connsiteX261" fmla="*/ 6767 w 10000"/>
                <a:gd name="connsiteY261" fmla="*/ 2247 h 10000"/>
                <a:gd name="connsiteX262" fmla="*/ 6853 w 10000"/>
                <a:gd name="connsiteY262" fmla="*/ 2157 h 10000"/>
                <a:gd name="connsiteX263" fmla="*/ 6915 w 10000"/>
                <a:gd name="connsiteY263" fmla="*/ 2067 h 10000"/>
                <a:gd name="connsiteX264" fmla="*/ 6907 w 10000"/>
                <a:gd name="connsiteY264" fmla="*/ 1865 h 10000"/>
                <a:gd name="connsiteX265" fmla="*/ 6992 w 10000"/>
                <a:gd name="connsiteY265" fmla="*/ 1775 h 10000"/>
                <a:gd name="connsiteX266" fmla="*/ 7256 w 10000"/>
                <a:gd name="connsiteY266" fmla="*/ 1820 h 10000"/>
                <a:gd name="connsiteX267" fmla="*/ 7302 w 10000"/>
                <a:gd name="connsiteY267" fmla="*/ 1933 h 10000"/>
                <a:gd name="connsiteX268" fmla="*/ 7326 w 10000"/>
                <a:gd name="connsiteY268" fmla="*/ 1978 h 10000"/>
                <a:gd name="connsiteX269" fmla="*/ 7465 w 10000"/>
                <a:gd name="connsiteY269" fmla="*/ 1933 h 10000"/>
                <a:gd name="connsiteX270" fmla="*/ 7527 w 10000"/>
                <a:gd name="connsiteY270" fmla="*/ 2022 h 10000"/>
                <a:gd name="connsiteX271" fmla="*/ 7496 w 10000"/>
                <a:gd name="connsiteY271" fmla="*/ 2135 h 10000"/>
                <a:gd name="connsiteX272" fmla="*/ 7550 w 10000"/>
                <a:gd name="connsiteY272" fmla="*/ 2202 h 10000"/>
                <a:gd name="connsiteX273" fmla="*/ 7667 w 10000"/>
                <a:gd name="connsiteY273" fmla="*/ 2337 h 10000"/>
                <a:gd name="connsiteX274" fmla="*/ 7868 w 10000"/>
                <a:gd name="connsiteY274" fmla="*/ 2360 h 10000"/>
                <a:gd name="connsiteX275" fmla="*/ 8078 w 10000"/>
                <a:gd name="connsiteY275" fmla="*/ 2382 h 10000"/>
                <a:gd name="connsiteX276" fmla="*/ 8163 w 10000"/>
                <a:gd name="connsiteY276" fmla="*/ 2517 h 10000"/>
                <a:gd name="connsiteX277" fmla="*/ 8155 w 10000"/>
                <a:gd name="connsiteY277" fmla="*/ 2674 h 10000"/>
                <a:gd name="connsiteX278" fmla="*/ 8171 w 10000"/>
                <a:gd name="connsiteY278" fmla="*/ 2764 h 10000"/>
                <a:gd name="connsiteX279" fmla="*/ 8240 w 10000"/>
                <a:gd name="connsiteY279" fmla="*/ 2831 h 10000"/>
                <a:gd name="connsiteX280" fmla="*/ 8295 w 10000"/>
                <a:gd name="connsiteY280" fmla="*/ 2764 h 10000"/>
                <a:gd name="connsiteX281" fmla="*/ 8550 w 10000"/>
                <a:gd name="connsiteY281" fmla="*/ 2809 h 10000"/>
                <a:gd name="connsiteX282" fmla="*/ 8581 w 10000"/>
                <a:gd name="connsiteY282" fmla="*/ 2809 h 10000"/>
                <a:gd name="connsiteX283" fmla="*/ 8643 w 10000"/>
                <a:gd name="connsiteY283" fmla="*/ 2719 h 10000"/>
                <a:gd name="connsiteX284" fmla="*/ 8667 w 10000"/>
                <a:gd name="connsiteY284" fmla="*/ 2742 h 10000"/>
                <a:gd name="connsiteX285" fmla="*/ 8667 w 10000"/>
                <a:gd name="connsiteY285" fmla="*/ 2876 h 10000"/>
                <a:gd name="connsiteX286" fmla="*/ 8736 w 10000"/>
                <a:gd name="connsiteY286" fmla="*/ 3034 h 10000"/>
                <a:gd name="connsiteX287" fmla="*/ 8814 w 10000"/>
                <a:gd name="connsiteY287" fmla="*/ 3056 h 10000"/>
                <a:gd name="connsiteX288" fmla="*/ 8837 w 10000"/>
                <a:gd name="connsiteY288" fmla="*/ 2966 h 10000"/>
                <a:gd name="connsiteX289" fmla="*/ 8814 w 10000"/>
                <a:gd name="connsiteY289" fmla="*/ 2831 h 10000"/>
                <a:gd name="connsiteX290" fmla="*/ 8806 w 10000"/>
                <a:gd name="connsiteY290" fmla="*/ 2629 h 10000"/>
                <a:gd name="connsiteX291" fmla="*/ 8853 w 10000"/>
                <a:gd name="connsiteY291" fmla="*/ 2607 h 10000"/>
                <a:gd name="connsiteX292" fmla="*/ 8922 w 10000"/>
                <a:gd name="connsiteY292" fmla="*/ 2697 h 10000"/>
                <a:gd name="connsiteX293" fmla="*/ 9047 w 10000"/>
                <a:gd name="connsiteY293" fmla="*/ 2697 h 10000"/>
                <a:gd name="connsiteX294" fmla="*/ 9194 w 10000"/>
                <a:gd name="connsiteY294" fmla="*/ 2764 h 10000"/>
                <a:gd name="connsiteX295" fmla="*/ 9364 w 10000"/>
                <a:gd name="connsiteY295" fmla="*/ 2944 h 10000"/>
                <a:gd name="connsiteX296" fmla="*/ 9465 w 10000"/>
                <a:gd name="connsiteY296" fmla="*/ 3101 h 10000"/>
                <a:gd name="connsiteX297" fmla="*/ 9643 w 10000"/>
                <a:gd name="connsiteY297" fmla="*/ 3326 h 10000"/>
                <a:gd name="connsiteX298" fmla="*/ 9674 w 10000"/>
                <a:gd name="connsiteY298" fmla="*/ 3461 h 10000"/>
                <a:gd name="connsiteX299" fmla="*/ 9698 w 10000"/>
                <a:gd name="connsiteY299" fmla="*/ 3596 h 10000"/>
                <a:gd name="connsiteX300" fmla="*/ 9736 w 10000"/>
                <a:gd name="connsiteY300" fmla="*/ 3775 h 10000"/>
                <a:gd name="connsiteX301" fmla="*/ 9767 w 10000"/>
                <a:gd name="connsiteY301" fmla="*/ 3730 h 10000"/>
                <a:gd name="connsiteX302" fmla="*/ 9744 w 10000"/>
                <a:gd name="connsiteY302" fmla="*/ 3528 h 10000"/>
                <a:gd name="connsiteX303" fmla="*/ 9806 w 10000"/>
                <a:gd name="connsiteY303" fmla="*/ 3551 h 10000"/>
                <a:gd name="connsiteX304" fmla="*/ 9884 w 10000"/>
                <a:gd name="connsiteY304" fmla="*/ 3596 h 10000"/>
                <a:gd name="connsiteX305" fmla="*/ 9953 w 10000"/>
                <a:gd name="connsiteY305" fmla="*/ 3730 h 10000"/>
                <a:gd name="connsiteX306" fmla="*/ 10000 w 10000"/>
                <a:gd name="connsiteY306" fmla="*/ 3865 h 10000"/>
                <a:gd name="connsiteX307" fmla="*/ 9953 w 10000"/>
                <a:gd name="connsiteY307" fmla="*/ 4000 h 10000"/>
                <a:gd name="connsiteX308" fmla="*/ 9853 w 10000"/>
                <a:gd name="connsiteY308" fmla="*/ 4067 h 10000"/>
                <a:gd name="connsiteX309" fmla="*/ 9837 w 10000"/>
                <a:gd name="connsiteY309" fmla="*/ 4225 h 10000"/>
                <a:gd name="connsiteX310" fmla="*/ 9806 w 10000"/>
                <a:gd name="connsiteY310" fmla="*/ 4427 h 10000"/>
                <a:gd name="connsiteX311" fmla="*/ 9698 w 10000"/>
                <a:gd name="connsiteY311" fmla="*/ 4270 h 10000"/>
                <a:gd name="connsiteX312" fmla="*/ 9636 w 10000"/>
                <a:gd name="connsiteY312" fmla="*/ 4202 h 10000"/>
                <a:gd name="connsiteX313" fmla="*/ 9643 w 10000"/>
                <a:gd name="connsiteY313" fmla="*/ 4022 h 10000"/>
                <a:gd name="connsiteX314" fmla="*/ 9481 w 10000"/>
                <a:gd name="connsiteY314" fmla="*/ 4045 h 10000"/>
                <a:gd name="connsiteX315" fmla="*/ 9457 w 10000"/>
                <a:gd name="connsiteY315" fmla="*/ 3820 h 10000"/>
                <a:gd name="connsiteX316" fmla="*/ 9403 w 10000"/>
                <a:gd name="connsiteY316" fmla="*/ 3843 h 10000"/>
                <a:gd name="connsiteX317" fmla="*/ 9395 w 10000"/>
                <a:gd name="connsiteY317" fmla="*/ 4000 h 10000"/>
                <a:gd name="connsiteX318" fmla="*/ 9419 w 10000"/>
                <a:gd name="connsiteY318" fmla="*/ 4067 h 10000"/>
                <a:gd name="connsiteX319" fmla="*/ 9349 w 10000"/>
                <a:gd name="connsiteY319" fmla="*/ 4247 h 10000"/>
                <a:gd name="connsiteX320" fmla="*/ 9271 w 10000"/>
                <a:gd name="connsiteY320" fmla="*/ 4270 h 10000"/>
                <a:gd name="connsiteX321" fmla="*/ 9217 w 10000"/>
                <a:gd name="connsiteY321" fmla="*/ 4247 h 10000"/>
                <a:gd name="connsiteX322" fmla="*/ 9186 w 10000"/>
                <a:gd name="connsiteY322" fmla="*/ 4180 h 10000"/>
                <a:gd name="connsiteX323" fmla="*/ 9178 w 10000"/>
                <a:gd name="connsiteY323" fmla="*/ 4270 h 10000"/>
                <a:gd name="connsiteX324" fmla="*/ 9233 w 10000"/>
                <a:gd name="connsiteY324" fmla="*/ 4337 h 10000"/>
                <a:gd name="connsiteX325" fmla="*/ 9287 w 10000"/>
                <a:gd name="connsiteY325" fmla="*/ 4427 h 10000"/>
                <a:gd name="connsiteX326" fmla="*/ 9310 w 10000"/>
                <a:gd name="connsiteY326" fmla="*/ 4629 h 10000"/>
                <a:gd name="connsiteX327" fmla="*/ 9357 w 10000"/>
                <a:gd name="connsiteY327" fmla="*/ 4831 h 10000"/>
                <a:gd name="connsiteX328" fmla="*/ 9302 w 10000"/>
                <a:gd name="connsiteY328" fmla="*/ 4921 h 10000"/>
                <a:gd name="connsiteX329" fmla="*/ 9202 w 10000"/>
                <a:gd name="connsiteY329" fmla="*/ 4809 h 10000"/>
                <a:gd name="connsiteX330" fmla="*/ 9155 w 10000"/>
                <a:gd name="connsiteY330" fmla="*/ 4921 h 10000"/>
                <a:gd name="connsiteX331" fmla="*/ 9016 w 10000"/>
                <a:gd name="connsiteY331" fmla="*/ 5101 h 10000"/>
                <a:gd name="connsiteX332" fmla="*/ 8938 w 10000"/>
                <a:gd name="connsiteY332" fmla="*/ 5213 h 10000"/>
                <a:gd name="connsiteX333" fmla="*/ 8783 w 10000"/>
                <a:gd name="connsiteY333" fmla="*/ 5573 h 10000"/>
                <a:gd name="connsiteX334" fmla="*/ 8729 w 10000"/>
                <a:gd name="connsiteY334" fmla="*/ 5438 h 10000"/>
                <a:gd name="connsiteX335" fmla="*/ 8612 w 10000"/>
                <a:gd name="connsiteY335" fmla="*/ 5438 h 10000"/>
                <a:gd name="connsiteX336" fmla="*/ 8550 w 10000"/>
                <a:gd name="connsiteY336" fmla="*/ 5618 h 10000"/>
                <a:gd name="connsiteX337" fmla="*/ 8535 w 10000"/>
                <a:gd name="connsiteY337" fmla="*/ 5438 h 10000"/>
                <a:gd name="connsiteX338" fmla="*/ 8496 w 10000"/>
                <a:gd name="connsiteY338" fmla="*/ 5438 h 10000"/>
                <a:gd name="connsiteX339" fmla="*/ 8481 w 10000"/>
                <a:gd name="connsiteY339" fmla="*/ 5573 h 10000"/>
                <a:gd name="connsiteX340" fmla="*/ 8372 w 10000"/>
                <a:gd name="connsiteY340" fmla="*/ 5573 h 10000"/>
                <a:gd name="connsiteX341" fmla="*/ 8279 w 10000"/>
                <a:gd name="connsiteY341" fmla="*/ 6000 h 10000"/>
                <a:gd name="connsiteX342" fmla="*/ 8279 w 10000"/>
                <a:gd name="connsiteY342" fmla="*/ 6135 h 10000"/>
                <a:gd name="connsiteX343" fmla="*/ 8341 w 10000"/>
                <a:gd name="connsiteY343" fmla="*/ 6135 h 10000"/>
                <a:gd name="connsiteX344" fmla="*/ 8326 w 10000"/>
                <a:gd name="connsiteY344" fmla="*/ 6337 h 10000"/>
                <a:gd name="connsiteX345" fmla="*/ 8349 w 10000"/>
                <a:gd name="connsiteY345" fmla="*/ 6517 h 10000"/>
                <a:gd name="connsiteX346" fmla="*/ 8279 w 10000"/>
                <a:gd name="connsiteY346" fmla="*/ 6584 h 10000"/>
                <a:gd name="connsiteX347" fmla="*/ 8256 w 10000"/>
                <a:gd name="connsiteY347" fmla="*/ 6742 h 10000"/>
                <a:gd name="connsiteX348" fmla="*/ 8279 w 10000"/>
                <a:gd name="connsiteY348" fmla="*/ 6944 h 10000"/>
                <a:gd name="connsiteX349" fmla="*/ 8186 w 10000"/>
                <a:gd name="connsiteY349" fmla="*/ 7034 h 10000"/>
                <a:gd name="connsiteX350" fmla="*/ 8155 w 10000"/>
                <a:gd name="connsiteY350" fmla="*/ 7124 h 10000"/>
                <a:gd name="connsiteX351" fmla="*/ 8155 w 10000"/>
                <a:gd name="connsiteY351" fmla="*/ 7191 h 10000"/>
                <a:gd name="connsiteX352" fmla="*/ 8163 w 10000"/>
                <a:gd name="connsiteY352" fmla="*/ 7236 h 10000"/>
                <a:gd name="connsiteX353" fmla="*/ 8155 w 10000"/>
                <a:gd name="connsiteY353" fmla="*/ 7281 h 10000"/>
                <a:gd name="connsiteX354" fmla="*/ 8062 w 10000"/>
                <a:gd name="connsiteY354" fmla="*/ 7371 h 10000"/>
                <a:gd name="connsiteX355" fmla="*/ 8062 w 10000"/>
                <a:gd name="connsiteY355" fmla="*/ 7528 h 10000"/>
                <a:gd name="connsiteX356" fmla="*/ 7946 w 10000"/>
                <a:gd name="connsiteY356" fmla="*/ 7865 h 10000"/>
                <a:gd name="connsiteX357" fmla="*/ 7930 w 10000"/>
                <a:gd name="connsiteY357" fmla="*/ 7506 h 10000"/>
                <a:gd name="connsiteX358" fmla="*/ 7884 w 10000"/>
                <a:gd name="connsiteY358" fmla="*/ 6944 h 10000"/>
                <a:gd name="connsiteX359" fmla="*/ 7884 w 10000"/>
                <a:gd name="connsiteY359" fmla="*/ 6539 h 10000"/>
                <a:gd name="connsiteX360" fmla="*/ 7930 w 10000"/>
                <a:gd name="connsiteY360" fmla="*/ 6382 h 10000"/>
                <a:gd name="connsiteX361" fmla="*/ 7977 w 10000"/>
                <a:gd name="connsiteY361" fmla="*/ 6135 h 10000"/>
                <a:gd name="connsiteX362" fmla="*/ 8039 w 10000"/>
                <a:gd name="connsiteY362" fmla="*/ 6090 h 10000"/>
                <a:gd name="connsiteX363" fmla="*/ 8202 w 10000"/>
                <a:gd name="connsiteY363" fmla="*/ 5640 h 10000"/>
                <a:gd name="connsiteX364" fmla="*/ 8326 w 10000"/>
                <a:gd name="connsiteY364" fmla="*/ 5393 h 10000"/>
                <a:gd name="connsiteX365" fmla="*/ 8364 w 10000"/>
                <a:gd name="connsiteY365" fmla="*/ 5348 h 10000"/>
                <a:gd name="connsiteX366" fmla="*/ 8426 w 10000"/>
                <a:gd name="connsiteY366" fmla="*/ 4944 h 10000"/>
                <a:gd name="connsiteX367" fmla="*/ 8457 w 10000"/>
                <a:gd name="connsiteY367" fmla="*/ 4899 h 10000"/>
                <a:gd name="connsiteX368" fmla="*/ 8395 w 10000"/>
                <a:gd name="connsiteY368" fmla="*/ 4831 h 10000"/>
                <a:gd name="connsiteX369" fmla="*/ 8372 w 10000"/>
                <a:gd name="connsiteY369" fmla="*/ 4854 h 10000"/>
                <a:gd name="connsiteX370" fmla="*/ 8349 w 10000"/>
                <a:gd name="connsiteY370" fmla="*/ 4921 h 10000"/>
                <a:gd name="connsiteX371" fmla="*/ 8349 w 10000"/>
                <a:gd name="connsiteY371" fmla="*/ 5124 h 10000"/>
                <a:gd name="connsiteX372" fmla="*/ 8295 w 10000"/>
                <a:gd name="connsiteY372" fmla="*/ 5124 h 10000"/>
                <a:gd name="connsiteX373" fmla="*/ 8171 w 10000"/>
                <a:gd name="connsiteY373" fmla="*/ 5348 h 10000"/>
                <a:gd name="connsiteX374" fmla="*/ 8140 w 10000"/>
                <a:gd name="connsiteY374" fmla="*/ 5258 h 10000"/>
                <a:gd name="connsiteX375" fmla="*/ 8171 w 10000"/>
                <a:gd name="connsiteY375" fmla="*/ 5079 h 10000"/>
                <a:gd name="connsiteX376" fmla="*/ 8132 w 10000"/>
                <a:gd name="connsiteY376" fmla="*/ 5124 h 10000"/>
                <a:gd name="connsiteX377" fmla="*/ 7977 w 10000"/>
                <a:gd name="connsiteY377" fmla="*/ 5124 h 10000"/>
                <a:gd name="connsiteX378" fmla="*/ 7829 w 10000"/>
                <a:gd name="connsiteY378" fmla="*/ 5461 h 10000"/>
                <a:gd name="connsiteX379" fmla="*/ 7798 w 10000"/>
                <a:gd name="connsiteY379" fmla="*/ 5640 h 10000"/>
                <a:gd name="connsiteX380" fmla="*/ 7814 w 10000"/>
                <a:gd name="connsiteY380" fmla="*/ 5685 h 10000"/>
                <a:gd name="connsiteX381" fmla="*/ 7853 w 10000"/>
                <a:gd name="connsiteY381" fmla="*/ 5798 h 10000"/>
                <a:gd name="connsiteX382" fmla="*/ 7791 w 10000"/>
                <a:gd name="connsiteY382" fmla="*/ 5798 h 10000"/>
                <a:gd name="connsiteX383" fmla="*/ 7729 w 10000"/>
                <a:gd name="connsiteY383" fmla="*/ 5820 h 10000"/>
                <a:gd name="connsiteX384" fmla="*/ 7612 w 10000"/>
                <a:gd name="connsiteY384" fmla="*/ 5843 h 10000"/>
                <a:gd name="connsiteX385" fmla="*/ 7643 w 10000"/>
                <a:gd name="connsiteY385" fmla="*/ 5753 h 10000"/>
                <a:gd name="connsiteX386" fmla="*/ 7620 w 10000"/>
                <a:gd name="connsiteY386" fmla="*/ 5663 h 10000"/>
                <a:gd name="connsiteX387" fmla="*/ 7535 w 10000"/>
                <a:gd name="connsiteY387" fmla="*/ 5640 h 10000"/>
                <a:gd name="connsiteX388" fmla="*/ 7481 w 10000"/>
                <a:gd name="connsiteY388" fmla="*/ 5663 h 10000"/>
                <a:gd name="connsiteX389" fmla="*/ 7457 w 10000"/>
                <a:gd name="connsiteY389" fmla="*/ 5753 h 10000"/>
                <a:gd name="connsiteX390" fmla="*/ 7341 w 10000"/>
                <a:gd name="connsiteY390" fmla="*/ 5730 h 10000"/>
                <a:gd name="connsiteX391" fmla="*/ 7287 w 10000"/>
                <a:gd name="connsiteY391" fmla="*/ 5753 h 10000"/>
                <a:gd name="connsiteX392" fmla="*/ 7085 w 10000"/>
                <a:gd name="connsiteY392" fmla="*/ 5753 h 10000"/>
                <a:gd name="connsiteX393" fmla="*/ 6636 w 10000"/>
                <a:gd name="connsiteY393" fmla="*/ 6876 h 10000"/>
                <a:gd name="connsiteX394" fmla="*/ 6643 w 10000"/>
                <a:gd name="connsiteY394" fmla="*/ 6989 h 10000"/>
                <a:gd name="connsiteX395" fmla="*/ 6721 w 10000"/>
                <a:gd name="connsiteY395" fmla="*/ 6966 h 10000"/>
                <a:gd name="connsiteX396" fmla="*/ 6729 w 10000"/>
                <a:gd name="connsiteY396" fmla="*/ 7146 h 10000"/>
                <a:gd name="connsiteX397" fmla="*/ 6767 w 10000"/>
                <a:gd name="connsiteY397" fmla="*/ 7011 h 10000"/>
                <a:gd name="connsiteX398" fmla="*/ 6806 w 10000"/>
                <a:gd name="connsiteY398" fmla="*/ 7191 h 10000"/>
                <a:gd name="connsiteX399" fmla="*/ 6860 w 10000"/>
                <a:gd name="connsiteY399" fmla="*/ 7056 h 10000"/>
                <a:gd name="connsiteX400" fmla="*/ 6946 w 10000"/>
                <a:gd name="connsiteY400" fmla="*/ 7101 h 10000"/>
                <a:gd name="connsiteX401" fmla="*/ 7008 w 10000"/>
                <a:gd name="connsiteY401" fmla="*/ 7326 h 10000"/>
                <a:gd name="connsiteX402" fmla="*/ 6992 w 10000"/>
                <a:gd name="connsiteY402" fmla="*/ 7573 h 10000"/>
                <a:gd name="connsiteX403" fmla="*/ 6961 w 10000"/>
                <a:gd name="connsiteY403" fmla="*/ 7820 h 10000"/>
                <a:gd name="connsiteX404" fmla="*/ 6953 w 10000"/>
                <a:gd name="connsiteY404" fmla="*/ 8180 h 10000"/>
                <a:gd name="connsiteX405" fmla="*/ 6930 w 10000"/>
                <a:gd name="connsiteY405" fmla="*/ 8382 h 10000"/>
                <a:gd name="connsiteX406" fmla="*/ 6698 w 10000"/>
                <a:gd name="connsiteY406" fmla="*/ 9213 h 10000"/>
                <a:gd name="connsiteX407" fmla="*/ 6628 w 10000"/>
                <a:gd name="connsiteY407" fmla="*/ 9461 h 10000"/>
                <a:gd name="connsiteX408" fmla="*/ 6574 w 10000"/>
                <a:gd name="connsiteY408" fmla="*/ 9573 h 10000"/>
                <a:gd name="connsiteX409" fmla="*/ 6504 w 10000"/>
                <a:gd name="connsiteY409" fmla="*/ 9663 h 10000"/>
                <a:gd name="connsiteX410" fmla="*/ 6450 w 10000"/>
                <a:gd name="connsiteY410" fmla="*/ 9573 h 10000"/>
                <a:gd name="connsiteX411" fmla="*/ 6380 w 10000"/>
                <a:gd name="connsiteY411" fmla="*/ 9618 h 10000"/>
                <a:gd name="connsiteX412" fmla="*/ 6380 w 10000"/>
                <a:gd name="connsiteY412" fmla="*/ 9213 h 10000"/>
                <a:gd name="connsiteX413" fmla="*/ 6434 w 10000"/>
                <a:gd name="connsiteY413" fmla="*/ 9101 h 10000"/>
                <a:gd name="connsiteX414" fmla="*/ 6457 w 10000"/>
                <a:gd name="connsiteY414" fmla="*/ 9169 h 10000"/>
                <a:gd name="connsiteX415" fmla="*/ 6504 w 10000"/>
                <a:gd name="connsiteY415" fmla="*/ 9146 h 10000"/>
                <a:gd name="connsiteX416" fmla="*/ 6550 w 10000"/>
                <a:gd name="connsiteY416" fmla="*/ 8899 h 10000"/>
                <a:gd name="connsiteX417" fmla="*/ 6574 w 10000"/>
                <a:gd name="connsiteY417" fmla="*/ 8652 h 10000"/>
                <a:gd name="connsiteX418" fmla="*/ 6605 w 10000"/>
                <a:gd name="connsiteY418" fmla="*/ 8607 h 10000"/>
                <a:gd name="connsiteX419" fmla="*/ 6597 w 10000"/>
                <a:gd name="connsiteY419" fmla="*/ 8449 h 10000"/>
                <a:gd name="connsiteX420" fmla="*/ 6535 w 10000"/>
                <a:gd name="connsiteY420" fmla="*/ 8472 h 10000"/>
                <a:gd name="connsiteX421" fmla="*/ 6481 w 10000"/>
                <a:gd name="connsiteY421" fmla="*/ 8494 h 10000"/>
                <a:gd name="connsiteX422" fmla="*/ 6457 w 10000"/>
                <a:gd name="connsiteY422" fmla="*/ 8584 h 10000"/>
                <a:gd name="connsiteX423" fmla="*/ 6372 w 10000"/>
                <a:gd name="connsiteY423" fmla="*/ 8562 h 10000"/>
                <a:gd name="connsiteX424" fmla="*/ 6357 w 10000"/>
                <a:gd name="connsiteY424" fmla="*/ 8337 h 10000"/>
                <a:gd name="connsiteX425" fmla="*/ 6240 w 10000"/>
                <a:gd name="connsiteY425" fmla="*/ 8157 h 10000"/>
                <a:gd name="connsiteX426" fmla="*/ 6178 w 10000"/>
                <a:gd name="connsiteY426" fmla="*/ 8157 h 10000"/>
                <a:gd name="connsiteX427" fmla="*/ 6093 w 10000"/>
                <a:gd name="connsiteY427" fmla="*/ 7573 h 10000"/>
                <a:gd name="connsiteX428" fmla="*/ 6047 w 10000"/>
                <a:gd name="connsiteY428" fmla="*/ 7348 h 10000"/>
                <a:gd name="connsiteX429" fmla="*/ 5930 w 10000"/>
                <a:gd name="connsiteY429" fmla="*/ 7213 h 10000"/>
                <a:gd name="connsiteX430" fmla="*/ 5760 w 10000"/>
                <a:gd name="connsiteY430" fmla="*/ 7258 h 10000"/>
                <a:gd name="connsiteX431" fmla="*/ 5705 w 10000"/>
                <a:gd name="connsiteY431" fmla="*/ 7326 h 10000"/>
                <a:gd name="connsiteX432" fmla="*/ 5698 w 10000"/>
                <a:gd name="connsiteY432" fmla="*/ 7416 h 10000"/>
                <a:gd name="connsiteX433" fmla="*/ 5744 w 10000"/>
                <a:gd name="connsiteY433" fmla="*/ 7438 h 10000"/>
                <a:gd name="connsiteX434" fmla="*/ 5744 w 10000"/>
                <a:gd name="connsiteY434" fmla="*/ 7596 h 10000"/>
                <a:gd name="connsiteX435" fmla="*/ 5705 w 10000"/>
                <a:gd name="connsiteY435" fmla="*/ 7663 h 10000"/>
                <a:gd name="connsiteX436" fmla="*/ 5667 w 10000"/>
                <a:gd name="connsiteY436" fmla="*/ 7865 h 10000"/>
                <a:gd name="connsiteX437" fmla="*/ 5651 w 10000"/>
                <a:gd name="connsiteY437" fmla="*/ 8045 h 10000"/>
                <a:gd name="connsiteX438" fmla="*/ 5605 w 10000"/>
                <a:gd name="connsiteY438" fmla="*/ 8067 h 10000"/>
                <a:gd name="connsiteX439" fmla="*/ 5566 w 10000"/>
                <a:gd name="connsiteY439" fmla="*/ 8180 h 10000"/>
                <a:gd name="connsiteX440" fmla="*/ 5496 w 10000"/>
                <a:gd name="connsiteY440" fmla="*/ 8067 h 10000"/>
                <a:gd name="connsiteX441" fmla="*/ 5403 w 10000"/>
                <a:gd name="connsiteY441" fmla="*/ 8045 h 10000"/>
                <a:gd name="connsiteX442" fmla="*/ 5372 w 10000"/>
                <a:gd name="connsiteY442" fmla="*/ 7978 h 10000"/>
                <a:gd name="connsiteX443" fmla="*/ 5333 w 10000"/>
                <a:gd name="connsiteY443" fmla="*/ 8000 h 10000"/>
                <a:gd name="connsiteX444" fmla="*/ 5264 w 10000"/>
                <a:gd name="connsiteY444" fmla="*/ 8157 h 10000"/>
                <a:gd name="connsiteX445" fmla="*/ 5147 w 10000"/>
                <a:gd name="connsiteY445" fmla="*/ 8225 h 10000"/>
                <a:gd name="connsiteX446" fmla="*/ 5078 w 10000"/>
                <a:gd name="connsiteY446" fmla="*/ 8247 h 10000"/>
                <a:gd name="connsiteX447" fmla="*/ 4992 w 10000"/>
                <a:gd name="connsiteY447" fmla="*/ 8225 h 10000"/>
                <a:gd name="connsiteX448" fmla="*/ 4969 w 10000"/>
                <a:gd name="connsiteY448" fmla="*/ 8157 h 10000"/>
                <a:gd name="connsiteX449" fmla="*/ 4946 w 10000"/>
                <a:gd name="connsiteY449" fmla="*/ 8067 h 10000"/>
                <a:gd name="connsiteX450" fmla="*/ 4907 w 10000"/>
                <a:gd name="connsiteY450" fmla="*/ 8045 h 10000"/>
                <a:gd name="connsiteX451" fmla="*/ 4884 w 10000"/>
                <a:gd name="connsiteY451" fmla="*/ 7978 h 10000"/>
                <a:gd name="connsiteX452" fmla="*/ 4791 w 10000"/>
                <a:gd name="connsiteY452" fmla="*/ 7933 h 10000"/>
                <a:gd name="connsiteX453" fmla="*/ 4736 w 10000"/>
                <a:gd name="connsiteY453" fmla="*/ 8022 h 10000"/>
                <a:gd name="connsiteX454" fmla="*/ 4636 w 10000"/>
                <a:gd name="connsiteY454" fmla="*/ 7978 h 10000"/>
                <a:gd name="connsiteX455" fmla="*/ 4597 w 10000"/>
                <a:gd name="connsiteY455" fmla="*/ 7843 h 10000"/>
                <a:gd name="connsiteX456" fmla="*/ 4589 w 10000"/>
                <a:gd name="connsiteY456" fmla="*/ 7730 h 10000"/>
                <a:gd name="connsiteX457" fmla="*/ 4496 w 10000"/>
                <a:gd name="connsiteY457" fmla="*/ 7640 h 10000"/>
                <a:gd name="connsiteX458" fmla="*/ 4388 w 10000"/>
                <a:gd name="connsiteY458" fmla="*/ 7573 h 10000"/>
                <a:gd name="connsiteX459" fmla="*/ 4318 w 10000"/>
                <a:gd name="connsiteY459" fmla="*/ 7775 h 10000"/>
                <a:gd name="connsiteX460" fmla="*/ 4364 w 10000"/>
                <a:gd name="connsiteY460" fmla="*/ 7933 h 10000"/>
                <a:gd name="connsiteX461" fmla="*/ 4357 w 10000"/>
                <a:gd name="connsiteY461" fmla="*/ 8022 h 10000"/>
                <a:gd name="connsiteX462" fmla="*/ 4310 w 10000"/>
                <a:gd name="connsiteY462" fmla="*/ 8135 h 10000"/>
                <a:gd name="connsiteX463" fmla="*/ 4279 w 10000"/>
                <a:gd name="connsiteY463" fmla="*/ 8067 h 10000"/>
                <a:gd name="connsiteX464" fmla="*/ 4155 w 10000"/>
                <a:gd name="connsiteY464" fmla="*/ 8067 h 10000"/>
                <a:gd name="connsiteX465" fmla="*/ 4116 w 10000"/>
                <a:gd name="connsiteY465" fmla="*/ 7933 h 10000"/>
                <a:gd name="connsiteX466" fmla="*/ 4039 w 10000"/>
                <a:gd name="connsiteY466" fmla="*/ 7888 h 10000"/>
                <a:gd name="connsiteX467" fmla="*/ 3969 w 10000"/>
                <a:gd name="connsiteY467" fmla="*/ 7865 h 10000"/>
                <a:gd name="connsiteX468" fmla="*/ 3837 w 10000"/>
                <a:gd name="connsiteY468" fmla="*/ 8067 h 10000"/>
                <a:gd name="connsiteX469" fmla="*/ 3806 w 10000"/>
                <a:gd name="connsiteY469" fmla="*/ 8157 h 10000"/>
                <a:gd name="connsiteX470" fmla="*/ 3752 w 10000"/>
                <a:gd name="connsiteY470" fmla="*/ 8180 h 10000"/>
                <a:gd name="connsiteX471" fmla="*/ 3721 w 10000"/>
                <a:gd name="connsiteY471" fmla="*/ 8270 h 10000"/>
                <a:gd name="connsiteX472" fmla="*/ 3659 w 10000"/>
                <a:gd name="connsiteY472" fmla="*/ 8270 h 10000"/>
                <a:gd name="connsiteX473" fmla="*/ 3643 w 10000"/>
                <a:gd name="connsiteY473" fmla="*/ 8112 h 10000"/>
                <a:gd name="connsiteX474" fmla="*/ 3558 w 10000"/>
                <a:gd name="connsiteY474" fmla="*/ 8090 h 10000"/>
                <a:gd name="connsiteX475" fmla="*/ 3504 w 10000"/>
                <a:gd name="connsiteY475" fmla="*/ 7978 h 10000"/>
                <a:gd name="connsiteX476" fmla="*/ 3465 w 10000"/>
                <a:gd name="connsiteY476" fmla="*/ 7820 h 10000"/>
                <a:gd name="connsiteX477" fmla="*/ 3357 w 10000"/>
                <a:gd name="connsiteY477" fmla="*/ 7865 h 10000"/>
                <a:gd name="connsiteX478" fmla="*/ 3271 w 10000"/>
                <a:gd name="connsiteY478" fmla="*/ 7730 h 10000"/>
                <a:gd name="connsiteX479" fmla="*/ 3256 w 10000"/>
                <a:gd name="connsiteY479" fmla="*/ 7820 h 10000"/>
                <a:gd name="connsiteX480" fmla="*/ 3225 w 10000"/>
                <a:gd name="connsiteY480" fmla="*/ 7820 h 10000"/>
                <a:gd name="connsiteX481" fmla="*/ 3171 w 10000"/>
                <a:gd name="connsiteY481" fmla="*/ 7551 h 10000"/>
                <a:gd name="connsiteX482" fmla="*/ 3109 w 10000"/>
                <a:gd name="connsiteY482" fmla="*/ 7281 h 10000"/>
                <a:gd name="connsiteX483" fmla="*/ 3039 w 10000"/>
                <a:gd name="connsiteY483" fmla="*/ 7146 h 10000"/>
                <a:gd name="connsiteX484" fmla="*/ 3031 w 10000"/>
                <a:gd name="connsiteY484" fmla="*/ 7034 h 10000"/>
                <a:gd name="connsiteX485" fmla="*/ 2946 w 10000"/>
                <a:gd name="connsiteY485" fmla="*/ 7101 h 10000"/>
                <a:gd name="connsiteX486" fmla="*/ 2876 w 10000"/>
                <a:gd name="connsiteY486" fmla="*/ 7213 h 10000"/>
                <a:gd name="connsiteX487" fmla="*/ 2798 w 10000"/>
                <a:gd name="connsiteY487" fmla="*/ 7101 h 10000"/>
                <a:gd name="connsiteX488" fmla="*/ 2721 w 10000"/>
                <a:gd name="connsiteY488" fmla="*/ 7034 h 10000"/>
                <a:gd name="connsiteX489" fmla="*/ 2682 w 10000"/>
                <a:gd name="connsiteY489" fmla="*/ 6966 h 10000"/>
                <a:gd name="connsiteX490" fmla="*/ 2667 w 10000"/>
                <a:gd name="connsiteY490" fmla="*/ 6809 h 10000"/>
                <a:gd name="connsiteX491" fmla="*/ 2589 w 10000"/>
                <a:gd name="connsiteY491" fmla="*/ 6787 h 10000"/>
                <a:gd name="connsiteX492" fmla="*/ 2504 w 10000"/>
                <a:gd name="connsiteY492" fmla="*/ 6831 h 10000"/>
                <a:gd name="connsiteX493" fmla="*/ 2163 w 10000"/>
                <a:gd name="connsiteY493" fmla="*/ 7101 h 10000"/>
                <a:gd name="connsiteX494" fmla="*/ 2078 w 10000"/>
                <a:gd name="connsiteY494" fmla="*/ 7124 h 10000"/>
                <a:gd name="connsiteX495" fmla="*/ 2093 w 10000"/>
                <a:gd name="connsiteY495" fmla="*/ 7236 h 10000"/>
                <a:gd name="connsiteX496" fmla="*/ 2109 w 10000"/>
                <a:gd name="connsiteY496" fmla="*/ 7326 h 10000"/>
                <a:gd name="connsiteX497" fmla="*/ 2062 w 10000"/>
                <a:gd name="connsiteY497" fmla="*/ 7371 h 10000"/>
                <a:gd name="connsiteX498" fmla="*/ 2054 w 10000"/>
                <a:gd name="connsiteY498" fmla="*/ 7483 h 10000"/>
                <a:gd name="connsiteX499" fmla="*/ 2031 w 10000"/>
                <a:gd name="connsiteY499" fmla="*/ 7551 h 10000"/>
                <a:gd name="connsiteX500" fmla="*/ 2008 w 10000"/>
                <a:gd name="connsiteY500" fmla="*/ 7640 h 10000"/>
                <a:gd name="connsiteX501" fmla="*/ 2062 w 10000"/>
                <a:gd name="connsiteY501" fmla="*/ 7685 h 10000"/>
                <a:gd name="connsiteX502" fmla="*/ 2093 w 10000"/>
                <a:gd name="connsiteY502" fmla="*/ 7775 h 10000"/>
                <a:gd name="connsiteX503" fmla="*/ 2054 w 10000"/>
                <a:gd name="connsiteY503" fmla="*/ 7888 h 10000"/>
                <a:gd name="connsiteX504" fmla="*/ 1953 w 10000"/>
                <a:gd name="connsiteY504" fmla="*/ 7910 h 10000"/>
                <a:gd name="connsiteX505" fmla="*/ 1915 w 10000"/>
                <a:gd name="connsiteY505" fmla="*/ 7798 h 10000"/>
                <a:gd name="connsiteX506" fmla="*/ 1845 w 10000"/>
                <a:gd name="connsiteY506" fmla="*/ 7798 h 10000"/>
                <a:gd name="connsiteX507" fmla="*/ 1760 w 10000"/>
                <a:gd name="connsiteY507" fmla="*/ 7910 h 10000"/>
                <a:gd name="connsiteX508" fmla="*/ 1698 w 10000"/>
                <a:gd name="connsiteY508" fmla="*/ 7888 h 10000"/>
                <a:gd name="connsiteX509" fmla="*/ 1612 w 10000"/>
                <a:gd name="connsiteY509" fmla="*/ 7730 h 10000"/>
                <a:gd name="connsiteX510" fmla="*/ 1473 w 10000"/>
                <a:gd name="connsiteY510" fmla="*/ 7663 h 10000"/>
                <a:gd name="connsiteX511" fmla="*/ 1411 w 10000"/>
                <a:gd name="connsiteY511" fmla="*/ 7730 h 10000"/>
                <a:gd name="connsiteX512" fmla="*/ 1318 w 10000"/>
                <a:gd name="connsiteY512" fmla="*/ 7933 h 10000"/>
                <a:gd name="connsiteX513" fmla="*/ 1310 w 10000"/>
                <a:gd name="connsiteY513" fmla="*/ 8067 h 10000"/>
                <a:gd name="connsiteX514" fmla="*/ 1279 w 10000"/>
                <a:gd name="connsiteY514" fmla="*/ 8112 h 10000"/>
                <a:gd name="connsiteX515" fmla="*/ 1248 w 10000"/>
                <a:gd name="connsiteY515" fmla="*/ 7933 h 10000"/>
                <a:gd name="connsiteX516" fmla="*/ 1202 w 10000"/>
                <a:gd name="connsiteY516" fmla="*/ 8090 h 10000"/>
                <a:gd name="connsiteX517" fmla="*/ 1178 w 10000"/>
                <a:gd name="connsiteY517" fmla="*/ 8360 h 10000"/>
                <a:gd name="connsiteX518" fmla="*/ 1217 w 10000"/>
                <a:gd name="connsiteY518" fmla="*/ 8517 h 10000"/>
                <a:gd name="connsiteX519" fmla="*/ 1271 w 10000"/>
                <a:gd name="connsiteY519" fmla="*/ 8562 h 10000"/>
                <a:gd name="connsiteX520" fmla="*/ 1318 w 10000"/>
                <a:gd name="connsiteY520" fmla="*/ 8742 h 10000"/>
                <a:gd name="connsiteX521" fmla="*/ 1333 w 10000"/>
                <a:gd name="connsiteY521" fmla="*/ 8899 h 10000"/>
                <a:gd name="connsiteX0" fmla="*/ 1333 w 10000"/>
                <a:gd name="connsiteY0" fmla="*/ 8899 h 10000"/>
                <a:gd name="connsiteX1" fmla="*/ 1271 w 10000"/>
                <a:gd name="connsiteY1" fmla="*/ 9034 h 10000"/>
                <a:gd name="connsiteX2" fmla="*/ 1233 w 10000"/>
                <a:gd name="connsiteY2" fmla="*/ 9101 h 10000"/>
                <a:gd name="connsiteX3" fmla="*/ 1217 w 10000"/>
                <a:gd name="connsiteY3" fmla="*/ 9191 h 10000"/>
                <a:gd name="connsiteX4" fmla="*/ 1186 w 10000"/>
                <a:gd name="connsiteY4" fmla="*/ 9303 h 10000"/>
                <a:gd name="connsiteX5" fmla="*/ 1217 w 10000"/>
                <a:gd name="connsiteY5" fmla="*/ 9371 h 10000"/>
                <a:gd name="connsiteX6" fmla="*/ 1240 w 10000"/>
                <a:gd name="connsiteY6" fmla="*/ 9483 h 10000"/>
                <a:gd name="connsiteX7" fmla="*/ 1248 w 10000"/>
                <a:gd name="connsiteY7" fmla="*/ 9685 h 10000"/>
                <a:gd name="connsiteX8" fmla="*/ 1302 w 10000"/>
                <a:gd name="connsiteY8" fmla="*/ 9865 h 10000"/>
                <a:gd name="connsiteX9" fmla="*/ 1264 w 10000"/>
                <a:gd name="connsiteY9" fmla="*/ 9978 h 10000"/>
                <a:gd name="connsiteX10" fmla="*/ 1248 w 10000"/>
                <a:gd name="connsiteY10" fmla="*/ 10000 h 10000"/>
                <a:gd name="connsiteX11" fmla="*/ 1186 w 10000"/>
                <a:gd name="connsiteY11" fmla="*/ 9865 h 10000"/>
                <a:gd name="connsiteX12" fmla="*/ 1163 w 10000"/>
                <a:gd name="connsiteY12" fmla="*/ 9843 h 10000"/>
                <a:gd name="connsiteX13" fmla="*/ 1124 w 10000"/>
                <a:gd name="connsiteY13" fmla="*/ 9730 h 10000"/>
                <a:gd name="connsiteX14" fmla="*/ 1085 w 10000"/>
                <a:gd name="connsiteY14" fmla="*/ 9663 h 10000"/>
                <a:gd name="connsiteX15" fmla="*/ 1047 w 10000"/>
                <a:gd name="connsiteY15" fmla="*/ 9685 h 10000"/>
                <a:gd name="connsiteX16" fmla="*/ 1023 w 10000"/>
                <a:gd name="connsiteY16" fmla="*/ 9685 h 10000"/>
                <a:gd name="connsiteX17" fmla="*/ 984 w 10000"/>
                <a:gd name="connsiteY17" fmla="*/ 9640 h 10000"/>
                <a:gd name="connsiteX18" fmla="*/ 930 w 10000"/>
                <a:gd name="connsiteY18" fmla="*/ 9551 h 10000"/>
                <a:gd name="connsiteX19" fmla="*/ 899 w 10000"/>
                <a:gd name="connsiteY19" fmla="*/ 9551 h 10000"/>
                <a:gd name="connsiteX20" fmla="*/ 860 w 10000"/>
                <a:gd name="connsiteY20" fmla="*/ 9573 h 10000"/>
                <a:gd name="connsiteX21" fmla="*/ 814 w 10000"/>
                <a:gd name="connsiteY21" fmla="*/ 9483 h 10000"/>
                <a:gd name="connsiteX22" fmla="*/ 767 w 10000"/>
                <a:gd name="connsiteY22" fmla="*/ 9506 h 10000"/>
                <a:gd name="connsiteX23" fmla="*/ 667 w 10000"/>
                <a:gd name="connsiteY23" fmla="*/ 9303 h 10000"/>
                <a:gd name="connsiteX24" fmla="*/ 612 w 10000"/>
                <a:gd name="connsiteY24" fmla="*/ 9236 h 10000"/>
                <a:gd name="connsiteX25" fmla="*/ 628 w 10000"/>
                <a:gd name="connsiteY25" fmla="*/ 9079 h 10000"/>
                <a:gd name="connsiteX26" fmla="*/ 674 w 10000"/>
                <a:gd name="connsiteY26" fmla="*/ 8944 h 10000"/>
                <a:gd name="connsiteX27" fmla="*/ 667 w 10000"/>
                <a:gd name="connsiteY27" fmla="*/ 8831 h 10000"/>
                <a:gd name="connsiteX28" fmla="*/ 729 w 10000"/>
                <a:gd name="connsiteY28" fmla="*/ 8719 h 10000"/>
                <a:gd name="connsiteX29" fmla="*/ 659 w 10000"/>
                <a:gd name="connsiteY29" fmla="*/ 8697 h 10000"/>
                <a:gd name="connsiteX30" fmla="*/ 667 w 10000"/>
                <a:gd name="connsiteY30" fmla="*/ 8607 h 10000"/>
                <a:gd name="connsiteX31" fmla="*/ 705 w 10000"/>
                <a:gd name="connsiteY31" fmla="*/ 8562 h 10000"/>
                <a:gd name="connsiteX32" fmla="*/ 767 w 10000"/>
                <a:gd name="connsiteY32" fmla="*/ 8517 h 10000"/>
                <a:gd name="connsiteX33" fmla="*/ 775 w 10000"/>
                <a:gd name="connsiteY33" fmla="*/ 8157 h 10000"/>
                <a:gd name="connsiteX34" fmla="*/ 713 w 10000"/>
                <a:gd name="connsiteY34" fmla="*/ 8045 h 10000"/>
                <a:gd name="connsiteX35" fmla="*/ 636 w 10000"/>
                <a:gd name="connsiteY35" fmla="*/ 8045 h 10000"/>
                <a:gd name="connsiteX36" fmla="*/ 628 w 10000"/>
                <a:gd name="connsiteY36" fmla="*/ 7978 h 10000"/>
                <a:gd name="connsiteX37" fmla="*/ 504 w 10000"/>
                <a:gd name="connsiteY37" fmla="*/ 7955 h 10000"/>
                <a:gd name="connsiteX38" fmla="*/ 488 w 10000"/>
                <a:gd name="connsiteY38" fmla="*/ 7798 h 10000"/>
                <a:gd name="connsiteX39" fmla="*/ 419 w 10000"/>
                <a:gd name="connsiteY39" fmla="*/ 7753 h 10000"/>
                <a:gd name="connsiteX40" fmla="*/ 426 w 10000"/>
                <a:gd name="connsiteY40" fmla="*/ 7618 h 10000"/>
                <a:gd name="connsiteX41" fmla="*/ 411 w 10000"/>
                <a:gd name="connsiteY41" fmla="*/ 7506 h 10000"/>
                <a:gd name="connsiteX42" fmla="*/ 318 w 10000"/>
                <a:gd name="connsiteY42" fmla="*/ 7506 h 10000"/>
                <a:gd name="connsiteX43" fmla="*/ 302 w 10000"/>
                <a:gd name="connsiteY43" fmla="*/ 7551 h 10000"/>
                <a:gd name="connsiteX44" fmla="*/ 279 w 10000"/>
                <a:gd name="connsiteY44" fmla="*/ 7573 h 10000"/>
                <a:gd name="connsiteX45" fmla="*/ 248 w 10000"/>
                <a:gd name="connsiteY45" fmla="*/ 7528 h 10000"/>
                <a:gd name="connsiteX46" fmla="*/ 248 w 10000"/>
                <a:gd name="connsiteY46" fmla="*/ 7303 h 10000"/>
                <a:gd name="connsiteX47" fmla="*/ 318 w 10000"/>
                <a:gd name="connsiteY47" fmla="*/ 7303 h 10000"/>
                <a:gd name="connsiteX48" fmla="*/ 326 w 10000"/>
                <a:gd name="connsiteY48" fmla="*/ 7281 h 10000"/>
                <a:gd name="connsiteX49" fmla="*/ 217 w 10000"/>
                <a:gd name="connsiteY49" fmla="*/ 6944 h 10000"/>
                <a:gd name="connsiteX50" fmla="*/ 202 w 10000"/>
                <a:gd name="connsiteY50" fmla="*/ 6697 h 10000"/>
                <a:gd name="connsiteX51" fmla="*/ 124 w 10000"/>
                <a:gd name="connsiteY51" fmla="*/ 6674 h 10000"/>
                <a:gd name="connsiteX52" fmla="*/ 124 w 10000"/>
                <a:gd name="connsiteY52" fmla="*/ 6607 h 10000"/>
                <a:gd name="connsiteX53" fmla="*/ 54 w 10000"/>
                <a:gd name="connsiteY53" fmla="*/ 6562 h 10000"/>
                <a:gd name="connsiteX54" fmla="*/ 39 w 10000"/>
                <a:gd name="connsiteY54" fmla="*/ 6494 h 10000"/>
                <a:gd name="connsiteX55" fmla="*/ 23 w 10000"/>
                <a:gd name="connsiteY55" fmla="*/ 6315 h 10000"/>
                <a:gd name="connsiteX56" fmla="*/ 0 w 10000"/>
                <a:gd name="connsiteY56" fmla="*/ 6180 h 10000"/>
                <a:gd name="connsiteX57" fmla="*/ 8 w 10000"/>
                <a:gd name="connsiteY57" fmla="*/ 6045 h 10000"/>
                <a:gd name="connsiteX58" fmla="*/ 8 w 10000"/>
                <a:gd name="connsiteY58" fmla="*/ 5865 h 10000"/>
                <a:gd name="connsiteX59" fmla="*/ 31 w 10000"/>
                <a:gd name="connsiteY59" fmla="*/ 5730 h 10000"/>
                <a:gd name="connsiteX60" fmla="*/ 101 w 10000"/>
                <a:gd name="connsiteY60" fmla="*/ 5573 h 10000"/>
                <a:gd name="connsiteX61" fmla="*/ 155 w 10000"/>
                <a:gd name="connsiteY61" fmla="*/ 5551 h 10000"/>
                <a:gd name="connsiteX62" fmla="*/ 85 w 10000"/>
                <a:gd name="connsiteY62" fmla="*/ 5461 h 10000"/>
                <a:gd name="connsiteX63" fmla="*/ 47 w 10000"/>
                <a:gd name="connsiteY63" fmla="*/ 5326 h 10000"/>
                <a:gd name="connsiteX64" fmla="*/ 180 w 10000"/>
                <a:gd name="connsiteY64" fmla="*/ 4975 h 10000"/>
                <a:gd name="connsiteX65" fmla="*/ 248 w 10000"/>
                <a:gd name="connsiteY65" fmla="*/ 4764 h 10000"/>
                <a:gd name="connsiteX66" fmla="*/ 155 w 10000"/>
                <a:gd name="connsiteY66" fmla="*/ 4562 h 10000"/>
                <a:gd name="connsiteX67" fmla="*/ 194 w 10000"/>
                <a:gd name="connsiteY67" fmla="*/ 4449 h 10000"/>
                <a:gd name="connsiteX68" fmla="*/ 290 w 10000"/>
                <a:gd name="connsiteY68" fmla="*/ 4195 h 10000"/>
                <a:gd name="connsiteX69" fmla="*/ 124 w 10000"/>
                <a:gd name="connsiteY69" fmla="*/ 4180 h 10000"/>
                <a:gd name="connsiteX70" fmla="*/ 155 w 10000"/>
                <a:gd name="connsiteY70" fmla="*/ 3955 h 10000"/>
                <a:gd name="connsiteX71" fmla="*/ 132 w 10000"/>
                <a:gd name="connsiteY71" fmla="*/ 3775 h 10000"/>
                <a:gd name="connsiteX72" fmla="*/ 93 w 10000"/>
                <a:gd name="connsiteY72" fmla="*/ 3573 h 10000"/>
                <a:gd name="connsiteX73" fmla="*/ 155 w 10000"/>
                <a:gd name="connsiteY73" fmla="*/ 3393 h 10000"/>
                <a:gd name="connsiteX74" fmla="*/ 62 w 10000"/>
                <a:gd name="connsiteY74" fmla="*/ 3236 h 10000"/>
                <a:gd name="connsiteX75" fmla="*/ 78 w 10000"/>
                <a:gd name="connsiteY75" fmla="*/ 2989 h 10000"/>
                <a:gd name="connsiteX76" fmla="*/ 116 w 10000"/>
                <a:gd name="connsiteY76" fmla="*/ 2876 h 10000"/>
                <a:gd name="connsiteX77" fmla="*/ 155 w 10000"/>
                <a:gd name="connsiteY77" fmla="*/ 2854 h 10000"/>
                <a:gd name="connsiteX78" fmla="*/ 155 w 10000"/>
                <a:gd name="connsiteY78" fmla="*/ 2787 h 10000"/>
                <a:gd name="connsiteX79" fmla="*/ 240 w 10000"/>
                <a:gd name="connsiteY79" fmla="*/ 2742 h 10000"/>
                <a:gd name="connsiteX80" fmla="*/ 310 w 10000"/>
                <a:gd name="connsiteY80" fmla="*/ 2742 h 10000"/>
                <a:gd name="connsiteX81" fmla="*/ 333 w 10000"/>
                <a:gd name="connsiteY81" fmla="*/ 2854 h 10000"/>
                <a:gd name="connsiteX82" fmla="*/ 372 w 10000"/>
                <a:gd name="connsiteY82" fmla="*/ 2899 h 10000"/>
                <a:gd name="connsiteX83" fmla="*/ 519 w 10000"/>
                <a:gd name="connsiteY83" fmla="*/ 2921 h 10000"/>
                <a:gd name="connsiteX84" fmla="*/ 628 w 10000"/>
                <a:gd name="connsiteY84" fmla="*/ 3079 h 10000"/>
                <a:gd name="connsiteX85" fmla="*/ 729 w 10000"/>
                <a:gd name="connsiteY85" fmla="*/ 3258 h 10000"/>
                <a:gd name="connsiteX86" fmla="*/ 845 w 10000"/>
                <a:gd name="connsiteY86" fmla="*/ 3438 h 10000"/>
                <a:gd name="connsiteX87" fmla="*/ 853 w 10000"/>
                <a:gd name="connsiteY87" fmla="*/ 3640 h 10000"/>
                <a:gd name="connsiteX88" fmla="*/ 783 w 10000"/>
                <a:gd name="connsiteY88" fmla="*/ 3820 h 10000"/>
                <a:gd name="connsiteX89" fmla="*/ 667 w 10000"/>
                <a:gd name="connsiteY89" fmla="*/ 3910 h 10000"/>
                <a:gd name="connsiteX90" fmla="*/ 566 w 10000"/>
                <a:gd name="connsiteY90" fmla="*/ 3798 h 10000"/>
                <a:gd name="connsiteX91" fmla="*/ 450 w 10000"/>
                <a:gd name="connsiteY91" fmla="*/ 3730 h 10000"/>
                <a:gd name="connsiteX92" fmla="*/ 364 w 10000"/>
                <a:gd name="connsiteY92" fmla="*/ 3640 h 10000"/>
                <a:gd name="connsiteX93" fmla="*/ 295 w 10000"/>
                <a:gd name="connsiteY93" fmla="*/ 3551 h 10000"/>
                <a:gd name="connsiteX94" fmla="*/ 349 w 10000"/>
                <a:gd name="connsiteY94" fmla="*/ 3753 h 10000"/>
                <a:gd name="connsiteX95" fmla="*/ 411 w 10000"/>
                <a:gd name="connsiteY95" fmla="*/ 3843 h 10000"/>
                <a:gd name="connsiteX96" fmla="*/ 442 w 10000"/>
                <a:gd name="connsiteY96" fmla="*/ 3910 h 10000"/>
                <a:gd name="connsiteX97" fmla="*/ 450 w 10000"/>
                <a:gd name="connsiteY97" fmla="*/ 4045 h 10000"/>
                <a:gd name="connsiteX98" fmla="*/ 473 w 10000"/>
                <a:gd name="connsiteY98" fmla="*/ 4337 h 10000"/>
                <a:gd name="connsiteX99" fmla="*/ 512 w 10000"/>
                <a:gd name="connsiteY99" fmla="*/ 4360 h 10000"/>
                <a:gd name="connsiteX100" fmla="*/ 574 w 10000"/>
                <a:gd name="connsiteY100" fmla="*/ 4517 h 10000"/>
                <a:gd name="connsiteX101" fmla="*/ 651 w 10000"/>
                <a:gd name="connsiteY101" fmla="*/ 4517 h 10000"/>
                <a:gd name="connsiteX102" fmla="*/ 659 w 10000"/>
                <a:gd name="connsiteY102" fmla="*/ 4404 h 10000"/>
                <a:gd name="connsiteX103" fmla="*/ 612 w 10000"/>
                <a:gd name="connsiteY103" fmla="*/ 4360 h 10000"/>
                <a:gd name="connsiteX104" fmla="*/ 574 w 10000"/>
                <a:gd name="connsiteY104" fmla="*/ 4225 h 10000"/>
                <a:gd name="connsiteX105" fmla="*/ 605 w 10000"/>
                <a:gd name="connsiteY105" fmla="*/ 4112 h 10000"/>
                <a:gd name="connsiteX106" fmla="*/ 651 w 10000"/>
                <a:gd name="connsiteY106" fmla="*/ 4225 h 10000"/>
                <a:gd name="connsiteX107" fmla="*/ 698 w 10000"/>
                <a:gd name="connsiteY107" fmla="*/ 4270 h 10000"/>
                <a:gd name="connsiteX108" fmla="*/ 798 w 10000"/>
                <a:gd name="connsiteY108" fmla="*/ 4337 h 10000"/>
                <a:gd name="connsiteX109" fmla="*/ 798 w 10000"/>
                <a:gd name="connsiteY109" fmla="*/ 4225 h 10000"/>
                <a:gd name="connsiteX110" fmla="*/ 760 w 10000"/>
                <a:gd name="connsiteY110" fmla="*/ 4090 h 10000"/>
                <a:gd name="connsiteX111" fmla="*/ 806 w 10000"/>
                <a:gd name="connsiteY111" fmla="*/ 3955 h 10000"/>
                <a:gd name="connsiteX112" fmla="*/ 876 w 10000"/>
                <a:gd name="connsiteY112" fmla="*/ 3843 h 10000"/>
                <a:gd name="connsiteX113" fmla="*/ 915 w 10000"/>
                <a:gd name="connsiteY113" fmla="*/ 3753 h 10000"/>
                <a:gd name="connsiteX114" fmla="*/ 1023 w 10000"/>
                <a:gd name="connsiteY114" fmla="*/ 3843 h 10000"/>
                <a:gd name="connsiteX115" fmla="*/ 1047 w 10000"/>
                <a:gd name="connsiteY115" fmla="*/ 3573 h 10000"/>
                <a:gd name="connsiteX116" fmla="*/ 1016 w 10000"/>
                <a:gd name="connsiteY116" fmla="*/ 3483 h 10000"/>
                <a:gd name="connsiteX117" fmla="*/ 1031 w 10000"/>
                <a:gd name="connsiteY117" fmla="*/ 3236 h 10000"/>
                <a:gd name="connsiteX118" fmla="*/ 1000 w 10000"/>
                <a:gd name="connsiteY118" fmla="*/ 3146 h 10000"/>
                <a:gd name="connsiteX119" fmla="*/ 1132 w 10000"/>
                <a:gd name="connsiteY119" fmla="*/ 3124 h 10000"/>
                <a:gd name="connsiteX120" fmla="*/ 1178 w 10000"/>
                <a:gd name="connsiteY120" fmla="*/ 3281 h 10000"/>
                <a:gd name="connsiteX121" fmla="*/ 1178 w 10000"/>
                <a:gd name="connsiteY121" fmla="*/ 3371 h 10000"/>
                <a:gd name="connsiteX122" fmla="*/ 1116 w 10000"/>
                <a:gd name="connsiteY122" fmla="*/ 3371 h 10000"/>
                <a:gd name="connsiteX123" fmla="*/ 1078 w 10000"/>
                <a:gd name="connsiteY123" fmla="*/ 3483 h 10000"/>
                <a:gd name="connsiteX124" fmla="*/ 1140 w 10000"/>
                <a:gd name="connsiteY124" fmla="*/ 3640 h 10000"/>
                <a:gd name="connsiteX125" fmla="*/ 1233 w 10000"/>
                <a:gd name="connsiteY125" fmla="*/ 3663 h 10000"/>
                <a:gd name="connsiteX126" fmla="*/ 1271 w 10000"/>
                <a:gd name="connsiteY126" fmla="*/ 3393 h 10000"/>
                <a:gd name="connsiteX127" fmla="*/ 1496 w 10000"/>
                <a:gd name="connsiteY127" fmla="*/ 3146 h 10000"/>
                <a:gd name="connsiteX128" fmla="*/ 1535 w 10000"/>
                <a:gd name="connsiteY128" fmla="*/ 3169 h 10000"/>
                <a:gd name="connsiteX129" fmla="*/ 1581 w 10000"/>
                <a:gd name="connsiteY129" fmla="*/ 3034 h 10000"/>
                <a:gd name="connsiteX130" fmla="*/ 1628 w 10000"/>
                <a:gd name="connsiteY130" fmla="*/ 2989 h 10000"/>
                <a:gd name="connsiteX131" fmla="*/ 1612 w 10000"/>
                <a:gd name="connsiteY131" fmla="*/ 3191 h 10000"/>
                <a:gd name="connsiteX132" fmla="*/ 1690 w 10000"/>
                <a:gd name="connsiteY132" fmla="*/ 3191 h 10000"/>
                <a:gd name="connsiteX133" fmla="*/ 1705 w 10000"/>
                <a:gd name="connsiteY133" fmla="*/ 3101 h 10000"/>
                <a:gd name="connsiteX134" fmla="*/ 1845 w 10000"/>
                <a:gd name="connsiteY134" fmla="*/ 3124 h 10000"/>
                <a:gd name="connsiteX135" fmla="*/ 1938 w 10000"/>
                <a:gd name="connsiteY135" fmla="*/ 2966 h 10000"/>
                <a:gd name="connsiteX136" fmla="*/ 1953 w 10000"/>
                <a:gd name="connsiteY136" fmla="*/ 3079 h 10000"/>
                <a:gd name="connsiteX137" fmla="*/ 1946 w 10000"/>
                <a:gd name="connsiteY137" fmla="*/ 3169 h 10000"/>
                <a:gd name="connsiteX138" fmla="*/ 1984 w 10000"/>
                <a:gd name="connsiteY138" fmla="*/ 3169 h 10000"/>
                <a:gd name="connsiteX139" fmla="*/ 2000 w 10000"/>
                <a:gd name="connsiteY139" fmla="*/ 3079 h 10000"/>
                <a:gd name="connsiteX140" fmla="*/ 2062 w 10000"/>
                <a:gd name="connsiteY140" fmla="*/ 2966 h 10000"/>
                <a:gd name="connsiteX141" fmla="*/ 2016 w 10000"/>
                <a:gd name="connsiteY141" fmla="*/ 2787 h 10000"/>
                <a:gd name="connsiteX142" fmla="*/ 1930 w 10000"/>
                <a:gd name="connsiteY142" fmla="*/ 2697 h 10000"/>
                <a:gd name="connsiteX143" fmla="*/ 1930 w 10000"/>
                <a:gd name="connsiteY143" fmla="*/ 2539 h 10000"/>
                <a:gd name="connsiteX144" fmla="*/ 1961 w 10000"/>
                <a:gd name="connsiteY144" fmla="*/ 2517 h 10000"/>
                <a:gd name="connsiteX145" fmla="*/ 2039 w 10000"/>
                <a:gd name="connsiteY145" fmla="*/ 2719 h 10000"/>
                <a:gd name="connsiteX146" fmla="*/ 2163 w 10000"/>
                <a:gd name="connsiteY146" fmla="*/ 2742 h 10000"/>
                <a:gd name="connsiteX147" fmla="*/ 2295 w 10000"/>
                <a:gd name="connsiteY147" fmla="*/ 2876 h 10000"/>
                <a:gd name="connsiteX148" fmla="*/ 2403 w 10000"/>
                <a:gd name="connsiteY148" fmla="*/ 3011 h 10000"/>
                <a:gd name="connsiteX149" fmla="*/ 2519 w 10000"/>
                <a:gd name="connsiteY149" fmla="*/ 3191 h 10000"/>
                <a:gd name="connsiteX150" fmla="*/ 2550 w 10000"/>
                <a:gd name="connsiteY150" fmla="*/ 3034 h 10000"/>
                <a:gd name="connsiteX151" fmla="*/ 2496 w 10000"/>
                <a:gd name="connsiteY151" fmla="*/ 2876 h 10000"/>
                <a:gd name="connsiteX152" fmla="*/ 2426 w 10000"/>
                <a:gd name="connsiteY152" fmla="*/ 2764 h 10000"/>
                <a:gd name="connsiteX153" fmla="*/ 2426 w 10000"/>
                <a:gd name="connsiteY153" fmla="*/ 2652 h 10000"/>
                <a:gd name="connsiteX154" fmla="*/ 2457 w 10000"/>
                <a:gd name="connsiteY154" fmla="*/ 2427 h 10000"/>
                <a:gd name="connsiteX155" fmla="*/ 2419 w 10000"/>
                <a:gd name="connsiteY155" fmla="*/ 2360 h 10000"/>
                <a:gd name="connsiteX156" fmla="*/ 2426 w 10000"/>
                <a:gd name="connsiteY156" fmla="*/ 2292 h 10000"/>
                <a:gd name="connsiteX157" fmla="*/ 2519 w 10000"/>
                <a:gd name="connsiteY157" fmla="*/ 2090 h 10000"/>
                <a:gd name="connsiteX158" fmla="*/ 2581 w 10000"/>
                <a:gd name="connsiteY158" fmla="*/ 1730 h 10000"/>
                <a:gd name="connsiteX159" fmla="*/ 2775 w 10000"/>
                <a:gd name="connsiteY159" fmla="*/ 1775 h 10000"/>
                <a:gd name="connsiteX160" fmla="*/ 2791 w 10000"/>
                <a:gd name="connsiteY160" fmla="*/ 1843 h 10000"/>
                <a:gd name="connsiteX161" fmla="*/ 2775 w 10000"/>
                <a:gd name="connsiteY161" fmla="*/ 2045 h 10000"/>
                <a:gd name="connsiteX162" fmla="*/ 2736 w 10000"/>
                <a:gd name="connsiteY162" fmla="*/ 2225 h 10000"/>
                <a:gd name="connsiteX163" fmla="*/ 2775 w 10000"/>
                <a:gd name="connsiteY163" fmla="*/ 2315 h 10000"/>
                <a:gd name="connsiteX164" fmla="*/ 2791 w 10000"/>
                <a:gd name="connsiteY164" fmla="*/ 2517 h 10000"/>
                <a:gd name="connsiteX165" fmla="*/ 2775 w 10000"/>
                <a:gd name="connsiteY165" fmla="*/ 3011 h 10000"/>
                <a:gd name="connsiteX166" fmla="*/ 2837 w 10000"/>
                <a:gd name="connsiteY166" fmla="*/ 3146 h 10000"/>
                <a:gd name="connsiteX167" fmla="*/ 2806 w 10000"/>
                <a:gd name="connsiteY167" fmla="*/ 3348 h 10000"/>
                <a:gd name="connsiteX168" fmla="*/ 2698 w 10000"/>
                <a:gd name="connsiteY168" fmla="*/ 3618 h 10000"/>
                <a:gd name="connsiteX169" fmla="*/ 2643 w 10000"/>
                <a:gd name="connsiteY169" fmla="*/ 3685 h 10000"/>
                <a:gd name="connsiteX170" fmla="*/ 2581 w 10000"/>
                <a:gd name="connsiteY170" fmla="*/ 3640 h 10000"/>
                <a:gd name="connsiteX171" fmla="*/ 2550 w 10000"/>
                <a:gd name="connsiteY171" fmla="*/ 3685 h 10000"/>
                <a:gd name="connsiteX172" fmla="*/ 2597 w 10000"/>
                <a:gd name="connsiteY172" fmla="*/ 3775 h 10000"/>
                <a:gd name="connsiteX173" fmla="*/ 2667 w 10000"/>
                <a:gd name="connsiteY173" fmla="*/ 3820 h 10000"/>
                <a:gd name="connsiteX174" fmla="*/ 2736 w 10000"/>
                <a:gd name="connsiteY174" fmla="*/ 3843 h 10000"/>
                <a:gd name="connsiteX175" fmla="*/ 2814 w 10000"/>
                <a:gd name="connsiteY175" fmla="*/ 3663 h 10000"/>
                <a:gd name="connsiteX176" fmla="*/ 2922 w 10000"/>
                <a:gd name="connsiteY176" fmla="*/ 3348 h 10000"/>
                <a:gd name="connsiteX177" fmla="*/ 2891 w 10000"/>
                <a:gd name="connsiteY177" fmla="*/ 3169 h 10000"/>
                <a:gd name="connsiteX178" fmla="*/ 2930 w 10000"/>
                <a:gd name="connsiteY178" fmla="*/ 2989 h 10000"/>
                <a:gd name="connsiteX179" fmla="*/ 3016 w 10000"/>
                <a:gd name="connsiteY179" fmla="*/ 3034 h 10000"/>
                <a:gd name="connsiteX180" fmla="*/ 3054 w 10000"/>
                <a:gd name="connsiteY180" fmla="*/ 3146 h 10000"/>
                <a:gd name="connsiteX181" fmla="*/ 3070 w 10000"/>
                <a:gd name="connsiteY181" fmla="*/ 3326 h 10000"/>
                <a:gd name="connsiteX182" fmla="*/ 3124 w 10000"/>
                <a:gd name="connsiteY182" fmla="*/ 3191 h 10000"/>
                <a:gd name="connsiteX183" fmla="*/ 3093 w 10000"/>
                <a:gd name="connsiteY183" fmla="*/ 3011 h 10000"/>
                <a:gd name="connsiteX184" fmla="*/ 3016 w 10000"/>
                <a:gd name="connsiteY184" fmla="*/ 2944 h 10000"/>
                <a:gd name="connsiteX185" fmla="*/ 2853 w 10000"/>
                <a:gd name="connsiteY185" fmla="*/ 2921 h 10000"/>
                <a:gd name="connsiteX186" fmla="*/ 2853 w 10000"/>
                <a:gd name="connsiteY186" fmla="*/ 2697 h 10000"/>
                <a:gd name="connsiteX187" fmla="*/ 2884 w 10000"/>
                <a:gd name="connsiteY187" fmla="*/ 2472 h 10000"/>
                <a:gd name="connsiteX188" fmla="*/ 2845 w 10000"/>
                <a:gd name="connsiteY188" fmla="*/ 2292 h 10000"/>
                <a:gd name="connsiteX189" fmla="*/ 2822 w 10000"/>
                <a:gd name="connsiteY189" fmla="*/ 2157 h 10000"/>
                <a:gd name="connsiteX190" fmla="*/ 2868 w 10000"/>
                <a:gd name="connsiteY190" fmla="*/ 2022 h 10000"/>
                <a:gd name="connsiteX191" fmla="*/ 2922 w 10000"/>
                <a:gd name="connsiteY191" fmla="*/ 1955 h 10000"/>
                <a:gd name="connsiteX192" fmla="*/ 2930 w 10000"/>
                <a:gd name="connsiteY192" fmla="*/ 1775 h 10000"/>
                <a:gd name="connsiteX193" fmla="*/ 2961 w 10000"/>
                <a:gd name="connsiteY193" fmla="*/ 1775 h 10000"/>
                <a:gd name="connsiteX194" fmla="*/ 2969 w 10000"/>
                <a:gd name="connsiteY194" fmla="*/ 1978 h 10000"/>
                <a:gd name="connsiteX195" fmla="*/ 2946 w 10000"/>
                <a:gd name="connsiteY195" fmla="*/ 2135 h 10000"/>
                <a:gd name="connsiteX196" fmla="*/ 2961 w 10000"/>
                <a:gd name="connsiteY196" fmla="*/ 2247 h 10000"/>
                <a:gd name="connsiteX197" fmla="*/ 3023 w 10000"/>
                <a:gd name="connsiteY197" fmla="*/ 2292 h 10000"/>
                <a:gd name="connsiteX198" fmla="*/ 3116 w 10000"/>
                <a:gd name="connsiteY198" fmla="*/ 2360 h 10000"/>
                <a:gd name="connsiteX199" fmla="*/ 3163 w 10000"/>
                <a:gd name="connsiteY199" fmla="*/ 2360 h 10000"/>
                <a:gd name="connsiteX200" fmla="*/ 3109 w 10000"/>
                <a:gd name="connsiteY200" fmla="*/ 2247 h 10000"/>
                <a:gd name="connsiteX201" fmla="*/ 3031 w 10000"/>
                <a:gd name="connsiteY201" fmla="*/ 2180 h 10000"/>
                <a:gd name="connsiteX202" fmla="*/ 3000 w 10000"/>
                <a:gd name="connsiteY202" fmla="*/ 2045 h 10000"/>
                <a:gd name="connsiteX203" fmla="*/ 3047 w 10000"/>
                <a:gd name="connsiteY203" fmla="*/ 2000 h 10000"/>
                <a:gd name="connsiteX204" fmla="*/ 3124 w 10000"/>
                <a:gd name="connsiteY204" fmla="*/ 2045 h 10000"/>
                <a:gd name="connsiteX205" fmla="*/ 3070 w 10000"/>
                <a:gd name="connsiteY205" fmla="*/ 1865 h 10000"/>
                <a:gd name="connsiteX206" fmla="*/ 3093 w 10000"/>
                <a:gd name="connsiteY206" fmla="*/ 1820 h 10000"/>
                <a:gd name="connsiteX207" fmla="*/ 3225 w 10000"/>
                <a:gd name="connsiteY207" fmla="*/ 1933 h 10000"/>
                <a:gd name="connsiteX208" fmla="*/ 3302 w 10000"/>
                <a:gd name="connsiteY208" fmla="*/ 2112 h 10000"/>
                <a:gd name="connsiteX209" fmla="*/ 3411 w 10000"/>
                <a:gd name="connsiteY209" fmla="*/ 2112 h 10000"/>
                <a:gd name="connsiteX210" fmla="*/ 3357 w 10000"/>
                <a:gd name="connsiteY210" fmla="*/ 1955 h 10000"/>
                <a:gd name="connsiteX211" fmla="*/ 3287 w 10000"/>
                <a:gd name="connsiteY211" fmla="*/ 1798 h 10000"/>
                <a:gd name="connsiteX212" fmla="*/ 3264 w 10000"/>
                <a:gd name="connsiteY212" fmla="*/ 1551 h 10000"/>
                <a:gd name="connsiteX213" fmla="*/ 3310 w 10000"/>
                <a:gd name="connsiteY213" fmla="*/ 1461 h 10000"/>
                <a:gd name="connsiteX214" fmla="*/ 3488 w 10000"/>
                <a:gd name="connsiteY214" fmla="*/ 1438 h 10000"/>
                <a:gd name="connsiteX215" fmla="*/ 3667 w 10000"/>
                <a:gd name="connsiteY215" fmla="*/ 1348 h 10000"/>
                <a:gd name="connsiteX216" fmla="*/ 3620 w 10000"/>
                <a:gd name="connsiteY216" fmla="*/ 1101 h 10000"/>
                <a:gd name="connsiteX217" fmla="*/ 3767 w 10000"/>
                <a:gd name="connsiteY217" fmla="*/ 899 h 10000"/>
                <a:gd name="connsiteX218" fmla="*/ 4093 w 10000"/>
                <a:gd name="connsiteY218" fmla="*/ 584 h 10000"/>
                <a:gd name="connsiteX219" fmla="*/ 4233 w 10000"/>
                <a:gd name="connsiteY219" fmla="*/ 539 h 10000"/>
                <a:gd name="connsiteX220" fmla="*/ 4364 w 10000"/>
                <a:gd name="connsiteY220" fmla="*/ 584 h 10000"/>
                <a:gd name="connsiteX221" fmla="*/ 4558 w 10000"/>
                <a:gd name="connsiteY221" fmla="*/ 404 h 10000"/>
                <a:gd name="connsiteX222" fmla="*/ 4543 w 10000"/>
                <a:gd name="connsiteY222" fmla="*/ 225 h 10000"/>
                <a:gd name="connsiteX223" fmla="*/ 4636 w 10000"/>
                <a:gd name="connsiteY223" fmla="*/ 0 h 10000"/>
                <a:gd name="connsiteX224" fmla="*/ 4767 w 10000"/>
                <a:gd name="connsiteY224" fmla="*/ 22 h 10000"/>
                <a:gd name="connsiteX225" fmla="*/ 4837 w 10000"/>
                <a:gd name="connsiteY225" fmla="*/ 90 h 10000"/>
                <a:gd name="connsiteX226" fmla="*/ 4752 w 10000"/>
                <a:gd name="connsiteY226" fmla="*/ 225 h 10000"/>
                <a:gd name="connsiteX227" fmla="*/ 4915 w 10000"/>
                <a:gd name="connsiteY227" fmla="*/ 247 h 10000"/>
                <a:gd name="connsiteX228" fmla="*/ 4884 w 10000"/>
                <a:gd name="connsiteY228" fmla="*/ 404 h 10000"/>
                <a:gd name="connsiteX229" fmla="*/ 5178 w 10000"/>
                <a:gd name="connsiteY229" fmla="*/ 382 h 10000"/>
                <a:gd name="connsiteX230" fmla="*/ 5287 w 10000"/>
                <a:gd name="connsiteY230" fmla="*/ 584 h 10000"/>
                <a:gd name="connsiteX231" fmla="*/ 5302 w 10000"/>
                <a:gd name="connsiteY231" fmla="*/ 719 h 10000"/>
                <a:gd name="connsiteX232" fmla="*/ 5271 w 10000"/>
                <a:gd name="connsiteY232" fmla="*/ 944 h 10000"/>
                <a:gd name="connsiteX233" fmla="*/ 5140 w 10000"/>
                <a:gd name="connsiteY233" fmla="*/ 1146 h 10000"/>
                <a:gd name="connsiteX234" fmla="*/ 5000 w 10000"/>
                <a:gd name="connsiteY234" fmla="*/ 1371 h 10000"/>
                <a:gd name="connsiteX235" fmla="*/ 4806 w 10000"/>
                <a:gd name="connsiteY235" fmla="*/ 1685 h 10000"/>
                <a:gd name="connsiteX236" fmla="*/ 4822 w 10000"/>
                <a:gd name="connsiteY236" fmla="*/ 1730 h 10000"/>
                <a:gd name="connsiteX237" fmla="*/ 4907 w 10000"/>
                <a:gd name="connsiteY237" fmla="*/ 1640 h 10000"/>
                <a:gd name="connsiteX238" fmla="*/ 5070 w 10000"/>
                <a:gd name="connsiteY238" fmla="*/ 1506 h 10000"/>
                <a:gd name="connsiteX239" fmla="*/ 5062 w 10000"/>
                <a:gd name="connsiteY239" fmla="*/ 1416 h 10000"/>
                <a:gd name="connsiteX240" fmla="*/ 5101 w 10000"/>
                <a:gd name="connsiteY240" fmla="*/ 1303 h 10000"/>
                <a:gd name="connsiteX241" fmla="*/ 5163 w 10000"/>
                <a:gd name="connsiteY241" fmla="*/ 1258 h 10000"/>
                <a:gd name="connsiteX242" fmla="*/ 5178 w 10000"/>
                <a:gd name="connsiteY242" fmla="*/ 1371 h 10000"/>
                <a:gd name="connsiteX243" fmla="*/ 5225 w 10000"/>
                <a:gd name="connsiteY243" fmla="*/ 1416 h 10000"/>
                <a:gd name="connsiteX244" fmla="*/ 5295 w 10000"/>
                <a:gd name="connsiteY244" fmla="*/ 1551 h 10000"/>
                <a:gd name="connsiteX245" fmla="*/ 5333 w 10000"/>
                <a:gd name="connsiteY245" fmla="*/ 1483 h 10000"/>
                <a:gd name="connsiteX246" fmla="*/ 5620 w 10000"/>
                <a:gd name="connsiteY246" fmla="*/ 1506 h 10000"/>
                <a:gd name="connsiteX247" fmla="*/ 5620 w 10000"/>
                <a:gd name="connsiteY247" fmla="*/ 1618 h 10000"/>
                <a:gd name="connsiteX248" fmla="*/ 5899 w 10000"/>
                <a:gd name="connsiteY248" fmla="*/ 1708 h 10000"/>
                <a:gd name="connsiteX249" fmla="*/ 5930 w 10000"/>
                <a:gd name="connsiteY249" fmla="*/ 1416 h 10000"/>
                <a:gd name="connsiteX250" fmla="*/ 5984 w 10000"/>
                <a:gd name="connsiteY250" fmla="*/ 1438 h 10000"/>
                <a:gd name="connsiteX251" fmla="*/ 6062 w 10000"/>
                <a:gd name="connsiteY251" fmla="*/ 1551 h 10000"/>
                <a:gd name="connsiteX252" fmla="*/ 6186 w 10000"/>
                <a:gd name="connsiteY252" fmla="*/ 1528 h 10000"/>
                <a:gd name="connsiteX253" fmla="*/ 6256 w 10000"/>
                <a:gd name="connsiteY253" fmla="*/ 1753 h 10000"/>
                <a:gd name="connsiteX254" fmla="*/ 6271 w 10000"/>
                <a:gd name="connsiteY254" fmla="*/ 1955 h 10000"/>
                <a:gd name="connsiteX255" fmla="*/ 6225 w 10000"/>
                <a:gd name="connsiteY255" fmla="*/ 2045 h 10000"/>
                <a:gd name="connsiteX256" fmla="*/ 6310 w 10000"/>
                <a:gd name="connsiteY256" fmla="*/ 2337 h 10000"/>
                <a:gd name="connsiteX257" fmla="*/ 6395 w 10000"/>
                <a:gd name="connsiteY257" fmla="*/ 2404 h 10000"/>
                <a:gd name="connsiteX258" fmla="*/ 6473 w 10000"/>
                <a:gd name="connsiteY258" fmla="*/ 2067 h 10000"/>
                <a:gd name="connsiteX259" fmla="*/ 6574 w 10000"/>
                <a:gd name="connsiteY259" fmla="*/ 2225 h 10000"/>
                <a:gd name="connsiteX260" fmla="*/ 6667 w 10000"/>
                <a:gd name="connsiteY260" fmla="*/ 2135 h 10000"/>
                <a:gd name="connsiteX261" fmla="*/ 6767 w 10000"/>
                <a:gd name="connsiteY261" fmla="*/ 2247 h 10000"/>
                <a:gd name="connsiteX262" fmla="*/ 6853 w 10000"/>
                <a:gd name="connsiteY262" fmla="*/ 2157 h 10000"/>
                <a:gd name="connsiteX263" fmla="*/ 6915 w 10000"/>
                <a:gd name="connsiteY263" fmla="*/ 2067 h 10000"/>
                <a:gd name="connsiteX264" fmla="*/ 6907 w 10000"/>
                <a:gd name="connsiteY264" fmla="*/ 1865 h 10000"/>
                <a:gd name="connsiteX265" fmla="*/ 6992 w 10000"/>
                <a:gd name="connsiteY265" fmla="*/ 1775 h 10000"/>
                <a:gd name="connsiteX266" fmla="*/ 7256 w 10000"/>
                <a:gd name="connsiteY266" fmla="*/ 1820 h 10000"/>
                <a:gd name="connsiteX267" fmla="*/ 7302 w 10000"/>
                <a:gd name="connsiteY267" fmla="*/ 1933 h 10000"/>
                <a:gd name="connsiteX268" fmla="*/ 7326 w 10000"/>
                <a:gd name="connsiteY268" fmla="*/ 1978 h 10000"/>
                <a:gd name="connsiteX269" fmla="*/ 7465 w 10000"/>
                <a:gd name="connsiteY269" fmla="*/ 1933 h 10000"/>
                <a:gd name="connsiteX270" fmla="*/ 7527 w 10000"/>
                <a:gd name="connsiteY270" fmla="*/ 2022 h 10000"/>
                <a:gd name="connsiteX271" fmla="*/ 7496 w 10000"/>
                <a:gd name="connsiteY271" fmla="*/ 2135 h 10000"/>
                <a:gd name="connsiteX272" fmla="*/ 7550 w 10000"/>
                <a:gd name="connsiteY272" fmla="*/ 2202 h 10000"/>
                <a:gd name="connsiteX273" fmla="*/ 7667 w 10000"/>
                <a:gd name="connsiteY273" fmla="*/ 2337 h 10000"/>
                <a:gd name="connsiteX274" fmla="*/ 7868 w 10000"/>
                <a:gd name="connsiteY274" fmla="*/ 2360 h 10000"/>
                <a:gd name="connsiteX275" fmla="*/ 8078 w 10000"/>
                <a:gd name="connsiteY275" fmla="*/ 2382 h 10000"/>
                <a:gd name="connsiteX276" fmla="*/ 8163 w 10000"/>
                <a:gd name="connsiteY276" fmla="*/ 2517 h 10000"/>
                <a:gd name="connsiteX277" fmla="*/ 8155 w 10000"/>
                <a:gd name="connsiteY277" fmla="*/ 2674 h 10000"/>
                <a:gd name="connsiteX278" fmla="*/ 8171 w 10000"/>
                <a:gd name="connsiteY278" fmla="*/ 2764 h 10000"/>
                <a:gd name="connsiteX279" fmla="*/ 8240 w 10000"/>
                <a:gd name="connsiteY279" fmla="*/ 2831 h 10000"/>
                <a:gd name="connsiteX280" fmla="*/ 8295 w 10000"/>
                <a:gd name="connsiteY280" fmla="*/ 2764 h 10000"/>
                <a:gd name="connsiteX281" fmla="*/ 8550 w 10000"/>
                <a:gd name="connsiteY281" fmla="*/ 2809 h 10000"/>
                <a:gd name="connsiteX282" fmla="*/ 8581 w 10000"/>
                <a:gd name="connsiteY282" fmla="*/ 2809 h 10000"/>
                <a:gd name="connsiteX283" fmla="*/ 8643 w 10000"/>
                <a:gd name="connsiteY283" fmla="*/ 2719 h 10000"/>
                <a:gd name="connsiteX284" fmla="*/ 8667 w 10000"/>
                <a:gd name="connsiteY284" fmla="*/ 2742 h 10000"/>
                <a:gd name="connsiteX285" fmla="*/ 8667 w 10000"/>
                <a:gd name="connsiteY285" fmla="*/ 2876 h 10000"/>
                <a:gd name="connsiteX286" fmla="*/ 8736 w 10000"/>
                <a:gd name="connsiteY286" fmla="*/ 3034 h 10000"/>
                <a:gd name="connsiteX287" fmla="*/ 8814 w 10000"/>
                <a:gd name="connsiteY287" fmla="*/ 3056 h 10000"/>
                <a:gd name="connsiteX288" fmla="*/ 8837 w 10000"/>
                <a:gd name="connsiteY288" fmla="*/ 2966 h 10000"/>
                <a:gd name="connsiteX289" fmla="*/ 8814 w 10000"/>
                <a:gd name="connsiteY289" fmla="*/ 2831 h 10000"/>
                <a:gd name="connsiteX290" fmla="*/ 8806 w 10000"/>
                <a:gd name="connsiteY290" fmla="*/ 2629 h 10000"/>
                <a:gd name="connsiteX291" fmla="*/ 8853 w 10000"/>
                <a:gd name="connsiteY291" fmla="*/ 2607 h 10000"/>
                <a:gd name="connsiteX292" fmla="*/ 8922 w 10000"/>
                <a:gd name="connsiteY292" fmla="*/ 2697 h 10000"/>
                <a:gd name="connsiteX293" fmla="*/ 9047 w 10000"/>
                <a:gd name="connsiteY293" fmla="*/ 2697 h 10000"/>
                <a:gd name="connsiteX294" fmla="*/ 9194 w 10000"/>
                <a:gd name="connsiteY294" fmla="*/ 2764 h 10000"/>
                <a:gd name="connsiteX295" fmla="*/ 9364 w 10000"/>
                <a:gd name="connsiteY295" fmla="*/ 2944 h 10000"/>
                <a:gd name="connsiteX296" fmla="*/ 9465 w 10000"/>
                <a:gd name="connsiteY296" fmla="*/ 3101 h 10000"/>
                <a:gd name="connsiteX297" fmla="*/ 9643 w 10000"/>
                <a:gd name="connsiteY297" fmla="*/ 3326 h 10000"/>
                <a:gd name="connsiteX298" fmla="*/ 9674 w 10000"/>
                <a:gd name="connsiteY298" fmla="*/ 3461 h 10000"/>
                <a:gd name="connsiteX299" fmla="*/ 9698 w 10000"/>
                <a:gd name="connsiteY299" fmla="*/ 3596 h 10000"/>
                <a:gd name="connsiteX300" fmla="*/ 9736 w 10000"/>
                <a:gd name="connsiteY300" fmla="*/ 3775 h 10000"/>
                <a:gd name="connsiteX301" fmla="*/ 9767 w 10000"/>
                <a:gd name="connsiteY301" fmla="*/ 3730 h 10000"/>
                <a:gd name="connsiteX302" fmla="*/ 9744 w 10000"/>
                <a:gd name="connsiteY302" fmla="*/ 3528 h 10000"/>
                <a:gd name="connsiteX303" fmla="*/ 9806 w 10000"/>
                <a:gd name="connsiteY303" fmla="*/ 3551 h 10000"/>
                <a:gd name="connsiteX304" fmla="*/ 9884 w 10000"/>
                <a:gd name="connsiteY304" fmla="*/ 3596 h 10000"/>
                <a:gd name="connsiteX305" fmla="*/ 9953 w 10000"/>
                <a:gd name="connsiteY305" fmla="*/ 3730 h 10000"/>
                <a:gd name="connsiteX306" fmla="*/ 10000 w 10000"/>
                <a:gd name="connsiteY306" fmla="*/ 3865 h 10000"/>
                <a:gd name="connsiteX307" fmla="*/ 9953 w 10000"/>
                <a:gd name="connsiteY307" fmla="*/ 4000 h 10000"/>
                <a:gd name="connsiteX308" fmla="*/ 9853 w 10000"/>
                <a:gd name="connsiteY308" fmla="*/ 4067 h 10000"/>
                <a:gd name="connsiteX309" fmla="*/ 9837 w 10000"/>
                <a:gd name="connsiteY309" fmla="*/ 4225 h 10000"/>
                <a:gd name="connsiteX310" fmla="*/ 9806 w 10000"/>
                <a:gd name="connsiteY310" fmla="*/ 4427 h 10000"/>
                <a:gd name="connsiteX311" fmla="*/ 9698 w 10000"/>
                <a:gd name="connsiteY311" fmla="*/ 4270 h 10000"/>
                <a:gd name="connsiteX312" fmla="*/ 9636 w 10000"/>
                <a:gd name="connsiteY312" fmla="*/ 4202 h 10000"/>
                <a:gd name="connsiteX313" fmla="*/ 9643 w 10000"/>
                <a:gd name="connsiteY313" fmla="*/ 4022 h 10000"/>
                <a:gd name="connsiteX314" fmla="*/ 9481 w 10000"/>
                <a:gd name="connsiteY314" fmla="*/ 4045 h 10000"/>
                <a:gd name="connsiteX315" fmla="*/ 9457 w 10000"/>
                <a:gd name="connsiteY315" fmla="*/ 3820 h 10000"/>
                <a:gd name="connsiteX316" fmla="*/ 9403 w 10000"/>
                <a:gd name="connsiteY316" fmla="*/ 3843 h 10000"/>
                <a:gd name="connsiteX317" fmla="*/ 9395 w 10000"/>
                <a:gd name="connsiteY317" fmla="*/ 4000 h 10000"/>
                <a:gd name="connsiteX318" fmla="*/ 9419 w 10000"/>
                <a:gd name="connsiteY318" fmla="*/ 4067 h 10000"/>
                <a:gd name="connsiteX319" fmla="*/ 9349 w 10000"/>
                <a:gd name="connsiteY319" fmla="*/ 4247 h 10000"/>
                <a:gd name="connsiteX320" fmla="*/ 9271 w 10000"/>
                <a:gd name="connsiteY320" fmla="*/ 4270 h 10000"/>
                <a:gd name="connsiteX321" fmla="*/ 9217 w 10000"/>
                <a:gd name="connsiteY321" fmla="*/ 4247 h 10000"/>
                <a:gd name="connsiteX322" fmla="*/ 9186 w 10000"/>
                <a:gd name="connsiteY322" fmla="*/ 4180 h 10000"/>
                <a:gd name="connsiteX323" fmla="*/ 9178 w 10000"/>
                <a:gd name="connsiteY323" fmla="*/ 4270 h 10000"/>
                <a:gd name="connsiteX324" fmla="*/ 9233 w 10000"/>
                <a:gd name="connsiteY324" fmla="*/ 4337 h 10000"/>
                <a:gd name="connsiteX325" fmla="*/ 9287 w 10000"/>
                <a:gd name="connsiteY325" fmla="*/ 4427 h 10000"/>
                <a:gd name="connsiteX326" fmla="*/ 9310 w 10000"/>
                <a:gd name="connsiteY326" fmla="*/ 4629 h 10000"/>
                <a:gd name="connsiteX327" fmla="*/ 9357 w 10000"/>
                <a:gd name="connsiteY327" fmla="*/ 4831 h 10000"/>
                <a:gd name="connsiteX328" fmla="*/ 9302 w 10000"/>
                <a:gd name="connsiteY328" fmla="*/ 4921 h 10000"/>
                <a:gd name="connsiteX329" fmla="*/ 9202 w 10000"/>
                <a:gd name="connsiteY329" fmla="*/ 4809 h 10000"/>
                <a:gd name="connsiteX330" fmla="*/ 9155 w 10000"/>
                <a:gd name="connsiteY330" fmla="*/ 4921 h 10000"/>
                <a:gd name="connsiteX331" fmla="*/ 9016 w 10000"/>
                <a:gd name="connsiteY331" fmla="*/ 5101 h 10000"/>
                <a:gd name="connsiteX332" fmla="*/ 8938 w 10000"/>
                <a:gd name="connsiteY332" fmla="*/ 5213 h 10000"/>
                <a:gd name="connsiteX333" fmla="*/ 8783 w 10000"/>
                <a:gd name="connsiteY333" fmla="*/ 5573 h 10000"/>
                <a:gd name="connsiteX334" fmla="*/ 8729 w 10000"/>
                <a:gd name="connsiteY334" fmla="*/ 5438 h 10000"/>
                <a:gd name="connsiteX335" fmla="*/ 8612 w 10000"/>
                <a:gd name="connsiteY335" fmla="*/ 5438 h 10000"/>
                <a:gd name="connsiteX336" fmla="*/ 8550 w 10000"/>
                <a:gd name="connsiteY336" fmla="*/ 5618 h 10000"/>
                <a:gd name="connsiteX337" fmla="*/ 8535 w 10000"/>
                <a:gd name="connsiteY337" fmla="*/ 5438 h 10000"/>
                <a:gd name="connsiteX338" fmla="*/ 8496 w 10000"/>
                <a:gd name="connsiteY338" fmla="*/ 5438 h 10000"/>
                <a:gd name="connsiteX339" fmla="*/ 8481 w 10000"/>
                <a:gd name="connsiteY339" fmla="*/ 5573 h 10000"/>
                <a:gd name="connsiteX340" fmla="*/ 8372 w 10000"/>
                <a:gd name="connsiteY340" fmla="*/ 5573 h 10000"/>
                <a:gd name="connsiteX341" fmla="*/ 8279 w 10000"/>
                <a:gd name="connsiteY341" fmla="*/ 6000 h 10000"/>
                <a:gd name="connsiteX342" fmla="*/ 8279 w 10000"/>
                <a:gd name="connsiteY342" fmla="*/ 6135 h 10000"/>
                <a:gd name="connsiteX343" fmla="*/ 8341 w 10000"/>
                <a:gd name="connsiteY343" fmla="*/ 6135 h 10000"/>
                <a:gd name="connsiteX344" fmla="*/ 8326 w 10000"/>
                <a:gd name="connsiteY344" fmla="*/ 6337 h 10000"/>
                <a:gd name="connsiteX345" fmla="*/ 8349 w 10000"/>
                <a:gd name="connsiteY345" fmla="*/ 6517 h 10000"/>
                <a:gd name="connsiteX346" fmla="*/ 8279 w 10000"/>
                <a:gd name="connsiteY346" fmla="*/ 6584 h 10000"/>
                <a:gd name="connsiteX347" fmla="*/ 8256 w 10000"/>
                <a:gd name="connsiteY347" fmla="*/ 6742 h 10000"/>
                <a:gd name="connsiteX348" fmla="*/ 8279 w 10000"/>
                <a:gd name="connsiteY348" fmla="*/ 6944 h 10000"/>
                <a:gd name="connsiteX349" fmla="*/ 8186 w 10000"/>
                <a:gd name="connsiteY349" fmla="*/ 7034 h 10000"/>
                <a:gd name="connsiteX350" fmla="*/ 8155 w 10000"/>
                <a:gd name="connsiteY350" fmla="*/ 7124 h 10000"/>
                <a:gd name="connsiteX351" fmla="*/ 8155 w 10000"/>
                <a:gd name="connsiteY351" fmla="*/ 7191 h 10000"/>
                <a:gd name="connsiteX352" fmla="*/ 8163 w 10000"/>
                <a:gd name="connsiteY352" fmla="*/ 7236 h 10000"/>
                <a:gd name="connsiteX353" fmla="*/ 8155 w 10000"/>
                <a:gd name="connsiteY353" fmla="*/ 7281 h 10000"/>
                <a:gd name="connsiteX354" fmla="*/ 8062 w 10000"/>
                <a:gd name="connsiteY354" fmla="*/ 7371 h 10000"/>
                <a:gd name="connsiteX355" fmla="*/ 8062 w 10000"/>
                <a:gd name="connsiteY355" fmla="*/ 7528 h 10000"/>
                <a:gd name="connsiteX356" fmla="*/ 7946 w 10000"/>
                <a:gd name="connsiteY356" fmla="*/ 7865 h 10000"/>
                <a:gd name="connsiteX357" fmla="*/ 7930 w 10000"/>
                <a:gd name="connsiteY357" fmla="*/ 7506 h 10000"/>
                <a:gd name="connsiteX358" fmla="*/ 7884 w 10000"/>
                <a:gd name="connsiteY358" fmla="*/ 6944 h 10000"/>
                <a:gd name="connsiteX359" fmla="*/ 7884 w 10000"/>
                <a:gd name="connsiteY359" fmla="*/ 6539 h 10000"/>
                <a:gd name="connsiteX360" fmla="*/ 7930 w 10000"/>
                <a:gd name="connsiteY360" fmla="*/ 6382 h 10000"/>
                <a:gd name="connsiteX361" fmla="*/ 7977 w 10000"/>
                <a:gd name="connsiteY361" fmla="*/ 6135 h 10000"/>
                <a:gd name="connsiteX362" fmla="*/ 8039 w 10000"/>
                <a:gd name="connsiteY362" fmla="*/ 6090 h 10000"/>
                <a:gd name="connsiteX363" fmla="*/ 8202 w 10000"/>
                <a:gd name="connsiteY363" fmla="*/ 5640 h 10000"/>
                <a:gd name="connsiteX364" fmla="*/ 8326 w 10000"/>
                <a:gd name="connsiteY364" fmla="*/ 5393 h 10000"/>
                <a:gd name="connsiteX365" fmla="*/ 8364 w 10000"/>
                <a:gd name="connsiteY365" fmla="*/ 5348 h 10000"/>
                <a:gd name="connsiteX366" fmla="*/ 8426 w 10000"/>
                <a:gd name="connsiteY366" fmla="*/ 4944 h 10000"/>
                <a:gd name="connsiteX367" fmla="*/ 8457 w 10000"/>
                <a:gd name="connsiteY367" fmla="*/ 4899 h 10000"/>
                <a:gd name="connsiteX368" fmla="*/ 8395 w 10000"/>
                <a:gd name="connsiteY368" fmla="*/ 4831 h 10000"/>
                <a:gd name="connsiteX369" fmla="*/ 8372 w 10000"/>
                <a:gd name="connsiteY369" fmla="*/ 4854 h 10000"/>
                <a:gd name="connsiteX370" fmla="*/ 8349 w 10000"/>
                <a:gd name="connsiteY370" fmla="*/ 4921 h 10000"/>
                <a:gd name="connsiteX371" fmla="*/ 8349 w 10000"/>
                <a:gd name="connsiteY371" fmla="*/ 5124 h 10000"/>
                <a:gd name="connsiteX372" fmla="*/ 8295 w 10000"/>
                <a:gd name="connsiteY372" fmla="*/ 5124 h 10000"/>
                <a:gd name="connsiteX373" fmla="*/ 8171 w 10000"/>
                <a:gd name="connsiteY373" fmla="*/ 5348 h 10000"/>
                <a:gd name="connsiteX374" fmla="*/ 8140 w 10000"/>
                <a:gd name="connsiteY374" fmla="*/ 5258 h 10000"/>
                <a:gd name="connsiteX375" fmla="*/ 8171 w 10000"/>
                <a:gd name="connsiteY375" fmla="*/ 5079 h 10000"/>
                <a:gd name="connsiteX376" fmla="*/ 8132 w 10000"/>
                <a:gd name="connsiteY376" fmla="*/ 5124 h 10000"/>
                <a:gd name="connsiteX377" fmla="*/ 7977 w 10000"/>
                <a:gd name="connsiteY377" fmla="*/ 5124 h 10000"/>
                <a:gd name="connsiteX378" fmla="*/ 7829 w 10000"/>
                <a:gd name="connsiteY378" fmla="*/ 5461 h 10000"/>
                <a:gd name="connsiteX379" fmla="*/ 7798 w 10000"/>
                <a:gd name="connsiteY379" fmla="*/ 5640 h 10000"/>
                <a:gd name="connsiteX380" fmla="*/ 7814 w 10000"/>
                <a:gd name="connsiteY380" fmla="*/ 5685 h 10000"/>
                <a:gd name="connsiteX381" fmla="*/ 7853 w 10000"/>
                <a:gd name="connsiteY381" fmla="*/ 5798 h 10000"/>
                <a:gd name="connsiteX382" fmla="*/ 7791 w 10000"/>
                <a:gd name="connsiteY382" fmla="*/ 5798 h 10000"/>
                <a:gd name="connsiteX383" fmla="*/ 7729 w 10000"/>
                <a:gd name="connsiteY383" fmla="*/ 5820 h 10000"/>
                <a:gd name="connsiteX384" fmla="*/ 7612 w 10000"/>
                <a:gd name="connsiteY384" fmla="*/ 5843 h 10000"/>
                <a:gd name="connsiteX385" fmla="*/ 7643 w 10000"/>
                <a:gd name="connsiteY385" fmla="*/ 5753 h 10000"/>
                <a:gd name="connsiteX386" fmla="*/ 7620 w 10000"/>
                <a:gd name="connsiteY386" fmla="*/ 5663 h 10000"/>
                <a:gd name="connsiteX387" fmla="*/ 7535 w 10000"/>
                <a:gd name="connsiteY387" fmla="*/ 5640 h 10000"/>
                <a:gd name="connsiteX388" fmla="*/ 7481 w 10000"/>
                <a:gd name="connsiteY388" fmla="*/ 5663 h 10000"/>
                <a:gd name="connsiteX389" fmla="*/ 7457 w 10000"/>
                <a:gd name="connsiteY389" fmla="*/ 5753 h 10000"/>
                <a:gd name="connsiteX390" fmla="*/ 7341 w 10000"/>
                <a:gd name="connsiteY390" fmla="*/ 5730 h 10000"/>
                <a:gd name="connsiteX391" fmla="*/ 7287 w 10000"/>
                <a:gd name="connsiteY391" fmla="*/ 5753 h 10000"/>
                <a:gd name="connsiteX392" fmla="*/ 7085 w 10000"/>
                <a:gd name="connsiteY392" fmla="*/ 5753 h 10000"/>
                <a:gd name="connsiteX393" fmla="*/ 6636 w 10000"/>
                <a:gd name="connsiteY393" fmla="*/ 6876 h 10000"/>
                <a:gd name="connsiteX394" fmla="*/ 6643 w 10000"/>
                <a:gd name="connsiteY394" fmla="*/ 6989 h 10000"/>
                <a:gd name="connsiteX395" fmla="*/ 6721 w 10000"/>
                <a:gd name="connsiteY395" fmla="*/ 6966 h 10000"/>
                <a:gd name="connsiteX396" fmla="*/ 6729 w 10000"/>
                <a:gd name="connsiteY396" fmla="*/ 7146 h 10000"/>
                <a:gd name="connsiteX397" fmla="*/ 6767 w 10000"/>
                <a:gd name="connsiteY397" fmla="*/ 7011 h 10000"/>
                <a:gd name="connsiteX398" fmla="*/ 6806 w 10000"/>
                <a:gd name="connsiteY398" fmla="*/ 7191 h 10000"/>
                <a:gd name="connsiteX399" fmla="*/ 6860 w 10000"/>
                <a:gd name="connsiteY399" fmla="*/ 7056 h 10000"/>
                <a:gd name="connsiteX400" fmla="*/ 6946 w 10000"/>
                <a:gd name="connsiteY400" fmla="*/ 7101 h 10000"/>
                <a:gd name="connsiteX401" fmla="*/ 7008 w 10000"/>
                <a:gd name="connsiteY401" fmla="*/ 7326 h 10000"/>
                <a:gd name="connsiteX402" fmla="*/ 6992 w 10000"/>
                <a:gd name="connsiteY402" fmla="*/ 7573 h 10000"/>
                <a:gd name="connsiteX403" fmla="*/ 6961 w 10000"/>
                <a:gd name="connsiteY403" fmla="*/ 7820 h 10000"/>
                <a:gd name="connsiteX404" fmla="*/ 6953 w 10000"/>
                <a:gd name="connsiteY404" fmla="*/ 8180 h 10000"/>
                <a:gd name="connsiteX405" fmla="*/ 6930 w 10000"/>
                <a:gd name="connsiteY405" fmla="*/ 8382 h 10000"/>
                <a:gd name="connsiteX406" fmla="*/ 6698 w 10000"/>
                <a:gd name="connsiteY406" fmla="*/ 9213 h 10000"/>
                <a:gd name="connsiteX407" fmla="*/ 6628 w 10000"/>
                <a:gd name="connsiteY407" fmla="*/ 9461 h 10000"/>
                <a:gd name="connsiteX408" fmla="*/ 6574 w 10000"/>
                <a:gd name="connsiteY408" fmla="*/ 9573 h 10000"/>
                <a:gd name="connsiteX409" fmla="*/ 6504 w 10000"/>
                <a:gd name="connsiteY409" fmla="*/ 9663 h 10000"/>
                <a:gd name="connsiteX410" fmla="*/ 6450 w 10000"/>
                <a:gd name="connsiteY410" fmla="*/ 9573 h 10000"/>
                <a:gd name="connsiteX411" fmla="*/ 6380 w 10000"/>
                <a:gd name="connsiteY411" fmla="*/ 9618 h 10000"/>
                <a:gd name="connsiteX412" fmla="*/ 6380 w 10000"/>
                <a:gd name="connsiteY412" fmla="*/ 9213 h 10000"/>
                <a:gd name="connsiteX413" fmla="*/ 6434 w 10000"/>
                <a:gd name="connsiteY413" fmla="*/ 9101 h 10000"/>
                <a:gd name="connsiteX414" fmla="*/ 6457 w 10000"/>
                <a:gd name="connsiteY414" fmla="*/ 9169 h 10000"/>
                <a:gd name="connsiteX415" fmla="*/ 6504 w 10000"/>
                <a:gd name="connsiteY415" fmla="*/ 9146 h 10000"/>
                <a:gd name="connsiteX416" fmla="*/ 6550 w 10000"/>
                <a:gd name="connsiteY416" fmla="*/ 8899 h 10000"/>
                <a:gd name="connsiteX417" fmla="*/ 6574 w 10000"/>
                <a:gd name="connsiteY417" fmla="*/ 8652 h 10000"/>
                <a:gd name="connsiteX418" fmla="*/ 6605 w 10000"/>
                <a:gd name="connsiteY418" fmla="*/ 8607 h 10000"/>
                <a:gd name="connsiteX419" fmla="*/ 6597 w 10000"/>
                <a:gd name="connsiteY419" fmla="*/ 8449 h 10000"/>
                <a:gd name="connsiteX420" fmla="*/ 6535 w 10000"/>
                <a:gd name="connsiteY420" fmla="*/ 8472 h 10000"/>
                <a:gd name="connsiteX421" fmla="*/ 6481 w 10000"/>
                <a:gd name="connsiteY421" fmla="*/ 8494 h 10000"/>
                <a:gd name="connsiteX422" fmla="*/ 6457 w 10000"/>
                <a:gd name="connsiteY422" fmla="*/ 8584 h 10000"/>
                <a:gd name="connsiteX423" fmla="*/ 6372 w 10000"/>
                <a:gd name="connsiteY423" fmla="*/ 8562 h 10000"/>
                <a:gd name="connsiteX424" fmla="*/ 6357 w 10000"/>
                <a:gd name="connsiteY424" fmla="*/ 8337 h 10000"/>
                <a:gd name="connsiteX425" fmla="*/ 6240 w 10000"/>
                <a:gd name="connsiteY425" fmla="*/ 8157 h 10000"/>
                <a:gd name="connsiteX426" fmla="*/ 6178 w 10000"/>
                <a:gd name="connsiteY426" fmla="*/ 8157 h 10000"/>
                <a:gd name="connsiteX427" fmla="*/ 6093 w 10000"/>
                <a:gd name="connsiteY427" fmla="*/ 7573 h 10000"/>
                <a:gd name="connsiteX428" fmla="*/ 6047 w 10000"/>
                <a:gd name="connsiteY428" fmla="*/ 7348 h 10000"/>
                <a:gd name="connsiteX429" fmla="*/ 5930 w 10000"/>
                <a:gd name="connsiteY429" fmla="*/ 7213 h 10000"/>
                <a:gd name="connsiteX430" fmla="*/ 5760 w 10000"/>
                <a:gd name="connsiteY430" fmla="*/ 7258 h 10000"/>
                <a:gd name="connsiteX431" fmla="*/ 5705 w 10000"/>
                <a:gd name="connsiteY431" fmla="*/ 7326 h 10000"/>
                <a:gd name="connsiteX432" fmla="*/ 5698 w 10000"/>
                <a:gd name="connsiteY432" fmla="*/ 7416 h 10000"/>
                <a:gd name="connsiteX433" fmla="*/ 5744 w 10000"/>
                <a:gd name="connsiteY433" fmla="*/ 7438 h 10000"/>
                <a:gd name="connsiteX434" fmla="*/ 5744 w 10000"/>
                <a:gd name="connsiteY434" fmla="*/ 7596 h 10000"/>
                <a:gd name="connsiteX435" fmla="*/ 5705 w 10000"/>
                <a:gd name="connsiteY435" fmla="*/ 7663 h 10000"/>
                <a:gd name="connsiteX436" fmla="*/ 5667 w 10000"/>
                <a:gd name="connsiteY436" fmla="*/ 7865 h 10000"/>
                <a:gd name="connsiteX437" fmla="*/ 5651 w 10000"/>
                <a:gd name="connsiteY437" fmla="*/ 8045 h 10000"/>
                <a:gd name="connsiteX438" fmla="*/ 5605 w 10000"/>
                <a:gd name="connsiteY438" fmla="*/ 8067 h 10000"/>
                <a:gd name="connsiteX439" fmla="*/ 5566 w 10000"/>
                <a:gd name="connsiteY439" fmla="*/ 8180 h 10000"/>
                <a:gd name="connsiteX440" fmla="*/ 5496 w 10000"/>
                <a:gd name="connsiteY440" fmla="*/ 8067 h 10000"/>
                <a:gd name="connsiteX441" fmla="*/ 5403 w 10000"/>
                <a:gd name="connsiteY441" fmla="*/ 8045 h 10000"/>
                <a:gd name="connsiteX442" fmla="*/ 5372 w 10000"/>
                <a:gd name="connsiteY442" fmla="*/ 7978 h 10000"/>
                <a:gd name="connsiteX443" fmla="*/ 5333 w 10000"/>
                <a:gd name="connsiteY443" fmla="*/ 8000 h 10000"/>
                <a:gd name="connsiteX444" fmla="*/ 5264 w 10000"/>
                <a:gd name="connsiteY444" fmla="*/ 8157 h 10000"/>
                <a:gd name="connsiteX445" fmla="*/ 5147 w 10000"/>
                <a:gd name="connsiteY445" fmla="*/ 8225 h 10000"/>
                <a:gd name="connsiteX446" fmla="*/ 5078 w 10000"/>
                <a:gd name="connsiteY446" fmla="*/ 8247 h 10000"/>
                <a:gd name="connsiteX447" fmla="*/ 4992 w 10000"/>
                <a:gd name="connsiteY447" fmla="*/ 8225 h 10000"/>
                <a:gd name="connsiteX448" fmla="*/ 4969 w 10000"/>
                <a:gd name="connsiteY448" fmla="*/ 8157 h 10000"/>
                <a:gd name="connsiteX449" fmla="*/ 4946 w 10000"/>
                <a:gd name="connsiteY449" fmla="*/ 8067 h 10000"/>
                <a:gd name="connsiteX450" fmla="*/ 4907 w 10000"/>
                <a:gd name="connsiteY450" fmla="*/ 8045 h 10000"/>
                <a:gd name="connsiteX451" fmla="*/ 4884 w 10000"/>
                <a:gd name="connsiteY451" fmla="*/ 7978 h 10000"/>
                <a:gd name="connsiteX452" fmla="*/ 4791 w 10000"/>
                <a:gd name="connsiteY452" fmla="*/ 7933 h 10000"/>
                <a:gd name="connsiteX453" fmla="*/ 4736 w 10000"/>
                <a:gd name="connsiteY453" fmla="*/ 8022 h 10000"/>
                <a:gd name="connsiteX454" fmla="*/ 4636 w 10000"/>
                <a:gd name="connsiteY454" fmla="*/ 7978 h 10000"/>
                <a:gd name="connsiteX455" fmla="*/ 4597 w 10000"/>
                <a:gd name="connsiteY455" fmla="*/ 7843 h 10000"/>
                <a:gd name="connsiteX456" fmla="*/ 4589 w 10000"/>
                <a:gd name="connsiteY456" fmla="*/ 7730 h 10000"/>
                <a:gd name="connsiteX457" fmla="*/ 4496 w 10000"/>
                <a:gd name="connsiteY457" fmla="*/ 7640 h 10000"/>
                <a:gd name="connsiteX458" fmla="*/ 4388 w 10000"/>
                <a:gd name="connsiteY458" fmla="*/ 7573 h 10000"/>
                <a:gd name="connsiteX459" fmla="*/ 4318 w 10000"/>
                <a:gd name="connsiteY459" fmla="*/ 7775 h 10000"/>
                <a:gd name="connsiteX460" fmla="*/ 4364 w 10000"/>
                <a:gd name="connsiteY460" fmla="*/ 7933 h 10000"/>
                <a:gd name="connsiteX461" fmla="*/ 4357 w 10000"/>
                <a:gd name="connsiteY461" fmla="*/ 8022 h 10000"/>
                <a:gd name="connsiteX462" fmla="*/ 4310 w 10000"/>
                <a:gd name="connsiteY462" fmla="*/ 8135 h 10000"/>
                <a:gd name="connsiteX463" fmla="*/ 4279 w 10000"/>
                <a:gd name="connsiteY463" fmla="*/ 8067 h 10000"/>
                <a:gd name="connsiteX464" fmla="*/ 4155 w 10000"/>
                <a:gd name="connsiteY464" fmla="*/ 8067 h 10000"/>
                <a:gd name="connsiteX465" fmla="*/ 4116 w 10000"/>
                <a:gd name="connsiteY465" fmla="*/ 7933 h 10000"/>
                <a:gd name="connsiteX466" fmla="*/ 4039 w 10000"/>
                <a:gd name="connsiteY466" fmla="*/ 7888 h 10000"/>
                <a:gd name="connsiteX467" fmla="*/ 3969 w 10000"/>
                <a:gd name="connsiteY467" fmla="*/ 7865 h 10000"/>
                <a:gd name="connsiteX468" fmla="*/ 3837 w 10000"/>
                <a:gd name="connsiteY468" fmla="*/ 8067 h 10000"/>
                <a:gd name="connsiteX469" fmla="*/ 3806 w 10000"/>
                <a:gd name="connsiteY469" fmla="*/ 8157 h 10000"/>
                <a:gd name="connsiteX470" fmla="*/ 3752 w 10000"/>
                <a:gd name="connsiteY470" fmla="*/ 8180 h 10000"/>
                <a:gd name="connsiteX471" fmla="*/ 3721 w 10000"/>
                <a:gd name="connsiteY471" fmla="*/ 8270 h 10000"/>
                <a:gd name="connsiteX472" fmla="*/ 3659 w 10000"/>
                <a:gd name="connsiteY472" fmla="*/ 8270 h 10000"/>
                <a:gd name="connsiteX473" fmla="*/ 3643 w 10000"/>
                <a:gd name="connsiteY473" fmla="*/ 8112 h 10000"/>
                <a:gd name="connsiteX474" fmla="*/ 3558 w 10000"/>
                <a:gd name="connsiteY474" fmla="*/ 8090 h 10000"/>
                <a:gd name="connsiteX475" fmla="*/ 3504 w 10000"/>
                <a:gd name="connsiteY475" fmla="*/ 7978 h 10000"/>
                <a:gd name="connsiteX476" fmla="*/ 3465 w 10000"/>
                <a:gd name="connsiteY476" fmla="*/ 7820 h 10000"/>
                <a:gd name="connsiteX477" fmla="*/ 3357 w 10000"/>
                <a:gd name="connsiteY477" fmla="*/ 7865 h 10000"/>
                <a:gd name="connsiteX478" fmla="*/ 3271 w 10000"/>
                <a:gd name="connsiteY478" fmla="*/ 7730 h 10000"/>
                <a:gd name="connsiteX479" fmla="*/ 3256 w 10000"/>
                <a:gd name="connsiteY479" fmla="*/ 7820 h 10000"/>
                <a:gd name="connsiteX480" fmla="*/ 3225 w 10000"/>
                <a:gd name="connsiteY480" fmla="*/ 7820 h 10000"/>
                <a:gd name="connsiteX481" fmla="*/ 3171 w 10000"/>
                <a:gd name="connsiteY481" fmla="*/ 7551 h 10000"/>
                <a:gd name="connsiteX482" fmla="*/ 3109 w 10000"/>
                <a:gd name="connsiteY482" fmla="*/ 7281 h 10000"/>
                <a:gd name="connsiteX483" fmla="*/ 3039 w 10000"/>
                <a:gd name="connsiteY483" fmla="*/ 7146 h 10000"/>
                <a:gd name="connsiteX484" fmla="*/ 3031 w 10000"/>
                <a:gd name="connsiteY484" fmla="*/ 7034 h 10000"/>
                <a:gd name="connsiteX485" fmla="*/ 2946 w 10000"/>
                <a:gd name="connsiteY485" fmla="*/ 7101 h 10000"/>
                <a:gd name="connsiteX486" fmla="*/ 2876 w 10000"/>
                <a:gd name="connsiteY486" fmla="*/ 7213 h 10000"/>
                <a:gd name="connsiteX487" fmla="*/ 2798 w 10000"/>
                <a:gd name="connsiteY487" fmla="*/ 7101 h 10000"/>
                <a:gd name="connsiteX488" fmla="*/ 2721 w 10000"/>
                <a:gd name="connsiteY488" fmla="*/ 7034 h 10000"/>
                <a:gd name="connsiteX489" fmla="*/ 2682 w 10000"/>
                <a:gd name="connsiteY489" fmla="*/ 6966 h 10000"/>
                <a:gd name="connsiteX490" fmla="*/ 2667 w 10000"/>
                <a:gd name="connsiteY490" fmla="*/ 6809 h 10000"/>
                <a:gd name="connsiteX491" fmla="*/ 2589 w 10000"/>
                <a:gd name="connsiteY491" fmla="*/ 6787 h 10000"/>
                <a:gd name="connsiteX492" fmla="*/ 2504 w 10000"/>
                <a:gd name="connsiteY492" fmla="*/ 6831 h 10000"/>
                <a:gd name="connsiteX493" fmla="*/ 2163 w 10000"/>
                <a:gd name="connsiteY493" fmla="*/ 7101 h 10000"/>
                <a:gd name="connsiteX494" fmla="*/ 2078 w 10000"/>
                <a:gd name="connsiteY494" fmla="*/ 7124 h 10000"/>
                <a:gd name="connsiteX495" fmla="*/ 2093 w 10000"/>
                <a:gd name="connsiteY495" fmla="*/ 7236 h 10000"/>
                <a:gd name="connsiteX496" fmla="*/ 2109 w 10000"/>
                <a:gd name="connsiteY496" fmla="*/ 7326 h 10000"/>
                <a:gd name="connsiteX497" fmla="*/ 2062 w 10000"/>
                <a:gd name="connsiteY497" fmla="*/ 7371 h 10000"/>
                <a:gd name="connsiteX498" fmla="*/ 2054 w 10000"/>
                <a:gd name="connsiteY498" fmla="*/ 7483 h 10000"/>
                <a:gd name="connsiteX499" fmla="*/ 2031 w 10000"/>
                <a:gd name="connsiteY499" fmla="*/ 7551 h 10000"/>
                <a:gd name="connsiteX500" fmla="*/ 2008 w 10000"/>
                <a:gd name="connsiteY500" fmla="*/ 7640 h 10000"/>
                <a:gd name="connsiteX501" fmla="*/ 2062 w 10000"/>
                <a:gd name="connsiteY501" fmla="*/ 7685 h 10000"/>
                <a:gd name="connsiteX502" fmla="*/ 2093 w 10000"/>
                <a:gd name="connsiteY502" fmla="*/ 7775 h 10000"/>
                <a:gd name="connsiteX503" fmla="*/ 2054 w 10000"/>
                <a:gd name="connsiteY503" fmla="*/ 7888 h 10000"/>
                <a:gd name="connsiteX504" fmla="*/ 1953 w 10000"/>
                <a:gd name="connsiteY504" fmla="*/ 7910 h 10000"/>
                <a:gd name="connsiteX505" fmla="*/ 1915 w 10000"/>
                <a:gd name="connsiteY505" fmla="*/ 7798 h 10000"/>
                <a:gd name="connsiteX506" fmla="*/ 1845 w 10000"/>
                <a:gd name="connsiteY506" fmla="*/ 7798 h 10000"/>
                <a:gd name="connsiteX507" fmla="*/ 1760 w 10000"/>
                <a:gd name="connsiteY507" fmla="*/ 7910 h 10000"/>
                <a:gd name="connsiteX508" fmla="*/ 1698 w 10000"/>
                <a:gd name="connsiteY508" fmla="*/ 7888 h 10000"/>
                <a:gd name="connsiteX509" fmla="*/ 1612 w 10000"/>
                <a:gd name="connsiteY509" fmla="*/ 7730 h 10000"/>
                <a:gd name="connsiteX510" fmla="*/ 1473 w 10000"/>
                <a:gd name="connsiteY510" fmla="*/ 7663 h 10000"/>
                <a:gd name="connsiteX511" fmla="*/ 1411 w 10000"/>
                <a:gd name="connsiteY511" fmla="*/ 7730 h 10000"/>
                <a:gd name="connsiteX512" fmla="*/ 1318 w 10000"/>
                <a:gd name="connsiteY512" fmla="*/ 7933 h 10000"/>
                <a:gd name="connsiteX513" fmla="*/ 1310 w 10000"/>
                <a:gd name="connsiteY513" fmla="*/ 8067 h 10000"/>
                <a:gd name="connsiteX514" fmla="*/ 1279 w 10000"/>
                <a:gd name="connsiteY514" fmla="*/ 8112 h 10000"/>
                <a:gd name="connsiteX515" fmla="*/ 1248 w 10000"/>
                <a:gd name="connsiteY515" fmla="*/ 7933 h 10000"/>
                <a:gd name="connsiteX516" fmla="*/ 1202 w 10000"/>
                <a:gd name="connsiteY516" fmla="*/ 8090 h 10000"/>
                <a:gd name="connsiteX517" fmla="*/ 1178 w 10000"/>
                <a:gd name="connsiteY517" fmla="*/ 8360 h 10000"/>
                <a:gd name="connsiteX518" fmla="*/ 1217 w 10000"/>
                <a:gd name="connsiteY518" fmla="*/ 8517 h 10000"/>
                <a:gd name="connsiteX519" fmla="*/ 1271 w 10000"/>
                <a:gd name="connsiteY519" fmla="*/ 8562 h 10000"/>
                <a:gd name="connsiteX520" fmla="*/ 1318 w 10000"/>
                <a:gd name="connsiteY520" fmla="*/ 8742 h 10000"/>
                <a:gd name="connsiteX521" fmla="*/ 1333 w 10000"/>
                <a:gd name="connsiteY521" fmla="*/ 8899 h 10000"/>
                <a:gd name="connsiteX0" fmla="*/ 1333 w 10000"/>
                <a:gd name="connsiteY0" fmla="*/ 8899 h 10000"/>
                <a:gd name="connsiteX1" fmla="*/ 1271 w 10000"/>
                <a:gd name="connsiteY1" fmla="*/ 9034 h 10000"/>
                <a:gd name="connsiteX2" fmla="*/ 1233 w 10000"/>
                <a:gd name="connsiteY2" fmla="*/ 9101 h 10000"/>
                <a:gd name="connsiteX3" fmla="*/ 1217 w 10000"/>
                <a:gd name="connsiteY3" fmla="*/ 9191 h 10000"/>
                <a:gd name="connsiteX4" fmla="*/ 1186 w 10000"/>
                <a:gd name="connsiteY4" fmla="*/ 9303 h 10000"/>
                <a:gd name="connsiteX5" fmla="*/ 1217 w 10000"/>
                <a:gd name="connsiteY5" fmla="*/ 9371 h 10000"/>
                <a:gd name="connsiteX6" fmla="*/ 1240 w 10000"/>
                <a:gd name="connsiteY6" fmla="*/ 9483 h 10000"/>
                <a:gd name="connsiteX7" fmla="*/ 1248 w 10000"/>
                <a:gd name="connsiteY7" fmla="*/ 9685 h 10000"/>
                <a:gd name="connsiteX8" fmla="*/ 1302 w 10000"/>
                <a:gd name="connsiteY8" fmla="*/ 9865 h 10000"/>
                <a:gd name="connsiteX9" fmla="*/ 1264 w 10000"/>
                <a:gd name="connsiteY9" fmla="*/ 9978 h 10000"/>
                <a:gd name="connsiteX10" fmla="*/ 1248 w 10000"/>
                <a:gd name="connsiteY10" fmla="*/ 10000 h 10000"/>
                <a:gd name="connsiteX11" fmla="*/ 1186 w 10000"/>
                <a:gd name="connsiteY11" fmla="*/ 9865 h 10000"/>
                <a:gd name="connsiteX12" fmla="*/ 1163 w 10000"/>
                <a:gd name="connsiteY12" fmla="*/ 9843 h 10000"/>
                <a:gd name="connsiteX13" fmla="*/ 1124 w 10000"/>
                <a:gd name="connsiteY13" fmla="*/ 9730 h 10000"/>
                <a:gd name="connsiteX14" fmla="*/ 1085 w 10000"/>
                <a:gd name="connsiteY14" fmla="*/ 9663 h 10000"/>
                <a:gd name="connsiteX15" fmla="*/ 1047 w 10000"/>
                <a:gd name="connsiteY15" fmla="*/ 9685 h 10000"/>
                <a:gd name="connsiteX16" fmla="*/ 1023 w 10000"/>
                <a:gd name="connsiteY16" fmla="*/ 9685 h 10000"/>
                <a:gd name="connsiteX17" fmla="*/ 984 w 10000"/>
                <a:gd name="connsiteY17" fmla="*/ 9640 h 10000"/>
                <a:gd name="connsiteX18" fmla="*/ 930 w 10000"/>
                <a:gd name="connsiteY18" fmla="*/ 9551 h 10000"/>
                <a:gd name="connsiteX19" fmla="*/ 899 w 10000"/>
                <a:gd name="connsiteY19" fmla="*/ 9551 h 10000"/>
                <a:gd name="connsiteX20" fmla="*/ 860 w 10000"/>
                <a:gd name="connsiteY20" fmla="*/ 9573 h 10000"/>
                <a:gd name="connsiteX21" fmla="*/ 814 w 10000"/>
                <a:gd name="connsiteY21" fmla="*/ 9483 h 10000"/>
                <a:gd name="connsiteX22" fmla="*/ 767 w 10000"/>
                <a:gd name="connsiteY22" fmla="*/ 9506 h 10000"/>
                <a:gd name="connsiteX23" fmla="*/ 667 w 10000"/>
                <a:gd name="connsiteY23" fmla="*/ 9303 h 10000"/>
                <a:gd name="connsiteX24" fmla="*/ 612 w 10000"/>
                <a:gd name="connsiteY24" fmla="*/ 9236 h 10000"/>
                <a:gd name="connsiteX25" fmla="*/ 628 w 10000"/>
                <a:gd name="connsiteY25" fmla="*/ 9079 h 10000"/>
                <a:gd name="connsiteX26" fmla="*/ 674 w 10000"/>
                <a:gd name="connsiteY26" fmla="*/ 8944 h 10000"/>
                <a:gd name="connsiteX27" fmla="*/ 667 w 10000"/>
                <a:gd name="connsiteY27" fmla="*/ 8831 h 10000"/>
                <a:gd name="connsiteX28" fmla="*/ 729 w 10000"/>
                <a:gd name="connsiteY28" fmla="*/ 8719 h 10000"/>
                <a:gd name="connsiteX29" fmla="*/ 659 w 10000"/>
                <a:gd name="connsiteY29" fmla="*/ 8697 h 10000"/>
                <a:gd name="connsiteX30" fmla="*/ 667 w 10000"/>
                <a:gd name="connsiteY30" fmla="*/ 8607 h 10000"/>
                <a:gd name="connsiteX31" fmla="*/ 705 w 10000"/>
                <a:gd name="connsiteY31" fmla="*/ 8562 h 10000"/>
                <a:gd name="connsiteX32" fmla="*/ 767 w 10000"/>
                <a:gd name="connsiteY32" fmla="*/ 8517 h 10000"/>
                <a:gd name="connsiteX33" fmla="*/ 775 w 10000"/>
                <a:gd name="connsiteY33" fmla="*/ 8157 h 10000"/>
                <a:gd name="connsiteX34" fmla="*/ 713 w 10000"/>
                <a:gd name="connsiteY34" fmla="*/ 8045 h 10000"/>
                <a:gd name="connsiteX35" fmla="*/ 636 w 10000"/>
                <a:gd name="connsiteY35" fmla="*/ 8045 h 10000"/>
                <a:gd name="connsiteX36" fmla="*/ 628 w 10000"/>
                <a:gd name="connsiteY36" fmla="*/ 7978 h 10000"/>
                <a:gd name="connsiteX37" fmla="*/ 504 w 10000"/>
                <a:gd name="connsiteY37" fmla="*/ 7955 h 10000"/>
                <a:gd name="connsiteX38" fmla="*/ 488 w 10000"/>
                <a:gd name="connsiteY38" fmla="*/ 7798 h 10000"/>
                <a:gd name="connsiteX39" fmla="*/ 419 w 10000"/>
                <a:gd name="connsiteY39" fmla="*/ 7753 h 10000"/>
                <a:gd name="connsiteX40" fmla="*/ 426 w 10000"/>
                <a:gd name="connsiteY40" fmla="*/ 7618 h 10000"/>
                <a:gd name="connsiteX41" fmla="*/ 411 w 10000"/>
                <a:gd name="connsiteY41" fmla="*/ 7506 h 10000"/>
                <a:gd name="connsiteX42" fmla="*/ 318 w 10000"/>
                <a:gd name="connsiteY42" fmla="*/ 7506 h 10000"/>
                <a:gd name="connsiteX43" fmla="*/ 302 w 10000"/>
                <a:gd name="connsiteY43" fmla="*/ 7551 h 10000"/>
                <a:gd name="connsiteX44" fmla="*/ 279 w 10000"/>
                <a:gd name="connsiteY44" fmla="*/ 7573 h 10000"/>
                <a:gd name="connsiteX45" fmla="*/ 248 w 10000"/>
                <a:gd name="connsiteY45" fmla="*/ 7528 h 10000"/>
                <a:gd name="connsiteX46" fmla="*/ 248 w 10000"/>
                <a:gd name="connsiteY46" fmla="*/ 7303 h 10000"/>
                <a:gd name="connsiteX47" fmla="*/ 318 w 10000"/>
                <a:gd name="connsiteY47" fmla="*/ 7303 h 10000"/>
                <a:gd name="connsiteX48" fmla="*/ 326 w 10000"/>
                <a:gd name="connsiteY48" fmla="*/ 7281 h 10000"/>
                <a:gd name="connsiteX49" fmla="*/ 217 w 10000"/>
                <a:gd name="connsiteY49" fmla="*/ 6944 h 10000"/>
                <a:gd name="connsiteX50" fmla="*/ 202 w 10000"/>
                <a:gd name="connsiteY50" fmla="*/ 6697 h 10000"/>
                <a:gd name="connsiteX51" fmla="*/ 124 w 10000"/>
                <a:gd name="connsiteY51" fmla="*/ 6674 h 10000"/>
                <a:gd name="connsiteX52" fmla="*/ 124 w 10000"/>
                <a:gd name="connsiteY52" fmla="*/ 6607 h 10000"/>
                <a:gd name="connsiteX53" fmla="*/ 54 w 10000"/>
                <a:gd name="connsiteY53" fmla="*/ 6562 h 10000"/>
                <a:gd name="connsiteX54" fmla="*/ 39 w 10000"/>
                <a:gd name="connsiteY54" fmla="*/ 6494 h 10000"/>
                <a:gd name="connsiteX55" fmla="*/ 23 w 10000"/>
                <a:gd name="connsiteY55" fmla="*/ 6315 h 10000"/>
                <a:gd name="connsiteX56" fmla="*/ 0 w 10000"/>
                <a:gd name="connsiteY56" fmla="*/ 6180 h 10000"/>
                <a:gd name="connsiteX57" fmla="*/ 8 w 10000"/>
                <a:gd name="connsiteY57" fmla="*/ 6045 h 10000"/>
                <a:gd name="connsiteX58" fmla="*/ 8 w 10000"/>
                <a:gd name="connsiteY58" fmla="*/ 5865 h 10000"/>
                <a:gd name="connsiteX59" fmla="*/ 31 w 10000"/>
                <a:gd name="connsiteY59" fmla="*/ 5730 h 10000"/>
                <a:gd name="connsiteX60" fmla="*/ 101 w 10000"/>
                <a:gd name="connsiteY60" fmla="*/ 5573 h 10000"/>
                <a:gd name="connsiteX61" fmla="*/ 155 w 10000"/>
                <a:gd name="connsiteY61" fmla="*/ 5551 h 10000"/>
                <a:gd name="connsiteX62" fmla="*/ 85 w 10000"/>
                <a:gd name="connsiteY62" fmla="*/ 5461 h 10000"/>
                <a:gd name="connsiteX63" fmla="*/ 47 w 10000"/>
                <a:gd name="connsiteY63" fmla="*/ 5326 h 10000"/>
                <a:gd name="connsiteX64" fmla="*/ 180 w 10000"/>
                <a:gd name="connsiteY64" fmla="*/ 4975 h 10000"/>
                <a:gd name="connsiteX65" fmla="*/ 248 w 10000"/>
                <a:gd name="connsiteY65" fmla="*/ 4764 h 10000"/>
                <a:gd name="connsiteX66" fmla="*/ 155 w 10000"/>
                <a:gd name="connsiteY66" fmla="*/ 4562 h 10000"/>
                <a:gd name="connsiteX67" fmla="*/ 194 w 10000"/>
                <a:gd name="connsiteY67" fmla="*/ 4449 h 10000"/>
                <a:gd name="connsiteX68" fmla="*/ 145 w 10000"/>
                <a:gd name="connsiteY68" fmla="*/ 4313 h 10000"/>
                <a:gd name="connsiteX69" fmla="*/ 124 w 10000"/>
                <a:gd name="connsiteY69" fmla="*/ 4180 h 10000"/>
                <a:gd name="connsiteX70" fmla="*/ 155 w 10000"/>
                <a:gd name="connsiteY70" fmla="*/ 3955 h 10000"/>
                <a:gd name="connsiteX71" fmla="*/ 132 w 10000"/>
                <a:gd name="connsiteY71" fmla="*/ 3775 h 10000"/>
                <a:gd name="connsiteX72" fmla="*/ 93 w 10000"/>
                <a:gd name="connsiteY72" fmla="*/ 3573 h 10000"/>
                <a:gd name="connsiteX73" fmla="*/ 155 w 10000"/>
                <a:gd name="connsiteY73" fmla="*/ 3393 h 10000"/>
                <a:gd name="connsiteX74" fmla="*/ 62 w 10000"/>
                <a:gd name="connsiteY74" fmla="*/ 3236 h 10000"/>
                <a:gd name="connsiteX75" fmla="*/ 78 w 10000"/>
                <a:gd name="connsiteY75" fmla="*/ 2989 h 10000"/>
                <a:gd name="connsiteX76" fmla="*/ 116 w 10000"/>
                <a:gd name="connsiteY76" fmla="*/ 2876 h 10000"/>
                <a:gd name="connsiteX77" fmla="*/ 155 w 10000"/>
                <a:gd name="connsiteY77" fmla="*/ 2854 h 10000"/>
                <a:gd name="connsiteX78" fmla="*/ 155 w 10000"/>
                <a:gd name="connsiteY78" fmla="*/ 2787 h 10000"/>
                <a:gd name="connsiteX79" fmla="*/ 240 w 10000"/>
                <a:gd name="connsiteY79" fmla="*/ 2742 h 10000"/>
                <a:gd name="connsiteX80" fmla="*/ 310 w 10000"/>
                <a:gd name="connsiteY80" fmla="*/ 2742 h 10000"/>
                <a:gd name="connsiteX81" fmla="*/ 333 w 10000"/>
                <a:gd name="connsiteY81" fmla="*/ 2854 h 10000"/>
                <a:gd name="connsiteX82" fmla="*/ 372 w 10000"/>
                <a:gd name="connsiteY82" fmla="*/ 2899 h 10000"/>
                <a:gd name="connsiteX83" fmla="*/ 519 w 10000"/>
                <a:gd name="connsiteY83" fmla="*/ 2921 h 10000"/>
                <a:gd name="connsiteX84" fmla="*/ 628 w 10000"/>
                <a:gd name="connsiteY84" fmla="*/ 3079 h 10000"/>
                <a:gd name="connsiteX85" fmla="*/ 729 w 10000"/>
                <a:gd name="connsiteY85" fmla="*/ 3258 h 10000"/>
                <a:gd name="connsiteX86" fmla="*/ 845 w 10000"/>
                <a:gd name="connsiteY86" fmla="*/ 3438 h 10000"/>
                <a:gd name="connsiteX87" fmla="*/ 853 w 10000"/>
                <a:gd name="connsiteY87" fmla="*/ 3640 h 10000"/>
                <a:gd name="connsiteX88" fmla="*/ 783 w 10000"/>
                <a:gd name="connsiteY88" fmla="*/ 3820 h 10000"/>
                <a:gd name="connsiteX89" fmla="*/ 667 w 10000"/>
                <a:gd name="connsiteY89" fmla="*/ 3910 h 10000"/>
                <a:gd name="connsiteX90" fmla="*/ 566 w 10000"/>
                <a:gd name="connsiteY90" fmla="*/ 3798 h 10000"/>
                <a:gd name="connsiteX91" fmla="*/ 450 w 10000"/>
                <a:gd name="connsiteY91" fmla="*/ 3730 h 10000"/>
                <a:gd name="connsiteX92" fmla="*/ 364 w 10000"/>
                <a:gd name="connsiteY92" fmla="*/ 3640 h 10000"/>
                <a:gd name="connsiteX93" fmla="*/ 295 w 10000"/>
                <a:gd name="connsiteY93" fmla="*/ 3551 h 10000"/>
                <a:gd name="connsiteX94" fmla="*/ 349 w 10000"/>
                <a:gd name="connsiteY94" fmla="*/ 3753 h 10000"/>
                <a:gd name="connsiteX95" fmla="*/ 411 w 10000"/>
                <a:gd name="connsiteY95" fmla="*/ 3843 h 10000"/>
                <a:gd name="connsiteX96" fmla="*/ 442 w 10000"/>
                <a:gd name="connsiteY96" fmla="*/ 3910 h 10000"/>
                <a:gd name="connsiteX97" fmla="*/ 450 w 10000"/>
                <a:gd name="connsiteY97" fmla="*/ 4045 h 10000"/>
                <a:gd name="connsiteX98" fmla="*/ 473 w 10000"/>
                <a:gd name="connsiteY98" fmla="*/ 4337 h 10000"/>
                <a:gd name="connsiteX99" fmla="*/ 512 w 10000"/>
                <a:gd name="connsiteY99" fmla="*/ 4360 h 10000"/>
                <a:gd name="connsiteX100" fmla="*/ 574 w 10000"/>
                <a:gd name="connsiteY100" fmla="*/ 4517 h 10000"/>
                <a:gd name="connsiteX101" fmla="*/ 651 w 10000"/>
                <a:gd name="connsiteY101" fmla="*/ 4517 h 10000"/>
                <a:gd name="connsiteX102" fmla="*/ 659 w 10000"/>
                <a:gd name="connsiteY102" fmla="*/ 4404 h 10000"/>
                <a:gd name="connsiteX103" fmla="*/ 612 w 10000"/>
                <a:gd name="connsiteY103" fmla="*/ 4360 h 10000"/>
                <a:gd name="connsiteX104" fmla="*/ 574 w 10000"/>
                <a:gd name="connsiteY104" fmla="*/ 4225 h 10000"/>
                <a:gd name="connsiteX105" fmla="*/ 605 w 10000"/>
                <a:gd name="connsiteY105" fmla="*/ 4112 h 10000"/>
                <a:gd name="connsiteX106" fmla="*/ 651 w 10000"/>
                <a:gd name="connsiteY106" fmla="*/ 4225 h 10000"/>
                <a:gd name="connsiteX107" fmla="*/ 698 w 10000"/>
                <a:gd name="connsiteY107" fmla="*/ 4270 h 10000"/>
                <a:gd name="connsiteX108" fmla="*/ 798 w 10000"/>
                <a:gd name="connsiteY108" fmla="*/ 4337 h 10000"/>
                <a:gd name="connsiteX109" fmla="*/ 798 w 10000"/>
                <a:gd name="connsiteY109" fmla="*/ 4225 h 10000"/>
                <a:gd name="connsiteX110" fmla="*/ 760 w 10000"/>
                <a:gd name="connsiteY110" fmla="*/ 4090 h 10000"/>
                <a:gd name="connsiteX111" fmla="*/ 806 w 10000"/>
                <a:gd name="connsiteY111" fmla="*/ 3955 h 10000"/>
                <a:gd name="connsiteX112" fmla="*/ 876 w 10000"/>
                <a:gd name="connsiteY112" fmla="*/ 3843 h 10000"/>
                <a:gd name="connsiteX113" fmla="*/ 915 w 10000"/>
                <a:gd name="connsiteY113" fmla="*/ 3753 h 10000"/>
                <a:gd name="connsiteX114" fmla="*/ 1023 w 10000"/>
                <a:gd name="connsiteY114" fmla="*/ 3843 h 10000"/>
                <a:gd name="connsiteX115" fmla="*/ 1047 w 10000"/>
                <a:gd name="connsiteY115" fmla="*/ 3573 h 10000"/>
                <a:gd name="connsiteX116" fmla="*/ 1016 w 10000"/>
                <a:gd name="connsiteY116" fmla="*/ 3483 h 10000"/>
                <a:gd name="connsiteX117" fmla="*/ 1031 w 10000"/>
                <a:gd name="connsiteY117" fmla="*/ 3236 h 10000"/>
                <a:gd name="connsiteX118" fmla="*/ 1000 w 10000"/>
                <a:gd name="connsiteY118" fmla="*/ 3146 h 10000"/>
                <a:gd name="connsiteX119" fmla="*/ 1132 w 10000"/>
                <a:gd name="connsiteY119" fmla="*/ 3124 h 10000"/>
                <a:gd name="connsiteX120" fmla="*/ 1178 w 10000"/>
                <a:gd name="connsiteY120" fmla="*/ 3281 h 10000"/>
                <a:gd name="connsiteX121" fmla="*/ 1178 w 10000"/>
                <a:gd name="connsiteY121" fmla="*/ 3371 h 10000"/>
                <a:gd name="connsiteX122" fmla="*/ 1116 w 10000"/>
                <a:gd name="connsiteY122" fmla="*/ 3371 h 10000"/>
                <a:gd name="connsiteX123" fmla="*/ 1078 w 10000"/>
                <a:gd name="connsiteY123" fmla="*/ 3483 h 10000"/>
                <a:gd name="connsiteX124" fmla="*/ 1140 w 10000"/>
                <a:gd name="connsiteY124" fmla="*/ 3640 h 10000"/>
                <a:gd name="connsiteX125" fmla="*/ 1233 w 10000"/>
                <a:gd name="connsiteY125" fmla="*/ 3663 h 10000"/>
                <a:gd name="connsiteX126" fmla="*/ 1271 w 10000"/>
                <a:gd name="connsiteY126" fmla="*/ 3393 h 10000"/>
                <a:gd name="connsiteX127" fmla="*/ 1496 w 10000"/>
                <a:gd name="connsiteY127" fmla="*/ 3146 h 10000"/>
                <a:gd name="connsiteX128" fmla="*/ 1535 w 10000"/>
                <a:gd name="connsiteY128" fmla="*/ 3169 h 10000"/>
                <a:gd name="connsiteX129" fmla="*/ 1581 w 10000"/>
                <a:gd name="connsiteY129" fmla="*/ 3034 h 10000"/>
                <a:gd name="connsiteX130" fmla="*/ 1628 w 10000"/>
                <a:gd name="connsiteY130" fmla="*/ 2989 h 10000"/>
                <a:gd name="connsiteX131" fmla="*/ 1612 w 10000"/>
                <a:gd name="connsiteY131" fmla="*/ 3191 h 10000"/>
                <a:gd name="connsiteX132" fmla="*/ 1690 w 10000"/>
                <a:gd name="connsiteY132" fmla="*/ 3191 h 10000"/>
                <a:gd name="connsiteX133" fmla="*/ 1705 w 10000"/>
                <a:gd name="connsiteY133" fmla="*/ 3101 h 10000"/>
                <a:gd name="connsiteX134" fmla="*/ 1845 w 10000"/>
                <a:gd name="connsiteY134" fmla="*/ 3124 h 10000"/>
                <a:gd name="connsiteX135" fmla="*/ 1938 w 10000"/>
                <a:gd name="connsiteY135" fmla="*/ 2966 h 10000"/>
                <a:gd name="connsiteX136" fmla="*/ 1953 w 10000"/>
                <a:gd name="connsiteY136" fmla="*/ 3079 h 10000"/>
                <a:gd name="connsiteX137" fmla="*/ 1946 w 10000"/>
                <a:gd name="connsiteY137" fmla="*/ 3169 h 10000"/>
                <a:gd name="connsiteX138" fmla="*/ 1984 w 10000"/>
                <a:gd name="connsiteY138" fmla="*/ 3169 h 10000"/>
                <a:gd name="connsiteX139" fmla="*/ 2000 w 10000"/>
                <a:gd name="connsiteY139" fmla="*/ 3079 h 10000"/>
                <a:gd name="connsiteX140" fmla="*/ 2062 w 10000"/>
                <a:gd name="connsiteY140" fmla="*/ 2966 h 10000"/>
                <a:gd name="connsiteX141" fmla="*/ 2016 w 10000"/>
                <a:gd name="connsiteY141" fmla="*/ 2787 h 10000"/>
                <a:gd name="connsiteX142" fmla="*/ 1930 w 10000"/>
                <a:gd name="connsiteY142" fmla="*/ 2697 h 10000"/>
                <a:gd name="connsiteX143" fmla="*/ 1930 w 10000"/>
                <a:gd name="connsiteY143" fmla="*/ 2539 h 10000"/>
                <a:gd name="connsiteX144" fmla="*/ 1961 w 10000"/>
                <a:gd name="connsiteY144" fmla="*/ 2517 h 10000"/>
                <a:gd name="connsiteX145" fmla="*/ 2039 w 10000"/>
                <a:gd name="connsiteY145" fmla="*/ 2719 h 10000"/>
                <a:gd name="connsiteX146" fmla="*/ 2163 w 10000"/>
                <a:gd name="connsiteY146" fmla="*/ 2742 h 10000"/>
                <a:gd name="connsiteX147" fmla="*/ 2295 w 10000"/>
                <a:gd name="connsiteY147" fmla="*/ 2876 h 10000"/>
                <a:gd name="connsiteX148" fmla="*/ 2403 w 10000"/>
                <a:gd name="connsiteY148" fmla="*/ 3011 h 10000"/>
                <a:gd name="connsiteX149" fmla="*/ 2519 w 10000"/>
                <a:gd name="connsiteY149" fmla="*/ 3191 h 10000"/>
                <a:gd name="connsiteX150" fmla="*/ 2550 w 10000"/>
                <a:gd name="connsiteY150" fmla="*/ 3034 h 10000"/>
                <a:gd name="connsiteX151" fmla="*/ 2496 w 10000"/>
                <a:gd name="connsiteY151" fmla="*/ 2876 h 10000"/>
                <a:gd name="connsiteX152" fmla="*/ 2426 w 10000"/>
                <a:gd name="connsiteY152" fmla="*/ 2764 h 10000"/>
                <a:gd name="connsiteX153" fmla="*/ 2426 w 10000"/>
                <a:gd name="connsiteY153" fmla="*/ 2652 h 10000"/>
                <a:gd name="connsiteX154" fmla="*/ 2457 w 10000"/>
                <a:gd name="connsiteY154" fmla="*/ 2427 h 10000"/>
                <a:gd name="connsiteX155" fmla="*/ 2419 w 10000"/>
                <a:gd name="connsiteY155" fmla="*/ 2360 h 10000"/>
                <a:gd name="connsiteX156" fmla="*/ 2426 w 10000"/>
                <a:gd name="connsiteY156" fmla="*/ 2292 h 10000"/>
                <a:gd name="connsiteX157" fmla="*/ 2519 w 10000"/>
                <a:gd name="connsiteY157" fmla="*/ 2090 h 10000"/>
                <a:gd name="connsiteX158" fmla="*/ 2581 w 10000"/>
                <a:gd name="connsiteY158" fmla="*/ 1730 h 10000"/>
                <a:gd name="connsiteX159" fmla="*/ 2775 w 10000"/>
                <a:gd name="connsiteY159" fmla="*/ 1775 h 10000"/>
                <a:gd name="connsiteX160" fmla="*/ 2791 w 10000"/>
                <a:gd name="connsiteY160" fmla="*/ 1843 h 10000"/>
                <a:gd name="connsiteX161" fmla="*/ 2775 w 10000"/>
                <a:gd name="connsiteY161" fmla="*/ 2045 h 10000"/>
                <a:gd name="connsiteX162" fmla="*/ 2736 w 10000"/>
                <a:gd name="connsiteY162" fmla="*/ 2225 h 10000"/>
                <a:gd name="connsiteX163" fmla="*/ 2775 w 10000"/>
                <a:gd name="connsiteY163" fmla="*/ 2315 h 10000"/>
                <a:gd name="connsiteX164" fmla="*/ 2791 w 10000"/>
                <a:gd name="connsiteY164" fmla="*/ 2517 h 10000"/>
                <a:gd name="connsiteX165" fmla="*/ 2775 w 10000"/>
                <a:gd name="connsiteY165" fmla="*/ 3011 h 10000"/>
                <a:gd name="connsiteX166" fmla="*/ 2837 w 10000"/>
                <a:gd name="connsiteY166" fmla="*/ 3146 h 10000"/>
                <a:gd name="connsiteX167" fmla="*/ 2806 w 10000"/>
                <a:gd name="connsiteY167" fmla="*/ 3348 h 10000"/>
                <a:gd name="connsiteX168" fmla="*/ 2698 w 10000"/>
                <a:gd name="connsiteY168" fmla="*/ 3618 h 10000"/>
                <a:gd name="connsiteX169" fmla="*/ 2643 w 10000"/>
                <a:gd name="connsiteY169" fmla="*/ 3685 h 10000"/>
                <a:gd name="connsiteX170" fmla="*/ 2581 w 10000"/>
                <a:gd name="connsiteY170" fmla="*/ 3640 h 10000"/>
                <a:gd name="connsiteX171" fmla="*/ 2550 w 10000"/>
                <a:gd name="connsiteY171" fmla="*/ 3685 h 10000"/>
                <a:gd name="connsiteX172" fmla="*/ 2597 w 10000"/>
                <a:gd name="connsiteY172" fmla="*/ 3775 h 10000"/>
                <a:gd name="connsiteX173" fmla="*/ 2667 w 10000"/>
                <a:gd name="connsiteY173" fmla="*/ 3820 h 10000"/>
                <a:gd name="connsiteX174" fmla="*/ 2736 w 10000"/>
                <a:gd name="connsiteY174" fmla="*/ 3843 h 10000"/>
                <a:gd name="connsiteX175" fmla="*/ 2814 w 10000"/>
                <a:gd name="connsiteY175" fmla="*/ 3663 h 10000"/>
                <a:gd name="connsiteX176" fmla="*/ 2922 w 10000"/>
                <a:gd name="connsiteY176" fmla="*/ 3348 h 10000"/>
                <a:gd name="connsiteX177" fmla="*/ 2891 w 10000"/>
                <a:gd name="connsiteY177" fmla="*/ 3169 h 10000"/>
                <a:gd name="connsiteX178" fmla="*/ 2930 w 10000"/>
                <a:gd name="connsiteY178" fmla="*/ 2989 h 10000"/>
                <a:gd name="connsiteX179" fmla="*/ 3016 w 10000"/>
                <a:gd name="connsiteY179" fmla="*/ 3034 h 10000"/>
                <a:gd name="connsiteX180" fmla="*/ 3054 w 10000"/>
                <a:gd name="connsiteY180" fmla="*/ 3146 h 10000"/>
                <a:gd name="connsiteX181" fmla="*/ 3070 w 10000"/>
                <a:gd name="connsiteY181" fmla="*/ 3326 h 10000"/>
                <a:gd name="connsiteX182" fmla="*/ 3124 w 10000"/>
                <a:gd name="connsiteY182" fmla="*/ 3191 h 10000"/>
                <a:gd name="connsiteX183" fmla="*/ 3093 w 10000"/>
                <a:gd name="connsiteY183" fmla="*/ 3011 h 10000"/>
                <a:gd name="connsiteX184" fmla="*/ 3016 w 10000"/>
                <a:gd name="connsiteY184" fmla="*/ 2944 h 10000"/>
                <a:gd name="connsiteX185" fmla="*/ 2853 w 10000"/>
                <a:gd name="connsiteY185" fmla="*/ 2921 h 10000"/>
                <a:gd name="connsiteX186" fmla="*/ 2853 w 10000"/>
                <a:gd name="connsiteY186" fmla="*/ 2697 h 10000"/>
                <a:gd name="connsiteX187" fmla="*/ 2884 w 10000"/>
                <a:gd name="connsiteY187" fmla="*/ 2472 h 10000"/>
                <a:gd name="connsiteX188" fmla="*/ 2845 w 10000"/>
                <a:gd name="connsiteY188" fmla="*/ 2292 h 10000"/>
                <a:gd name="connsiteX189" fmla="*/ 2822 w 10000"/>
                <a:gd name="connsiteY189" fmla="*/ 2157 h 10000"/>
                <a:gd name="connsiteX190" fmla="*/ 2868 w 10000"/>
                <a:gd name="connsiteY190" fmla="*/ 2022 h 10000"/>
                <a:gd name="connsiteX191" fmla="*/ 2922 w 10000"/>
                <a:gd name="connsiteY191" fmla="*/ 1955 h 10000"/>
                <a:gd name="connsiteX192" fmla="*/ 2930 w 10000"/>
                <a:gd name="connsiteY192" fmla="*/ 1775 h 10000"/>
                <a:gd name="connsiteX193" fmla="*/ 2961 w 10000"/>
                <a:gd name="connsiteY193" fmla="*/ 1775 h 10000"/>
                <a:gd name="connsiteX194" fmla="*/ 2969 w 10000"/>
                <a:gd name="connsiteY194" fmla="*/ 1978 h 10000"/>
                <a:gd name="connsiteX195" fmla="*/ 2946 w 10000"/>
                <a:gd name="connsiteY195" fmla="*/ 2135 h 10000"/>
                <a:gd name="connsiteX196" fmla="*/ 2961 w 10000"/>
                <a:gd name="connsiteY196" fmla="*/ 2247 h 10000"/>
                <a:gd name="connsiteX197" fmla="*/ 3023 w 10000"/>
                <a:gd name="connsiteY197" fmla="*/ 2292 h 10000"/>
                <a:gd name="connsiteX198" fmla="*/ 3116 w 10000"/>
                <a:gd name="connsiteY198" fmla="*/ 2360 h 10000"/>
                <a:gd name="connsiteX199" fmla="*/ 3163 w 10000"/>
                <a:gd name="connsiteY199" fmla="*/ 2360 h 10000"/>
                <a:gd name="connsiteX200" fmla="*/ 3109 w 10000"/>
                <a:gd name="connsiteY200" fmla="*/ 2247 h 10000"/>
                <a:gd name="connsiteX201" fmla="*/ 3031 w 10000"/>
                <a:gd name="connsiteY201" fmla="*/ 2180 h 10000"/>
                <a:gd name="connsiteX202" fmla="*/ 3000 w 10000"/>
                <a:gd name="connsiteY202" fmla="*/ 2045 h 10000"/>
                <a:gd name="connsiteX203" fmla="*/ 3047 w 10000"/>
                <a:gd name="connsiteY203" fmla="*/ 2000 h 10000"/>
                <a:gd name="connsiteX204" fmla="*/ 3124 w 10000"/>
                <a:gd name="connsiteY204" fmla="*/ 2045 h 10000"/>
                <a:gd name="connsiteX205" fmla="*/ 3070 w 10000"/>
                <a:gd name="connsiteY205" fmla="*/ 1865 h 10000"/>
                <a:gd name="connsiteX206" fmla="*/ 3093 w 10000"/>
                <a:gd name="connsiteY206" fmla="*/ 1820 h 10000"/>
                <a:gd name="connsiteX207" fmla="*/ 3225 w 10000"/>
                <a:gd name="connsiteY207" fmla="*/ 1933 h 10000"/>
                <a:gd name="connsiteX208" fmla="*/ 3302 w 10000"/>
                <a:gd name="connsiteY208" fmla="*/ 2112 h 10000"/>
                <a:gd name="connsiteX209" fmla="*/ 3411 w 10000"/>
                <a:gd name="connsiteY209" fmla="*/ 2112 h 10000"/>
                <a:gd name="connsiteX210" fmla="*/ 3357 w 10000"/>
                <a:gd name="connsiteY210" fmla="*/ 1955 h 10000"/>
                <a:gd name="connsiteX211" fmla="*/ 3287 w 10000"/>
                <a:gd name="connsiteY211" fmla="*/ 1798 h 10000"/>
                <a:gd name="connsiteX212" fmla="*/ 3264 w 10000"/>
                <a:gd name="connsiteY212" fmla="*/ 1551 h 10000"/>
                <a:gd name="connsiteX213" fmla="*/ 3310 w 10000"/>
                <a:gd name="connsiteY213" fmla="*/ 1461 h 10000"/>
                <a:gd name="connsiteX214" fmla="*/ 3488 w 10000"/>
                <a:gd name="connsiteY214" fmla="*/ 1438 h 10000"/>
                <a:gd name="connsiteX215" fmla="*/ 3667 w 10000"/>
                <a:gd name="connsiteY215" fmla="*/ 1348 h 10000"/>
                <a:gd name="connsiteX216" fmla="*/ 3620 w 10000"/>
                <a:gd name="connsiteY216" fmla="*/ 1101 h 10000"/>
                <a:gd name="connsiteX217" fmla="*/ 3767 w 10000"/>
                <a:gd name="connsiteY217" fmla="*/ 899 h 10000"/>
                <a:gd name="connsiteX218" fmla="*/ 4093 w 10000"/>
                <a:gd name="connsiteY218" fmla="*/ 584 h 10000"/>
                <a:gd name="connsiteX219" fmla="*/ 4233 w 10000"/>
                <a:gd name="connsiteY219" fmla="*/ 539 h 10000"/>
                <a:gd name="connsiteX220" fmla="*/ 4364 w 10000"/>
                <a:gd name="connsiteY220" fmla="*/ 584 h 10000"/>
                <a:gd name="connsiteX221" fmla="*/ 4558 w 10000"/>
                <a:gd name="connsiteY221" fmla="*/ 404 h 10000"/>
                <a:gd name="connsiteX222" fmla="*/ 4543 w 10000"/>
                <a:gd name="connsiteY222" fmla="*/ 225 h 10000"/>
                <a:gd name="connsiteX223" fmla="*/ 4636 w 10000"/>
                <a:gd name="connsiteY223" fmla="*/ 0 h 10000"/>
                <a:gd name="connsiteX224" fmla="*/ 4767 w 10000"/>
                <a:gd name="connsiteY224" fmla="*/ 22 h 10000"/>
                <a:gd name="connsiteX225" fmla="*/ 4837 w 10000"/>
                <a:gd name="connsiteY225" fmla="*/ 90 h 10000"/>
                <a:gd name="connsiteX226" fmla="*/ 4752 w 10000"/>
                <a:gd name="connsiteY226" fmla="*/ 225 h 10000"/>
                <a:gd name="connsiteX227" fmla="*/ 4915 w 10000"/>
                <a:gd name="connsiteY227" fmla="*/ 247 h 10000"/>
                <a:gd name="connsiteX228" fmla="*/ 4884 w 10000"/>
                <a:gd name="connsiteY228" fmla="*/ 404 h 10000"/>
                <a:gd name="connsiteX229" fmla="*/ 5178 w 10000"/>
                <a:gd name="connsiteY229" fmla="*/ 382 h 10000"/>
                <a:gd name="connsiteX230" fmla="*/ 5287 w 10000"/>
                <a:gd name="connsiteY230" fmla="*/ 584 h 10000"/>
                <a:gd name="connsiteX231" fmla="*/ 5302 w 10000"/>
                <a:gd name="connsiteY231" fmla="*/ 719 h 10000"/>
                <a:gd name="connsiteX232" fmla="*/ 5271 w 10000"/>
                <a:gd name="connsiteY232" fmla="*/ 944 h 10000"/>
                <a:gd name="connsiteX233" fmla="*/ 5140 w 10000"/>
                <a:gd name="connsiteY233" fmla="*/ 1146 h 10000"/>
                <a:gd name="connsiteX234" fmla="*/ 5000 w 10000"/>
                <a:gd name="connsiteY234" fmla="*/ 1371 h 10000"/>
                <a:gd name="connsiteX235" fmla="*/ 4806 w 10000"/>
                <a:gd name="connsiteY235" fmla="*/ 1685 h 10000"/>
                <a:gd name="connsiteX236" fmla="*/ 4822 w 10000"/>
                <a:gd name="connsiteY236" fmla="*/ 1730 h 10000"/>
                <a:gd name="connsiteX237" fmla="*/ 4907 w 10000"/>
                <a:gd name="connsiteY237" fmla="*/ 1640 h 10000"/>
                <a:gd name="connsiteX238" fmla="*/ 5070 w 10000"/>
                <a:gd name="connsiteY238" fmla="*/ 1506 h 10000"/>
                <a:gd name="connsiteX239" fmla="*/ 5062 w 10000"/>
                <a:gd name="connsiteY239" fmla="*/ 1416 h 10000"/>
                <a:gd name="connsiteX240" fmla="*/ 5101 w 10000"/>
                <a:gd name="connsiteY240" fmla="*/ 1303 h 10000"/>
                <a:gd name="connsiteX241" fmla="*/ 5163 w 10000"/>
                <a:gd name="connsiteY241" fmla="*/ 1258 h 10000"/>
                <a:gd name="connsiteX242" fmla="*/ 5178 w 10000"/>
                <a:gd name="connsiteY242" fmla="*/ 1371 h 10000"/>
                <a:gd name="connsiteX243" fmla="*/ 5225 w 10000"/>
                <a:gd name="connsiteY243" fmla="*/ 1416 h 10000"/>
                <a:gd name="connsiteX244" fmla="*/ 5295 w 10000"/>
                <a:gd name="connsiteY244" fmla="*/ 1551 h 10000"/>
                <a:gd name="connsiteX245" fmla="*/ 5333 w 10000"/>
                <a:gd name="connsiteY245" fmla="*/ 1483 h 10000"/>
                <a:gd name="connsiteX246" fmla="*/ 5620 w 10000"/>
                <a:gd name="connsiteY246" fmla="*/ 1506 h 10000"/>
                <a:gd name="connsiteX247" fmla="*/ 5620 w 10000"/>
                <a:gd name="connsiteY247" fmla="*/ 1618 h 10000"/>
                <a:gd name="connsiteX248" fmla="*/ 5899 w 10000"/>
                <a:gd name="connsiteY248" fmla="*/ 1708 h 10000"/>
                <a:gd name="connsiteX249" fmla="*/ 5930 w 10000"/>
                <a:gd name="connsiteY249" fmla="*/ 1416 h 10000"/>
                <a:gd name="connsiteX250" fmla="*/ 5984 w 10000"/>
                <a:gd name="connsiteY250" fmla="*/ 1438 h 10000"/>
                <a:gd name="connsiteX251" fmla="*/ 6062 w 10000"/>
                <a:gd name="connsiteY251" fmla="*/ 1551 h 10000"/>
                <a:gd name="connsiteX252" fmla="*/ 6186 w 10000"/>
                <a:gd name="connsiteY252" fmla="*/ 1528 h 10000"/>
                <a:gd name="connsiteX253" fmla="*/ 6256 w 10000"/>
                <a:gd name="connsiteY253" fmla="*/ 1753 h 10000"/>
                <a:gd name="connsiteX254" fmla="*/ 6271 w 10000"/>
                <a:gd name="connsiteY254" fmla="*/ 1955 h 10000"/>
                <a:gd name="connsiteX255" fmla="*/ 6225 w 10000"/>
                <a:gd name="connsiteY255" fmla="*/ 2045 h 10000"/>
                <a:gd name="connsiteX256" fmla="*/ 6310 w 10000"/>
                <a:gd name="connsiteY256" fmla="*/ 2337 h 10000"/>
                <a:gd name="connsiteX257" fmla="*/ 6395 w 10000"/>
                <a:gd name="connsiteY257" fmla="*/ 2404 h 10000"/>
                <a:gd name="connsiteX258" fmla="*/ 6473 w 10000"/>
                <a:gd name="connsiteY258" fmla="*/ 2067 h 10000"/>
                <a:gd name="connsiteX259" fmla="*/ 6574 w 10000"/>
                <a:gd name="connsiteY259" fmla="*/ 2225 h 10000"/>
                <a:gd name="connsiteX260" fmla="*/ 6667 w 10000"/>
                <a:gd name="connsiteY260" fmla="*/ 2135 h 10000"/>
                <a:gd name="connsiteX261" fmla="*/ 6767 w 10000"/>
                <a:gd name="connsiteY261" fmla="*/ 2247 h 10000"/>
                <a:gd name="connsiteX262" fmla="*/ 6853 w 10000"/>
                <a:gd name="connsiteY262" fmla="*/ 2157 h 10000"/>
                <a:gd name="connsiteX263" fmla="*/ 6915 w 10000"/>
                <a:gd name="connsiteY263" fmla="*/ 2067 h 10000"/>
                <a:gd name="connsiteX264" fmla="*/ 6907 w 10000"/>
                <a:gd name="connsiteY264" fmla="*/ 1865 h 10000"/>
                <a:gd name="connsiteX265" fmla="*/ 6992 w 10000"/>
                <a:gd name="connsiteY265" fmla="*/ 1775 h 10000"/>
                <a:gd name="connsiteX266" fmla="*/ 7256 w 10000"/>
                <a:gd name="connsiteY266" fmla="*/ 1820 h 10000"/>
                <a:gd name="connsiteX267" fmla="*/ 7302 w 10000"/>
                <a:gd name="connsiteY267" fmla="*/ 1933 h 10000"/>
                <a:gd name="connsiteX268" fmla="*/ 7326 w 10000"/>
                <a:gd name="connsiteY268" fmla="*/ 1978 h 10000"/>
                <a:gd name="connsiteX269" fmla="*/ 7465 w 10000"/>
                <a:gd name="connsiteY269" fmla="*/ 1933 h 10000"/>
                <a:gd name="connsiteX270" fmla="*/ 7527 w 10000"/>
                <a:gd name="connsiteY270" fmla="*/ 2022 h 10000"/>
                <a:gd name="connsiteX271" fmla="*/ 7496 w 10000"/>
                <a:gd name="connsiteY271" fmla="*/ 2135 h 10000"/>
                <a:gd name="connsiteX272" fmla="*/ 7550 w 10000"/>
                <a:gd name="connsiteY272" fmla="*/ 2202 h 10000"/>
                <a:gd name="connsiteX273" fmla="*/ 7667 w 10000"/>
                <a:gd name="connsiteY273" fmla="*/ 2337 h 10000"/>
                <a:gd name="connsiteX274" fmla="*/ 7868 w 10000"/>
                <a:gd name="connsiteY274" fmla="*/ 2360 h 10000"/>
                <a:gd name="connsiteX275" fmla="*/ 8078 w 10000"/>
                <a:gd name="connsiteY275" fmla="*/ 2382 h 10000"/>
                <a:gd name="connsiteX276" fmla="*/ 8163 w 10000"/>
                <a:gd name="connsiteY276" fmla="*/ 2517 h 10000"/>
                <a:gd name="connsiteX277" fmla="*/ 8155 w 10000"/>
                <a:gd name="connsiteY277" fmla="*/ 2674 h 10000"/>
                <a:gd name="connsiteX278" fmla="*/ 8171 w 10000"/>
                <a:gd name="connsiteY278" fmla="*/ 2764 h 10000"/>
                <a:gd name="connsiteX279" fmla="*/ 8240 w 10000"/>
                <a:gd name="connsiteY279" fmla="*/ 2831 h 10000"/>
                <a:gd name="connsiteX280" fmla="*/ 8295 w 10000"/>
                <a:gd name="connsiteY280" fmla="*/ 2764 h 10000"/>
                <a:gd name="connsiteX281" fmla="*/ 8550 w 10000"/>
                <a:gd name="connsiteY281" fmla="*/ 2809 h 10000"/>
                <a:gd name="connsiteX282" fmla="*/ 8581 w 10000"/>
                <a:gd name="connsiteY282" fmla="*/ 2809 h 10000"/>
                <a:gd name="connsiteX283" fmla="*/ 8643 w 10000"/>
                <a:gd name="connsiteY283" fmla="*/ 2719 h 10000"/>
                <a:gd name="connsiteX284" fmla="*/ 8667 w 10000"/>
                <a:gd name="connsiteY284" fmla="*/ 2742 h 10000"/>
                <a:gd name="connsiteX285" fmla="*/ 8667 w 10000"/>
                <a:gd name="connsiteY285" fmla="*/ 2876 h 10000"/>
                <a:gd name="connsiteX286" fmla="*/ 8736 w 10000"/>
                <a:gd name="connsiteY286" fmla="*/ 3034 h 10000"/>
                <a:gd name="connsiteX287" fmla="*/ 8814 w 10000"/>
                <a:gd name="connsiteY287" fmla="*/ 3056 h 10000"/>
                <a:gd name="connsiteX288" fmla="*/ 8837 w 10000"/>
                <a:gd name="connsiteY288" fmla="*/ 2966 h 10000"/>
                <a:gd name="connsiteX289" fmla="*/ 8814 w 10000"/>
                <a:gd name="connsiteY289" fmla="*/ 2831 h 10000"/>
                <a:gd name="connsiteX290" fmla="*/ 8806 w 10000"/>
                <a:gd name="connsiteY290" fmla="*/ 2629 h 10000"/>
                <a:gd name="connsiteX291" fmla="*/ 8853 w 10000"/>
                <a:gd name="connsiteY291" fmla="*/ 2607 h 10000"/>
                <a:gd name="connsiteX292" fmla="*/ 8922 w 10000"/>
                <a:gd name="connsiteY292" fmla="*/ 2697 h 10000"/>
                <a:gd name="connsiteX293" fmla="*/ 9047 w 10000"/>
                <a:gd name="connsiteY293" fmla="*/ 2697 h 10000"/>
                <a:gd name="connsiteX294" fmla="*/ 9194 w 10000"/>
                <a:gd name="connsiteY294" fmla="*/ 2764 h 10000"/>
                <a:gd name="connsiteX295" fmla="*/ 9364 w 10000"/>
                <a:gd name="connsiteY295" fmla="*/ 2944 h 10000"/>
                <a:gd name="connsiteX296" fmla="*/ 9465 w 10000"/>
                <a:gd name="connsiteY296" fmla="*/ 3101 h 10000"/>
                <a:gd name="connsiteX297" fmla="*/ 9643 w 10000"/>
                <a:gd name="connsiteY297" fmla="*/ 3326 h 10000"/>
                <a:gd name="connsiteX298" fmla="*/ 9674 w 10000"/>
                <a:gd name="connsiteY298" fmla="*/ 3461 h 10000"/>
                <a:gd name="connsiteX299" fmla="*/ 9698 w 10000"/>
                <a:gd name="connsiteY299" fmla="*/ 3596 h 10000"/>
                <a:gd name="connsiteX300" fmla="*/ 9736 w 10000"/>
                <a:gd name="connsiteY300" fmla="*/ 3775 h 10000"/>
                <a:gd name="connsiteX301" fmla="*/ 9767 w 10000"/>
                <a:gd name="connsiteY301" fmla="*/ 3730 h 10000"/>
                <a:gd name="connsiteX302" fmla="*/ 9744 w 10000"/>
                <a:gd name="connsiteY302" fmla="*/ 3528 h 10000"/>
                <a:gd name="connsiteX303" fmla="*/ 9806 w 10000"/>
                <a:gd name="connsiteY303" fmla="*/ 3551 h 10000"/>
                <a:gd name="connsiteX304" fmla="*/ 9884 w 10000"/>
                <a:gd name="connsiteY304" fmla="*/ 3596 h 10000"/>
                <a:gd name="connsiteX305" fmla="*/ 9953 w 10000"/>
                <a:gd name="connsiteY305" fmla="*/ 3730 h 10000"/>
                <a:gd name="connsiteX306" fmla="*/ 10000 w 10000"/>
                <a:gd name="connsiteY306" fmla="*/ 3865 h 10000"/>
                <a:gd name="connsiteX307" fmla="*/ 9953 w 10000"/>
                <a:gd name="connsiteY307" fmla="*/ 4000 h 10000"/>
                <a:gd name="connsiteX308" fmla="*/ 9853 w 10000"/>
                <a:gd name="connsiteY308" fmla="*/ 4067 h 10000"/>
                <a:gd name="connsiteX309" fmla="*/ 9837 w 10000"/>
                <a:gd name="connsiteY309" fmla="*/ 4225 h 10000"/>
                <a:gd name="connsiteX310" fmla="*/ 9806 w 10000"/>
                <a:gd name="connsiteY310" fmla="*/ 4427 h 10000"/>
                <a:gd name="connsiteX311" fmla="*/ 9698 w 10000"/>
                <a:gd name="connsiteY311" fmla="*/ 4270 h 10000"/>
                <a:gd name="connsiteX312" fmla="*/ 9636 w 10000"/>
                <a:gd name="connsiteY312" fmla="*/ 4202 h 10000"/>
                <a:gd name="connsiteX313" fmla="*/ 9643 w 10000"/>
                <a:gd name="connsiteY313" fmla="*/ 4022 h 10000"/>
                <a:gd name="connsiteX314" fmla="*/ 9481 w 10000"/>
                <a:gd name="connsiteY314" fmla="*/ 4045 h 10000"/>
                <a:gd name="connsiteX315" fmla="*/ 9457 w 10000"/>
                <a:gd name="connsiteY315" fmla="*/ 3820 h 10000"/>
                <a:gd name="connsiteX316" fmla="*/ 9403 w 10000"/>
                <a:gd name="connsiteY316" fmla="*/ 3843 h 10000"/>
                <a:gd name="connsiteX317" fmla="*/ 9395 w 10000"/>
                <a:gd name="connsiteY317" fmla="*/ 4000 h 10000"/>
                <a:gd name="connsiteX318" fmla="*/ 9419 w 10000"/>
                <a:gd name="connsiteY318" fmla="*/ 4067 h 10000"/>
                <a:gd name="connsiteX319" fmla="*/ 9349 w 10000"/>
                <a:gd name="connsiteY319" fmla="*/ 4247 h 10000"/>
                <a:gd name="connsiteX320" fmla="*/ 9271 w 10000"/>
                <a:gd name="connsiteY320" fmla="*/ 4270 h 10000"/>
                <a:gd name="connsiteX321" fmla="*/ 9217 w 10000"/>
                <a:gd name="connsiteY321" fmla="*/ 4247 h 10000"/>
                <a:gd name="connsiteX322" fmla="*/ 9186 w 10000"/>
                <a:gd name="connsiteY322" fmla="*/ 4180 h 10000"/>
                <a:gd name="connsiteX323" fmla="*/ 9178 w 10000"/>
                <a:gd name="connsiteY323" fmla="*/ 4270 h 10000"/>
                <a:gd name="connsiteX324" fmla="*/ 9233 w 10000"/>
                <a:gd name="connsiteY324" fmla="*/ 4337 h 10000"/>
                <a:gd name="connsiteX325" fmla="*/ 9287 w 10000"/>
                <a:gd name="connsiteY325" fmla="*/ 4427 h 10000"/>
                <a:gd name="connsiteX326" fmla="*/ 9310 w 10000"/>
                <a:gd name="connsiteY326" fmla="*/ 4629 h 10000"/>
                <a:gd name="connsiteX327" fmla="*/ 9357 w 10000"/>
                <a:gd name="connsiteY327" fmla="*/ 4831 h 10000"/>
                <a:gd name="connsiteX328" fmla="*/ 9302 w 10000"/>
                <a:gd name="connsiteY328" fmla="*/ 4921 h 10000"/>
                <a:gd name="connsiteX329" fmla="*/ 9202 w 10000"/>
                <a:gd name="connsiteY329" fmla="*/ 4809 h 10000"/>
                <a:gd name="connsiteX330" fmla="*/ 9155 w 10000"/>
                <a:gd name="connsiteY330" fmla="*/ 4921 h 10000"/>
                <a:gd name="connsiteX331" fmla="*/ 9016 w 10000"/>
                <a:gd name="connsiteY331" fmla="*/ 5101 h 10000"/>
                <a:gd name="connsiteX332" fmla="*/ 8938 w 10000"/>
                <a:gd name="connsiteY332" fmla="*/ 5213 h 10000"/>
                <a:gd name="connsiteX333" fmla="*/ 8783 w 10000"/>
                <a:gd name="connsiteY333" fmla="*/ 5573 h 10000"/>
                <a:gd name="connsiteX334" fmla="*/ 8729 w 10000"/>
                <a:gd name="connsiteY334" fmla="*/ 5438 h 10000"/>
                <a:gd name="connsiteX335" fmla="*/ 8612 w 10000"/>
                <a:gd name="connsiteY335" fmla="*/ 5438 h 10000"/>
                <a:gd name="connsiteX336" fmla="*/ 8550 w 10000"/>
                <a:gd name="connsiteY336" fmla="*/ 5618 h 10000"/>
                <a:gd name="connsiteX337" fmla="*/ 8535 w 10000"/>
                <a:gd name="connsiteY337" fmla="*/ 5438 h 10000"/>
                <a:gd name="connsiteX338" fmla="*/ 8496 w 10000"/>
                <a:gd name="connsiteY338" fmla="*/ 5438 h 10000"/>
                <a:gd name="connsiteX339" fmla="*/ 8481 w 10000"/>
                <a:gd name="connsiteY339" fmla="*/ 5573 h 10000"/>
                <a:gd name="connsiteX340" fmla="*/ 8372 w 10000"/>
                <a:gd name="connsiteY340" fmla="*/ 5573 h 10000"/>
                <a:gd name="connsiteX341" fmla="*/ 8279 w 10000"/>
                <a:gd name="connsiteY341" fmla="*/ 6000 h 10000"/>
                <a:gd name="connsiteX342" fmla="*/ 8279 w 10000"/>
                <a:gd name="connsiteY342" fmla="*/ 6135 h 10000"/>
                <a:gd name="connsiteX343" fmla="*/ 8341 w 10000"/>
                <a:gd name="connsiteY343" fmla="*/ 6135 h 10000"/>
                <a:gd name="connsiteX344" fmla="*/ 8326 w 10000"/>
                <a:gd name="connsiteY344" fmla="*/ 6337 h 10000"/>
                <a:gd name="connsiteX345" fmla="*/ 8349 w 10000"/>
                <a:gd name="connsiteY345" fmla="*/ 6517 h 10000"/>
                <a:gd name="connsiteX346" fmla="*/ 8279 w 10000"/>
                <a:gd name="connsiteY346" fmla="*/ 6584 h 10000"/>
                <a:gd name="connsiteX347" fmla="*/ 8256 w 10000"/>
                <a:gd name="connsiteY347" fmla="*/ 6742 h 10000"/>
                <a:gd name="connsiteX348" fmla="*/ 8279 w 10000"/>
                <a:gd name="connsiteY348" fmla="*/ 6944 h 10000"/>
                <a:gd name="connsiteX349" fmla="*/ 8186 w 10000"/>
                <a:gd name="connsiteY349" fmla="*/ 7034 h 10000"/>
                <a:gd name="connsiteX350" fmla="*/ 8155 w 10000"/>
                <a:gd name="connsiteY350" fmla="*/ 7124 h 10000"/>
                <a:gd name="connsiteX351" fmla="*/ 8155 w 10000"/>
                <a:gd name="connsiteY351" fmla="*/ 7191 h 10000"/>
                <a:gd name="connsiteX352" fmla="*/ 8163 w 10000"/>
                <a:gd name="connsiteY352" fmla="*/ 7236 h 10000"/>
                <a:gd name="connsiteX353" fmla="*/ 8155 w 10000"/>
                <a:gd name="connsiteY353" fmla="*/ 7281 h 10000"/>
                <a:gd name="connsiteX354" fmla="*/ 8062 w 10000"/>
                <a:gd name="connsiteY354" fmla="*/ 7371 h 10000"/>
                <a:gd name="connsiteX355" fmla="*/ 8062 w 10000"/>
                <a:gd name="connsiteY355" fmla="*/ 7528 h 10000"/>
                <a:gd name="connsiteX356" fmla="*/ 7946 w 10000"/>
                <a:gd name="connsiteY356" fmla="*/ 7865 h 10000"/>
                <a:gd name="connsiteX357" fmla="*/ 7930 w 10000"/>
                <a:gd name="connsiteY357" fmla="*/ 7506 h 10000"/>
                <a:gd name="connsiteX358" fmla="*/ 7884 w 10000"/>
                <a:gd name="connsiteY358" fmla="*/ 6944 h 10000"/>
                <a:gd name="connsiteX359" fmla="*/ 7884 w 10000"/>
                <a:gd name="connsiteY359" fmla="*/ 6539 h 10000"/>
                <a:gd name="connsiteX360" fmla="*/ 7930 w 10000"/>
                <a:gd name="connsiteY360" fmla="*/ 6382 h 10000"/>
                <a:gd name="connsiteX361" fmla="*/ 7977 w 10000"/>
                <a:gd name="connsiteY361" fmla="*/ 6135 h 10000"/>
                <a:gd name="connsiteX362" fmla="*/ 8039 w 10000"/>
                <a:gd name="connsiteY362" fmla="*/ 6090 h 10000"/>
                <a:gd name="connsiteX363" fmla="*/ 8202 w 10000"/>
                <a:gd name="connsiteY363" fmla="*/ 5640 h 10000"/>
                <a:gd name="connsiteX364" fmla="*/ 8326 w 10000"/>
                <a:gd name="connsiteY364" fmla="*/ 5393 h 10000"/>
                <a:gd name="connsiteX365" fmla="*/ 8364 w 10000"/>
                <a:gd name="connsiteY365" fmla="*/ 5348 h 10000"/>
                <a:gd name="connsiteX366" fmla="*/ 8426 w 10000"/>
                <a:gd name="connsiteY366" fmla="*/ 4944 h 10000"/>
                <a:gd name="connsiteX367" fmla="*/ 8457 w 10000"/>
                <a:gd name="connsiteY367" fmla="*/ 4899 h 10000"/>
                <a:gd name="connsiteX368" fmla="*/ 8395 w 10000"/>
                <a:gd name="connsiteY368" fmla="*/ 4831 h 10000"/>
                <a:gd name="connsiteX369" fmla="*/ 8372 w 10000"/>
                <a:gd name="connsiteY369" fmla="*/ 4854 h 10000"/>
                <a:gd name="connsiteX370" fmla="*/ 8349 w 10000"/>
                <a:gd name="connsiteY370" fmla="*/ 4921 h 10000"/>
                <a:gd name="connsiteX371" fmla="*/ 8349 w 10000"/>
                <a:gd name="connsiteY371" fmla="*/ 5124 h 10000"/>
                <a:gd name="connsiteX372" fmla="*/ 8295 w 10000"/>
                <a:gd name="connsiteY372" fmla="*/ 5124 h 10000"/>
                <a:gd name="connsiteX373" fmla="*/ 8171 w 10000"/>
                <a:gd name="connsiteY373" fmla="*/ 5348 h 10000"/>
                <a:gd name="connsiteX374" fmla="*/ 8140 w 10000"/>
                <a:gd name="connsiteY374" fmla="*/ 5258 h 10000"/>
                <a:gd name="connsiteX375" fmla="*/ 8171 w 10000"/>
                <a:gd name="connsiteY375" fmla="*/ 5079 h 10000"/>
                <a:gd name="connsiteX376" fmla="*/ 8132 w 10000"/>
                <a:gd name="connsiteY376" fmla="*/ 5124 h 10000"/>
                <a:gd name="connsiteX377" fmla="*/ 7977 w 10000"/>
                <a:gd name="connsiteY377" fmla="*/ 5124 h 10000"/>
                <a:gd name="connsiteX378" fmla="*/ 7829 w 10000"/>
                <a:gd name="connsiteY378" fmla="*/ 5461 h 10000"/>
                <a:gd name="connsiteX379" fmla="*/ 7798 w 10000"/>
                <a:gd name="connsiteY379" fmla="*/ 5640 h 10000"/>
                <a:gd name="connsiteX380" fmla="*/ 7814 w 10000"/>
                <a:gd name="connsiteY380" fmla="*/ 5685 h 10000"/>
                <a:gd name="connsiteX381" fmla="*/ 7853 w 10000"/>
                <a:gd name="connsiteY381" fmla="*/ 5798 h 10000"/>
                <a:gd name="connsiteX382" fmla="*/ 7791 w 10000"/>
                <a:gd name="connsiteY382" fmla="*/ 5798 h 10000"/>
                <a:gd name="connsiteX383" fmla="*/ 7729 w 10000"/>
                <a:gd name="connsiteY383" fmla="*/ 5820 h 10000"/>
                <a:gd name="connsiteX384" fmla="*/ 7612 w 10000"/>
                <a:gd name="connsiteY384" fmla="*/ 5843 h 10000"/>
                <a:gd name="connsiteX385" fmla="*/ 7643 w 10000"/>
                <a:gd name="connsiteY385" fmla="*/ 5753 h 10000"/>
                <a:gd name="connsiteX386" fmla="*/ 7620 w 10000"/>
                <a:gd name="connsiteY386" fmla="*/ 5663 h 10000"/>
                <a:gd name="connsiteX387" fmla="*/ 7535 w 10000"/>
                <a:gd name="connsiteY387" fmla="*/ 5640 h 10000"/>
                <a:gd name="connsiteX388" fmla="*/ 7481 w 10000"/>
                <a:gd name="connsiteY388" fmla="*/ 5663 h 10000"/>
                <a:gd name="connsiteX389" fmla="*/ 7457 w 10000"/>
                <a:gd name="connsiteY389" fmla="*/ 5753 h 10000"/>
                <a:gd name="connsiteX390" fmla="*/ 7341 w 10000"/>
                <a:gd name="connsiteY390" fmla="*/ 5730 h 10000"/>
                <a:gd name="connsiteX391" fmla="*/ 7287 w 10000"/>
                <a:gd name="connsiteY391" fmla="*/ 5753 h 10000"/>
                <a:gd name="connsiteX392" fmla="*/ 7085 w 10000"/>
                <a:gd name="connsiteY392" fmla="*/ 5753 h 10000"/>
                <a:gd name="connsiteX393" fmla="*/ 6636 w 10000"/>
                <a:gd name="connsiteY393" fmla="*/ 6876 h 10000"/>
                <a:gd name="connsiteX394" fmla="*/ 6643 w 10000"/>
                <a:gd name="connsiteY394" fmla="*/ 6989 h 10000"/>
                <a:gd name="connsiteX395" fmla="*/ 6721 w 10000"/>
                <a:gd name="connsiteY395" fmla="*/ 6966 h 10000"/>
                <a:gd name="connsiteX396" fmla="*/ 6729 w 10000"/>
                <a:gd name="connsiteY396" fmla="*/ 7146 h 10000"/>
                <a:gd name="connsiteX397" fmla="*/ 6767 w 10000"/>
                <a:gd name="connsiteY397" fmla="*/ 7011 h 10000"/>
                <a:gd name="connsiteX398" fmla="*/ 6806 w 10000"/>
                <a:gd name="connsiteY398" fmla="*/ 7191 h 10000"/>
                <a:gd name="connsiteX399" fmla="*/ 6860 w 10000"/>
                <a:gd name="connsiteY399" fmla="*/ 7056 h 10000"/>
                <a:gd name="connsiteX400" fmla="*/ 6946 w 10000"/>
                <a:gd name="connsiteY400" fmla="*/ 7101 h 10000"/>
                <a:gd name="connsiteX401" fmla="*/ 7008 w 10000"/>
                <a:gd name="connsiteY401" fmla="*/ 7326 h 10000"/>
                <a:gd name="connsiteX402" fmla="*/ 6992 w 10000"/>
                <a:gd name="connsiteY402" fmla="*/ 7573 h 10000"/>
                <a:gd name="connsiteX403" fmla="*/ 6961 w 10000"/>
                <a:gd name="connsiteY403" fmla="*/ 7820 h 10000"/>
                <a:gd name="connsiteX404" fmla="*/ 6953 w 10000"/>
                <a:gd name="connsiteY404" fmla="*/ 8180 h 10000"/>
                <a:gd name="connsiteX405" fmla="*/ 6930 w 10000"/>
                <a:gd name="connsiteY405" fmla="*/ 8382 h 10000"/>
                <a:gd name="connsiteX406" fmla="*/ 6698 w 10000"/>
                <a:gd name="connsiteY406" fmla="*/ 9213 h 10000"/>
                <a:gd name="connsiteX407" fmla="*/ 6628 w 10000"/>
                <a:gd name="connsiteY407" fmla="*/ 9461 h 10000"/>
                <a:gd name="connsiteX408" fmla="*/ 6574 w 10000"/>
                <a:gd name="connsiteY408" fmla="*/ 9573 h 10000"/>
                <a:gd name="connsiteX409" fmla="*/ 6504 w 10000"/>
                <a:gd name="connsiteY409" fmla="*/ 9663 h 10000"/>
                <a:gd name="connsiteX410" fmla="*/ 6450 w 10000"/>
                <a:gd name="connsiteY410" fmla="*/ 9573 h 10000"/>
                <a:gd name="connsiteX411" fmla="*/ 6380 w 10000"/>
                <a:gd name="connsiteY411" fmla="*/ 9618 h 10000"/>
                <a:gd name="connsiteX412" fmla="*/ 6380 w 10000"/>
                <a:gd name="connsiteY412" fmla="*/ 9213 h 10000"/>
                <a:gd name="connsiteX413" fmla="*/ 6434 w 10000"/>
                <a:gd name="connsiteY413" fmla="*/ 9101 h 10000"/>
                <a:gd name="connsiteX414" fmla="*/ 6457 w 10000"/>
                <a:gd name="connsiteY414" fmla="*/ 9169 h 10000"/>
                <a:gd name="connsiteX415" fmla="*/ 6504 w 10000"/>
                <a:gd name="connsiteY415" fmla="*/ 9146 h 10000"/>
                <a:gd name="connsiteX416" fmla="*/ 6550 w 10000"/>
                <a:gd name="connsiteY416" fmla="*/ 8899 h 10000"/>
                <a:gd name="connsiteX417" fmla="*/ 6574 w 10000"/>
                <a:gd name="connsiteY417" fmla="*/ 8652 h 10000"/>
                <a:gd name="connsiteX418" fmla="*/ 6605 w 10000"/>
                <a:gd name="connsiteY418" fmla="*/ 8607 h 10000"/>
                <a:gd name="connsiteX419" fmla="*/ 6597 w 10000"/>
                <a:gd name="connsiteY419" fmla="*/ 8449 h 10000"/>
                <a:gd name="connsiteX420" fmla="*/ 6535 w 10000"/>
                <a:gd name="connsiteY420" fmla="*/ 8472 h 10000"/>
                <a:gd name="connsiteX421" fmla="*/ 6481 w 10000"/>
                <a:gd name="connsiteY421" fmla="*/ 8494 h 10000"/>
                <a:gd name="connsiteX422" fmla="*/ 6457 w 10000"/>
                <a:gd name="connsiteY422" fmla="*/ 8584 h 10000"/>
                <a:gd name="connsiteX423" fmla="*/ 6372 w 10000"/>
                <a:gd name="connsiteY423" fmla="*/ 8562 h 10000"/>
                <a:gd name="connsiteX424" fmla="*/ 6357 w 10000"/>
                <a:gd name="connsiteY424" fmla="*/ 8337 h 10000"/>
                <a:gd name="connsiteX425" fmla="*/ 6240 w 10000"/>
                <a:gd name="connsiteY425" fmla="*/ 8157 h 10000"/>
                <a:gd name="connsiteX426" fmla="*/ 6178 w 10000"/>
                <a:gd name="connsiteY426" fmla="*/ 8157 h 10000"/>
                <a:gd name="connsiteX427" fmla="*/ 6093 w 10000"/>
                <a:gd name="connsiteY427" fmla="*/ 7573 h 10000"/>
                <a:gd name="connsiteX428" fmla="*/ 6047 w 10000"/>
                <a:gd name="connsiteY428" fmla="*/ 7348 h 10000"/>
                <a:gd name="connsiteX429" fmla="*/ 5930 w 10000"/>
                <a:gd name="connsiteY429" fmla="*/ 7213 h 10000"/>
                <a:gd name="connsiteX430" fmla="*/ 5760 w 10000"/>
                <a:gd name="connsiteY430" fmla="*/ 7258 h 10000"/>
                <a:gd name="connsiteX431" fmla="*/ 5705 w 10000"/>
                <a:gd name="connsiteY431" fmla="*/ 7326 h 10000"/>
                <a:gd name="connsiteX432" fmla="*/ 5698 w 10000"/>
                <a:gd name="connsiteY432" fmla="*/ 7416 h 10000"/>
                <a:gd name="connsiteX433" fmla="*/ 5744 w 10000"/>
                <a:gd name="connsiteY433" fmla="*/ 7438 h 10000"/>
                <a:gd name="connsiteX434" fmla="*/ 5744 w 10000"/>
                <a:gd name="connsiteY434" fmla="*/ 7596 h 10000"/>
                <a:gd name="connsiteX435" fmla="*/ 5705 w 10000"/>
                <a:gd name="connsiteY435" fmla="*/ 7663 h 10000"/>
                <a:gd name="connsiteX436" fmla="*/ 5667 w 10000"/>
                <a:gd name="connsiteY436" fmla="*/ 7865 h 10000"/>
                <a:gd name="connsiteX437" fmla="*/ 5651 w 10000"/>
                <a:gd name="connsiteY437" fmla="*/ 8045 h 10000"/>
                <a:gd name="connsiteX438" fmla="*/ 5605 w 10000"/>
                <a:gd name="connsiteY438" fmla="*/ 8067 h 10000"/>
                <a:gd name="connsiteX439" fmla="*/ 5566 w 10000"/>
                <a:gd name="connsiteY439" fmla="*/ 8180 h 10000"/>
                <a:gd name="connsiteX440" fmla="*/ 5496 w 10000"/>
                <a:gd name="connsiteY440" fmla="*/ 8067 h 10000"/>
                <a:gd name="connsiteX441" fmla="*/ 5403 w 10000"/>
                <a:gd name="connsiteY441" fmla="*/ 8045 h 10000"/>
                <a:gd name="connsiteX442" fmla="*/ 5372 w 10000"/>
                <a:gd name="connsiteY442" fmla="*/ 7978 h 10000"/>
                <a:gd name="connsiteX443" fmla="*/ 5333 w 10000"/>
                <a:gd name="connsiteY443" fmla="*/ 8000 h 10000"/>
                <a:gd name="connsiteX444" fmla="*/ 5264 w 10000"/>
                <a:gd name="connsiteY444" fmla="*/ 8157 h 10000"/>
                <a:gd name="connsiteX445" fmla="*/ 5147 w 10000"/>
                <a:gd name="connsiteY445" fmla="*/ 8225 h 10000"/>
                <a:gd name="connsiteX446" fmla="*/ 5078 w 10000"/>
                <a:gd name="connsiteY446" fmla="*/ 8247 h 10000"/>
                <a:gd name="connsiteX447" fmla="*/ 4992 w 10000"/>
                <a:gd name="connsiteY447" fmla="*/ 8225 h 10000"/>
                <a:gd name="connsiteX448" fmla="*/ 4969 w 10000"/>
                <a:gd name="connsiteY448" fmla="*/ 8157 h 10000"/>
                <a:gd name="connsiteX449" fmla="*/ 4946 w 10000"/>
                <a:gd name="connsiteY449" fmla="*/ 8067 h 10000"/>
                <a:gd name="connsiteX450" fmla="*/ 4907 w 10000"/>
                <a:gd name="connsiteY450" fmla="*/ 8045 h 10000"/>
                <a:gd name="connsiteX451" fmla="*/ 4884 w 10000"/>
                <a:gd name="connsiteY451" fmla="*/ 7978 h 10000"/>
                <a:gd name="connsiteX452" fmla="*/ 4791 w 10000"/>
                <a:gd name="connsiteY452" fmla="*/ 7933 h 10000"/>
                <a:gd name="connsiteX453" fmla="*/ 4736 w 10000"/>
                <a:gd name="connsiteY453" fmla="*/ 8022 h 10000"/>
                <a:gd name="connsiteX454" fmla="*/ 4636 w 10000"/>
                <a:gd name="connsiteY454" fmla="*/ 7978 h 10000"/>
                <a:gd name="connsiteX455" fmla="*/ 4597 w 10000"/>
                <a:gd name="connsiteY455" fmla="*/ 7843 h 10000"/>
                <a:gd name="connsiteX456" fmla="*/ 4589 w 10000"/>
                <a:gd name="connsiteY456" fmla="*/ 7730 h 10000"/>
                <a:gd name="connsiteX457" fmla="*/ 4496 w 10000"/>
                <a:gd name="connsiteY457" fmla="*/ 7640 h 10000"/>
                <a:gd name="connsiteX458" fmla="*/ 4388 w 10000"/>
                <a:gd name="connsiteY458" fmla="*/ 7573 h 10000"/>
                <a:gd name="connsiteX459" fmla="*/ 4318 w 10000"/>
                <a:gd name="connsiteY459" fmla="*/ 7775 h 10000"/>
                <a:gd name="connsiteX460" fmla="*/ 4364 w 10000"/>
                <a:gd name="connsiteY460" fmla="*/ 7933 h 10000"/>
                <a:gd name="connsiteX461" fmla="*/ 4357 w 10000"/>
                <a:gd name="connsiteY461" fmla="*/ 8022 h 10000"/>
                <a:gd name="connsiteX462" fmla="*/ 4310 w 10000"/>
                <a:gd name="connsiteY462" fmla="*/ 8135 h 10000"/>
                <a:gd name="connsiteX463" fmla="*/ 4279 w 10000"/>
                <a:gd name="connsiteY463" fmla="*/ 8067 h 10000"/>
                <a:gd name="connsiteX464" fmla="*/ 4155 w 10000"/>
                <a:gd name="connsiteY464" fmla="*/ 8067 h 10000"/>
                <a:gd name="connsiteX465" fmla="*/ 4116 w 10000"/>
                <a:gd name="connsiteY465" fmla="*/ 7933 h 10000"/>
                <a:gd name="connsiteX466" fmla="*/ 4039 w 10000"/>
                <a:gd name="connsiteY466" fmla="*/ 7888 h 10000"/>
                <a:gd name="connsiteX467" fmla="*/ 3969 w 10000"/>
                <a:gd name="connsiteY467" fmla="*/ 7865 h 10000"/>
                <a:gd name="connsiteX468" fmla="*/ 3837 w 10000"/>
                <a:gd name="connsiteY468" fmla="*/ 8067 h 10000"/>
                <a:gd name="connsiteX469" fmla="*/ 3806 w 10000"/>
                <a:gd name="connsiteY469" fmla="*/ 8157 h 10000"/>
                <a:gd name="connsiteX470" fmla="*/ 3752 w 10000"/>
                <a:gd name="connsiteY470" fmla="*/ 8180 h 10000"/>
                <a:gd name="connsiteX471" fmla="*/ 3721 w 10000"/>
                <a:gd name="connsiteY471" fmla="*/ 8270 h 10000"/>
                <a:gd name="connsiteX472" fmla="*/ 3659 w 10000"/>
                <a:gd name="connsiteY472" fmla="*/ 8270 h 10000"/>
                <a:gd name="connsiteX473" fmla="*/ 3643 w 10000"/>
                <a:gd name="connsiteY473" fmla="*/ 8112 h 10000"/>
                <a:gd name="connsiteX474" fmla="*/ 3558 w 10000"/>
                <a:gd name="connsiteY474" fmla="*/ 8090 h 10000"/>
                <a:gd name="connsiteX475" fmla="*/ 3504 w 10000"/>
                <a:gd name="connsiteY475" fmla="*/ 7978 h 10000"/>
                <a:gd name="connsiteX476" fmla="*/ 3465 w 10000"/>
                <a:gd name="connsiteY476" fmla="*/ 7820 h 10000"/>
                <a:gd name="connsiteX477" fmla="*/ 3357 w 10000"/>
                <a:gd name="connsiteY477" fmla="*/ 7865 h 10000"/>
                <a:gd name="connsiteX478" fmla="*/ 3271 w 10000"/>
                <a:gd name="connsiteY478" fmla="*/ 7730 h 10000"/>
                <a:gd name="connsiteX479" fmla="*/ 3256 w 10000"/>
                <a:gd name="connsiteY479" fmla="*/ 7820 h 10000"/>
                <a:gd name="connsiteX480" fmla="*/ 3225 w 10000"/>
                <a:gd name="connsiteY480" fmla="*/ 7820 h 10000"/>
                <a:gd name="connsiteX481" fmla="*/ 3171 w 10000"/>
                <a:gd name="connsiteY481" fmla="*/ 7551 h 10000"/>
                <a:gd name="connsiteX482" fmla="*/ 3109 w 10000"/>
                <a:gd name="connsiteY482" fmla="*/ 7281 h 10000"/>
                <a:gd name="connsiteX483" fmla="*/ 3039 w 10000"/>
                <a:gd name="connsiteY483" fmla="*/ 7146 h 10000"/>
                <a:gd name="connsiteX484" fmla="*/ 3031 w 10000"/>
                <a:gd name="connsiteY484" fmla="*/ 7034 h 10000"/>
                <a:gd name="connsiteX485" fmla="*/ 2946 w 10000"/>
                <a:gd name="connsiteY485" fmla="*/ 7101 h 10000"/>
                <a:gd name="connsiteX486" fmla="*/ 2876 w 10000"/>
                <a:gd name="connsiteY486" fmla="*/ 7213 h 10000"/>
                <a:gd name="connsiteX487" fmla="*/ 2798 w 10000"/>
                <a:gd name="connsiteY487" fmla="*/ 7101 h 10000"/>
                <a:gd name="connsiteX488" fmla="*/ 2721 w 10000"/>
                <a:gd name="connsiteY488" fmla="*/ 7034 h 10000"/>
                <a:gd name="connsiteX489" fmla="*/ 2682 w 10000"/>
                <a:gd name="connsiteY489" fmla="*/ 6966 h 10000"/>
                <a:gd name="connsiteX490" fmla="*/ 2667 w 10000"/>
                <a:gd name="connsiteY490" fmla="*/ 6809 h 10000"/>
                <a:gd name="connsiteX491" fmla="*/ 2589 w 10000"/>
                <a:gd name="connsiteY491" fmla="*/ 6787 h 10000"/>
                <a:gd name="connsiteX492" fmla="*/ 2504 w 10000"/>
                <a:gd name="connsiteY492" fmla="*/ 6831 h 10000"/>
                <a:gd name="connsiteX493" fmla="*/ 2163 w 10000"/>
                <a:gd name="connsiteY493" fmla="*/ 7101 h 10000"/>
                <a:gd name="connsiteX494" fmla="*/ 2078 w 10000"/>
                <a:gd name="connsiteY494" fmla="*/ 7124 h 10000"/>
                <a:gd name="connsiteX495" fmla="*/ 2093 w 10000"/>
                <a:gd name="connsiteY495" fmla="*/ 7236 h 10000"/>
                <a:gd name="connsiteX496" fmla="*/ 2109 w 10000"/>
                <a:gd name="connsiteY496" fmla="*/ 7326 h 10000"/>
                <a:gd name="connsiteX497" fmla="*/ 2062 w 10000"/>
                <a:gd name="connsiteY497" fmla="*/ 7371 h 10000"/>
                <a:gd name="connsiteX498" fmla="*/ 2054 w 10000"/>
                <a:gd name="connsiteY498" fmla="*/ 7483 h 10000"/>
                <a:gd name="connsiteX499" fmla="*/ 2031 w 10000"/>
                <a:gd name="connsiteY499" fmla="*/ 7551 h 10000"/>
                <a:gd name="connsiteX500" fmla="*/ 2008 w 10000"/>
                <a:gd name="connsiteY500" fmla="*/ 7640 h 10000"/>
                <a:gd name="connsiteX501" fmla="*/ 2062 w 10000"/>
                <a:gd name="connsiteY501" fmla="*/ 7685 h 10000"/>
                <a:gd name="connsiteX502" fmla="*/ 2093 w 10000"/>
                <a:gd name="connsiteY502" fmla="*/ 7775 h 10000"/>
                <a:gd name="connsiteX503" fmla="*/ 2054 w 10000"/>
                <a:gd name="connsiteY503" fmla="*/ 7888 h 10000"/>
                <a:gd name="connsiteX504" fmla="*/ 1953 w 10000"/>
                <a:gd name="connsiteY504" fmla="*/ 7910 h 10000"/>
                <a:gd name="connsiteX505" fmla="*/ 1915 w 10000"/>
                <a:gd name="connsiteY505" fmla="*/ 7798 h 10000"/>
                <a:gd name="connsiteX506" fmla="*/ 1845 w 10000"/>
                <a:gd name="connsiteY506" fmla="*/ 7798 h 10000"/>
                <a:gd name="connsiteX507" fmla="*/ 1760 w 10000"/>
                <a:gd name="connsiteY507" fmla="*/ 7910 h 10000"/>
                <a:gd name="connsiteX508" fmla="*/ 1698 w 10000"/>
                <a:gd name="connsiteY508" fmla="*/ 7888 h 10000"/>
                <a:gd name="connsiteX509" fmla="*/ 1612 w 10000"/>
                <a:gd name="connsiteY509" fmla="*/ 7730 h 10000"/>
                <a:gd name="connsiteX510" fmla="*/ 1473 w 10000"/>
                <a:gd name="connsiteY510" fmla="*/ 7663 h 10000"/>
                <a:gd name="connsiteX511" fmla="*/ 1411 w 10000"/>
                <a:gd name="connsiteY511" fmla="*/ 7730 h 10000"/>
                <a:gd name="connsiteX512" fmla="*/ 1318 w 10000"/>
                <a:gd name="connsiteY512" fmla="*/ 7933 h 10000"/>
                <a:gd name="connsiteX513" fmla="*/ 1310 w 10000"/>
                <a:gd name="connsiteY513" fmla="*/ 8067 h 10000"/>
                <a:gd name="connsiteX514" fmla="*/ 1279 w 10000"/>
                <a:gd name="connsiteY514" fmla="*/ 8112 h 10000"/>
                <a:gd name="connsiteX515" fmla="*/ 1248 w 10000"/>
                <a:gd name="connsiteY515" fmla="*/ 7933 h 10000"/>
                <a:gd name="connsiteX516" fmla="*/ 1202 w 10000"/>
                <a:gd name="connsiteY516" fmla="*/ 8090 h 10000"/>
                <a:gd name="connsiteX517" fmla="*/ 1178 w 10000"/>
                <a:gd name="connsiteY517" fmla="*/ 8360 h 10000"/>
                <a:gd name="connsiteX518" fmla="*/ 1217 w 10000"/>
                <a:gd name="connsiteY518" fmla="*/ 8517 h 10000"/>
                <a:gd name="connsiteX519" fmla="*/ 1271 w 10000"/>
                <a:gd name="connsiteY519" fmla="*/ 8562 h 10000"/>
                <a:gd name="connsiteX520" fmla="*/ 1318 w 10000"/>
                <a:gd name="connsiteY520" fmla="*/ 8742 h 10000"/>
                <a:gd name="connsiteX521" fmla="*/ 1333 w 10000"/>
                <a:gd name="connsiteY521" fmla="*/ 889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Lst>
              <a:rect l="l" t="t" r="r" b="b"/>
              <a:pathLst>
                <a:path w="10000" h="10000">
                  <a:moveTo>
                    <a:pt x="1333" y="8899"/>
                  </a:moveTo>
                  <a:cubicBezTo>
                    <a:pt x="1312" y="8944"/>
                    <a:pt x="1292" y="8989"/>
                    <a:pt x="1271" y="9034"/>
                  </a:cubicBezTo>
                  <a:cubicBezTo>
                    <a:pt x="1258" y="9056"/>
                    <a:pt x="1246" y="9079"/>
                    <a:pt x="1233" y="9101"/>
                  </a:cubicBezTo>
                  <a:cubicBezTo>
                    <a:pt x="1228" y="9131"/>
                    <a:pt x="1222" y="9161"/>
                    <a:pt x="1217" y="9191"/>
                  </a:cubicBezTo>
                  <a:cubicBezTo>
                    <a:pt x="1207" y="9228"/>
                    <a:pt x="1196" y="9266"/>
                    <a:pt x="1186" y="9303"/>
                  </a:cubicBezTo>
                  <a:cubicBezTo>
                    <a:pt x="1196" y="9326"/>
                    <a:pt x="1207" y="9348"/>
                    <a:pt x="1217" y="9371"/>
                  </a:cubicBezTo>
                  <a:cubicBezTo>
                    <a:pt x="1225" y="9408"/>
                    <a:pt x="1232" y="9446"/>
                    <a:pt x="1240" y="9483"/>
                  </a:cubicBezTo>
                  <a:cubicBezTo>
                    <a:pt x="1243" y="9550"/>
                    <a:pt x="1245" y="9618"/>
                    <a:pt x="1248" y="9685"/>
                  </a:cubicBezTo>
                  <a:lnTo>
                    <a:pt x="1302" y="9865"/>
                  </a:lnTo>
                  <a:cubicBezTo>
                    <a:pt x="1289" y="9903"/>
                    <a:pt x="1277" y="9940"/>
                    <a:pt x="1264" y="9978"/>
                  </a:cubicBezTo>
                  <a:cubicBezTo>
                    <a:pt x="1259" y="9985"/>
                    <a:pt x="1253" y="9993"/>
                    <a:pt x="1248" y="10000"/>
                  </a:cubicBezTo>
                  <a:cubicBezTo>
                    <a:pt x="1227" y="9955"/>
                    <a:pt x="1207" y="9910"/>
                    <a:pt x="1186" y="9865"/>
                  </a:cubicBezTo>
                  <a:cubicBezTo>
                    <a:pt x="1178" y="9858"/>
                    <a:pt x="1171" y="9850"/>
                    <a:pt x="1163" y="9843"/>
                  </a:cubicBezTo>
                  <a:cubicBezTo>
                    <a:pt x="1150" y="9805"/>
                    <a:pt x="1137" y="9768"/>
                    <a:pt x="1124" y="9730"/>
                  </a:cubicBezTo>
                  <a:cubicBezTo>
                    <a:pt x="1111" y="9708"/>
                    <a:pt x="1098" y="9685"/>
                    <a:pt x="1085" y="9663"/>
                  </a:cubicBezTo>
                  <a:cubicBezTo>
                    <a:pt x="1072" y="9670"/>
                    <a:pt x="1060" y="9678"/>
                    <a:pt x="1047" y="9685"/>
                  </a:cubicBezTo>
                  <a:lnTo>
                    <a:pt x="1023" y="9685"/>
                  </a:lnTo>
                  <a:lnTo>
                    <a:pt x="984" y="9640"/>
                  </a:lnTo>
                  <a:cubicBezTo>
                    <a:pt x="966" y="9610"/>
                    <a:pt x="948" y="9581"/>
                    <a:pt x="930" y="9551"/>
                  </a:cubicBezTo>
                  <a:lnTo>
                    <a:pt x="899" y="9551"/>
                  </a:lnTo>
                  <a:cubicBezTo>
                    <a:pt x="886" y="9558"/>
                    <a:pt x="873" y="9566"/>
                    <a:pt x="860" y="9573"/>
                  </a:cubicBezTo>
                  <a:cubicBezTo>
                    <a:pt x="845" y="9543"/>
                    <a:pt x="829" y="9513"/>
                    <a:pt x="814" y="9483"/>
                  </a:cubicBezTo>
                  <a:cubicBezTo>
                    <a:pt x="798" y="9491"/>
                    <a:pt x="783" y="9498"/>
                    <a:pt x="767" y="9506"/>
                  </a:cubicBezTo>
                  <a:cubicBezTo>
                    <a:pt x="734" y="9438"/>
                    <a:pt x="700" y="9371"/>
                    <a:pt x="667" y="9303"/>
                  </a:cubicBezTo>
                  <a:lnTo>
                    <a:pt x="612" y="9236"/>
                  </a:lnTo>
                  <a:cubicBezTo>
                    <a:pt x="617" y="9184"/>
                    <a:pt x="623" y="9131"/>
                    <a:pt x="628" y="9079"/>
                  </a:cubicBezTo>
                  <a:cubicBezTo>
                    <a:pt x="643" y="9034"/>
                    <a:pt x="659" y="8989"/>
                    <a:pt x="674" y="8944"/>
                  </a:cubicBezTo>
                  <a:cubicBezTo>
                    <a:pt x="672" y="8906"/>
                    <a:pt x="669" y="8869"/>
                    <a:pt x="667" y="8831"/>
                  </a:cubicBezTo>
                  <a:cubicBezTo>
                    <a:pt x="688" y="8794"/>
                    <a:pt x="708" y="8756"/>
                    <a:pt x="729" y="8719"/>
                  </a:cubicBezTo>
                  <a:lnTo>
                    <a:pt x="659" y="8697"/>
                  </a:lnTo>
                  <a:cubicBezTo>
                    <a:pt x="662" y="8667"/>
                    <a:pt x="664" y="8637"/>
                    <a:pt x="667" y="8607"/>
                  </a:cubicBezTo>
                  <a:cubicBezTo>
                    <a:pt x="680" y="8592"/>
                    <a:pt x="692" y="8577"/>
                    <a:pt x="705" y="8562"/>
                  </a:cubicBezTo>
                  <a:cubicBezTo>
                    <a:pt x="726" y="8547"/>
                    <a:pt x="746" y="8532"/>
                    <a:pt x="767" y="8517"/>
                  </a:cubicBezTo>
                  <a:cubicBezTo>
                    <a:pt x="770" y="8397"/>
                    <a:pt x="772" y="8277"/>
                    <a:pt x="775" y="8157"/>
                  </a:cubicBezTo>
                  <a:cubicBezTo>
                    <a:pt x="754" y="8120"/>
                    <a:pt x="734" y="8082"/>
                    <a:pt x="713" y="8045"/>
                  </a:cubicBezTo>
                  <a:lnTo>
                    <a:pt x="636" y="8045"/>
                  </a:lnTo>
                  <a:cubicBezTo>
                    <a:pt x="633" y="8023"/>
                    <a:pt x="631" y="8000"/>
                    <a:pt x="628" y="7978"/>
                  </a:cubicBezTo>
                  <a:lnTo>
                    <a:pt x="504" y="7955"/>
                  </a:lnTo>
                  <a:cubicBezTo>
                    <a:pt x="499" y="7903"/>
                    <a:pt x="493" y="7850"/>
                    <a:pt x="488" y="7798"/>
                  </a:cubicBezTo>
                  <a:lnTo>
                    <a:pt x="419" y="7753"/>
                  </a:lnTo>
                  <a:cubicBezTo>
                    <a:pt x="421" y="7708"/>
                    <a:pt x="424" y="7663"/>
                    <a:pt x="426" y="7618"/>
                  </a:cubicBezTo>
                  <a:cubicBezTo>
                    <a:pt x="421" y="7581"/>
                    <a:pt x="416" y="7543"/>
                    <a:pt x="411" y="7506"/>
                  </a:cubicBezTo>
                  <a:lnTo>
                    <a:pt x="318" y="7506"/>
                  </a:lnTo>
                  <a:cubicBezTo>
                    <a:pt x="313" y="7521"/>
                    <a:pt x="307" y="7536"/>
                    <a:pt x="302" y="7551"/>
                  </a:cubicBezTo>
                  <a:cubicBezTo>
                    <a:pt x="294" y="7558"/>
                    <a:pt x="287" y="7566"/>
                    <a:pt x="279" y="7573"/>
                  </a:cubicBezTo>
                  <a:cubicBezTo>
                    <a:pt x="269" y="7558"/>
                    <a:pt x="258" y="7543"/>
                    <a:pt x="248" y="7528"/>
                  </a:cubicBezTo>
                  <a:lnTo>
                    <a:pt x="248" y="7303"/>
                  </a:lnTo>
                  <a:lnTo>
                    <a:pt x="318" y="7303"/>
                  </a:lnTo>
                  <a:cubicBezTo>
                    <a:pt x="321" y="7296"/>
                    <a:pt x="323" y="7288"/>
                    <a:pt x="326" y="7281"/>
                  </a:cubicBezTo>
                  <a:cubicBezTo>
                    <a:pt x="290" y="7169"/>
                    <a:pt x="253" y="7056"/>
                    <a:pt x="217" y="6944"/>
                  </a:cubicBezTo>
                  <a:cubicBezTo>
                    <a:pt x="212" y="6862"/>
                    <a:pt x="207" y="6779"/>
                    <a:pt x="202" y="6697"/>
                  </a:cubicBezTo>
                  <a:cubicBezTo>
                    <a:pt x="176" y="6689"/>
                    <a:pt x="150" y="6682"/>
                    <a:pt x="124" y="6674"/>
                  </a:cubicBezTo>
                  <a:lnTo>
                    <a:pt x="124" y="6607"/>
                  </a:lnTo>
                  <a:lnTo>
                    <a:pt x="54" y="6562"/>
                  </a:lnTo>
                  <a:cubicBezTo>
                    <a:pt x="49" y="6539"/>
                    <a:pt x="44" y="6517"/>
                    <a:pt x="39" y="6494"/>
                  </a:cubicBezTo>
                  <a:cubicBezTo>
                    <a:pt x="34" y="6434"/>
                    <a:pt x="28" y="6375"/>
                    <a:pt x="23" y="6315"/>
                  </a:cubicBezTo>
                  <a:cubicBezTo>
                    <a:pt x="15" y="6270"/>
                    <a:pt x="8" y="6225"/>
                    <a:pt x="0" y="6180"/>
                  </a:cubicBezTo>
                  <a:cubicBezTo>
                    <a:pt x="3" y="6135"/>
                    <a:pt x="5" y="6090"/>
                    <a:pt x="8" y="6045"/>
                  </a:cubicBezTo>
                  <a:lnTo>
                    <a:pt x="8" y="5865"/>
                  </a:lnTo>
                  <a:cubicBezTo>
                    <a:pt x="16" y="5820"/>
                    <a:pt x="23" y="5775"/>
                    <a:pt x="31" y="5730"/>
                  </a:cubicBezTo>
                  <a:cubicBezTo>
                    <a:pt x="54" y="5678"/>
                    <a:pt x="78" y="5625"/>
                    <a:pt x="101" y="5573"/>
                  </a:cubicBezTo>
                  <a:cubicBezTo>
                    <a:pt x="119" y="5566"/>
                    <a:pt x="137" y="5558"/>
                    <a:pt x="155" y="5551"/>
                  </a:cubicBezTo>
                  <a:cubicBezTo>
                    <a:pt x="132" y="5521"/>
                    <a:pt x="108" y="5491"/>
                    <a:pt x="85" y="5461"/>
                  </a:cubicBezTo>
                  <a:cubicBezTo>
                    <a:pt x="72" y="5416"/>
                    <a:pt x="60" y="5371"/>
                    <a:pt x="47" y="5326"/>
                  </a:cubicBezTo>
                  <a:cubicBezTo>
                    <a:pt x="91" y="5209"/>
                    <a:pt x="136" y="5092"/>
                    <a:pt x="180" y="4975"/>
                  </a:cubicBezTo>
                  <a:cubicBezTo>
                    <a:pt x="203" y="4905"/>
                    <a:pt x="225" y="4834"/>
                    <a:pt x="248" y="4764"/>
                  </a:cubicBezTo>
                  <a:cubicBezTo>
                    <a:pt x="217" y="4697"/>
                    <a:pt x="186" y="4629"/>
                    <a:pt x="155" y="4562"/>
                  </a:cubicBezTo>
                  <a:cubicBezTo>
                    <a:pt x="168" y="4524"/>
                    <a:pt x="181" y="4487"/>
                    <a:pt x="194" y="4449"/>
                  </a:cubicBezTo>
                  <a:cubicBezTo>
                    <a:pt x="184" y="4397"/>
                    <a:pt x="155" y="4365"/>
                    <a:pt x="145" y="4313"/>
                  </a:cubicBezTo>
                  <a:cubicBezTo>
                    <a:pt x="132" y="4276"/>
                    <a:pt x="137" y="4217"/>
                    <a:pt x="124" y="4180"/>
                  </a:cubicBezTo>
                  <a:cubicBezTo>
                    <a:pt x="134" y="4105"/>
                    <a:pt x="145" y="4030"/>
                    <a:pt x="155" y="3955"/>
                  </a:cubicBezTo>
                  <a:cubicBezTo>
                    <a:pt x="147" y="3895"/>
                    <a:pt x="140" y="3835"/>
                    <a:pt x="132" y="3775"/>
                  </a:cubicBezTo>
                  <a:cubicBezTo>
                    <a:pt x="119" y="3708"/>
                    <a:pt x="106" y="3640"/>
                    <a:pt x="93" y="3573"/>
                  </a:cubicBezTo>
                  <a:cubicBezTo>
                    <a:pt x="114" y="3513"/>
                    <a:pt x="134" y="3453"/>
                    <a:pt x="155" y="3393"/>
                  </a:cubicBezTo>
                  <a:cubicBezTo>
                    <a:pt x="124" y="3341"/>
                    <a:pt x="93" y="3288"/>
                    <a:pt x="62" y="3236"/>
                  </a:cubicBezTo>
                  <a:cubicBezTo>
                    <a:pt x="67" y="3154"/>
                    <a:pt x="73" y="3071"/>
                    <a:pt x="78" y="2989"/>
                  </a:cubicBezTo>
                  <a:cubicBezTo>
                    <a:pt x="91" y="2951"/>
                    <a:pt x="103" y="2914"/>
                    <a:pt x="116" y="2876"/>
                  </a:cubicBezTo>
                  <a:cubicBezTo>
                    <a:pt x="129" y="2869"/>
                    <a:pt x="142" y="2861"/>
                    <a:pt x="155" y="2854"/>
                  </a:cubicBezTo>
                  <a:lnTo>
                    <a:pt x="155" y="2787"/>
                  </a:lnTo>
                  <a:lnTo>
                    <a:pt x="240" y="2742"/>
                  </a:lnTo>
                  <a:lnTo>
                    <a:pt x="310" y="2742"/>
                  </a:lnTo>
                  <a:cubicBezTo>
                    <a:pt x="318" y="2779"/>
                    <a:pt x="325" y="2817"/>
                    <a:pt x="333" y="2854"/>
                  </a:cubicBezTo>
                  <a:lnTo>
                    <a:pt x="372" y="2899"/>
                  </a:lnTo>
                  <a:lnTo>
                    <a:pt x="519" y="2921"/>
                  </a:lnTo>
                  <a:cubicBezTo>
                    <a:pt x="555" y="2974"/>
                    <a:pt x="592" y="3026"/>
                    <a:pt x="628" y="3079"/>
                  </a:cubicBezTo>
                  <a:lnTo>
                    <a:pt x="729" y="3258"/>
                  </a:lnTo>
                  <a:cubicBezTo>
                    <a:pt x="768" y="3318"/>
                    <a:pt x="806" y="3378"/>
                    <a:pt x="845" y="3438"/>
                  </a:cubicBezTo>
                  <a:cubicBezTo>
                    <a:pt x="848" y="3505"/>
                    <a:pt x="850" y="3573"/>
                    <a:pt x="853" y="3640"/>
                  </a:cubicBezTo>
                  <a:cubicBezTo>
                    <a:pt x="830" y="3700"/>
                    <a:pt x="806" y="3760"/>
                    <a:pt x="783" y="3820"/>
                  </a:cubicBezTo>
                  <a:lnTo>
                    <a:pt x="667" y="3910"/>
                  </a:lnTo>
                  <a:cubicBezTo>
                    <a:pt x="633" y="3873"/>
                    <a:pt x="600" y="3835"/>
                    <a:pt x="566" y="3798"/>
                  </a:cubicBezTo>
                  <a:lnTo>
                    <a:pt x="450" y="3730"/>
                  </a:lnTo>
                  <a:cubicBezTo>
                    <a:pt x="421" y="3700"/>
                    <a:pt x="393" y="3670"/>
                    <a:pt x="364" y="3640"/>
                  </a:cubicBezTo>
                  <a:cubicBezTo>
                    <a:pt x="341" y="3610"/>
                    <a:pt x="318" y="3581"/>
                    <a:pt x="295" y="3551"/>
                  </a:cubicBezTo>
                  <a:cubicBezTo>
                    <a:pt x="313" y="3618"/>
                    <a:pt x="331" y="3686"/>
                    <a:pt x="349" y="3753"/>
                  </a:cubicBezTo>
                  <a:cubicBezTo>
                    <a:pt x="370" y="3783"/>
                    <a:pt x="390" y="3813"/>
                    <a:pt x="411" y="3843"/>
                  </a:cubicBezTo>
                  <a:cubicBezTo>
                    <a:pt x="421" y="3865"/>
                    <a:pt x="432" y="3888"/>
                    <a:pt x="442" y="3910"/>
                  </a:cubicBezTo>
                  <a:cubicBezTo>
                    <a:pt x="445" y="3955"/>
                    <a:pt x="447" y="4000"/>
                    <a:pt x="450" y="4045"/>
                  </a:cubicBezTo>
                  <a:cubicBezTo>
                    <a:pt x="458" y="4142"/>
                    <a:pt x="465" y="4240"/>
                    <a:pt x="473" y="4337"/>
                  </a:cubicBezTo>
                  <a:cubicBezTo>
                    <a:pt x="486" y="4345"/>
                    <a:pt x="499" y="4352"/>
                    <a:pt x="512" y="4360"/>
                  </a:cubicBezTo>
                  <a:cubicBezTo>
                    <a:pt x="533" y="4412"/>
                    <a:pt x="553" y="4465"/>
                    <a:pt x="574" y="4517"/>
                  </a:cubicBezTo>
                  <a:lnTo>
                    <a:pt x="651" y="4517"/>
                  </a:lnTo>
                  <a:cubicBezTo>
                    <a:pt x="654" y="4479"/>
                    <a:pt x="656" y="4442"/>
                    <a:pt x="659" y="4404"/>
                  </a:cubicBezTo>
                  <a:lnTo>
                    <a:pt x="612" y="4360"/>
                  </a:lnTo>
                  <a:cubicBezTo>
                    <a:pt x="599" y="4315"/>
                    <a:pt x="587" y="4270"/>
                    <a:pt x="574" y="4225"/>
                  </a:cubicBezTo>
                  <a:cubicBezTo>
                    <a:pt x="584" y="4187"/>
                    <a:pt x="595" y="4150"/>
                    <a:pt x="605" y="4112"/>
                  </a:cubicBezTo>
                  <a:cubicBezTo>
                    <a:pt x="620" y="4150"/>
                    <a:pt x="636" y="4187"/>
                    <a:pt x="651" y="4225"/>
                  </a:cubicBezTo>
                  <a:cubicBezTo>
                    <a:pt x="667" y="4240"/>
                    <a:pt x="682" y="4255"/>
                    <a:pt x="698" y="4270"/>
                  </a:cubicBezTo>
                  <a:lnTo>
                    <a:pt x="798" y="4337"/>
                  </a:lnTo>
                  <a:lnTo>
                    <a:pt x="798" y="4225"/>
                  </a:lnTo>
                  <a:cubicBezTo>
                    <a:pt x="785" y="4180"/>
                    <a:pt x="773" y="4135"/>
                    <a:pt x="760" y="4090"/>
                  </a:cubicBezTo>
                  <a:cubicBezTo>
                    <a:pt x="775" y="4045"/>
                    <a:pt x="791" y="4000"/>
                    <a:pt x="806" y="3955"/>
                  </a:cubicBezTo>
                  <a:lnTo>
                    <a:pt x="876" y="3843"/>
                  </a:lnTo>
                  <a:lnTo>
                    <a:pt x="915" y="3753"/>
                  </a:lnTo>
                  <a:lnTo>
                    <a:pt x="1023" y="3843"/>
                  </a:lnTo>
                  <a:lnTo>
                    <a:pt x="1047" y="3573"/>
                  </a:lnTo>
                  <a:cubicBezTo>
                    <a:pt x="1037" y="3543"/>
                    <a:pt x="1026" y="3513"/>
                    <a:pt x="1016" y="3483"/>
                  </a:cubicBezTo>
                  <a:cubicBezTo>
                    <a:pt x="1021" y="3401"/>
                    <a:pt x="1026" y="3318"/>
                    <a:pt x="1031" y="3236"/>
                  </a:cubicBezTo>
                  <a:cubicBezTo>
                    <a:pt x="1021" y="3206"/>
                    <a:pt x="1010" y="3176"/>
                    <a:pt x="1000" y="3146"/>
                  </a:cubicBezTo>
                  <a:lnTo>
                    <a:pt x="1132" y="3124"/>
                  </a:lnTo>
                  <a:cubicBezTo>
                    <a:pt x="1147" y="3176"/>
                    <a:pt x="1163" y="3229"/>
                    <a:pt x="1178" y="3281"/>
                  </a:cubicBezTo>
                  <a:lnTo>
                    <a:pt x="1178" y="3371"/>
                  </a:lnTo>
                  <a:lnTo>
                    <a:pt x="1116" y="3371"/>
                  </a:lnTo>
                  <a:cubicBezTo>
                    <a:pt x="1103" y="3408"/>
                    <a:pt x="1091" y="3446"/>
                    <a:pt x="1078" y="3483"/>
                  </a:cubicBezTo>
                  <a:cubicBezTo>
                    <a:pt x="1099" y="3535"/>
                    <a:pt x="1119" y="3588"/>
                    <a:pt x="1140" y="3640"/>
                  </a:cubicBezTo>
                  <a:cubicBezTo>
                    <a:pt x="1171" y="3648"/>
                    <a:pt x="1202" y="3655"/>
                    <a:pt x="1233" y="3663"/>
                  </a:cubicBezTo>
                  <a:cubicBezTo>
                    <a:pt x="1246" y="3573"/>
                    <a:pt x="1258" y="3483"/>
                    <a:pt x="1271" y="3393"/>
                  </a:cubicBezTo>
                  <a:lnTo>
                    <a:pt x="1496" y="3146"/>
                  </a:lnTo>
                  <a:cubicBezTo>
                    <a:pt x="1509" y="3154"/>
                    <a:pt x="1522" y="3161"/>
                    <a:pt x="1535" y="3169"/>
                  </a:cubicBezTo>
                  <a:cubicBezTo>
                    <a:pt x="1550" y="3124"/>
                    <a:pt x="1566" y="3079"/>
                    <a:pt x="1581" y="3034"/>
                  </a:cubicBezTo>
                  <a:cubicBezTo>
                    <a:pt x="1597" y="3019"/>
                    <a:pt x="1612" y="3004"/>
                    <a:pt x="1628" y="2989"/>
                  </a:cubicBezTo>
                  <a:cubicBezTo>
                    <a:pt x="1623" y="3056"/>
                    <a:pt x="1617" y="3124"/>
                    <a:pt x="1612" y="3191"/>
                  </a:cubicBezTo>
                  <a:lnTo>
                    <a:pt x="1690" y="3191"/>
                  </a:lnTo>
                  <a:lnTo>
                    <a:pt x="1705" y="3101"/>
                  </a:lnTo>
                  <a:lnTo>
                    <a:pt x="1845" y="3124"/>
                  </a:lnTo>
                  <a:cubicBezTo>
                    <a:pt x="1876" y="3071"/>
                    <a:pt x="1907" y="3019"/>
                    <a:pt x="1938" y="2966"/>
                  </a:cubicBezTo>
                  <a:cubicBezTo>
                    <a:pt x="1943" y="3004"/>
                    <a:pt x="1948" y="3041"/>
                    <a:pt x="1953" y="3079"/>
                  </a:cubicBezTo>
                  <a:cubicBezTo>
                    <a:pt x="1951" y="3109"/>
                    <a:pt x="1948" y="3139"/>
                    <a:pt x="1946" y="3169"/>
                  </a:cubicBezTo>
                  <a:lnTo>
                    <a:pt x="1984" y="3169"/>
                  </a:lnTo>
                  <a:cubicBezTo>
                    <a:pt x="1989" y="3139"/>
                    <a:pt x="1995" y="3109"/>
                    <a:pt x="2000" y="3079"/>
                  </a:cubicBezTo>
                  <a:cubicBezTo>
                    <a:pt x="2021" y="3041"/>
                    <a:pt x="2041" y="3004"/>
                    <a:pt x="2062" y="2966"/>
                  </a:cubicBezTo>
                  <a:cubicBezTo>
                    <a:pt x="2047" y="2906"/>
                    <a:pt x="2031" y="2847"/>
                    <a:pt x="2016" y="2787"/>
                  </a:cubicBezTo>
                  <a:cubicBezTo>
                    <a:pt x="1987" y="2757"/>
                    <a:pt x="1959" y="2727"/>
                    <a:pt x="1930" y="2697"/>
                  </a:cubicBezTo>
                  <a:lnTo>
                    <a:pt x="1930" y="2539"/>
                  </a:lnTo>
                  <a:lnTo>
                    <a:pt x="1961" y="2517"/>
                  </a:lnTo>
                  <a:cubicBezTo>
                    <a:pt x="1987" y="2584"/>
                    <a:pt x="2013" y="2652"/>
                    <a:pt x="2039" y="2719"/>
                  </a:cubicBezTo>
                  <a:lnTo>
                    <a:pt x="2163" y="2742"/>
                  </a:lnTo>
                  <a:lnTo>
                    <a:pt x="2295" y="2876"/>
                  </a:lnTo>
                  <a:lnTo>
                    <a:pt x="2403" y="3011"/>
                  </a:lnTo>
                  <a:cubicBezTo>
                    <a:pt x="2442" y="3071"/>
                    <a:pt x="2480" y="3131"/>
                    <a:pt x="2519" y="3191"/>
                  </a:cubicBezTo>
                  <a:cubicBezTo>
                    <a:pt x="2529" y="3139"/>
                    <a:pt x="2540" y="3086"/>
                    <a:pt x="2550" y="3034"/>
                  </a:cubicBezTo>
                  <a:cubicBezTo>
                    <a:pt x="2532" y="2981"/>
                    <a:pt x="2514" y="2929"/>
                    <a:pt x="2496" y="2876"/>
                  </a:cubicBezTo>
                  <a:lnTo>
                    <a:pt x="2426" y="2764"/>
                  </a:lnTo>
                  <a:lnTo>
                    <a:pt x="2426" y="2652"/>
                  </a:lnTo>
                  <a:cubicBezTo>
                    <a:pt x="2436" y="2577"/>
                    <a:pt x="2447" y="2502"/>
                    <a:pt x="2457" y="2427"/>
                  </a:cubicBezTo>
                  <a:cubicBezTo>
                    <a:pt x="2444" y="2405"/>
                    <a:pt x="2432" y="2382"/>
                    <a:pt x="2419" y="2360"/>
                  </a:cubicBezTo>
                  <a:cubicBezTo>
                    <a:pt x="2421" y="2337"/>
                    <a:pt x="2424" y="2315"/>
                    <a:pt x="2426" y="2292"/>
                  </a:cubicBezTo>
                  <a:cubicBezTo>
                    <a:pt x="2457" y="2225"/>
                    <a:pt x="2488" y="2157"/>
                    <a:pt x="2519" y="2090"/>
                  </a:cubicBezTo>
                  <a:cubicBezTo>
                    <a:pt x="2540" y="1970"/>
                    <a:pt x="2560" y="1850"/>
                    <a:pt x="2581" y="1730"/>
                  </a:cubicBezTo>
                  <a:lnTo>
                    <a:pt x="2775" y="1775"/>
                  </a:lnTo>
                  <a:cubicBezTo>
                    <a:pt x="2780" y="1798"/>
                    <a:pt x="2786" y="1820"/>
                    <a:pt x="2791" y="1843"/>
                  </a:cubicBezTo>
                  <a:cubicBezTo>
                    <a:pt x="2786" y="1910"/>
                    <a:pt x="2780" y="1978"/>
                    <a:pt x="2775" y="2045"/>
                  </a:cubicBezTo>
                  <a:lnTo>
                    <a:pt x="2736" y="2225"/>
                  </a:lnTo>
                  <a:lnTo>
                    <a:pt x="2775" y="2315"/>
                  </a:lnTo>
                  <a:cubicBezTo>
                    <a:pt x="2780" y="2382"/>
                    <a:pt x="2786" y="2450"/>
                    <a:pt x="2791" y="2517"/>
                  </a:cubicBezTo>
                  <a:cubicBezTo>
                    <a:pt x="2786" y="2682"/>
                    <a:pt x="2780" y="2846"/>
                    <a:pt x="2775" y="3011"/>
                  </a:cubicBezTo>
                  <a:cubicBezTo>
                    <a:pt x="2796" y="3056"/>
                    <a:pt x="2816" y="3101"/>
                    <a:pt x="2837" y="3146"/>
                  </a:cubicBezTo>
                  <a:cubicBezTo>
                    <a:pt x="2827" y="3213"/>
                    <a:pt x="2816" y="3281"/>
                    <a:pt x="2806" y="3348"/>
                  </a:cubicBezTo>
                  <a:lnTo>
                    <a:pt x="2698" y="3618"/>
                  </a:lnTo>
                  <a:lnTo>
                    <a:pt x="2643" y="3685"/>
                  </a:lnTo>
                  <a:cubicBezTo>
                    <a:pt x="2622" y="3670"/>
                    <a:pt x="2602" y="3655"/>
                    <a:pt x="2581" y="3640"/>
                  </a:cubicBezTo>
                  <a:cubicBezTo>
                    <a:pt x="2571" y="3655"/>
                    <a:pt x="2560" y="3670"/>
                    <a:pt x="2550" y="3685"/>
                  </a:cubicBezTo>
                  <a:cubicBezTo>
                    <a:pt x="2566" y="3715"/>
                    <a:pt x="2581" y="3745"/>
                    <a:pt x="2597" y="3775"/>
                  </a:cubicBezTo>
                  <a:lnTo>
                    <a:pt x="2667" y="3820"/>
                  </a:lnTo>
                  <a:cubicBezTo>
                    <a:pt x="2690" y="3828"/>
                    <a:pt x="2713" y="3835"/>
                    <a:pt x="2736" y="3843"/>
                  </a:cubicBezTo>
                  <a:lnTo>
                    <a:pt x="2814" y="3663"/>
                  </a:lnTo>
                  <a:lnTo>
                    <a:pt x="2922" y="3348"/>
                  </a:lnTo>
                  <a:cubicBezTo>
                    <a:pt x="2912" y="3288"/>
                    <a:pt x="2901" y="3229"/>
                    <a:pt x="2891" y="3169"/>
                  </a:cubicBezTo>
                  <a:lnTo>
                    <a:pt x="2930" y="2989"/>
                  </a:lnTo>
                  <a:lnTo>
                    <a:pt x="3016" y="3034"/>
                  </a:lnTo>
                  <a:cubicBezTo>
                    <a:pt x="3029" y="3071"/>
                    <a:pt x="3041" y="3109"/>
                    <a:pt x="3054" y="3146"/>
                  </a:cubicBezTo>
                  <a:cubicBezTo>
                    <a:pt x="3059" y="3206"/>
                    <a:pt x="3065" y="3266"/>
                    <a:pt x="3070" y="3326"/>
                  </a:cubicBezTo>
                  <a:lnTo>
                    <a:pt x="3124" y="3191"/>
                  </a:lnTo>
                  <a:cubicBezTo>
                    <a:pt x="3114" y="3131"/>
                    <a:pt x="3103" y="3071"/>
                    <a:pt x="3093" y="3011"/>
                  </a:cubicBezTo>
                  <a:cubicBezTo>
                    <a:pt x="3067" y="2989"/>
                    <a:pt x="3042" y="2966"/>
                    <a:pt x="3016" y="2944"/>
                  </a:cubicBezTo>
                  <a:lnTo>
                    <a:pt x="2853" y="2921"/>
                  </a:lnTo>
                  <a:lnTo>
                    <a:pt x="2853" y="2697"/>
                  </a:lnTo>
                  <a:cubicBezTo>
                    <a:pt x="2863" y="2622"/>
                    <a:pt x="2874" y="2547"/>
                    <a:pt x="2884" y="2472"/>
                  </a:cubicBezTo>
                  <a:lnTo>
                    <a:pt x="2845" y="2292"/>
                  </a:lnTo>
                  <a:cubicBezTo>
                    <a:pt x="2837" y="2247"/>
                    <a:pt x="2830" y="2202"/>
                    <a:pt x="2822" y="2157"/>
                  </a:cubicBezTo>
                  <a:cubicBezTo>
                    <a:pt x="2837" y="2112"/>
                    <a:pt x="2853" y="2067"/>
                    <a:pt x="2868" y="2022"/>
                  </a:cubicBezTo>
                  <a:cubicBezTo>
                    <a:pt x="2886" y="2000"/>
                    <a:pt x="2904" y="1977"/>
                    <a:pt x="2922" y="1955"/>
                  </a:cubicBezTo>
                  <a:cubicBezTo>
                    <a:pt x="2925" y="1895"/>
                    <a:pt x="2927" y="1835"/>
                    <a:pt x="2930" y="1775"/>
                  </a:cubicBezTo>
                  <a:lnTo>
                    <a:pt x="2961" y="1775"/>
                  </a:lnTo>
                  <a:cubicBezTo>
                    <a:pt x="2964" y="1843"/>
                    <a:pt x="2966" y="1910"/>
                    <a:pt x="2969" y="1978"/>
                  </a:cubicBezTo>
                  <a:cubicBezTo>
                    <a:pt x="2961" y="2030"/>
                    <a:pt x="2954" y="2083"/>
                    <a:pt x="2946" y="2135"/>
                  </a:cubicBezTo>
                  <a:cubicBezTo>
                    <a:pt x="2951" y="2172"/>
                    <a:pt x="2956" y="2210"/>
                    <a:pt x="2961" y="2247"/>
                  </a:cubicBezTo>
                  <a:cubicBezTo>
                    <a:pt x="2982" y="2262"/>
                    <a:pt x="3002" y="2277"/>
                    <a:pt x="3023" y="2292"/>
                  </a:cubicBezTo>
                  <a:cubicBezTo>
                    <a:pt x="3054" y="2315"/>
                    <a:pt x="3085" y="2337"/>
                    <a:pt x="3116" y="2360"/>
                  </a:cubicBezTo>
                  <a:lnTo>
                    <a:pt x="3163" y="2360"/>
                  </a:lnTo>
                  <a:cubicBezTo>
                    <a:pt x="3145" y="2322"/>
                    <a:pt x="3127" y="2285"/>
                    <a:pt x="3109" y="2247"/>
                  </a:cubicBezTo>
                  <a:cubicBezTo>
                    <a:pt x="3083" y="2225"/>
                    <a:pt x="3057" y="2202"/>
                    <a:pt x="3031" y="2180"/>
                  </a:cubicBezTo>
                  <a:cubicBezTo>
                    <a:pt x="3021" y="2135"/>
                    <a:pt x="3010" y="2090"/>
                    <a:pt x="3000" y="2045"/>
                  </a:cubicBezTo>
                  <a:cubicBezTo>
                    <a:pt x="3016" y="2030"/>
                    <a:pt x="3031" y="2015"/>
                    <a:pt x="3047" y="2000"/>
                  </a:cubicBezTo>
                  <a:lnTo>
                    <a:pt x="3124" y="2045"/>
                  </a:lnTo>
                  <a:lnTo>
                    <a:pt x="3070" y="1865"/>
                  </a:lnTo>
                  <a:cubicBezTo>
                    <a:pt x="3078" y="1850"/>
                    <a:pt x="3085" y="1835"/>
                    <a:pt x="3093" y="1820"/>
                  </a:cubicBezTo>
                  <a:lnTo>
                    <a:pt x="3225" y="1933"/>
                  </a:lnTo>
                  <a:cubicBezTo>
                    <a:pt x="3251" y="1993"/>
                    <a:pt x="3276" y="2052"/>
                    <a:pt x="3302" y="2112"/>
                  </a:cubicBezTo>
                  <a:lnTo>
                    <a:pt x="3411" y="2112"/>
                  </a:lnTo>
                  <a:cubicBezTo>
                    <a:pt x="3393" y="2060"/>
                    <a:pt x="3375" y="2007"/>
                    <a:pt x="3357" y="1955"/>
                  </a:cubicBezTo>
                  <a:cubicBezTo>
                    <a:pt x="3334" y="1903"/>
                    <a:pt x="3310" y="1850"/>
                    <a:pt x="3287" y="1798"/>
                  </a:cubicBezTo>
                  <a:cubicBezTo>
                    <a:pt x="3279" y="1716"/>
                    <a:pt x="3272" y="1633"/>
                    <a:pt x="3264" y="1551"/>
                  </a:cubicBezTo>
                  <a:cubicBezTo>
                    <a:pt x="3279" y="1521"/>
                    <a:pt x="3295" y="1491"/>
                    <a:pt x="3310" y="1461"/>
                  </a:cubicBezTo>
                  <a:lnTo>
                    <a:pt x="3488" y="1438"/>
                  </a:lnTo>
                  <a:lnTo>
                    <a:pt x="3667" y="1348"/>
                  </a:lnTo>
                  <a:cubicBezTo>
                    <a:pt x="3651" y="1266"/>
                    <a:pt x="3636" y="1183"/>
                    <a:pt x="3620" y="1101"/>
                  </a:cubicBezTo>
                  <a:lnTo>
                    <a:pt x="3767" y="899"/>
                  </a:lnTo>
                  <a:lnTo>
                    <a:pt x="4093" y="584"/>
                  </a:lnTo>
                  <a:lnTo>
                    <a:pt x="4233" y="539"/>
                  </a:lnTo>
                  <a:lnTo>
                    <a:pt x="4364" y="584"/>
                  </a:lnTo>
                  <a:lnTo>
                    <a:pt x="4558" y="404"/>
                  </a:lnTo>
                  <a:cubicBezTo>
                    <a:pt x="4553" y="344"/>
                    <a:pt x="4548" y="285"/>
                    <a:pt x="4543" y="225"/>
                  </a:cubicBezTo>
                  <a:lnTo>
                    <a:pt x="4636" y="0"/>
                  </a:lnTo>
                  <a:lnTo>
                    <a:pt x="4767" y="22"/>
                  </a:lnTo>
                  <a:cubicBezTo>
                    <a:pt x="4790" y="45"/>
                    <a:pt x="4814" y="67"/>
                    <a:pt x="4837" y="90"/>
                  </a:cubicBezTo>
                  <a:cubicBezTo>
                    <a:pt x="4809" y="135"/>
                    <a:pt x="4780" y="180"/>
                    <a:pt x="4752" y="225"/>
                  </a:cubicBezTo>
                  <a:lnTo>
                    <a:pt x="4915" y="247"/>
                  </a:lnTo>
                  <a:cubicBezTo>
                    <a:pt x="4905" y="299"/>
                    <a:pt x="4894" y="352"/>
                    <a:pt x="4884" y="404"/>
                  </a:cubicBezTo>
                  <a:lnTo>
                    <a:pt x="5178" y="382"/>
                  </a:lnTo>
                  <a:lnTo>
                    <a:pt x="5287" y="584"/>
                  </a:lnTo>
                  <a:lnTo>
                    <a:pt x="5302" y="719"/>
                  </a:lnTo>
                  <a:cubicBezTo>
                    <a:pt x="5292" y="794"/>
                    <a:pt x="5281" y="869"/>
                    <a:pt x="5271" y="944"/>
                  </a:cubicBezTo>
                  <a:cubicBezTo>
                    <a:pt x="5227" y="1011"/>
                    <a:pt x="5184" y="1079"/>
                    <a:pt x="5140" y="1146"/>
                  </a:cubicBezTo>
                  <a:cubicBezTo>
                    <a:pt x="5093" y="1221"/>
                    <a:pt x="5047" y="1296"/>
                    <a:pt x="5000" y="1371"/>
                  </a:cubicBezTo>
                  <a:lnTo>
                    <a:pt x="4806" y="1685"/>
                  </a:lnTo>
                  <a:cubicBezTo>
                    <a:pt x="4811" y="1700"/>
                    <a:pt x="4817" y="1715"/>
                    <a:pt x="4822" y="1730"/>
                  </a:cubicBezTo>
                  <a:cubicBezTo>
                    <a:pt x="4850" y="1700"/>
                    <a:pt x="4879" y="1670"/>
                    <a:pt x="4907" y="1640"/>
                  </a:cubicBezTo>
                  <a:cubicBezTo>
                    <a:pt x="4961" y="1595"/>
                    <a:pt x="5016" y="1551"/>
                    <a:pt x="5070" y="1506"/>
                  </a:cubicBezTo>
                  <a:cubicBezTo>
                    <a:pt x="5067" y="1476"/>
                    <a:pt x="5065" y="1446"/>
                    <a:pt x="5062" y="1416"/>
                  </a:cubicBezTo>
                  <a:cubicBezTo>
                    <a:pt x="5075" y="1378"/>
                    <a:pt x="5088" y="1341"/>
                    <a:pt x="5101" y="1303"/>
                  </a:cubicBezTo>
                  <a:cubicBezTo>
                    <a:pt x="5122" y="1288"/>
                    <a:pt x="5142" y="1273"/>
                    <a:pt x="5163" y="1258"/>
                  </a:cubicBezTo>
                  <a:cubicBezTo>
                    <a:pt x="5168" y="1296"/>
                    <a:pt x="5173" y="1333"/>
                    <a:pt x="5178" y="1371"/>
                  </a:cubicBezTo>
                  <a:cubicBezTo>
                    <a:pt x="5194" y="1386"/>
                    <a:pt x="5209" y="1401"/>
                    <a:pt x="5225" y="1416"/>
                  </a:cubicBezTo>
                  <a:cubicBezTo>
                    <a:pt x="5248" y="1461"/>
                    <a:pt x="5272" y="1506"/>
                    <a:pt x="5295" y="1551"/>
                  </a:cubicBezTo>
                  <a:cubicBezTo>
                    <a:pt x="5308" y="1528"/>
                    <a:pt x="5320" y="1506"/>
                    <a:pt x="5333" y="1483"/>
                  </a:cubicBezTo>
                  <a:lnTo>
                    <a:pt x="5620" y="1506"/>
                  </a:lnTo>
                  <a:lnTo>
                    <a:pt x="5620" y="1618"/>
                  </a:lnTo>
                  <a:lnTo>
                    <a:pt x="5899" y="1708"/>
                  </a:lnTo>
                  <a:cubicBezTo>
                    <a:pt x="5909" y="1611"/>
                    <a:pt x="5920" y="1513"/>
                    <a:pt x="5930" y="1416"/>
                  </a:cubicBezTo>
                  <a:cubicBezTo>
                    <a:pt x="5948" y="1423"/>
                    <a:pt x="5966" y="1431"/>
                    <a:pt x="5984" y="1438"/>
                  </a:cubicBezTo>
                  <a:cubicBezTo>
                    <a:pt x="6010" y="1476"/>
                    <a:pt x="6036" y="1513"/>
                    <a:pt x="6062" y="1551"/>
                  </a:cubicBezTo>
                  <a:lnTo>
                    <a:pt x="6186" y="1528"/>
                  </a:lnTo>
                  <a:cubicBezTo>
                    <a:pt x="6209" y="1603"/>
                    <a:pt x="6233" y="1678"/>
                    <a:pt x="6256" y="1753"/>
                  </a:cubicBezTo>
                  <a:cubicBezTo>
                    <a:pt x="6261" y="1820"/>
                    <a:pt x="6266" y="1888"/>
                    <a:pt x="6271" y="1955"/>
                  </a:cubicBezTo>
                  <a:cubicBezTo>
                    <a:pt x="6256" y="1985"/>
                    <a:pt x="6240" y="2015"/>
                    <a:pt x="6225" y="2045"/>
                  </a:cubicBezTo>
                  <a:cubicBezTo>
                    <a:pt x="6253" y="2142"/>
                    <a:pt x="6282" y="2240"/>
                    <a:pt x="6310" y="2337"/>
                  </a:cubicBezTo>
                  <a:lnTo>
                    <a:pt x="6395" y="2404"/>
                  </a:lnTo>
                  <a:cubicBezTo>
                    <a:pt x="6421" y="2292"/>
                    <a:pt x="6447" y="2179"/>
                    <a:pt x="6473" y="2067"/>
                  </a:cubicBezTo>
                  <a:lnTo>
                    <a:pt x="6574" y="2225"/>
                  </a:lnTo>
                  <a:lnTo>
                    <a:pt x="6667" y="2135"/>
                  </a:lnTo>
                  <a:lnTo>
                    <a:pt x="6767" y="2247"/>
                  </a:lnTo>
                  <a:cubicBezTo>
                    <a:pt x="6796" y="2217"/>
                    <a:pt x="6824" y="2187"/>
                    <a:pt x="6853" y="2157"/>
                  </a:cubicBezTo>
                  <a:cubicBezTo>
                    <a:pt x="6874" y="2127"/>
                    <a:pt x="6894" y="2097"/>
                    <a:pt x="6915" y="2067"/>
                  </a:cubicBezTo>
                  <a:cubicBezTo>
                    <a:pt x="6912" y="2000"/>
                    <a:pt x="6910" y="1932"/>
                    <a:pt x="6907" y="1865"/>
                  </a:cubicBezTo>
                  <a:cubicBezTo>
                    <a:pt x="6935" y="1835"/>
                    <a:pt x="6964" y="1805"/>
                    <a:pt x="6992" y="1775"/>
                  </a:cubicBezTo>
                  <a:lnTo>
                    <a:pt x="7256" y="1820"/>
                  </a:lnTo>
                  <a:cubicBezTo>
                    <a:pt x="7271" y="1858"/>
                    <a:pt x="7287" y="1895"/>
                    <a:pt x="7302" y="1933"/>
                  </a:cubicBezTo>
                  <a:lnTo>
                    <a:pt x="7326" y="1978"/>
                  </a:lnTo>
                  <a:lnTo>
                    <a:pt x="7465" y="1933"/>
                  </a:lnTo>
                  <a:lnTo>
                    <a:pt x="7527" y="2022"/>
                  </a:lnTo>
                  <a:cubicBezTo>
                    <a:pt x="7517" y="2060"/>
                    <a:pt x="7506" y="2097"/>
                    <a:pt x="7496" y="2135"/>
                  </a:cubicBezTo>
                  <a:cubicBezTo>
                    <a:pt x="7514" y="2157"/>
                    <a:pt x="7532" y="2180"/>
                    <a:pt x="7550" y="2202"/>
                  </a:cubicBezTo>
                  <a:lnTo>
                    <a:pt x="7667" y="2337"/>
                  </a:lnTo>
                  <a:lnTo>
                    <a:pt x="7868" y="2360"/>
                  </a:lnTo>
                  <a:lnTo>
                    <a:pt x="8078" y="2382"/>
                  </a:lnTo>
                  <a:cubicBezTo>
                    <a:pt x="8106" y="2427"/>
                    <a:pt x="8135" y="2472"/>
                    <a:pt x="8163" y="2517"/>
                  </a:cubicBezTo>
                  <a:cubicBezTo>
                    <a:pt x="8160" y="2569"/>
                    <a:pt x="8158" y="2622"/>
                    <a:pt x="8155" y="2674"/>
                  </a:cubicBezTo>
                  <a:cubicBezTo>
                    <a:pt x="8160" y="2704"/>
                    <a:pt x="8166" y="2734"/>
                    <a:pt x="8171" y="2764"/>
                  </a:cubicBezTo>
                  <a:cubicBezTo>
                    <a:pt x="8194" y="2786"/>
                    <a:pt x="8217" y="2809"/>
                    <a:pt x="8240" y="2831"/>
                  </a:cubicBezTo>
                  <a:lnTo>
                    <a:pt x="8295" y="2764"/>
                  </a:lnTo>
                  <a:lnTo>
                    <a:pt x="8550" y="2809"/>
                  </a:lnTo>
                  <a:lnTo>
                    <a:pt x="8581" y="2809"/>
                  </a:lnTo>
                  <a:cubicBezTo>
                    <a:pt x="8602" y="2779"/>
                    <a:pt x="8622" y="2749"/>
                    <a:pt x="8643" y="2719"/>
                  </a:cubicBezTo>
                  <a:cubicBezTo>
                    <a:pt x="8651" y="2727"/>
                    <a:pt x="8659" y="2734"/>
                    <a:pt x="8667" y="2742"/>
                  </a:cubicBezTo>
                  <a:lnTo>
                    <a:pt x="8667" y="2876"/>
                  </a:lnTo>
                  <a:cubicBezTo>
                    <a:pt x="8690" y="2929"/>
                    <a:pt x="8713" y="2981"/>
                    <a:pt x="8736" y="3034"/>
                  </a:cubicBezTo>
                  <a:cubicBezTo>
                    <a:pt x="8762" y="3041"/>
                    <a:pt x="8788" y="3049"/>
                    <a:pt x="8814" y="3056"/>
                  </a:cubicBezTo>
                  <a:cubicBezTo>
                    <a:pt x="8822" y="3026"/>
                    <a:pt x="8829" y="2996"/>
                    <a:pt x="8837" y="2966"/>
                  </a:cubicBezTo>
                  <a:cubicBezTo>
                    <a:pt x="8829" y="2921"/>
                    <a:pt x="8822" y="2876"/>
                    <a:pt x="8814" y="2831"/>
                  </a:cubicBezTo>
                  <a:cubicBezTo>
                    <a:pt x="8811" y="2764"/>
                    <a:pt x="8809" y="2696"/>
                    <a:pt x="8806" y="2629"/>
                  </a:cubicBezTo>
                  <a:cubicBezTo>
                    <a:pt x="8822" y="2622"/>
                    <a:pt x="8837" y="2614"/>
                    <a:pt x="8853" y="2607"/>
                  </a:cubicBezTo>
                  <a:lnTo>
                    <a:pt x="8922" y="2697"/>
                  </a:lnTo>
                  <a:lnTo>
                    <a:pt x="9047" y="2697"/>
                  </a:lnTo>
                  <a:lnTo>
                    <a:pt x="9194" y="2764"/>
                  </a:lnTo>
                  <a:lnTo>
                    <a:pt x="9364" y="2944"/>
                  </a:lnTo>
                  <a:cubicBezTo>
                    <a:pt x="9398" y="2996"/>
                    <a:pt x="9431" y="3049"/>
                    <a:pt x="9465" y="3101"/>
                  </a:cubicBezTo>
                  <a:lnTo>
                    <a:pt x="9643" y="3326"/>
                  </a:lnTo>
                  <a:cubicBezTo>
                    <a:pt x="9653" y="3371"/>
                    <a:pt x="9664" y="3416"/>
                    <a:pt x="9674" y="3461"/>
                  </a:cubicBezTo>
                  <a:lnTo>
                    <a:pt x="9698" y="3596"/>
                  </a:lnTo>
                  <a:cubicBezTo>
                    <a:pt x="9711" y="3656"/>
                    <a:pt x="9723" y="3715"/>
                    <a:pt x="9736" y="3775"/>
                  </a:cubicBezTo>
                  <a:cubicBezTo>
                    <a:pt x="9746" y="3760"/>
                    <a:pt x="9757" y="3745"/>
                    <a:pt x="9767" y="3730"/>
                  </a:cubicBezTo>
                  <a:cubicBezTo>
                    <a:pt x="9759" y="3663"/>
                    <a:pt x="9752" y="3595"/>
                    <a:pt x="9744" y="3528"/>
                  </a:cubicBezTo>
                  <a:lnTo>
                    <a:pt x="9806" y="3551"/>
                  </a:lnTo>
                  <a:lnTo>
                    <a:pt x="9884" y="3596"/>
                  </a:lnTo>
                  <a:cubicBezTo>
                    <a:pt x="9907" y="3641"/>
                    <a:pt x="9930" y="3685"/>
                    <a:pt x="9953" y="3730"/>
                  </a:cubicBezTo>
                  <a:cubicBezTo>
                    <a:pt x="9969" y="3775"/>
                    <a:pt x="9984" y="3820"/>
                    <a:pt x="10000" y="3865"/>
                  </a:cubicBezTo>
                  <a:cubicBezTo>
                    <a:pt x="9984" y="3910"/>
                    <a:pt x="9969" y="3955"/>
                    <a:pt x="9953" y="4000"/>
                  </a:cubicBezTo>
                  <a:lnTo>
                    <a:pt x="9853" y="4067"/>
                  </a:lnTo>
                  <a:cubicBezTo>
                    <a:pt x="9848" y="4120"/>
                    <a:pt x="9842" y="4172"/>
                    <a:pt x="9837" y="4225"/>
                  </a:cubicBezTo>
                  <a:cubicBezTo>
                    <a:pt x="9827" y="4292"/>
                    <a:pt x="9816" y="4360"/>
                    <a:pt x="9806" y="4427"/>
                  </a:cubicBezTo>
                  <a:lnTo>
                    <a:pt x="9698" y="4270"/>
                  </a:lnTo>
                  <a:lnTo>
                    <a:pt x="9636" y="4202"/>
                  </a:lnTo>
                  <a:cubicBezTo>
                    <a:pt x="9638" y="4142"/>
                    <a:pt x="9641" y="4082"/>
                    <a:pt x="9643" y="4022"/>
                  </a:cubicBezTo>
                  <a:lnTo>
                    <a:pt x="9481" y="4045"/>
                  </a:lnTo>
                  <a:lnTo>
                    <a:pt x="9457" y="3820"/>
                  </a:lnTo>
                  <a:cubicBezTo>
                    <a:pt x="9439" y="3828"/>
                    <a:pt x="9421" y="3835"/>
                    <a:pt x="9403" y="3843"/>
                  </a:cubicBezTo>
                  <a:cubicBezTo>
                    <a:pt x="9400" y="3895"/>
                    <a:pt x="9398" y="3948"/>
                    <a:pt x="9395" y="4000"/>
                  </a:cubicBezTo>
                  <a:cubicBezTo>
                    <a:pt x="9403" y="4022"/>
                    <a:pt x="9411" y="4045"/>
                    <a:pt x="9419" y="4067"/>
                  </a:cubicBezTo>
                  <a:cubicBezTo>
                    <a:pt x="9396" y="4127"/>
                    <a:pt x="9372" y="4187"/>
                    <a:pt x="9349" y="4247"/>
                  </a:cubicBezTo>
                  <a:cubicBezTo>
                    <a:pt x="9323" y="4255"/>
                    <a:pt x="9297" y="4262"/>
                    <a:pt x="9271" y="4270"/>
                  </a:cubicBezTo>
                  <a:cubicBezTo>
                    <a:pt x="9253" y="4262"/>
                    <a:pt x="9235" y="4255"/>
                    <a:pt x="9217" y="4247"/>
                  </a:cubicBezTo>
                  <a:cubicBezTo>
                    <a:pt x="9207" y="4225"/>
                    <a:pt x="9196" y="4202"/>
                    <a:pt x="9186" y="4180"/>
                  </a:cubicBezTo>
                  <a:cubicBezTo>
                    <a:pt x="9183" y="4210"/>
                    <a:pt x="9181" y="4240"/>
                    <a:pt x="9178" y="4270"/>
                  </a:cubicBezTo>
                  <a:lnTo>
                    <a:pt x="9233" y="4337"/>
                  </a:lnTo>
                  <a:lnTo>
                    <a:pt x="9287" y="4427"/>
                  </a:lnTo>
                  <a:cubicBezTo>
                    <a:pt x="9295" y="4494"/>
                    <a:pt x="9302" y="4562"/>
                    <a:pt x="9310" y="4629"/>
                  </a:cubicBezTo>
                  <a:cubicBezTo>
                    <a:pt x="9326" y="4696"/>
                    <a:pt x="9341" y="4764"/>
                    <a:pt x="9357" y="4831"/>
                  </a:cubicBezTo>
                  <a:cubicBezTo>
                    <a:pt x="9339" y="4861"/>
                    <a:pt x="9320" y="4891"/>
                    <a:pt x="9302" y="4921"/>
                  </a:cubicBezTo>
                  <a:lnTo>
                    <a:pt x="9202" y="4809"/>
                  </a:lnTo>
                  <a:cubicBezTo>
                    <a:pt x="9186" y="4846"/>
                    <a:pt x="9171" y="4884"/>
                    <a:pt x="9155" y="4921"/>
                  </a:cubicBezTo>
                  <a:lnTo>
                    <a:pt x="9016" y="5101"/>
                  </a:lnTo>
                  <a:cubicBezTo>
                    <a:pt x="8990" y="5138"/>
                    <a:pt x="8964" y="5176"/>
                    <a:pt x="8938" y="5213"/>
                  </a:cubicBezTo>
                  <a:cubicBezTo>
                    <a:pt x="8886" y="5333"/>
                    <a:pt x="8835" y="5453"/>
                    <a:pt x="8783" y="5573"/>
                  </a:cubicBezTo>
                  <a:lnTo>
                    <a:pt x="8729" y="5438"/>
                  </a:lnTo>
                  <a:lnTo>
                    <a:pt x="8612" y="5438"/>
                  </a:lnTo>
                  <a:cubicBezTo>
                    <a:pt x="8591" y="5498"/>
                    <a:pt x="8571" y="5558"/>
                    <a:pt x="8550" y="5618"/>
                  </a:cubicBezTo>
                  <a:lnTo>
                    <a:pt x="8535" y="5438"/>
                  </a:lnTo>
                  <a:lnTo>
                    <a:pt x="8496" y="5438"/>
                  </a:lnTo>
                  <a:lnTo>
                    <a:pt x="8481" y="5573"/>
                  </a:lnTo>
                  <a:lnTo>
                    <a:pt x="8372" y="5573"/>
                  </a:lnTo>
                  <a:cubicBezTo>
                    <a:pt x="8341" y="5715"/>
                    <a:pt x="8310" y="5858"/>
                    <a:pt x="8279" y="6000"/>
                  </a:cubicBezTo>
                  <a:lnTo>
                    <a:pt x="8279" y="6135"/>
                  </a:lnTo>
                  <a:lnTo>
                    <a:pt x="8341" y="6135"/>
                  </a:lnTo>
                  <a:cubicBezTo>
                    <a:pt x="8336" y="6202"/>
                    <a:pt x="8331" y="6270"/>
                    <a:pt x="8326" y="6337"/>
                  </a:cubicBezTo>
                  <a:cubicBezTo>
                    <a:pt x="8334" y="6397"/>
                    <a:pt x="8341" y="6457"/>
                    <a:pt x="8349" y="6517"/>
                  </a:cubicBezTo>
                  <a:lnTo>
                    <a:pt x="8279" y="6584"/>
                  </a:lnTo>
                  <a:cubicBezTo>
                    <a:pt x="8271" y="6637"/>
                    <a:pt x="8264" y="6689"/>
                    <a:pt x="8256" y="6742"/>
                  </a:cubicBezTo>
                  <a:cubicBezTo>
                    <a:pt x="8264" y="6809"/>
                    <a:pt x="8271" y="6877"/>
                    <a:pt x="8279" y="6944"/>
                  </a:cubicBezTo>
                  <a:lnTo>
                    <a:pt x="8186" y="7034"/>
                  </a:lnTo>
                  <a:cubicBezTo>
                    <a:pt x="8176" y="7064"/>
                    <a:pt x="8165" y="7094"/>
                    <a:pt x="8155" y="7124"/>
                  </a:cubicBezTo>
                  <a:lnTo>
                    <a:pt x="8155" y="7191"/>
                  </a:lnTo>
                  <a:cubicBezTo>
                    <a:pt x="8158" y="7206"/>
                    <a:pt x="8160" y="7221"/>
                    <a:pt x="8163" y="7236"/>
                  </a:cubicBezTo>
                  <a:cubicBezTo>
                    <a:pt x="8160" y="7251"/>
                    <a:pt x="8158" y="7266"/>
                    <a:pt x="8155" y="7281"/>
                  </a:cubicBezTo>
                  <a:lnTo>
                    <a:pt x="8062" y="7371"/>
                  </a:lnTo>
                  <a:lnTo>
                    <a:pt x="8062" y="7528"/>
                  </a:lnTo>
                  <a:cubicBezTo>
                    <a:pt x="8023" y="7640"/>
                    <a:pt x="7985" y="7753"/>
                    <a:pt x="7946" y="7865"/>
                  </a:cubicBezTo>
                  <a:cubicBezTo>
                    <a:pt x="7941" y="7745"/>
                    <a:pt x="7935" y="7626"/>
                    <a:pt x="7930" y="7506"/>
                  </a:cubicBezTo>
                  <a:cubicBezTo>
                    <a:pt x="7915" y="7319"/>
                    <a:pt x="7899" y="7131"/>
                    <a:pt x="7884" y="6944"/>
                  </a:cubicBezTo>
                  <a:lnTo>
                    <a:pt x="7884" y="6539"/>
                  </a:lnTo>
                  <a:cubicBezTo>
                    <a:pt x="7899" y="6487"/>
                    <a:pt x="7915" y="6434"/>
                    <a:pt x="7930" y="6382"/>
                  </a:cubicBezTo>
                  <a:cubicBezTo>
                    <a:pt x="7946" y="6300"/>
                    <a:pt x="7961" y="6217"/>
                    <a:pt x="7977" y="6135"/>
                  </a:cubicBezTo>
                  <a:cubicBezTo>
                    <a:pt x="7998" y="6120"/>
                    <a:pt x="8018" y="6105"/>
                    <a:pt x="8039" y="6090"/>
                  </a:cubicBezTo>
                  <a:cubicBezTo>
                    <a:pt x="8093" y="5940"/>
                    <a:pt x="8148" y="5790"/>
                    <a:pt x="8202" y="5640"/>
                  </a:cubicBezTo>
                  <a:lnTo>
                    <a:pt x="8326" y="5393"/>
                  </a:lnTo>
                  <a:cubicBezTo>
                    <a:pt x="8339" y="5378"/>
                    <a:pt x="8351" y="5363"/>
                    <a:pt x="8364" y="5348"/>
                  </a:cubicBezTo>
                  <a:cubicBezTo>
                    <a:pt x="8385" y="5213"/>
                    <a:pt x="8405" y="5079"/>
                    <a:pt x="8426" y="4944"/>
                  </a:cubicBezTo>
                  <a:cubicBezTo>
                    <a:pt x="8436" y="4929"/>
                    <a:pt x="8447" y="4914"/>
                    <a:pt x="8457" y="4899"/>
                  </a:cubicBezTo>
                  <a:lnTo>
                    <a:pt x="8395" y="4831"/>
                  </a:lnTo>
                  <a:lnTo>
                    <a:pt x="8372" y="4854"/>
                  </a:lnTo>
                  <a:cubicBezTo>
                    <a:pt x="8364" y="4876"/>
                    <a:pt x="8357" y="4899"/>
                    <a:pt x="8349" y="4921"/>
                  </a:cubicBezTo>
                  <a:lnTo>
                    <a:pt x="8349" y="5124"/>
                  </a:lnTo>
                  <a:lnTo>
                    <a:pt x="8295" y="5124"/>
                  </a:lnTo>
                  <a:cubicBezTo>
                    <a:pt x="8254" y="5199"/>
                    <a:pt x="8212" y="5273"/>
                    <a:pt x="8171" y="5348"/>
                  </a:cubicBezTo>
                  <a:cubicBezTo>
                    <a:pt x="8161" y="5318"/>
                    <a:pt x="8150" y="5288"/>
                    <a:pt x="8140" y="5258"/>
                  </a:cubicBezTo>
                  <a:cubicBezTo>
                    <a:pt x="8150" y="5198"/>
                    <a:pt x="8161" y="5139"/>
                    <a:pt x="8171" y="5079"/>
                  </a:cubicBezTo>
                  <a:lnTo>
                    <a:pt x="8132" y="5124"/>
                  </a:lnTo>
                  <a:lnTo>
                    <a:pt x="7977" y="5124"/>
                  </a:lnTo>
                  <a:lnTo>
                    <a:pt x="7829" y="5461"/>
                  </a:lnTo>
                  <a:cubicBezTo>
                    <a:pt x="7819" y="5521"/>
                    <a:pt x="7808" y="5580"/>
                    <a:pt x="7798" y="5640"/>
                  </a:cubicBezTo>
                  <a:cubicBezTo>
                    <a:pt x="7803" y="5655"/>
                    <a:pt x="7809" y="5670"/>
                    <a:pt x="7814" y="5685"/>
                  </a:cubicBezTo>
                  <a:cubicBezTo>
                    <a:pt x="7827" y="5723"/>
                    <a:pt x="7840" y="5760"/>
                    <a:pt x="7853" y="5798"/>
                  </a:cubicBezTo>
                  <a:lnTo>
                    <a:pt x="7791" y="5798"/>
                  </a:lnTo>
                  <a:cubicBezTo>
                    <a:pt x="7770" y="5805"/>
                    <a:pt x="7750" y="5813"/>
                    <a:pt x="7729" y="5820"/>
                  </a:cubicBezTo>
                  <a:lnTo>
                    <a:pt x="7612" y="5843"/>
                  </a:lnTo>
                  <a:cubicBezTo>
                    <a:pt x="7622" y="5813"/>
                    <a:pt x="7633" y="5783"/>
                    <a:pt x="7643" y="5753"/>
                  </a:cubicBezTo>
                  <a:cubicBezTo>
                    <a:pt x="7635" y="5723"/>
                    <a:pt x="7628" y="5693"/>
                    <a:pt x="7620" y="5663"/>
                  </a:cubicBezTo>
                  <a:cubicBezTo>
                    <a:pt x="7592" y="5655"/>
                    <a:pt x="7563" y="5648"/>
                    <a:pt x="7535" y="5640"/>
                  </a:cubicBezTo>
                  <a:cubicBezTo>
                    <a:pt x="7517" y="5648"/>
                    <a:pt x="7499" y="5655"/>
                    <a:pt x="7481" y="5663"/>
                  </a:cubicBezTo>
                  <a:lnTo>
                    <a:pt x="7457" y="5753"/>
                  </a:lnTo>
                  <a:lnTo>
                    <a:pt x="7341" y="5730"/>
                  </a:lnTo>
                  <a:cubicBezTo>
                    <a:pt x="7323" y="5738"/>
                    <a:pt x="7305" y="5745"/>
                    <a:pt x="7287" y="5753"/>
                  </a:cubicBezTo>
                  <a:lnTo>
                    <a:pt x="7085" y="5753"/>
                  </a:lnTo>
                  <a:lnTo>
                    <a:pt x="6636" y="6876"/>
                  </a:lnTo>
                  <a:cubicBezTo>
                    <a:pt x="6638" y="6914"/>
                    <a:pt x="6641" y="6951"/>
                    <a:pt x="6643" y="6989"/>
                  </a:cubicBezTo>
                  <a:cubicBezTo>
                    <a:pt x="6669" y="6981"/>
                    <a:pt x="6695" y="6974"/>
                    <a:pt x="6721" y="6966"/>
                  </a:cubicBezTo>
                  <a:cubicBezTo>
                    <a:pt x="6724" y="7026"/>
                    <a:pt x="6726" y="7086"/>
                    <a:pt x="6729" y="7146"/>
                  </a:cubicBezTo>
                  <a:cubicBezTo>
                    <a:pt x="6742" y="7101"/>
                    <a:pt x="6754" y="7056"/>
                    <a:pt x="6767" y="7011"/>
                  </a:cubicBezTo>
                  <a:lnTo>
                    <a:pt x="6806" y="7191"/>
                  </a:lnTo>
                  <a:lnTo>
                    <a:pt x="6860" y="7056"/>
                  </a:lnTo>
                  <a:lnTo>
                    <a:pt x="6946" y="7101"/>
                  </a:lnTo>
                  <a:cubicBezTo>
                    <a:pt x="6967" y="7176"/>
                    <a:pt x="6987" y="7251"/>
                    <a:pt x="7008" y="7326"/>
                  </a:cubicBezTo>
                  <a:cubicBezTo>
                    <a:pt x="7003" y="7408"/>
                    <a:pt x="6997" y="7491"/>
                    <a:pt x="6992" y="7573"/>
                  </a:cubicBezTo>
                  <a:cubicBezTo>
                    <a:pt x="6982" y="7655"/>
                    <a:pt x="6971" y="7738"/>
                    <a:pt x="6961" y="7820"/>
                  </a:cubicBezTo>
                  <a:cubicBezTo>
                    <a:pt x="6958" y="7940"/>
                    <a:pt x="6956" y="8060"/>
                    <a:pt x="6953" y="8180"/>
                  </a:cubicBezTo>
                  <a:cubicBezTo>
                    <a:pt x="6945" y="8247"/>
                    <a:pt x="6938" y="8315"/>
                    <a:pt x="6930" y="8382"/>
                  </a:cubicBezTo>
                  <a:cubicBezTo>
                    <a:pt x="6853" y="8659"/>
                    <a:pt x="6775" y="8936"/>
                    <a:pt x="6698" y="9213"/>
                  </a:cubicBezTo>
                  <a:cubicBezTo>
                    <a:pt x="6675" y="9296"/>
                    <a:pt x="6651" y="9378"/>
                    <a:pt x="6628" y="9461"/>
                  </a:cubicBezTo>
                  <a:cubicBezTo>
                    <a:pt x="6610" y="9498"/>
                    <a:pt x="6592" y="9536"/>
                    <a:pt x="6574" y="9573"/>
                  </a:cubicBezTo>
                  <a:cubicBezTo>
                    <a:pt x="6551" y="9603"/>
                    <a:pt x="6527" y="9633"/>
                    <a:pt x="6504" y="9663"/>
                  </a:cubicBezTo>
                  <a:lnTo>
                    <a:pt x="6450" y="9573"/>
                  </a:lnTo>
                  <a:lnTo>
                    <a:pt x="6380" y="9618"/>
                  </a:lnTo>
                  <a:lnTo>
                    <a:pt x="6380" y="9213"/>
                  </a:lnTo>
                  <a:cubicBezTo>
                    <a:pt x="6398" y="9176"/>
                    <a:pt x="6416" y="9138"/>
                    <a:pt x="6434" y="9101"/>
                  </a:cubicBezTo>
                  <a:cubicBezTo>
                    <a:pt x="6442" y="9124"/>
                    <a:pt x="6449" y="9146"/>
                    <a:pt x="6457" y="9169"/>
                  </a:cubicBezTo>
                  <a:cubicBezTo>
                    <a:pt x="6473" y="9161"/>
                    <a:pt x="6488" y="9154"/>
                    <a:pt x="6504" y="9146"/>
                  </a:cubicBezTo>
                  <a:cubicBezTo>
                    <a:pt x="6519" y="9064"/>
                    <a:pt x="6535" y="8981"/>
                    <a:pt x="6550" y="8899"/>
                  </a:cubicBezTo>
                  <a:cubicBezTo>
                    <a:pt x="6558" y="8817"/>
                    <a:pt x="6566" y="8734"/>
                    <a:pt x="6574" y="8652"/>
                  </a:cubicBezTo>
                  <a:cubicBezTo>
                    <a:pt x="6584" y="8637"/>
                    <a:pt x="6595" y="8622"/>
                    <a:pt x="6605" y="8607"/>
                  </a:cubicBezTo>
                  <a:cubicBezTo>
                    <a:pt x="6602" y="8554"/>
                    <a:pt x="6600" y="8502"/>
                    <a:pt x="6597" y="8449"/>
                  </a:cubicBezTo>
                  <a:lnTo>
                    <a:pt x="6535" y="8472"/>
                  </a:lnTo>
                  <a:cubicBezTo>
                    <a:pt x="6517" y="8479"/>
                    <a:pt x="6499" y="8487"/>
                    <a:pt x="6481" y="8494"/>
                  </a:cubicBezTo>
                  <a:lnTo>
                    <a:pt x="6457" y="8584"/>
                  </a:lnTo>
                  <a:lnTo>
                    <a:pt x="6372" y="8562"/>
                  </a:lnTo>
                  <a:lnTo>
                    <a:pt x="6357" y="8337"/>
                  </a:lnTo>
                  <a:lnTo>
                    <a:pt x="6240" y="8157"/>
                  </a:lnTo>
                  <a:lnTo>
                    <a:pt x="6178" y="8157"/>
                  </a:lnTo>
                  <a:cubicBezTo>
                    <a:pt x="6150" y="7962"/>
                    <a:pt x="6121" y="7768"/>
                    <a:pt x="6093" y="7573"/>
                  </a:cubicBezTo>
                  <a:cubicBezTo>
                    <a:pt x="6078" y="7498"/>
                    <a:pt x="6062" y="7423"/>
                    <a:pt x="6047" y="7348"/>
                  </a:cubicBezTo>
                  <a:lnTo>
                    <a:pt x="5930" y="7213"/>
                  </a:lnTo>
                  <a:lnTo>
                    <a:pt x="5760" y="7258"/>
                  </a:lnTo>
                  <a:cubicBezTo>
                    <a:pt x="5742" y="7281"/>
                    <a:pt x="5723" y="7303"/>
                    <a:pt x="5705" y="7326"/>
                  </a:cubicBezTo>
                  <a:cubicBezTo>
                    <a:pt x="5703" y="7356"/>
                    <a:pt x="5700" y="7386"/>
                    <a:pt x="5698" y="7416"/>
                  </a:cubicBezTo>
                  <a:cubicBezTo>
                    <a:pt x="5713" y="7423"/>
                    <a:pt x="5729" y="7431"/>
                    <a:pt x="5744" y="7438"/>
                  </a:cubicBezTo>
                  <a:lnTo>
                    <a:pt x="5744" y="7596"/>
                  </a:lnTo>
                  <a:cubicBezTo>
                    <a:pt x="5731" y="7618"/>
                    <a:pt x="5718" y="7641"/>
                    <a:pt x="5705" y="7663"/>
                  </a:cubicBezTo>
                  <a:cubicBezTo>
                    <a:pt x="5692" y="7730"/>
                    <a:pt x="5680" y="7798"/>
                    <a:pt x="5667" y="7865"/>
                  </a:cubicBezTo>
                  <a:cubicBezTo>
                    <a:pt x="5662" y="7925"/>
                    <a:pt x="5656" y="7985"/>
                    <a:pt x="5651" y="8045"/>
                  </a:cubicBezTo>
                  <a:cubicBezTo>
                    <a:pt x="5636" y="8052"/>
                    <a:pt x="5620" y="8060"/>
                    <a:pt x="5605" y="8067"/>
                  </a:cubicBezTo>
                  <a:cubicBezTo>
                    <a:pt x="5592" y="8105"/>
                    <a:pt x="5579" y="8142"/>
                    <a:pt x="5566" y="8180"/>
                  </a:cubicBezTo>
                  <a:cubicBezTo>
                    <a:pt x="5543" y="8142"/>
                    <a:pt x="5519" y="8105"/>
                    <a:pt x="5496" y="8067"/>
                  </a:cubicBezTo>
                  <a:cubicBezTo>
                    <a:pt x="5465" y="8060"/>
                    <a:pt x="5434" y="8052"/>
                    <a:pt x="5403" y="8045"/>
                  </a:cubicBezTo>
                  <a:cubicBezTo>
                    <a:pt x="5393" y="8023"/>
                    <a:pt x="5382" y="8000"/>
                    <a:pt x="5372" y="7978"/>
                  </a:cubicBezTo>
                  <a:cubicBezTo>
                    <a:pt x="5359" y="7985"/>
                    <a:pt x="5346" y="7993"/>
                    <a:pt x="5333" y="8000"/>
                  </a:cubicBezTo>
                  <a:cubicBezTo>
                    <a:pt x="5310" y="8052"/>
                    <a:pt x="5287" y="8105"/>
                    <a:pt x="5264" y="8157"/>
                  </a:cubicBezTo>
                  <a:lnTo>
                    <a:pt x="5147" y="8225"/>
                  </a:lnTo>
                  <a:cubicBezTo>
                    <a:pt x="5124" y="8232"/>
                    <a:pt x="5101" y="8240"/>
                    <a:pt x="5078" y="8247"/>
                  </a:cubicBezTo>
                  <a:cubicBezTo>
                    <a:pt x="5049" y="8240"/>
                    <a:pt x="5021" y="8232"/>
                    <a:pt x="4992" y="8225"/>
                  </a:cubicBezTo>
                  <a:cubicBezTo>
                    <a:pt x="4984" y="8202"/>
                    <a:pt x="4977" y="8180"/>
                    <a:pt x="4969" y="8157"/>
                  </a:cubicBezTo>
                  <a:cubicBezTo>
                    <a:pt x="4961" y="8127"/>
                    <a:pt x="4954" y="8097"/>
                    <a:pt x="4946" y="8067"/>
                  </a:cubicBezTo>
                  <a:cubicBezTo>
                    <a:pt x="4933" y="8060"/>
                    <a:pt x="4920" y="8052"/>
                    <a:pt x="4907" y="8045"/>
                  </a:cubicBezTo>
                  <a:cubicBezTo>
                    <a:pt x="4899" y="8023"/>
                    <a:pt x="4892" y="8000"/>
                    <a:pt x="4884" y="7978"/>
                  </a:cubicBezTo>
                  <a:lnTo>
                    <a:pt x="4791" y="7933"/>
                  </a:lnTo>
                  <a:cubicBezTo>
                    <a:pt x="4773" y="7963"/>
                    <a:pt x="4754" y="7992"/>
                    <a:pt x="4736" y="8022"/>
                  </a:cubicBezTo>
                  <a:cubicBezTo>
                    <a:pt x="4703" y="8007"/>
                    <a:pt x="4669" y="7993"/>
                    <a:pt x="4636" y="7978"/>
                  </a:cubicBezTo>
                  <a:lnTo>
                    <a:pt x="4597" y="7843"/>
                  </a:lnTo>
                  <a:cubicBezTo>
                    <a:pt x="4594" y="7805"/>
                    <a:pt x="4592" y="7768"/>
                    <a:pt x="4589" y="7730"/>
                  </a:cubicBezTo>
                  <a:lnTo>
                    <a:pt x="4496" y="7640"/>
                  </a:lnTo>
                  <a:lnTo>
                    <a:pt x="4388" y="7573"/>
                  </a:lnTo>
                  <a:cubicBezTo>
                    <a:pt x="4365" y="7640"/>
                    <a:pt x="4341" y="7708"/>
                    <a:pt x="4318" y="7775"/>
                  </a:cubicBezTo>
                  <a:cubicBezTo>
                    <a:pt x="4333" y="7828"/>
                    <a:pt x="4349" y="7880"/>
                    <a:pt x="4364" y="7933"/>
                  </a:cubicBezTo>
                  <a:cubicBezTo>
                    <a:pt x="4362" y="7963"/>
                    <a:pt x="4359" y="7992"/>
                    <a:pt x="4357" y="8022"/>
                  </a:cubicBezTo>
                  <a:cubicBezTo>
                    <a:pt x="4341" y="8060"/>
                    <a:pt x="4326" y="8097"/>
                    <a:pt x="4310" y="8135"/>
                  </a:cubicBezTo>
                  <a:cubicBezTo>
                    <a:pt x="4300" y="8112"/>
                    <a:pt x="4289" y="8090"/>
                    <a:pt x="4279" y="8067"/>
                  </a:cubicBezTo>
                  <a:lnTo>
                    <a:pt x="4155" y="8067"/>
                  </a:lnTo>
                  <a:cubicBezTo>
                    <a:pt x="4142" y="8022"/>
                    <a:pt x="4129" y="7978"/>
                    <a:pt x="4116" y="7933"/>
                  </a:cubicBezTo>
                  <a:lnTo>
                    <a:pt x="4039" y="7888"/>
                  </a:lnTo>
                  <a:cubicBezTo>
                    <a:pt x="4016" y="7880"/>
                    <a:pt x="3992" y="7873"/>
                    <a:pt x="3969" y="7865"/>
                  </a:cubicBezTo>
                  <a:lnTo>
                    <a:pt x="3837" y="8067"/>
                  </a:lnTo>
                  <a:cubicBezTo>
                    <a:pt x="3827" y="8097"/>
                    <a:pt x="3816" y="8127"/>
                    <a:pt x="3806" y="8157"/>
                  </a:cubicBezTo>
                  <a:cubicBezTo>
                    <a:pt x="3788" y="8165"/>
                    <a:pt x="3770" y="8172"/>
                    <a:pt x="3752" y="8180"/>
                  </a:cubicBezTo>
                  <a:cubicBezTo>
                    <a:pt x="3742" y="8210"/>
                    <a:pt x="3731" y="8240"/>
                    <a:pt x="3721" y="8270"/>
                  </a:cubicBezTo>
                  <a:lnTo>
                    <a:pt x="3659" y="8270"/>
                  </a:lnTo>
                  <a:cubicBezTo>
                    <a:pt x="3654" y="8217"/>
                    <a:pt x="3648" y="8165"/>
                    <a:pt x="3643" y="8112"/>
                  </a:cubicBezTo>
                  <a:lnTo>
                    <a:pt x="3558" y="8090"/>
                  </a:lnTo>
                  <a:cubicBezTo>
                    <a:pt x="3540" y="8053"/>
                    <a:pt x="3522" y="8015"/>
                    <a:pt x="3504" y="7978"/>
                  </a:cubicBezTo>
                  <a:cubicBezTo>
                    <a:pt x="3491" y="7925"/>
                    <a:pt x="3478" y="7873"/>
                    <a:pt x="3465" y="7820"/>
                  </a:cubicBezTo>
                  <a:lnTo>
                    <a:pt x="3357" y="7865"/>
                  </a:lnTo>
                  <a:cubicBezTo>
                    <a:pt x="3328" y="7820"/>
                    <a:pt x="3300" y="7775"/>
                    <a:pt x="3271" y="7730"/>
                  </a:cubicBezTo>
                  <a:lnTo>
                    <a:pt x="3256" y="7820"/>
                  </a:lnTo>
                  <a:lnTo>
                    <a:pt x="3225" y="7820"/>
                  </a:lnTo>
                  <a:cubicBezTo>
                    <a:pt x="3207" y="7730"/>
                    <a:pt x="3189" y="7641"/>
                    <a:pt x="3171" y="7551"/>
                  </a:cubicBezTo>
                  <a:cubicBezTo>
                    <a:pt x="3150" y="7461"/>
                    <a:pt x="3130" y="7371"/>
                    <a:pt x="3109" y="7281"/>
                  </a:cubicBezTo>
                  <a:cubicBezTo>
                    <a:pt x="3086" y="7236"/>
                    <a:pt x="3062" y="7191"/>
                    <a:pt x="3039" y="7146"/>
                  </a:cubicBezTo>
                  <a:cubicBezTo>
                    <a:pt x="3036" y="7109"/>
                    <a:pt x="3034" y="7071"/>
                    <a:pt x="3031" y="7034"/>
                  </a:cubicBezTo>
                  <a:lnTo>
                    <a:pt x="2946" y="7101"/>
                  </a:lnTo>
                  <a:lnTo>
                    <a:pt x="2876" y="7213"/>
                  </a:lnTo>
                  <a:cubicBezTo>
                    <a:pt x="2850" y="7176"/>
                    <a:pt x="2824" y="7138"/>
                    <a:pt x="2798" y="7101"/>
                  </a:cubicBezTo>
                  <a:cubicBezTo>
                    <a:pt x="2772" y="7079"/>
                    <a:pt x="2747" y="7056"/>
                    <a:pt x="2721" y="7034"/>
                  </a:cubicBezTo>
                  <a:cubicBezTo>
                    <a:pt x="2708" y="7011"/>
                    <a:pt x="2695" y="6989"/>
                    <a:pt x="2682" y="6966"/>
                  </a:cubicBezTo>
                  <a:cubicBezTo>
                    <a:pt x="2677" y="6914"/>
                    <a:pt x="2672" y="6861"/>
                    <a:pt x="2667" y="6809"/>
                  </a:cubicBezTo>
                  <a:cubicBezTo>
                    <a:pt x="2641" y="6802"/>
                    <a:pt x="2615" y="6794"/>
                    <a:pt x="2589" y="6787"/>
                  </a:cubicBezTo>
                  <a:cubicBezTo>
                    <a:pt x="2561" y="6802"/>
                    <a:pt x="2532" y="6816"/>
                    <a:pt x="2504" y="6831"/>
                  </a:cubicBezTo>
                  <a:lnTo>
                    <a:pt x="2163" y="7101"/>
                  </a:lnTo>
                  <a:cubicBezTo>
                    <a:pt x="2135" y="7109"/>
                    <a:pt x="2106" y="7116"/>
                    <a:pt x="2078" y="7124"/>
                  </a:cubicBezTo>
                  <a:cubicBezTo>
                    <a:pt x="2083" y="7161"/>
                    <a:pt x="2088" y="7199"/>
                    <a:pt x="2093" y="7236"/>
                  </a:cubicBezTo>
                  <a:cubicBezTo>
                    <a:pt x="2098" y="7266"/>
                    <a:pt x="2104" y="7296"/>
                    <a:pt x="2109" y="7326"/>
                  </a:cubicBezTo>
                  <a:cubicBezTo>
                    <a:pt x="2093" y="7341"/>
                    <a:pt x="2078" y="7356"/>
                    <a:pt x="2062" y="7371"/>
                  </a:cubicBezTo>
                  <a:cubicBezTo>
                    <a:pt x="2059" y="7408"/>
                    <a:pt x="2057" y="7446"/>
                    <a:pt x="2054" y="7483"/>
                  </a:cubicBezTo>
                  <a:cubicBezTo>
                    <a:pt x="2046" y="7506"/>
                    <a:pt x="2039" y="7528"/>
                    <a:pt x="2031" y="7551"/>
                  </a:cubicBezTo>
                  <a:cubicBezTo>
                    <a:pt x="2023" y="7581"/>
                    <a:pt x="2016" y="7610"/>
                    <a:pt x="2008" y="7640"/>
                  </a:cubicBezTo>
                  <a:lnTo>
                    <a:pt x="2062" y="7685"/>
                  </a:lnTo>
                  <a:cubicBezTo>
                    <a:pt x="2072" y="7715"/>
                    <a:pt x="2083" y="7745"/>
                    <a:pt x="2093" y="7775"/>
                  </a:cubicBezTo>
                  <a:cubicBezTo>
                    <a:pt x="2080" y="7813"/>
                    <a:pt x="2067" y="7850"/>
                    <a:pt x="2054" y="7888"/>
                  </a:cubicBezTo>
                  <a:cubicBezTo>
                    <a:pt x="2020" y="7895"/>
                    <a:pt x="1987" y="7903"/>
                    <a:pt x="1953" y="7910"/>
                  </a:cubicBezTo>
                  <a:cubicBezTo>
                    <a:pt x="1940" y="7873"/>
                    <a:pt x="1928" y="7835"/>
                    <a:pt x="1915" y="7798"/>
                  </a:cubicBezTo>
                  <a:lnTo>
                    <a:pt x="1845" y="7798"/>
                  </a:lnTo>
                  <a:lnTo>
                    <a:pt x="1760" y="7910"/>
                  </a:lnTo>
                  <a:cubicBezTo>
                    <a:pt x="1739" y="7903"/>
                    <a:pt x="1719" y="7895"/>
                    <a:pt x="1698" y="7888"/>
                  </a:cubicBezTo>
                  <a:lnTo>
                    <a:pt x="1612" y="7730"/>
                  </a:lnTo>
                  <a:lnTo>
                    <a:pt x="1473" y="7663"/>
                  </a:lnTo>
                  <a:cubicBezTo>
                    <a:pt x="1452" y="7685"/>
                    <a:pt x="1432" y="7708"/>
                    <a:pt x="1411" y="7730"/>
                  </a:cubicBezTo>
                  <a:cubicBezTo>
                    <a:pt x="1380" y="7798"/>
                    <a:pt x="1349" y="7865"/>
                    <a:pt x="1318" y="7933"/>
                  </a:cubicBezTo>
                  <a:cubicBezTo>
                    <a:pt x="1315" y="7978"/>
                    <a:pt x="1313" y="8022"/>
                    <a:pt x="1310" y="8067"/>
                  </a:cubicBezTo>
                  <a:cubicBezTo>
                    <a:pt x="1300" y="8082"/>
                    <a:pt x="1289" y="8097"/>
                    <a:pt x="1279" y="8112"/>
                  </a:cubicBezTo>
                  <a:cubicBezTo>
                    <a:pt x="1269" y="8052"/>
                    <a:pt x="1258" y="7993"/>
                    <a:pt x="1248" y="7933"/>
                  </a:cubicBezTo>
                  <a:cubicBezTo>
                    <a:pt x="1233" y="7985"/>
                    <a:pt x="1217" y="8038"/>
                    <a:pt x="1202" y="8090"/>
                  </a:cubicBezTo>
                  <a:lnTo>
                    <a:pt x="1178" y="8360"/>
                  </a:lnTo>
                  <a:cubicBezTo>
                    <a:pt x="1191" y="8412"/>
                    <a:pt x="1204" y="8465"/>
                    <a:pt x="1217" y="8517"/>
                  </a:cubicBezTo>
                  <a:lnTo>
                    <a:pt x="1271" y="8562"/>
                  </a:lnTo>
                  <a:cubicBezTo>
                    <a:pt x="1287" y="8622"/>
                    <a:pt x="1302" y="8682"/>
                    <a:pt x="1318" y="8742"/>
                  </a:cubicBezTo>
                  <a:cubicBezTo>
                    <a:pt x="1323" y="8794"/>
                    <a:pt x="1328" y="8847"/>
                    <a:pt x="1333" y="8899"/>
                  </a:cubicBez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11" name="Freeform 103">
              <a:extLst>
                <a:ext uri="{FF2B5EF4-FFF2-40B4-BE49-F238E27FC236}">
                  <a16:creationId xmlns:a16="http://schemas.microsoft.com/office/drawing/2014/main" id="{56B07742-81E1-492E-B0C0-93ACA30A1F5D}"/>
                </a:ext>
              </a:extLst>
            </p:cNvPr>
            <p:cNvSpPr>
              <a:spLocks/>
            </p:cNvSpPr>
            <p:nvPr/>
          </p:nvSpPr>
          <p:spPr bwMode="gray">
            <a:xfrm>
              <a:off x="7170583" y="2102023"/>
              <a:ext cx="455696" cy="325326"/>
            </a:xfrm>
            <a:custGeom>
              <a:avLst/>
              <a:gdLst>
                <a:gd name="T0" fmla="*/ 88 w 276"/>
                <a:gd name="T1" fmla="*/ 196 h 196"/>
                <a:gd name="T2" fmla="*/ 36 w 276"/>
                <a:gd name="T3" fmla="*/ 194 h 196"/>
                <a:gd name="T4" fmla="*/ 36 w 276"/>
                <a:gd name="T5" fmla="*/ 182 h 196"/>
                <a:gd name="T6" fmla="*/ 30 w 276"/>
                <a:gd name="T7" fmla="*/ 176 h 196"/>
                <a:gd name="T8" fmla="*/ 20 w 276"/>
                <a:gd name="T9" fmla="*/ 182 h 196"/>
                <a:gd name="T10" fmla="*/ 10 w 276"/>
                <a:gd name="T11" fmla="*/ 176 h 196"/>
                <a:gd name="T12" fmla="*/ 0 w 276"/>
                <a:gd name="T13" fmla="*/ 166 h 196"/>
                <a:gd name="T14" fmla="*/ 0 w 276"/>
                <a:gd name="T15" fmla="*/ 154 h 196"/>
                <a:gd name="T16" fmla="*/ 12 w 276"/>
                <a:gd name="T17" fmla="*/ 150 h 196"/>
                <a:gd name="T18" fmla="*/ 20 w 276"/>
                <a:gd name="T19" fmla="*/ 142 h 196"/>
                <a:gd name="T20" fmla="*/ 20 w 276"/>
                <a:gd name="T21" fmla="*/ 132 h 196"/>
                <a:gd name="T22" fmla="*/ 34 w 276"/>
                <a:gd name="T23" fmla="*/ 118 h 196"/>
                <a:gd name="T24" fmla="*/ 44 w 276"/>
                <a:gd name="T25" fmla="*/ 116 h 196"/>
                <a:gd name="T26" fmla="*/ 48 w 276"/>
                <a:gd name="T27" fmla="*/ 108 h 196"/>
                <a:gd name="T28" fmla="*/ 38 w 276"/>
                <a:gd name="T29" fmla="*/ 106 h 196"/>
                <a:gd name="T30" fmla="*/ 64 w 276"/>
                <a:gd name="T31" fmla="*/ 84 h 196"/>
                <a:gd name="T32" fmla="*/ 76 w 276"/>
                <a:gd name="T33" fmla="*/ 66 h 196"/>
                <a:gd name="T34" fmla="*/ 110 w 276"/>
                <a:gd name="T35" fmla="*/ 40 h 196"/>
                <a:gd name="T36" fmla="*/ 132 w 276"/>
                <a:gd name="T37" fmla="*/ 36 h 196"/>
                <a:gd name="T38" fmla="*/ 140 w 276"/>
                <a:gd name="T39" fmla="*/ 28 h 196"/>
                <a:gd name="T40" fmla="*/ 176 w 276"/>
                <a:gd name="T41" fmla="*/ 24 h 196"/>
                <a:gd name="T42" fmla="*/ 210 w 276"/>
                <a:gd name="T43" fmla="*/ 20 h 196"/>
                <a:gd name="T44" fmla="*/ 230 w 276"/>
                <a:gd name="T45" fmla="*/ 8 h 196"/>
                <a:gd name="T46" fmla="*/ 250 w 276"/>
                <a:gd name="T47" fmla="*/ 0 h 196"/>
                <a:gd name="T48" fmla="*/ 266 w 276"/>
                <a:gd name="T49" fmla="*/ 0 h 196"/>
                <a:gd name="T50" fmla="*/ 276 w 276"/>
                <a:gd name="T51" fmla="*/ 6 h 196"/>
                <a:gd name="T52" fmla="*/ 272 w 276"/>
                <a:gd name="T53" fmla="*/ 18 h 196"/>
                <a:gd name="T54" fmla="*/ 254 w 276"/>
                <a:gd name="T55" fmla="*/ 30 h 196"/>
                <a:gd name="T56" fmla="*/ 222 w 276"/>
                <a:gd name="T57" fmla="*/ 40 h 196"/>
                <a:gd name="T58" fmla="*/ 166 w 276"/>
                <a:gd name="T59" fmla="*/ 50 h 196"/>
                <a:gd name="T60" fmla="*/ 136 w 276"/>
                <a:gd name="T61" fmla="*/ 74 h 196"/>
                <a:gd name="T62" fmla="*/ 122 w 276"/>
                <a:gd name="T63" fmla="*/ 80 h 196"/>
                <a:gd name="T64" fmla="*/ 110 w 276"/>
                <a:gd name="T65" fmla="*/ 82 h 196"/>
                <a:gd name="T66" fmla="*/ 110 w 276"/>
                <a:gd name="T67" fmla="*/ 94 h 196"/>
                <a:gd name="T68" fmla="*/ 96 w 276"/>
                <a:gd name="T69" fmla="*/ 102 h 196"/>
                <a:gd name="T70" fmla="*/ 86 w 276"/>
                <a:gd name="T71" fmla="*/ 116 h 196"/>
                <a:gd name="T72" fmla="*/ 64 w 276"/>
                <a:gd name="T73" fmla="*/ 140 h 196"/>
                <a:gd name="T74" fmla="*/ 62 w 276"/>
                <a:gd name="T75" fmla="*/ 166 h 196"/>
                <a:gd name="T76" fmla="*/ 72 w 276"/>
                <a:gd name="T77" fmla="*/ 174 h 196"/>
                <a:gd name="T78" fmla="*/ 74 w 276"/>
                <a:gd name="T79" fmla="*/ 184 h 196"/>
                <a:gd name="T80" fmla="*/ 88 w 276"/>
                <a:gd name="T81" fmla="*/ 19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76" h="196">
                  <a:moveTo>
                    <a:pt x="88" y="196"/>
                  </a:moveTo>
                  <a:lnTo>
                    <a:pt x="36" y="194"/>
                  </a:lnTo>
                  <a:lnTo>
                    <a:pt x="36" y="182"/>
                  </a:lnTo>
                  <a:lnTo>
                    <a:pt x="30" y="176"/>
                  </a:lnTo>
                  <a:lnTo>
                    <a:pt x="20" y="182"/>
                  </a:lnTo>
                  <a:lnTo>
                    <a:pt x="10" y="176"/>
                  </a:lnTo>
                  <a:lnTo>
                    <a:pt x="0" y="166"/>
                  </a:lnTo>
                  <a:lnTo>
                    <a:pt x="0" y="154"/>
                  </a:lnTo>
                  <a:lnTo>
                    <a:pt x="12" y="150"/>
                  </a:lnTo>
                  <a:lnTo>
                    <a:pt x="20" y="142"/>
                  </a:lnTo>
                  <a:lnTo>
                    <a:pt x="20" y="132"/>
                  </a:lnTo>
                  <a:lnTo>
                    <a:pt x="34" y="118"/>
                  </a:lnTo>
                  <a:lnTo>
                    <a:pt x="44" y="116"/>
                  </a:lnTo>
                  <a:lnTo>
                    <a:pt x="48" y="108"/>
                  </a:lnTo>
                  <a:lnTo>
                    <a:pt x="38" y="106"/>
                  </a:lnTo>
                  <a:lnTo>
                    <a:pt x="64" y="84"/>
                  </a:lnTo>
                  <a:lnTo>
                    <a:pt x="76" y="66"/>
                  </a:lnTo>
                  <a:lnTo>
                    <a:pt x="110" y="40"/>
                  </a:lnTo>
                  <a:lnTo>
                    <a:pt x="132" y="36"/>
                  </a:lnTo>
                  <a:lnTo>
                    <a:pt x="140" y="28"/>
                  </a:lnTo>
                  <a:lnTo>
                    <a:pt x="176" y="24"/>
                  </a:lnTo>
                  <a:lnTo>
                    <a:pt x="210" y="20"/>
                  </a:lnTo>
                  <a:lnTo>
                    <a:pt x="230" y="8"/>
                  </a:lnTo>
                  <a:lnTo>
                    <a:pt x="250" y="0"/>
                  </a:lnTo>
                  <a:lnTo>
                    <a:pt x="266" y="0"/>
                  </a:lnTo>
                  <a:lnTo>
                    <a:pt x="276" y="6"/>
                  </a:lnTo>
                  <a:lnTo>
                    <a:pt x="272" y="18"/>
                  </a:lnTo>
                  <a:lnTo>
                    <a:pt x="254" y="30"/>
                  </a:lnTo>
                  <a:lnTo>
                    <a:pt x="222" y="40"/>
                  </a:lnTo>
                  <a:lnTo>
                    <a:pt x="166" y="50"/>
                  </a:lnTo>
                  <a:lnTo>
                    <a:pt x="136" y="74"/>
                  </a:lnTo>
                  <a:lnTo>
                    <a:pt x="122" y="80"/>
                  </a:lnTo>
                  <a:lnTo>
                    <a:pt x="110" y="82"/>
                  </a:lnTo>
                  <a:lnTo>
                    <a:pt x="110" y="94"/>
                  </a:lnTo>
                  <a:lnTo>
                    <a:pt x="96" y="102"/>
                  </a:lnTo>
                  <a:lnTo>
                    <a:pt x="86" y="116"/>
                  </a:lnTo>
                  <a:lnTo>
                    <a:pt x="64" y="140"/>
                  </a:lnTo>
                  <a:lnTo>
                    <a:pt x="62" y="166"/>
                  </a:lnTo>
                  <a:lnTo>
                    <a:pt x="72" y="174"/>
                  </a:lnTo>
                  <a:lnTo>
                    <a:pt x="74" y="184"/>
                  </a:lnTo>
                  <a:lnTo>
                    <a:pt x="88" y="19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12" name="Freeform 104">
              <a:extLst>
                <a:ext uri="{FF2B5EF4-FFF2-40B4-BE49-F238E27FC236}">
                  <a16:creationId xmlns:a16="http://schemas.microsoft.com/office/drawing/2014/main" id="{BE8346B6-8C6B-490F-9AD9-0986487C0075}"/>
                </a:ext>
              </a:extLst>
            </p:cNvPr>
            <p:cNvSpPr>
              <a:spLocks/>
            </p:cNvSpPr>
            <p:nvPr/>
          </p:nvSpPr>
          <p:spPr bwMode="gray">
            <a:xfrm>
              <a:off x="8422095" y="1965917"/>
              <a:ext cx="158503" cy="86311"/>
            </a:xfrm>
            <a:custGeom>
              <a:avLst/>
              <a:gdLst>
                <a:gd name="T0" fmla="*/ 0 w 96"/>
                <a:gd name="T1" fmla="*/ 48 h 52"/>
                <a:gd name="T2" fmla="*/ 16 w 96"/>
                <a:gd name="T3" fmla="*/ 30 h 52"/>
                <a:gd name="T4" fmla="*/ 28 w 96"/>
                <a:gd name="T5" fmla="*/ 14 h 52"/>
                <a:gd name="T6" fmla="*/ 40 w 96"/>
                <a:gd name="T7" fmla="*/ 2 h 52"/>
                <a:gd name="T8" fmla="*/ 58 w 96"/>
                <a:gd name="T9" fmla="*/ 0 h 52"/>
                <a:gd name="T10" fmla="*/ 54 w 96"/>
                <a:gd name="T11" fmla="*/ 14 h 52"/>
                <a:gd name="T12" fmla="*/ 70 w 96"/>
                <a:gd name="T13" fmla="*/ 6 h 52"/>
                <a:gd name="T14" fmla="*/ 82 w 96"/>
                <a:gd name="T15" fmla="*/ 16 h 52"/>
                <a:gd name="T16" fmla="*/ 96 w 96"/>
                <a:gd name="T17" fmla="*/ 22 h 52"/>
                <a:gd name="T18" fmla="*/ 94 w 96"/>
                <a:gd name="T19" fmla="*/ 32 h 52"/>
                <a:gd name="T20" fmla="*/ 86 w 96"/>
                <a:gd name="T21" fmla="*/ 40 h 52"/>
                <a:gd name="T22" fmla="*/ 58 w 96"/>
                <a:gd name="T23" fmla="*/ 40 h 52"/>
                <a:gd name="T24" fmla="*/ 26 w 96"/>
                <a:gd name="T25" fmla="*/ 42 h 52"/>
                <a:gd name="T26" fmla="*/ 20 w 96"/>
                <a:gd name="T27" fmla="*/ 48 h 52"/>
                <a:gd name="T28" fmla="*/ 8 w 96"/>
                <a:gd name="T29" fmla="*/ 52 h 52"/>
                <a:gd name="T30" fmla="*/ 0 w 96"/>
                <a:gd name="T31" fmla="*/ 4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6" h="52">
                  <a:moveTo>
                    <a:pt x="0" y="48"/>
                  </a:moveTo>
                  <a:lnTo>
                    <a:pt x="16" y="30"/>
                  </a:lnTo>
                  <a:lnTo>
                    <a:pt x="28" y="14"/>
                  </a:lnTo>
                  <a:lnTo>
                    <a:pt x="40" y="2"/>
                  </a:lnTo>
                  <a:lnTo>
                    <a:pt x="58" y="0"/>
                  </a:lnTo>
                  <a:lnTo>
                    <a:pt x="54" y="14"/>
                  </a:lnTo>
                  <a:lnTo>
                    <a:pt x="70" y="6"/>
                  </a:lnTo>
                  <a:lnTo>
                    <a:pt x="82" y="16"/>
                  </a:lnTo>
                  <a:lnTo>
                    <a:pt x="96" y="22"/>
                  </a:lnTo>
                  <a:lnTo>
                    <a:pt x="94" y="32"/>
                  </a:lnTo>
                  <a:lnTo>
                    <a:pt x="86" y="40"/>
                  </a:lnTo>
                  <a:lnTo>
                    <a:pt x="58" y="40"/>
                  </a:lnTo>
                  <a:lnTo>
                    <a:pt x="26" y="42"/>
                  </a:lnTo>
                  <a:lnTo>
                    <a:pt x="20" y="48"/>
                  </a:lnTo>
                  <a:lnTo>
                    <a:pt x="8" y="52"/>
                  </a:lnTo>
                  <a:lnTo>
                    <a:pt x="0" y="4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13" name="Freeform 105">
              <a:extLst>
                <a:ext uri="{FF2B5EF4-FFF2-40B4-BE49-F238E27FC236}">
                  <a16:creationId xmlns:a16="http://schemas.microsoft.com/office/drawing/2014/main" id="{A2223B9B-50CE-44A8-8AFC-780400CFBBF8}"/>
                </a:ext>
              </a:extLst>
            </p:cNvPr>
            <p:cNvSpPr>
              <a:spLocks/>
            </p:cNvSpPr>
            <p:nvPr/>
          </p:nvSpPr>
          <p:spPr bwMode="gray">
            <a:xfrm>
              <a:off x="8276801" y="1919441"/>
              <a:ext cx="158503" cy="76353"/>
            </a:xfrm>
            <a:custGeom>
              <a:avLst/>
              <a:gdLst>
                <a:gd name="T0" fmla="*/ 0 w 96"/>
                <a:gd name="T1" fmla="*/ 22 h 46"/>
                <a:gd name="T2" fmla="*/ 16 w 96"/>
                <a:gd name="T3" fmla="*/ 6 h 46"/>
                <a:gd name="T4" fmla="*/ 46 w 96"/>
                <a:gd name="T5" fmla="*/ 0 h 46"/>
                <a:gd name="T6" fmla="*/ 64 w 96"/>
                <a:gd name="T7" fmla="*/ 2 h 46"/>
                <a:gd name="T8" fmla="*/ 64 w 96"/>
                <a:gd name="T9" fmla="*/ 10 h 46"/>
                <a:gd name="T10" fmla="*/ 76 w 96"/>
                <a:gd name="T11" fmla="*/ 8 h 46"/>
                <a:gd name="T12" fmla="*/ 88 w 96"/>
                <a:gd name="T13" fmla="*/ 6 h 46"/>
                <a:gd name="T14" fmla="*/ 96 w 96"/>
                <a:gd name="T15" fmla="*/ 14 h 46"/>
                <a:gd name="T16" fmla="*/ 96 w 96"/>
                <a:gd name="T17" fmla="*/ 26 h 46"/>
                <a:gd name="T18" fmla="*/ 84 w 96"/>
                <a:gd name="T19" fmla="*/ 36 h 46"/>
                <a:gd name="T20" fmla="*/ 92 w 96"/>
                <a:gd name="T21" fmla="*/ 46 h 46"/>
                <a:gd name="T22" fmla="*/ 54 w 96"/>
                <a:gd name="T23" fmla="*/ 46 h 46"/>
                <a:gd name="T24" fmla="*/ 40 w 96"/>
                <a:gd name="T25" fmla="*/ 40 h 46"/>
                <a:gd name="T26" fmla="*/ 16 w 96"/>
                <a:gd name="T27" fmla="*/ 40 h 46"/>
                <a:gd name="T28" fmla="*/ 8 w 96"/>
                <a:gd name="T29" fmla="*/ 28 h 46"/>
                <a:gd name="T30" fmla="*/ 0 w 96"/>
                <a:gd name="T31" fmla="*/ 2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6" h="46">
                  <a:moveTo>
                    <a:pt x="0" y="22"/>
                  </a:moveTo>
                  <a:lnTo>
                    <a:pt x="16" y="6"/>
                  </a:lnTo>
                  <a:lnTo>
                    <a:pt x="46" y="0"/>
                  </a:lnTo>
                  <a:lnTo>
                    <a:pt x="64" y="2"/>
                  </a:lnTo>
                  <a:lnTo>
                    <a:pt x="64" y="10"/>
                  </a:lnTo>
                  <a:lnTo>
                    <a:pt x="76" y="8"/>
                  </a:lnTo>
                  <a:lnTo>
                    <a:pt x="88" y="6"/>
                  </a:lnTo>
                  <a:lnTo>
                    <a:pt x="96" y="14"/>
                  </a:lnTo>
                  <a:lnTo>
                    <a:pt x="96" y="26"/>
                  </a:lnTo>
                  <a:lnTo>
                    <a:pt x="84" y="36"/>
                  </a:lnTo>
                  <a:lnTo>
                    <a:pt x="92" y="46"/>
                  </a:lnTo>
                  <a:lnTo>
                    <a:pt x="54" y="46"/>
                  </a:lnTo>
                  <a:lnTo>
                    <a:pt x="40" y="40"/>
                  </a:lnTo>
                  <a:lnTo>
                    <a:pt x="16" y="40"/>
                  </a:lnTo>
                  <a:lnTo>
                    <a:pt x="8" y="28"/>
                  </a:lnTo>
                  <a:lnTo>
                    <a:pt x="0" y="2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14" name="Freeform 106">
              <a:extLst>
                <a:ext uri="{FF2B5EF4-FFF2-40B4-BE49-F238E27FC236}">
                  <a16:creationId xmlns:a16="http://schemas.microsoft.com/office/drawing/2014/main" id="{C153172E-FE3C-4EB4-A4E7-F698D581BCCA}"/>
                </a:ext>
              </a:extLst>
            </p:cNvPr>
            <p:cNvSpPr>
              <a:spLocks/>
            </p:cNvSpPr>
            <p:nvPr/>
          </p:nvSpPr>
          <p:spPr bwMode="gray">
            <a:xfrm>
              <a:off x="8237174" y="1849728"/>
              <a:ext cx="138690" cy="73033"/>
            </a:xfrm>
            <a:custGeom>
              <a:avLst/>
              <a:gdLst>
                <a:gd name="T0" fmla="*/ 0 w 84"/>
                <a:gd name="T1" fmla="*/ 34 h 44"/>
                <a:gd name="T2" fmla="*/ 22 w 84"/>
                <a:gd name="T3" fmla="*/ 44 h 44"/>
                <a:gd name="T4" fmla="*/ 36 w 84"/>
                <a:gd name="T5" fmla="*/ 42 h 44"/>
                <a:gd name="T6" fmla="*/ 56 w 84"/>
                <a:gd name="T7" fmla="*/ 38 h 44"/>
                <a:gd name="T8" fmla="*/ 74 w 84"/>
                <a:gd name="T9" fmla="*/ 36 h 44"/>
                <a:gd name="T10" fmla="*/ 76 w 84"/>
                <a:gd name="T11" fmla="*/ 28 h 44"/>
                <a:gd name="T12" fmla="*/ 84 w 84"/>
                <a:gd name="T13" fmla="*/ 22 h 44"/>
                <a:gd name="T14" fmla="*/ 72 w 84"/>
                <a:gd name="T15" fmla="*/ 14 h 44"/>
                <a:gd name="T16" fmla="*/ 60 w 84"/>
                <a:gd name="T17" fmla="*/ 2 h 44"/>
                <a:gd name="T18" fmla="*/ 44 w 84"/>
                <a:gd name="T19" fmla="*/ 0 h 44"/>
                <a:gd name="T20" fmla="*/ 40 w 84"/>
                <a:gd name="T21" fmla="*/ 10 h 44"/>
                <a:gd name="T22" fmla="*/ 16 w 84"/>
                <a:gd name="T23" fmla="*/ 12 h 44"/>
                <a:gd name="T24" fmla="*/ 12 w 84"/>
                <a:gd name="T25" fmla="*/ 18 h 44"/>
                <a:gd name="T26" fmla="*/ 10 w 84"/>
                <a:gd name="T27" fmla="*/ 28 h 44"/>
                <a:gd name="T28" fmla="*/ 0 w 84"/>
                <a:gd name="T29" fmla="*/ 3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 h="44">
                  <a:moveTo>
                    <a:pt x="0" y="34"/>
                  </a:moveTo>
                  <a:lnTo>
                    <a:pt x="22" y="44"/>
                  </a:lnTo>
                  <a:lnTo>
                    <a:pt x="36" y="42"/>
                  </a:lnTo>
                  <a:lnTo>
                    <a:pt x="56" y="38"/>
                  </a:lnTo>
                  <a:lnTo>
                    <a:pt x="74" y="36"/>
                  </a:lnTo>
                  <a:lnTo>
                    <a:pt x="76" y="28"/>
                  </a:lnTo>
                  <a:lnTo>
                    <a:pt x="84" y="22"/>
                  </a:lnTo>
                  <a:lnTo>
                    <a:pt x="72" y="14"/>
                  </a:lnTo>
                  <a:lnTo>
                    <a:pt x="60" y="2"/>
                  </a:lnTo>
                  <a:lnTo>
                    <a:pt x="44" y="0"/>
                  </a:lnTo>
                  <a:lnTo>
                    <a:pt x="40" y="10"/>
                  </a:lnTo>
                  <a:lnTo>
                    <a:pt x="16" y="12"/>
                  </a:lnTo>
                  <a:lnTo>
                    <a:pt x="12" y="18"/>
                  </a:lnTo>
                  <a:lnTo>
                    <a:pt x="10" y="28"/>
                  </a:lnTo>
                  <a:lnTo>
                    <a:pt x="0" y="3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15" name="Freeform 107">
              <a:extLst>
                <a:ext uri="{FF2B5EF4-FFF2-40B4-BE49-F238E27FC236}">
                  <a16:creationId xmlns:a16="http://schemas.microsoft.com/office/drawing/2014/main" id="{0FFEF5BE-C749-48E1-AD69-E6622BD89A7E}"/>
                </a:ext>
              </a:extLst>
            </p:cNvPr>
            <p:cNvSpPr>
              <a:spLocks/>
            </p:cNvSpPr>
            <p:nvPr/>
          </p:nvSpPr>
          <p:spPr bwMode="gray">
            <a:xfrm>
              <a:off x="9412738" y="2151817"/>
              <a:ext cx="211337" cy="73033"/>
            </a:xfrm>
            <a:custGeom>
              <a:avLst/>
              <a:gdLst>
                <a:gd name="T0" fmla="*/ 38 w 128"/>
                <a:gd name="T1" fmla="*/ 42 h 44"/>
                <a:gd name="T2" fmla="*/ 26 w 128"/>
                <a:gd name="T3" fmla="*/ 44 h 44"/>
                <a:gd name="T4" fmla="*/ 2 w 128"/>
                <a:gd name="T5" fmla="*/ 32 h 44"/>
                <a:gd name="T6" fmla="*/ 0 w 128"/>
                <a:gd name="T7" fmla="*/ 20 h 44"/>
                <a:gd name="T8" fmla="*/ 6 w 128"/>
                <a:gd name="T9" fmla="*/ 6 h 44"/>
                <a:gd name="T10" fmla="*/ 18 w 128"/>
                <a:gd name="T11" fmla="*/ 0 h 44"/>
                <a:gd name="T12" fmla="*/ 30 w 128"/>
                <a:gd name="T13" fmla="*/ 0 h 44"/>
                <a:gd name="T14" fmla="*/ 46 w 128"/>
                <a:gd name="T15" fmla="*/ 8 h 44"/>
                <a:gd name="T16" fmla="*/ 58 w 128"/>
                <a:gd name="T17" fmla="*/ 16 h 44"/>
                <a:gd name="T18" fmla="*/ 64 w 128"/>
                <a:gd name="T19" fmla="*/ 4 h 44"/>
                <a:gd name="T20" fmla="*/ 76 w 128"/>
                <a:gd name="T21" fmla="*/ 4 h 44"/>
                <a:gd name="T22" fmla="*/ 86 w 128"/>
                <a:gd name="T23" fmla="*/ 10 h 44"/>
                <a:gd name="T24" fmla="*/ 100 w 128"/>
                <a:gd name="T25" fmla="*/ 8 h 44"/>
                <a:gd name="T26" fmla="*/ 120 w 128"/>
                <a:gd name="T27" fmla="*/ 14 h 44"/>
                <a:gd name="T28" fmla="*/ 128 w 128"/>
                <a:gd name="T29" fmla="*/ 20 h 44"/>
                <a:gd name="T30" fmla="*/ 120 w 128"/>
                <a:gd name="T31" fmla="*/ 32 h 44"/>
                <a:gd name="T32" fmla="*/ 104 w 128"/>
                <a:gd name="T33" fmla="*/ 36 h 44"/>
                <a:gd name="T34" fmla="*/ 92 w 128"/>
                <a:gd name="T35" fmla="*/ 32 h 44"/>
                <a:gd name="T36" fmla="*/ 86 w 128"/>
                <a:gd name="T37" fmla="*/ 24 h 44"/>
                <a:gd name="T38" fmla="*/ 90 w 128"/>
                <a:gd name="T39" fmla="*/ 14 h 44"/>
                <a:gd name="T40" fmla="*/ 78 w 128"/>
                <a:gd name="T41" fmla="*/ 16 h 44"/>
                <a:gd name="T42" fmla="*/ 80 w 128"/>
                <a:gd name="T43" fmla="*/ 24 h 44"/>
                <a:gd name="T44" fmla="*/ 84 w 128"/>
                <a:gd name="T45" fmla="*/ 30 h 44"/>
                <a:gd name="T46" fmla="*/ 88 w 128"/>
                <a:gd name="T47" fmla="*/ 38 h 44"/>
                <a:gd name="T48" fmla="*/ 78 w 128"/>
                <a:gd name="T49" fmla="*/ 38 h 44"/>
                <a:gd name="T50" fmla="*/ 62 w 128"/>
                <a:gd name="T51" fmla="*/ 36 h 44"/>
                <a:gd name="T52" fmla="*/ 48 w 128"/>
                <a:gd name="T53" fmla="*/ 36 h 44"/>
                <a:gd name="T54" fmla="*/ 38 w 128"/>
                <a:gd name="T55" fmla="*/ 34 h 44"/>
                <a:gd name="T56" fmla="*/ 38 w 128"/>
                <a:gd name="T57" fmla="*/ 4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8" h="44">
                  <a:moveTo>
                    <a:pt x="38" y="42"/>
                  </a:moveTo>
                  <a:lnTo>
                    <a:pt x="26" y="44"/>
                  </a:lnTo>
                  <a:lnTo>
                    <a:pt x="2" y="32"/>
                  </a:lnTo>
                  <a:lnTo>
                    <a:pt x="0" y="20"/>
                  </a:lnTo>
                  <a:lnTo>
                    <a:pt x="6" y="6"/>
                  </a:lnTo>
                  <a:lnTo>
                    <a:pt x="18" y="0"/>
                  </a:lnTo>
                  <a:lnTo>
                    <a:pt x="30" y="0"/>
                  </a:lnTo>
                  <a:lnTo>
                    <a:pt x="46" y="8"/>
                  </a:lnTo>
                  <a:lnTo>
                    <a:pt x="58" y="16"/>
                  </a:lnTo>
                  <a:lnTo>
                    <a:pt x="64" y="4"/>
                  </a:lnTo>
                  <a:lnTo>
                    <a:pt x="76" y="4"/>
                  </a:lnTo>
                  <a:lnTo>
                    <a:pt x="86" y="10"/>
                  </a:lnTo>
                  <a:lnTo>
                    <a:pt x="100" y="8"/>
                  </a:lnTo>
                  <a:lnTo>
                    <a:pt x="120" y="14"/>
                  </a:lnTo>
                  <a:lnTo>
                    <a:pt x="128" y="20"/>
                  </a:lnTo>
                  <a:lnTo>
                    <a:pt x="120" y="32"/>
                  </a:lnTo>
                  <a:lnTo>
                    <a:pt x="104" y="36"/>
                  </a:lnTo>
                  <a:lnTo>
                    <a:pt x="92" y="32"/>
                  </a:lnTo>
                  <a:lnTo>
                    <a:pt x="86" y="24"/>
                  </a:lnTo>
                  <a:lnTo>
                    <a:pt x="90" y="14"/>
                  </a:lnTo>
                  <a:lnTo>
                    <a:pt x="78" y="16"/>
                  </a:lnTo>
                  <a:lnTo>
                    <a:pt x="80" y="24"/>
                  </a:lnTo>
                  <a:lnTo>
                    <a:pt x="84" y="30"/>
                  </a:lnTo>
                  <a:lnTo>
                    <a:pt x="88" y="38"/>
                  </a:lnTo>
                  <a:lnTo>
                    <a:pt x="78" y="38"/>
                  </a:lnTo>
                  <a:lnTo>
                    <a:pt x="62" y="36"/>
                  </a:lnTo>
                  <a:lnTo>
                    <a:pt x="48" y="36"/>
                  </a:lnTo>
                  <a:lnTo>
                    <a:pt x="38" y="34"/>
                  </a:lnTo>
                  <a:lnTo>
                    <a:pt x="38" y="4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16" name="Freeform 108">
              <a:extLst>
                <a:ext uri="{FF2B5EF4-FFF2-40B4-BE49-F238E27FC236}">
                  <a16:creationId xmlns:a16="http://schemas.microsoft.com/office/drawing/2014/main" id="{1C210222-5811-4AE1-A280-98B50AE7D8F0}"/>
                </a:ext>
              </a:extLst>
            </p:cNvPr>
            <p:cNvSpPr>
              <a:spLocks/>
            </p:cNvSpPr>
            <p:nvPr/>
          </p:nvSpPr>
          <p:spPr bwMode="gray">
            <a:xfrm>
              <a:off x="9650492" y="2185015"/>
              <a:ext cx="122179" cy="39836"/>
            </a:xfrm>
            <a:custGeom>
              <a:avLst/>
              <a:gdLst>
                <a:gd name="T0" fmla="*/ 6 w 74"/>
                <a:gd name="T1" fmla="*/ 0 h 24"/>
                <a:gd name="T2" fmla="*/ 16 w 74"/>
                <a:gd name="T3" fmla="*/ 4 h 24"/>
                <a:gd name="T4" fmla="*/ 36 w 74"/>
                <a:gd name="T5" fmla="*/ 4 h 24"/>
                <a:gd name="T6" fmla="*/ 50 w 74"/>
                <a:gd name="T7" fmla="*/ 8 h 24"/>
                <a:gd name="T8" fmla="*/ 68 w 74"/>
                <a:gd name="T9" fmla="*/ 10 h 24"/>
                <a:gd name="T10" fmla="*/ 74 w 74"/>
                <a:gd name="T11" fmla="*/ 14 h 24"/>
                <a:gd name="T12" fmla="*/ 60 w 74"/>
                <a:gd name="T13" fmla="*/ 20 h 24"/>
                <a:gd name="T14" fmla="*/ 48 w 74"/>
                <a:gd name="T15" fmla="*/ 24 h 24"/>
                <a:gd name="T16" fmla="*/ 36 w 74"/>
                <a:gd name="T17" fmla="*/ 24 h 24"/>
                <a:gd name="T18" fmla="*/ 20 w 74"/>
                <a:gd name="T19" fmla="*/ 20 h 24"/>
                <a:gd name="T20" fmla="*/ 4 w 74"/>
                <a:gd name="T21" fmla="*/ 16 h 24"/>
                <a:gd name="T22" fmla="*/ 0 w 74"/>
                <a:gd name="T23" fmla="*/ 8 h 24"/>
                <a:gd name="T24" fmla="*/ 6 w 74"/>
                <a:gd name="T2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4" h="24">
                  <a:moveTo>
                    <a:pt x="6" y="0"/>
                  </a:moveTo>
                  <a:lnTo>
                    <a:pt x="16" y="4"/>
                  </a:lnTo>
                  <a:lnTo>
                    <a:pt x="36" y="4"/>
                  </a:lnTo>
                  <a:lnTo>
                    <a:pt x="50" y="8"/>
                  </a:lnTo>
                  <a:lnTo>
                    <a:pt x="68" y="10"/>
                  </a:lnTo>
                  <a:lnTo>
                    <a:pt x="74" y="14"/>
                  </a:lnTo>
                  <a:lnTo>
                    <a:pt x="60" y="20"/>
                  </a:lnTo>
                  <a:lnTo>
                    <a:pt x="48" y="24"/>
                  </a:lnTo>
                  <a:lnTo>
                    <a:pt x="36" y="24"/>
                  </a:lnTo>
                  <a:lnTo>
                    <a:pt x="20" y="20"/>
                  </a:lnTo>
                  <a:lnTo>
                    <a:pt x="4" y="16"/>
                  </a:lnTo>
                  <a:lnTo>
                    <a:pt x="0" y="8"/>
                  </a:lnTo>
                  <a:lnTo>
                    <a:pt x="6"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17" name="Freeform 109">
              <a:extLst>
                <a:ext uri="{FF2B5EF4-FFF2-40B4-BE49-F238E27FC236}">
                  <a16:creationId xmlns:a16="http://schemas.microsoft.com/office/drawing/2014/main" id="{4E0D1C02-7CEF-453D-9452-07F889A05D9D}"/>
                </a:ext>
              </a:extLst>
            </p:cNvPr>
            <p:cNvSpPr>
              <a:spLocks/>
            </p:cNvSpPr>
            <p:nvPr/>
          </p:nvSpPr>
          <p:spPr bwMode="gray">
            <a:xfrm>
              <a:off x="10502446" y="2377554"/>
              <a:ext cx="95762" cy="39836"/>
            </a:xfrm>
            <a:custGeom>
              <a:avLst/>
              <a:gdLst>
                <a:gd name="T0" fmla="*/ 0 w 58"/>
                <a:gd name="T1" fmla="*/ 16 h 24"/>
                <a:gd name="T2" fmla="*/ 2 w 58"/>
                <a:gd name="T3" fmla="*/ 24 h 24"/>
                <a:gd name="T4" fmla="*/ 10 w 58"/>
                <a:gd name="T5" fmla="*/ 24 h 24"/>
                <a:gd name="T6" fmla="*/ 24 w 58"/>
                <a:gd name="T7" fmla="*/ 24 h 24"/>
                <a:gd name="T8" fmla="*/ 46 w 58"/>
                <a:gd name="T9" fmla="*/ 20 h 24"/>
                <a:gd name="T10" fmla="*/ 58 w 58"/>
                <a:gd name="T11" fmla="*/ 18 h 24"/>
                <a:gd name="T12" fmla="*/ 58 w 58"/>
                <a:gd name="T13" fmla="*/ 8 h 24"/>
                <a:gd name="T14" fmla="*/ 48 w 58"/>
                <a:gd name="T15" fmla="*/ 4 h 24"/>
                <a:gd name="T16" fmla="*/ 36 w 58"/>
                <a:gd name="T17" fmla="*/ 0 h 24"/>
                <a:gd name="T18" fmla="*/ 22 w 58"/>
                <a:gd name="T19" fmla="*/ 2 h 24"/>
                <a:gd name="T20" fmla="*/ 14 w 58"/>
                <a:gd name="T21" fmla="*/ 8 h 24"/>
                <a:gd name="T22" fmla="*/ 0 w 58"/>
                <a:gd name="T23"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8" h="24">
                  <a:moveTo>
                    <a:pt x="0" y="16"/>
                  </a:moveTo>
                  <a:lnTo>
                    <a:pt x="2" y="24"/>
                  </a:lnTo>
                  <a:lnTo>
                    <a:pt x="10" y="24"/>
                  </a:lnTo>
                  <a:lnTo>
                    <a:pt x="24" y="24"/>
                  </a:lnTo>
                  <a:lnTo>
                    <a:pt x="46" y="20"/>
                  </a:lnTo>
                  <a:lnTo>
                    <a:pt x="58" y="18"/>
                  </a:lnTo>
                  <a:lnTo>
                    <a:pt x="58" y="8"/>
                  </a:lnTo>
                  <a:lnTo>
                    <a:pt x="48" y="4"/>
                  </a:lnTo>
                  <a:lnTo>
                    <a:pt x="36" y="0"/>
                  </a:lnTo>
                  <a:lnTo>
                    <a:pt x="22" y="2"/>
                  </a:lnTo>
                  <a:lnTo>
                    <a:pt x="14" y="8"/>
                  </a:lnTo>
                  <a:lnTo>
                    <a:pt x="0" y="1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18" name="Freeform 110">
              <a:extLst>
                <a:ext uri="{FF2B5EF4-FFF2-40B4-BE49-F238E27FC236}">
                  <a16:creationId xmlns:a16="http://schemas.microsoft.com/office/drawing/2014/main" id="{DD57D767-EC9F-4BB8-80B7-E61EE01ACF74}"/>
                </a:ext>
              </a:extLst>
            </p:cNvPr>
            <p:cNvSpPr>
              <a:spLocks/>
            </p:cNvSpPr>
            <p:nvPr/>
          </p:nvSpPr>
          <p:spPr bwMode="gray">
            <a:xfrm>
              <a:off x="9534917" y="3101239"/>
              <a:ext cx="69344" cy="288810"/>
            </a:xfrm>
            <a:custGeom>
              <a:avLst/>
              <a:gdLst>
                <a:gd name="T0" fmla="*/ 0 w 42"/>
                <a:gd name="T1" fmla="*/ 166 h 174"/>
                <a:gd name="T2" fmla="*/ 6 w 42"/>
                <a:gd name="T3" fmla="*/ 174 h 174"/>
                <a:gd name="T4" fmla="*/ 10 w 42"/>
                <a:gd name="T5" fmla="*/ 160 h 174"/>
                <a:gd name="T6" fmla="*/ 18 w 42"/>
                <a:gd name="T7" fmla="*/ 162 h 174"/>
                <a:gd name="T8" fmla="*/ 24 w 42"/>
                <a:gd name="T9" fmla="*/ 170 h 174"/>
                <a:gd name="T10" fmla="*/ 26 w 42"/>
                <a:gd name="T11" fmla="*/ 162 h 174"/>
                <a:gd name="T12" fmla="*/ 22 w 42"/>
                <a:gd name="T13" fmla="*/ 154 h 174"/>
                <a:gd name="T14" fmla="*/ 14 w 42"/>
                <a:gd name="T15" fmla="*/ 144 h 174"/>
                <a:gd name="T16" fmla="*/ 10 w 42"/>
                <a:gd name="T17" fmla="*/ 134 h 174"/>
                <a:gd name="T18" fmla="*/ 14 w 42"/>
                <a:gd name="T19" fmla="*/ 126 h 174"/>
                <a:gd name="T20" fmla="*/ 18 w 42"/>
                <a:gd name="T21" fmla="*/ 114 h 174"/>
                <a:gd name="T22" fmla="*/ 22 w 42"/>
                <a:gd name="T23" fmla="*/ 108 h 174"/>
                <a:gd name="T24" fmla="*/ 30 w 42"/>
                <a:gd name="T25" fmla="*/ 106 h 174"/>
                <a:gd name="T26" fmla="*/ 42 w 42"/>
                <a:gd name="T27" fmla="*/ 116 h 174"/>
                <a:gd name="T28" fmla="*/ 42 w 42"/>
                <a:gd name="T29" fmla="*/ 104 h 174"/>
                <a:gd name="T30" fmla="*/ 32 w 42"/>
                <a:gd name="T31" fmla="*/ 88 h 174"/>
                <a:gd name="T32" fmla="*/ 28 w 42"/>
                <a:gd name="T33" fmla="*/ 62 h 174"/>
                <a:gd name="T34" fmla="*/ 24 w 42"/>
                <a:gd name="T35" fmla="*/ 42 h 174"/>
                <a:gd name="T36" fmla="*/ 22 w 42"/>
                <a:gd name="T37" fmla="*/ 26 h 174"/>
                <a:gd name="T38" fmla="*/ 20 w 42"/>
                <a:gd name="T39" fmla="*/ 12 h 174"/>
                <a:gd name="T40" fmla="*/ 16 w 42"/>
                <a:gd name="T41" fmla="*/ 0 h 174"/>
                <a:gd name="T42" fmla="*/ 12 w 42"/>
                <a:gd name="T43" fmla="*/ 6 h 174"/>
                <a:gd name="T44" fmla="*/ 12 w 42"/>
                <a:gd name="T45" fmla="*/ 16 h 174"/>
                <a:gd name="T46" fmla="*/ 2 w 42"/>
                <a:gd name="T47" fmla="*/ 20 h 174"/>
                <a:gd name="T48" fmla="*/ 2 w 42"/>
                <a:gd name="T49" fmla="*/ 36 h 174"/>
                <a:gd name="T50" fmla="*/ 2 w 42"/>
                <a:gd name="T51" fmla="*/ 50 h 174"/>
                <a:gd name="T52" fmla="*/ 2 w 42"/>
                <a:gd name="T53" fmla="*/ 62 h 174"/>
                <a:gd name="T54" fmla="*/ 8 w 42"/>
                <a:gd name="T55" fmla="*/ 70 h 174"/>
                <a:gd name="T56" fmla="*/ 6 w 42"/>
                <a:gd name="T57" fmla="*/ 82 h 174"/>
                <a:gd name="T58" fmla="*/ 6 w 42"/>
                <a:gd name="T59" fmla="*/ 102 h 174"/>
                <a:gd name="T60" fmla="*/ 6 w 42"/>
                <a:gd name="T61" fmla="*/ 126 h 174"/>
                <a:gd name="T62" fmla="*/ 6 w 42"/>
                <a:gd name="T63" fmla="*/ 146 h 174"/>
                <a:gd name="T64" fmla="*/ 6 w 42"/>
                <a:gd name="T65" fmla="*/ 158 h 174"/>
                <a:gd name="T66" fmla="*/ 0 w 42"/>
                <a:gd name="T67" fmla="*/ 16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2" h="174">
                  <a:moveTo>
                    <a:pt x="0" y="166"/>
                  </a:moveTo>
                  <a:lnTo>
                    <a:pt x="6" y="174"/>
                  </a:lnTo>
                  <a:lnTo>
                    <a:pt x="10" y="160"/>
                  </a:lnTo>
                  <a:lnTo>
                    <a:pt x="18" y="162"/>
                  </a:lnTo>
                  <a:lnTo>
                    <a:pt x="24" y="170"/>
                  </a:lnTo>
                  <a:lnTo>
                    <a:pt x="26" y="162"/>
                  </a:lnTo>
                  <a:lnTo>
                    <a:pt x="22" y="154"/>
                  </a:lnTo>
                  <a:lnTo>
                    <a:pt x="14" y="144"/>
                  </a:lnTo>
                  <a:lnTo>
                    <a:pt x="10" y="134"/>
                  </a:lnTo>
                  <a:lnTo>
                    <a:pt x="14" y="126"/>
                  </a:lnTo>
                  <a:lnTo>
                    <a:pt x="18" y="114"/>
                  </a:lnTo>
                  <a:lnTo>
                    <a:pt x="22" y="108"/>
                  </a:lnTo>
                  <a:lnTo>
                    <a:pt x="30" y="106"/>
                  </a:lnTo>
                  <a:lnTo>
                    <a:pt x="42" y="116"/>
                  </a:lnTo>
                  <a:lnTo>
                    <a:pt x="42" y="104"/>
                  </a:lnTo>
                  <a:lnTo>
                    <a:pt x="32" y="88"/>
                  </a:lnTo>
                  <a:lnTo>
                    <a:pt x="28" y="62"/>
                  </a:lnTo>
                  <a:lnTo>
                    <a:pt x="24" y="42"/>
                  </a:lnTo>
                  <a:lnTo>
                    <a:pt x="22" y="26"/>
                  </a:lnTo>
                  <a:lnTo>
                    <a:pt x="20" y="12"/>
                  </a:lnTo>
                  <a:lnTo>
                    <a:pt x="16" y="0"/>
                  </a:lnTo>
                  <a:lnTo>
                    <a:pt x="12" y="6"/>
                  </a:lnTo>
                  <a:lnTo>
                    <a:pt x="12" y="16"/>
                  </a:lnTo>
                  <a:lnTo>
                    <a:pt x="2" y="20"/>
                  </a:lnTo>
                  <a:lnTo>
                    <a:pt x="2" y="36"/>
                  </a:lnTo>
                  <a:lnTo>
                    <a:pt x="2" y="50"/>
                  </a:lnTo>
                  <a:lnTo>
                    <a:pt x="2" y="62"/>
                  </a:lnTo>
                  <a:lnTo>
                    <a:pt x="8" y="70"/>
                  </a:lnTo>
                  <a:lnTo>
                    <a:pt x="6" y="82"/>
                  </a:lnTo>
                  <a:lnTo>
                    <a:pt x="6" y="102"/>
                  </a:lnTo>
                  <a:lnTo>
                    <a:pt x="6" y="126"/>
                  </a:lnTo>
                  <a:lnTo>
                    <a:pt x="6" y="146"/>
                  </a:lnTo>
                  <a:lnTo>
                    <a:pt x="6" y="158"/>
                  </a:lnTo>
                  <a:lnTo>
                    <a:pt x="0" y="16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19" name="Freeform 111">
              <a:extLst>
                <a:ext uri="{FF2B5EF4-FFF2-40B4-BE49-F238E27FC236}">
                  <a16:creationId xmlns:a16="http://schemas.microsoft.com/office/drawing/2014/main" id="{3245B4F7-0224-4E0F-B2BE-BC1E0F756A1C}"/>
                </a:ext>
              </a:extLst>
            </p:cNvPr>
            <p:cNvSpPr>
              <a:spLocks/>
            </p:cNvSpPr>
            <p:nvPr/>
          </p:nvSpPr>
          <p:spPr bwMode="gray">
            <a:xfrm>
              <a:off x="6992268" y="3585910"/>
              <a:ext cx="39626" cy="33197"/>
            </a:xfrm>
            <a:custGeom>
              <a:avLst/>
              <a:gdLst>
                <a:gd name="T0" fmla="*/ 22 w 24"/>
                <a:gd name="T1" fmla="*/ 20 h 20"/>
                <a:gd name="T2" fmla="*/ 14 w 24"/>
                <a:gd name="T3" fmla="*/ 16 h 20"/>
                <a:gd name="T4" fmla="*/ 8 w 24"/>
                <a:gd name="T5" fmla="*/ 12 h 20"/>
                <a:gd name="T6" fmla="*/ 0 w 24"/>
                <a:gd name="T7" fmla="*/ 4 h 20"/>
                <a:gd name="T8" fmla="*/ 2 w 24"/>
                <a:gd name="T9" fmla="*/ 0 h 20"/>
                <a:gd name="T10" fmla="*/ 10 w 24"/>
                <a:gd name="T11" fmla="*/ 0 h 20"/>
                <a:gd name="T12" fmla="*/ 16 w 24"/>
                <a:gd name="T13" fmla="*/ 4 h 20"/>
                <a:gd name="T14" fmla="*/ 22 w 24"/>
                <a:gd name="T15" fmla="*/ 6 h 20"/>
                <a:gd name="T16" fmla="*/ 24 w 24"/>
                <a:gd name="T17" fmla="*/ 14 h 20"/>
                <a:gd name="T18" fmla="*/ 22 w 24"/>
                <a:gd name="T19"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0">
                  <a:moveTo>
                    <a:pt x="22" y="20"/>
                  </a:moveTo>
                  <a:lnTo>
                    <a:pt x="14" y="16"/>
                  </a:lnTo>
                  <a:lnTo>
                    <a:pt x="8" y="12"/>
                  </a:lnTo>
                  <a:lnTo>
                    <a:pt x="0" y="4"/>
                  </a:lnTo>
                  <a:lnTo>
                    <a:pt x="2" y="0"/>
                  </a:lnTo>
                  <a:lnTo>
                    <a:pt x="10" y="0"/>
                  </a:lnTo>
                  <a:lnTo>
                    <a:pt x="16" y="4"/>
                  </a:lnTo>
                  <a:lnTo>
                    <a:pt x="22" y="6"/>
                  </a:lnTo>
                  <a:lnTo>
                    <a:pt x="24" y="14"/>
                  </a:lnTo>
                  <a:lnTo>
                    <a:pt x="22" y="2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20" name="Freeform 112">
              <a:extLst>
                <a:ext uri="{FF2B5EF4-FFF2-40B4-BE49-F238E27FC236}">
                  <a16:creationId xmlns:a16="http://schemas.microsoft.com/office/drawing/2014/main" id="{12099CD8-BF4C-46FA-BAC3-A3018363E4E4}"/>
                </a:ext>
              </a:extLst>
            </p:cNvPr>
            <p:cNvSpPr>
              <a:spLocks/>
            </p:cNvSpPr>
            <p:nvPr/>
          </p:nvSpPr>
          <p:spPr bwMode="gray">
            <a:xfrm>
              <a:off x="6671960" y="3718695"/>
              <a:ext cx="49532" cy="26557"/>
            </a:xfrm>
            <a:custGeom>
              <a:avLst/>
              <a:gdLst>
                <a:gd name="T0" fmla="*/ 8 w 30"/>
                <a:gd name="T1" fmla="*/ 6 h 16"/>
                <a:gd name="T2" fmla="*/ 16 w 30"/>
                <a:gd name="T3" fmla="*/ 4 h 16"/>
                <a:gd name="T4" fmla="*/ 24 w 30"/>
                <a:gd name="T5" fmla="*/ 4 h 16"/>
                <a:gd name="T6" fmla="*/ 30 w 30"/>
                <a:gd name="T7" fmla="*/ 0 h 16"/>
                <a:gd name="T8" fmla="*/ 22 w 30"/>
                <a:gd name="T9" fmla="*/ 8 h 16"/>
                <a:gd name="T10" fmla="*/ 18 w 30"/>
                <a:gd name="T11" fmla="*/ 12 h 16"/>
                <a:gd name="T12" fmla="*/ 12 w 30"/>
                <a:gd name="T13" fmla="*/ 16 h 16"/>
                <a:gd name="T14" fmla="*/ 4 w 30"/>
                <a:gd name="T15" fmla="*/ 16 h 16"/>
                <a:gd name="T16" fmla="*/ 0 w 30"/>
                <a:gd name="T17" fmla="*/ 12 h 16"/>
                <a:gd name="T18" fmla="*/ 0 w 30"/>
                <a:gd name="T19" fmla="*/ 6 h 16"/>
                <a:gd name="T20" fmla="*/ 8 w 30"/>
                <a:gd name="T21" fmla="*/ 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16">
                  <a:moveTo>
                    <a:pt x="8" y="6"/>
                  </a:moveTo>
                  <a:lnTo>
                    <a:pt x="16" y="4"/>
                  </a:lnTo>
                  <a:lnTo>
                    <a:pt x="24" y="4"/>
                  </a:lnTo>
                  <a:lnTo>
                    <a:pt x="30" y="0"/>
                  </a:lnTo>
                  <a:lnTo>
                    <a:pt x="22" y="8"/>
                  </a:lnTo>
                  <a:lnTo>
                    <a:pt x="18" y="12"/>
                  </a:lnTo>
                  <a:lnTo>
                    <a:pt x="12" y="16"/>
                  </a:lnTo>
                  <a:lnTo>
                    <a:pt x="4" y="16"/>
                  </a:lnTo>
                  <a:lnTo>
                    <a:pt x="0" y="12"/>
                  </a:lnTo>
                  <a:lnTo>
                    <a:pt x="0" y="6"/>
                  </a:lnTo>
                  <a:lnTo>
                    <a:pt x="8" y="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21" name="Freeform 113">
              <a:extLst>
                <a:ext uri="{FF2B5EF4-FFF2-40B4-BE49-F238E27FC236}">
                  <a16:creationId xmlns:a16="http://schemas.microsoft.com/office/drawing/2014/main" id="{A9F2D23A-6D80-479B-91F2-3B3B792C2D48}"/>
                </a:ext>
              </a:extLst>
            </p:cNvPr>
            <p:cNvSpPr>
              <a:spLocks/>
            </p:cNvSpPr>
            <p:nvPr/>
          </p:nvSpPr>
          <p:spPr bwMode="gray">
            <a:xfrm>
              <a:off x="6510154" y="3516196"/>
              <a:ext cx="482113" cy="185901"/>
            </a:xfrm>
            <a:custGeom>
              <a:avLst/>
              <a:gdLst>
                <a:gd name="T0" fmla="*/ 0 w 292"/>
                <a:gd name="T1" fmla="*/ 46 h 112"/>
                <a:gd name="T2" fmla="*/ 6 w 292"/>
                <a:gd name="T3" fmla="*/ 34 h 112"/>
                <a:gd name="T4" fmla="*/ 26 w 292"/>
                <a:gd name="T5" fmla="*/ 34 h 112"/>
                <a:gd name="T6" fmla="*/ 46 w 292"/>
                <a:gd name="T7" fmla="*/ 34 h 112"/>
                <a:gd name="T8" fmla="*/ 52 w 292"/>
                <a:gd name="T9" fmla="*/ 26 h 112"/>
                <a:gd name="T10" fmla="*/ 52 w 292"/>
                <a:gd name="T11" fmla="*/ 22 h 112"/>
                <a:gd name="T12" fmla="*/ 46 w 292"/>
                <a:gd name="T13" fmla="*/ 16 h 112"/>
                <a:gd name="T14" fmla="*/ 82 w 292"/>
                <a:gd name="T15" fmla="*/ 18 h 112"/>
                <a:gd name="T16" fmla="*/ 110 w 292"/>
                <a:gd name="T17" fmla="*/ 0 h 112"/>
                <a:gd name="T18" fmla="*/ 146 w 292"/>
                <a:gd name="T19" fmla="*/ 12 h 112"/>
                <a:gd name="T20" fmla="*/ 160 w 292"/>
                <a:gd name="T21" fmla="*/ 16 h 112"/>
                <a:gd name="T22" fmla="*/ 182 w 292"/>
                <a:gd name="T23" fmla="*/ 22 h 112"/>
                <a:gd name="T24" fmla="*/ 218 w 292"/>
                <a:gd name="T25" fmla="*/ 22 h 112"/>
                <a:gd name="T26" fmla="*/ 242 w 292"/>
                <a:gd name="T27" fmla="*/ 10 h 112"/>
                <a:gd name="T28" fmla="*/ 252 w 292"/>
                <a:gd name="T29" fmla="*/ 14 h 112"/>
                <a:gd name="T30" fmla="*/ 262 w 292"/>
                <a:gd name="T31" fmla="*/ 10 h 112"/>
                <a:gd name="T32" fmla="*/ 274 w 292"/>
                <a:gd name="T33" fmla="*/ 20 h 112"/>
                <a:gd name="T34" fmla="*/ 274 w 292"/>
                <a:gd name="T35" fmla="*/ 42 h 112"/>
                <a:gd name="T36" fmla="*/ 292 w 292"/>
                <a:gd name="T37" fmla="*/ 46 h 112"/>
                <a:gd name="T38" fmla="*/ 282 w 292"/>
                <a:gd name="T39" fmla="*/ 52 h 112"/>
                <a:gd name="T40" fmla="*/ 286 w 292"/>
                <a:gd name="T41" fmla="*/ 68 h 112"/>
                <a:gd name="T42" fmla="*/ 292 w 292"/>
                <a:gd name="T43" fmla="*/ 88 h 112"/>
                <a:gd name="T44" fmla="*/ 282 w 292"/>
                <a:gd name="T45" fmla="*/ 90 h 112"/>
                <a:gd name="T46" fmla="*/ 252 w 292"/>
                <a:gd name="T47" fmla="*/ 92 h 112"/>
                <a:gd name="T48" fmla="*/ 214 w 292"/>
                <a:gd name="T49" fmla="*/ 100 h 112"/>
                <a:gd name="T50" fmla="*/ 190 w 292"/>
                <a:gd name="T51" fmla="*/ 96 h 112"/>
                <a:gd name="T52" fmla="*/ 182 w 292"/>
                <a:gd name="T53" fmla="*/ 100 h 112"/>
                <a:gd name="T54" fmla="*/ 164 w 292"/>
                <a:gd name="T55" fmla="*/ 96 h 112"/>
                <a:gd name="T56" fmla="*/ 154 w 292"/>
                <a:gd name="T57" fmla="*/ 112 h 112"/>
                <a:gd name="T58" fmla="*/ 156 w 292"/>
                <a:gd name="T59" fmla="*/ 96 h 112"/>
                <a:gd name="T60" fmla="*/ 146 w 292"/>
                <a:gd name="T61" fmla="*/ 100 h 112"/>
                <a:gd name="T62" fmla="*/ 128 w 292"/>
                <a:gd name="T63" fmla="*/ 100 h 112"/>
                <a:gd name="T64" fmla="*/ 110 w 292"/>
                <a:gd name="T65" fmla="*/ 110 h 112"/>
                <a:gd name="T66" fmla="*/ 92 w 292"/>
                <a:gd name="T67" fmla="*/ 104 h 112"/>
                <a:gd name="T68" fmla="*/ 72 w 292"/>
                <a:gd name="T69" fmla="*/ 96 h 112"/>
                <a:gd name="T70" fmla="*/ 68 w 292"/>
                <a:gd name="T71" fmla="*/ 104 h 112"/>
                <a:gd name="T72" fmla="*/ 50 w 292"/>
                <a:gd name="T73" fmla="*/ 108 h 112"/>
                <a:gd name="T74" fmla="*/ 34 w 292"/>
                <a:gd name="T75" fmla="*/ 96 h 112"/>
                <a:gd name="T76" fmla="*/ 16 w 292"/>
                <a:gd name="T77" fmla="*/ 84 h 112"/>
                <a:gd name="T78" fmla="*/ 6 w 292"/>
                <a:gd name="T79" fmla="*/ 74 h 112"/>
                <a:gd name="T80" fmla="*/ 14 w 292"/>
                <a:gd name="T81" fmla="*/ 62 h 112"/>
                <a:gd name="T82" fmla="*/ 10 w 292"/>
                <a:gd name="T83" fmla="*/ 4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92" h="112">
                  <a:moveTo>
                    <a:pt x="10" y="48"/>
                  </a:moveTo>
                  <a:lnTo>
                    <a:pt x="0" y="46"/>
                  </a:lnTo>
                  <a:lnTo>
                    <a:pt x="0" y="42"/>
                  </a:lnTo>
                  <a:lnTo>
                    <a:pt x="6" y="34"/>
                  </a:lnTo>
                  <a:lnTo>
                    <a:pt x="12" y="32"/>
                  </a:lnTo>
                  <a:lnTo>
                    <a:pt x="26" y="34"/>
                  </a:lnTo>
                  <a:lnTo>
                    <a:pt x="38" y="34"/>
                  </a:lnTo>
                  <a:lnTo>
                    <a:pt x="46" y="34"/>
                  </a:lnTo>
                  <a:lnTo>
                    <a:pt x="46" y="28"/>
                  </a:lnTo>
                  <a:lnTo>
                    <a:pt x="52" y="26"/>
                  </a:lnTo>
                  <a:lnTo>
                    <a:pt x="58" y="26"/>
                  </a:lnTo>
                  <a:lnTo>
                    <a:pt x="52" y="22"/>
                  </a:lnTo>
                  <a:lnTo>
                    <a:pt x="46" y="22"/>
                  </a:lnTo>
                  <a:lnTo>
                    <a:pt x="46" y="16"/>
                  </a:lnTo>
                  <a:lnTo>
                    <a:pt x="68" y="18"/>
                  </a:lnTo>
                  <a:lnTo>
                    <a:pt x="82" y="18"/>
                  </a:lnTo>
                  <a:lnTo>
                    <a:pt x="90" y="10"/>
                  </a:lnTo>
                  <a:lnTo>
                    <a:pt x="110" y="0"/>
                  </a:lnTo>
                  <a:lnTo>
                    <a:pt x="140" y="0"/>
                  </a:lnTo>
                  <a:lnTo>
                    <a:pt x="146" y="12"/>
                  </a:lnTo>
                  <a:lnTo>
                    <a:pt x="154" y="10"/>
                  </a:lnTo>
                  <a:lnTo>
                    <a:pt x="160" y="16"/>
                  </a:lnTo>
                  <a:lnTo>
                    <a:pt x="168" y="18"/>
                  </a:lnTo>
                  <a:lnTo>
                    <a:pt x="182" y="22"/>
                  </a:lnTo>
                  <a:lnTo>
                    <a:pt x="200" y="22"/>
                  </a:lnTo>
                  <a:lnTo>
                    <a:pt x="218" y="22"/>
                  </a:lnTo>
                  <a:lnTo>
                    <a:pt x="234" y="18"/>
                  </a:lnTo>
                  <a:lnTo>
                    <a:pt x="242" y="10"/>
                  </a:lnTo>
                  <a:lnTo>
                    <a:pt x="248" y="12"/>
                  </a:lnTo>
                  <a:lnTo>
                    <a:pt x="252" y="14"/>
                  </a:lnTo>
                  <a:lnTo>
                    <a:pt x="254" y="8"/>
                  </a:lnTo>
                  <a:lnTo>
                    <a:pt x="262" y="10"/>
                  </a:lnTo>
                  <a:lnTo>
                    <a:pt x="268" y="16"/>
                  </a:lnTo>
                  <a:lnTo>
                    <a:pt x="274" y="20"/>
                  </a:lnTo>
                  <a:lnTo>
                    <a:pt x="274" y="30"/>
                  </a:lnTo>
                  <a:lnTo>
                    <a:pt x="274" y="42"/>
                  </a:lnTo>
                  <a:lnTo>
                    <a:pt x="286" y="42"/>
                  </a:lnTo>
                  <a:lnTo>
                    <a:pt x="292" y="46"/>
                  </a:lnTo>
                  <a:lnTo>
                    <a:pt x="284" y="48"/>
                  </a:lnTo>
                  <a:lnTo>
                    <a:pt x="282" y="52"/>
                  </a:lnTo>
                  <a:lnTo>
                    <a:pt x="284" y="60"/>
                  </a:lnTo>
                  <a:lnTo>
                    <a:pt x="286" y="68"/>
                  </a:lnTo>
                  <a:lnTo>
                    <a:pt x="288" y="78"/>
                  </a:lnTo>
                  <a:lnTo>
                    <a:pt x="292" y="88"/>
                  </a:lnTo>
                  <a:lnTo>
                    <a:pt x="290" y="92"/>
                  </a:lnTo>
                  <a:lnTo>
                    <a:pt x="282" y="90"/>
                  </a:lnTo>
                  <a:lnTo>
                    <a:pt x="262" y="86"/>
                  </a:lnTo>
                  <a:lnTo>
                    <a:pt x="252" y="92"/>
                  </a:lnTo>
                  <a:lnTo>
                    <a:pt x="226" y="92"/>
                  </a:lnTo>
                  <a:lnTo>
                    <a:pt x="214" y="100"/>
                  </a:lnTo>
                  <a:lnTo>
                    <a:pt x="196" y="102"/>
                  </a:lnTo>
                  <a:lnTo>
                    <a:pt x="190" y="96"/>
                  </a:lnTo>
                  <a:lnTo>
                    <a:pt x="184" y="96"/>
                  </a:lnTo>
                  <a:lnTo>
                    <a:pt x="182" y="100"/>
                  </a:lnTo>
                  <a:lnTo>
                    <a:pt x="170" y="100"/>
                  </a:lnTo>
                  <a:lnTo>
                    <a:pt x="164" y="96"/>
                  </a:lnTo>
                  <a:lnTo>
                    <a:pt x="162" y="104"/>
                  </a:lnTo>
                  <a:lnTo>
                    <a:pt x="154" y="112"/>
                  </a:lnTo>
                  <a:lnTo>
                    <a:pt x="152" y="104"/>
                  </a:lnTo>
                  <a:lnTo>
                    <a:pt x="156" y="96"/>
                  </a:lnTo>
                  <a:lnTo>
                    <a:pt x="150" y="96"/>
                  </a:lnTo>
                  <a:lnTo>
                    <a:pt x="146" y="100"/>
                  </a:lnTo>
                  <a:lnTo>
                    <a:pt x="132" y="98"/>
                  </a:lnTo>
                  <a:lnTo>
                    <a:pt x="128" y="100"/>
                  </a:lnTo>
                  <a:lnTo>
                    <a:pt x="120" y="108"/>
                  </a:lnTo>
                  <a:lnTo>
                    <a:pt x="110" y="110"/>
                  </a:lnTo>
                  <a:lnTo>
                    <a:pt x="100" y="110"/>
                  </a:lnTo>
                  <a:lnTo>
                    <a:pt x="92" y="104"/>
                  </a:lnTo>
                  <a:lnTo>
                    <a:pt x="80" y="100"/>
                  </a:lnTo>
                  <a:lnTo>
                    <a:pt x="72" y="96"/>
                  </a:lnTo>
                  <a:lnTo>
                    <a:pt x="66" y="98"/>
                  </a:lnTo>
                  <a:lnTo>
                    <a:pt x="68" y="104"/>
                  </a:lnTo>
                  <a:lnTo>
                    <a:pt x="66" y="108"/>
                  </a:lnTo>
                  <a:lnTo>
                    <a:pt x="50" y="108"/>
                  </a:lnTo>
                  <a:lnTo>
                    <a:pt x="40" y="100"/>
                  </a:lnTo>
                  <a:lnTo>
                    <a:pt x="34" y="96"/>
                  </a:lnTo>
                  <a:lnTo>
                    <a:pt x="20" y="92"/>
                  </a:lnTo>
                  <a:lnTo>
                    <a:pt x="16" y="84"/>
                  </a:lnTo>
                  <a:lnTo>
                    <a:pt x="16" y="78"/>
                  </a:lnTo>
                  <a:lnTo>
                    <a:pt x="6" y="74"/>
                  </a:lnTo>
                  <a:lnTo>
                    <a:pt x="10" y="68"/>
                  </a:lnTo>
                  <a:lnTo>
                    <a:pt x="14" y="62"/>
                  </a:lnTo>
                  <a:lnTo>
                    <a:pt x="12" y="54"/>
                  </a:lnTo>
                  <a:lnTo>
                    <a:pt x="10" y="4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22" name="Freeform 114">
              <a:extLst>
                <a:ext uri="{FF2B5EF4-FFF2-40B4-BE49-F238E27FC236}">
                  <a16:creationId xmlns:a16="http://schemas.microsoft.com/office/drawing/2014/main" id="{4B0DDF4E-75B0-45CA-BF6A-15A5BCBFBD7E}"/>
                </a:ext>
              </a:extLst>
            </p:cNvPr>
            <p:cNvSpPr>
              <a:spLocks/>
            </p:cNvSpPr>
            <p:nvPr/>
          </p:nvSpPr>
          <p:spPr bwMode="gray">
            <a:xfrm>
              <a:off x="6738003" y="3745253"/>
              <a:ext cx="46230" cy="46475"/>
            </a:xfrm>
            <a:custGeom>
              <a:avLst/>
              <a:gdLst>
                <a:gd name="T0" fmla="*/ 16 w 28"/>
                <a:gd name="T1" fmla="*/ 2 h 28"/>
                <a:gd name="T2" fmla="*/ 24 w 28"/>
                <a:gd name="T3" fmla="*/ 0 h 28"/>
                <a:gd name="T4" fmla="*/ 28 w 28"/>
                <a:gd name="T5" fmla="*/ 4 h 28"/>
                <a:gd name="T6" fmla="*/ 24 w 28"/>
                <a:gd name="T7" fmla="*/ 10 h 28"/>
                <a:gd name="T8" fmla="*/ 18 w 28"/>
                <a:gd name="T9" fmla="*/ 14 h 28"/>
                <a:gd name="T10" fmla="*/ 16 w 28"/>
                <a:gd name="T11" fmla="*/ 20 h 28"/>
                <a:gd name="T12" fmla="*/ 10 w 28"/>
                <a:gd name="T13" fmla="*/ 24 h 28"/>
                <a:gd name="T14" fmla="*/ 6 w 28"/>
                <a:gd name="T15" fmla="*/ 28 h 28"/>
                <a:gd name="T16" fmla="*/ 0 w 28"/>
                <a:gd name="T17" fmla="*/ 26 h 28"/>
                <a:gd name="T18" fmla="*/ 6 w 28"/>
                <a:gd name="T19" fmla="*/ 18 h 28"/>
                <a:gd name="T20" fmla="*/ 12 w 28"/>
                <a:gd name="T21" fmla="*/ 8 h 28"/>
                <a:gd name="T22" fmla="*/ 16 w 28"/>
                <a:gd name="T23"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28">
                  <a:moveTo>
                    <a:pt x="16" y="2"/>
                  </a:moveTo>
                  <a:lnTo>
                    <a:pt x="24" y="0"/>
                  </a:lnTo>
                  <a:lnTo>
                    <a:pt x="28" y="4"/>
                  </a:lnTo>
                  <a:lnTo>
                    <a:pt x="24" y="10"/>
                  </a:lnTo>
                  <a:lnTo>
                    <a:pt x="18" y="14"/>
                  </a:lnTo>
                  <a:lnTo>
                    <a:pt x="16" y="20"/>
                  </a:lnTo>
                  <a:lnTo>
                    <a:pt x="10" y="24"/>
                  </a:lnTo>
                  <a:lnTo>
                    <a:pt x="6" y="28"/>
                  </a:lnTo>
                  <a:lnTo>
                    <a:pt x="0" y="26"/>
                  </a:lnTo>
                  <a:lnTo>
                    <a:pt x="6" y="18"/>
                  </a:lnTo>
                  <a:lnTo>
                    <a:pt x="12" y="8"/>
                  </a:lnTo>
                  <a:lnTo>
                    <a:pt x="16" y="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23" name="Freeform 115">
              <a:extLst>
                <a:ext uri="{FF2B5EF4-FFF2-40B4-BE49-F238E27FC236}">
                  <a16:creationId xmlns:a16="http://schemas.microsoft.com/office/drawing/2014/main" id="{28F589F4-1CBF-41E9-A0A0-DF5BB5FB422C}"/>
                </a:ext>
              </a:extLst>
            </p:cNvPr>
            <p:cNvSpPr>
              <a:spLocks/>
            </p:cNvSpPr>
            <p:nvPr/>
          </p:nvSpPr>
          <p:spPr bwMode="gray">
            <a:xfrm>
              <a:off x="6747909" y="3668901"/>
              <a:ext cx="178316" cy="142746"/>
            </a:xfrm>
            <a:custGeom>
              <a:avLst/>
              <a:gdLst>
                <a:gd name="T0" fmla="*/ 10 w 108"/>
                <a:gd name="T1" fmla="*/ 48 h 86"/>
                <a:gd name="T2" fmla="*/ 8 w 108"/>
                <a:gd name="T3" fmla="*/ 32 h 86"/>
                <a:gd name="T4" fmla="*/ 8 w 108"/>
                <a:gd name="T5" fmla="*/ 24 h 86"/>
                <a:gd name="T6" fmla="*/ 10 w 108"/>
                <a:gd name="T7" fmla="*/ 20 h 86"/>
                <a:gd name="T8" fmla="*/ 18 w 108"/>
                <a:gd name="T9" fmla="*/ 12 h 86"/>
                <a:gd name="T10" fmla="*/ 20 w 108"/>
                <a:gd name="T11" fmla="*/ 4 h 86"/>
                <a:gd name="T12" fmla="*/ 26 w 108"/>
                <a:gd name="T13" fmla="*/ 8 h 86"/>
                <a:gd name="T14" fmla="*/ 38 w 108"/>
                <a:gd name="T15" fmla="*/ 8 h 86"/>
                <a:gd name="T16" fmla="*/ 40 w 108"/>
                <a:gd name="T17" fmla="*/ 4 h 86"/>
                <a:gd name="T18" fmla="*/ 46 w 108"/>
                <a:gd name="T19" fmla="*/ 4 h 86"/>
                <a:gd name="T20" fmla="*/ 52 w 108"/>
                <a:gd name="T21" fmla="*/ 10 h 86"/>
                <a:gd name="T22" fmla="*/ 70 w 108"/>
                <a:gd name="T23" fmla="*/ 8 h 86"/>
                <a:gd name="T24" fmla="*/ 82 w 108"/>
                <a:gd name="T25" fmla="*/ 0 h 86"/>
                <a:gd name="T26" fmla="*/ 108 w 108"/>
                <a:gd name="T27" fmla="*/ 0 h 86"/>
                <a:gd name="T28" fmla="*/ 108 w 108"/>
                <a:gd name="T29" fmla="*/ 4 h 86"/>
                <a:gd name="T30" fmla="*/ 94 w 108"/>
                <a:gd name="T31" fmla="*/ 14 h 86"/>
                <a:gd name="T32" fmla="*/ 90 w 108"/>
                <a:gd name="T33" fmla="*/ 46 h 86"/>
                <a:gd name="T34" fmla="*/ 54 w 108"/>
                <a:gd name="T35" fmla="*/ 68 h 86"/>
                <a:gd name="T36" fmla="*/ 28 w 108"/>
                <a:gd name="T37" fmla="*/ 84 h 86"/>
                <a:gd name="T38" fmla="*/ 20 w 108"/>
                <a:gd name="T39" fmla="*/ 86 h 86"/>
                <a:gd name="T40" fmla="*/ 12 w 108"/>
                <a:gd name="T41" fmla="*/ 82 h 86"/>
                <a:gd name="T42" fmla="*/ 6 w 108"/>
                <a:gd name="T43" fmla="*/ 80 h 86"/>
                <a:gd name="T44" fmla="*/ 2 w 108"/>
                <a:gd name="T45" fmla="*/ 78 h 86"/>
                <a:gd name="T46" fmla="*/ 0 w 108"/>
                <a:gd name="T47" fmla="*/ 74 h 86"/>
                <a:gd name="T48" fmla="*/ 10 w 108"/>
                <a:gd name="T49" fmla="*/ 66 h 86"/>
                <a:gd name="T50" fmla="*/ 12 w 108"/>
                <a:gd name="T51" fmla="*/ 60 h 86"/>
                <a:gd name="T52" fmla="*/ 18 w 108"/>
                <a:gd name="T53" fmla="*/ 56 h 86"/>
                <a:gd name="T54" fmla="*/ 22 w 108"/>
                <a:gd name="T55" fmla="*/ 50 h 86"/>
                <a:gd name="T56" fmla="*/ 18 w 108"/>
                <a:gd name="T57" fmla="*/ 46 h 86"/>
                <a:gd name="T58" fmla="*/ 10 w 108"/>
                <a:gd name="T59" fmla="*/ 4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8" h="86">
                  <a:moveTo>
                    <a:pt x="10" y="48"/>
                  </a:moveTo>
                  <a:lnTo>
                    <a:pt x="8" y="32"/>
                  </a:lnTo>
                  <a:lnTo>
                    <a:pt x="8" y="24"/>
                  </a:lnTo>
                  <a:lnTo>
                    <a:pt x="10" y="20"/>
                  </a:lnTo>
                  <a:lnTo>
                    <a:pt x="18" y="12"/>
                  </a:lnTo>
                  <a:lnTo>
                    <a:pt x="20" y="4"/>
                  </a:lnTo>
                  <a:lnTo>
                    <a:pt x="26" y="8"/>
                  </a:lnTo>
                  <a:lnTo>
                    <a:pt x="38" y="8"/>
                  </a:lnTo>
                  <a:lnTo>
                    <a:pt x="40" y="4"/>
                  </a:lnTo>
                  <a:lnTo>
                    <a:pt x="46" y="4"/>
                  </a:lnTo>
                  <a:lnTo>
                    <a:pt x="52" y="10"/>
                  </a:lnTo>
                  <a:lnTo>
                    <a:pt x="70" y="8"/>
                  </a:lnTo>
                  <a:lnTo>
                    <a:pt x="82" y="0"/>
                  </a:lnTo>
                  <a:lnTo>
                    <a:pt x="108" y="0"/>
                  </a:lnTo>
                  <a:lnTo>
                    <a:pt x="108" y="4"/>
                  </a:lnTo>
                  <a:lnTo>
                    <a:pt x="94" y="14"/>
                  </a:lnTo>
                  <a:lnTo>
                    <a:pt x="90" y="46"/>
                  </a:lnTo>
                  <a:lnTo>
                    <a:pt x="54" y="68"/>
                  </a:lnTo>
                  <a:lnTo>
                    <a:pt x="28" y="84"/>
                  </a:lnTo>
                  <a:lnTo>
                    <a:pt x="20" y="86"/>
                  </a:lnTo>
                  <a:lnTo>
                    <a:pt x="12" y="82"/>
                  </a:lnTo>
                  <a:lnTo>
                    <a:pt x="6" y="80"/>
                  </a:lnTo>
                  <a:lnTo>
                    <a:pt x="2" y="78"/>
                  </a:lnTo>
                  <a:lnTo>
                    <a:pt x="0" y="74"/>
                  </a:lnTo>
                  <a:lnTo>
                    <a:pt x="10" y="66"/>
                  </a:lnTo>
                  <a:lnTo>
                    <a:pt x="12" y="60"/>
                  </a:lnTo>
                  <a:lnTo>
                    <a:pt x="18" y="56"/>
                  </a:lnTo>
                  <a:lnTo>
                    <a:pt x="22" y="50"/>
                  </a:lnTo>
                  <a:lnTo>
                    <a:pt x="18" y="46"/>
                  </a:lnTo>
                  <a:lnTo>
                    <a:pt x="10" y="4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24" name="Freeform 116">
              <a:extLst>
                <a:ext uri="{FF2B5EF4-FFF2-40B4-BE49-F238E27FC236}">
                  <a16:creationId xmlns:a16="http://schemas.microsoft.com/office/drawing/2014/main" id="{17F443A3-8D92-4BC3-905E-2CE64AEC0C89}"/>
                </a:ext>
              </a:extLst>
            </p:cNvPr>
            <p:cNvSpPr>
              <a:spLocks/>
            </p:cNvSpPr>
            <p:nvPr/>
          </p:nvSpPr>
          <p:spPr bwMode="gray">
            <a:xfrm>
              <a:off x="6714887" y="3788408"/>
              <a:ext cx="39626" cy="106229"/>
            </a:xfrm>
            <a:custGeom>
              <a:avLst/>
              <a:gdLst>
                <a:gd name="T0" fmla="*/ 16 w 24"/>
                <a:gd name="T1" fmla="*/ 14 h 64"/>
                <a:gd name="T2" fmla="*/ 22 w 24"/>
                <a:gd name="T3" fmla="*/ 14 h 64"/>
                <a:gd name="T4" fmla="*/ 24 w 24"/>
                <a:gd name="T5" fmla="*/ 8 h 64"/>
                <a:gd name="T6" fmla="*/ 22 w 24"/>
                <a:gd name="T7" fmla="*/ 6 h 64"/>
                <a:gd name="T8" fmla="*/ 20 w 24"/>
                <a:gd name="T9" fmla="*/ 2 h 64"/>
                <a:gd name="T10" fmla="*/ 14 w 24"/>
                <a:gd name="T11" fmla="*/ 0 h 64"/>
                <a:gd name="T12" fmla="*/ 14 w 24"/>
                <a:gd name="T13" fmla="*/ 6 h 64"/>
                <a:gd name="T14" fmla="*/ 12 w 24"/>
                <a:gd name="T15" fmla="*/ 14 h 64"/>
                <a:gd name="T16" fmla="*/ 10 w 24"/>
                <a:gd name="T17" fmla="*/ 20 h 64"/>
                <a:gd name="T18" fmla="*/ 6 w 24"/>
                <a:gd name="T19" fmla="*/ 26 h 64"/>
                <a:gd name="T20" fmla="*/ 4 w 24"/>
                <a:gd name="T21" fmla="*/ 30 h 64"/>
                <a:gd name="T22" fmla="*/ 0 w 24"/>
                <a:gd name="T23" fmla="*/ 36 h 64"/>
                <a:gd name="T24" fmla="*/ 2 w 24"/>
                <a:gd name="T25" fmla="*/ 40 h 64"/>
                <a:gd name="T26" fmla="*/ 6 w 24"/>
                <a:gd name="T27" fmla="*/ 48 h 64"/>
                <a:gd name="T28" fmla="*/ 10 w 24"/>
                <a:gd name="T29" fmla="*/ 58 h 64"/>
                <a:gd name="T30" fmla="*/ 12 w 24"/>
                <a:gd name="T31" fmla="*/ 64 h 64"/>
                <a:gd name="T32" fmla="*/ 18 w 24"/>
                <a:gd name="T33" fmla="*/ 52 h 64"/>
                <a:gd name="T34" fmla="*/ 20 w 24"/>
                <a:gd name="T35" fmla="*/ 42 h 64"/>
                <a:gd name="T36" fmla="*/ 20 w 24"/>
                <a:gd name="T37" fmla="*/ 30 h 64"/>
                <a:gd name="T38" fmla="*/ 16 w 24"/>
                <a:gd name="T39" fmla="*/ 30 h 64"/>
                <a:gd name="T40" fmla="*/ 14 w 24"/>
                <a:gd name="T41" fmla="*/ 18 h 64"/>
                <a:gd name="T42" fmla="*/ 16 w 24"/>
                <a:gd name="T43" fmla="*/ 1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 h="64">
                  <a:moveTo>
                    <a:pt x="16" y="14"/>
                  </a:moveTo>
                  <a:lnTo>
                    <a:pt x="22" y="14"/>
                  </a:lnTo>
                  <a:lnTo>
                    <a:pt x="24" y="8"/>
                  </a:lnTo>
                  <a:lnTo>
                    <a:pt x="22" y="6"/>
                  </a:lnTo>
                  <a:lnTo>
                    <a:pt x="20" y="2"/>
                  </a:lnTo>
                  <a:lnTo>
                    <a:pt x="14" y="0"/>
                  </a:lnTo>
                  <a:lnTo>
                    <a:pt x="14" y="6"/>
                  </a:lnTo>
                  <a:lnTo>
                    <a:pt x="12" y="14"/>
                  </a:lnTo>
                  <a:lnTo>
                    <a:pt x="10" y="20"/>
                  </a:lnTo>
                  <a:lnTo>
                    <a:pt x="6" y="26"/>
                  </a:lnTo>
                  <a:lnTo>
                    <a:pt x="4" y="30"/>
                  </a:lnTo>
                  <a:lnTo>
                    <a:pt x="0" y="36"/>
                  </a:lnTo>
                  <a:lnTo>
                    <a:pt x="2" y="40"/>
                  </a:lnTo>
                  <a:lnTo>
                    <a:pt x="6" y="48"/>
                  </a:lnTo>
                  <a:lnTo>
                    <a:pt x="10" y="58"/>
                  </a:lnTo>
                  <a:lnTo>
                    <a:pt x="12" y="64"/>
                  </a:lnTo>
                  <a:lnTo>
                    <a:pt x="18" y="52"/>
                  </a:lnTo>
                  <a:lnTo>
                    <a:pt x="20" y="42"/>
                  </a:lnTo>
                  <a:lnTo>
                    <a:pt x="20" y="30"/>
                  </a:lnTo>
                  <a:lnTo>
                    <a:pt x="16" y="30"/>
                  </a:lnTo>
                  <a:lnTo>
                    <a:pt x="14" y="18"/>
                  </a:lnTo>
                  <a:lnTo>
                    <a:pt x="16" y="1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25" name="Freeform 117">
              <a:extLst>
                <a:ext uri="{FF2B5EF4-FFF2-40B4-BE49-F238E27FC236}">
                  <a16:creationId xmlns:a16="http://schemas.microsoft.com/office/drawing/2014/main" id="{16045DF5-2F54-4EE4-AE4F-2BFDCA21D239}"/>
                </a:ext>
              </a:extLst>
            </p:cNvPr>
            <p:cNvSpPr>
              <a:spLocks/>
            </p:cNvSpPr>
            <p:nvPr/>
          </p:nvSpPr>
          <p:spPr bwMode="gray">
            <a:xfrm>
              <a:off x="6843672" y="3658942"/>
              <a:ext cx="234452" cy="245655"/>
            </a:xfrm>
            <a:custGeom>
              <a:avLst/>
              <a:gdLst>
                <a:gd name="T0" fmla="*/ 90 w 142"/>
                <a:gd name="T1" fmla="*/ 2 h 148"/>
                <a:gd name="T2" fmla="*/ 94 w 142"/>
                <a:gd name="T3" fmla="*/ 10 h 148"/>
                <a:gd name="T4" fmla="*/ 106 w 142"/>
                <a:gd name="T5" fmla="*/ 28 h 148"/>
                <a:gd name="T6" fmla="*/ 114 w 142"/>
                <a:gd name="T7" fmla="*/ 30 h 148"/>
                <a:gd name="T8" fmla="*/ 110 w 142"/>
                <a:gd name="T9" fmla="*/ 36 h 148"/>
                <a:gd name="T10" fmla="*/ 112 w 142"/>
                <a:gd name="T11" fmla="*/ 44 h 148"/>
                <a:gd name="T12" fmla="*/ 106 w 142"/>
                <a:gd name="T13" fmla="*/ 48 h 148"/>
                <a:gd name="T14" fmla="*/ 100 w 142"/>
                <a:gd name="T15" fmla="*/ 62 h 148"/>
                <a:gd name="T16" fmla="*/ 112 w 142"/>
                <a:gd name="T17" fmla="*/ 74 h 148"/>
                <a:gd name="T18" fmla="*/ 118 w 142"/>
                <a:gd name="T19" fmla="*/ 84 h 148"/>
                <a:gd name="T20" fmla="*/ 132 w 142"/>
                <a:gd name="T21" fmla="*/ 90 h 148"/>
                <a:gd name="T22" fmla="*/ 140 w 142"/>
                <a:gd name="T23" fmla="*/ 98 h 148"/>
                <a:gd name="T24" fmla="*/ 136 w 142"/>
                <a:gd name="T25" fmla="*/ 112 h 148"/>
                <a:gd name="T26" fmla="*/ 142 w 142"/>
                <a:gd name="T27" fmla="*/ 124 h 148"/>
                <a:gd name="T28" fmla="*/ 140 w 142"/>
                <a:gd name="T29" fmla="*/ 130 h 148"/>
                <a:gd name="T30" fmla="*/ 132 w 142"/>
                <a:gd name="T31" fmla="*/ 132 h 148"/>
                <a:gd name="T32" fmla="*/ 122 w 142"/>
                <a:gd name="T33" fmla="*/ 140 h 148"/>
                <a:gd name="T34" fmla="*/ 122 w 142"/>
                <a:gd name="T35" fmla="*/ 148 h 148"/>
                <a:gd name="T36" fmla="*/ 90 w 142"/>
                <a:gd name="T37" fmla="*/ 148 h 148"/>
                <a:gd name="T38" fmla="*/ 76 w 142"/>
                <a:gd name="T39" fmla="*/ 136 h 148"/>
                <a:gd name="T40" fmla="*/ 68 w 142"/>
                <a:gd name="T41" fmla="*/ 136 h 148"/>
                <a:gd name="T42" fmla="*/ 58 w 142"/>
                <a:gd name="T43" fmla="*/ 120 h 148"/>
                <a:gd name="T44" fmla="*/ 22 w 142"/>
                <a:gd name="T45" fmla="*/ 100 h 148"/>
                <a:gd name="T46" fmla="*/ 2 w 142"/>
                <a:gd name="T47" fmla="*/ 96 h 148"/>
                <a:gd name="T48" fmla="*/ 0 w 142"/>
                <a:gd name="T49" fmla="*/ 72 h 148"/>
                <a:gd name="T50" fmla="*/ 32 w 142"/>
                <a:gd name="T51" fmla="*/ 52 h 148"/>
                <a:gd name="T52" fmla="*/ 36 w 142"/>
                <a:gd name="T53" fmla="*/ 20 h 148"/>
                <a:gd name="T54" fmla="*/ 50 w 142"/>
                <a:gd name="T55" fmla="*/ 10 h 148"/>
                <a:gd name="T56" fmla="*/ 50 w 142"/>
                <a:gd name="T57" fmla="*/ 6 h 148"/>
                <a:gd name="T58" fmla="*/ 60 w 142"/>
                <a:gd name="T59" fmla="*/ 0 h 148"/>
                <a:gd name="T60" fmla="*/ 88 w 142"/>
                <a:gd name="T61" fmla="*/ 6 h 148"/>
                <a:gd name="T62" fmla="*/ 90 w 142"/>
                <a:gd name="T63" fmla="*/ 2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2" h="148">
                  <a:moveTo>
                    <a:pt x="90" y="2"/>
                  </a:moveTo>
                  <a:lnTo>
                    <a:pt x="94" y="10"/>
                  </a:lnTo>
                  <a:lnTo>
                    <a:pt x="106" y="28"/>
                  </a:lnTo>
                  <a:lnTo>
                    <a:pt x="114" y="30"/>
                  </a:lnTo>
                  <a:lnTo>
                    <a:pt x="110" y="36"/>
                  </a:lnTo>
                  <a:lnTo>
                    <a:pt x="112" y="44"/>
                  </a:lnTo>
                  <a:lnTo>
                    <a:pt x="106" y="48"/>
                  </a:lnTo>
                  <a:lnTo>
                    <a:pt x="100" y="62"/>
                  </a:lnTo>
                  <a:lnTo>
                    <a:pt x="112" y="74"/>
                  </a:lnTo>
                  <a:lnTo>
                    <a:pt x="118" y="84"/>
                  </a:lnTo>
                  <a:lnTo>
                    <a:pt x="132" y="90"/>
                  </a:lnTo>
                  <a:lnTo>
                    <a:pt x="140" y="98"/>
                  </a:lnTo>
                  <a:lnTo>
                    <a:pt x="136" y="112"/>
                  </a:lnTo>
                  <a:lnTo>
                    <a:pt x="142" y="124"/>
                  </a:lnTo>
                  <a:lnTo>
                    <a:pt x="140" y="130"/>
                  </a:lnTo>
                  <a:lnTo>
                    <a:pt x="132" y="132"/>
                  </a:lnTo>
                  <a:lnTo>
                    <a:pt x="122" y="140"/>
                  </a:lnTo>
                  <a:lnTo>
                    <a:pt x="122" y="148"/>
                  </a:lnTo>
                  <a:lnTo>
                    <a:pt x="90" y="148"/>
                  </a:lnTo>
                  <a:lnTo>
                    <a:pt x="76" y="136"/>
                  </a:lnTo>
                  <a:lnTo>
                    <a:pt x="68" y="136"/>
                  </a:lnTo>
                  <a:lnTo>
                    <a:pt x="58" y="120"/>
                  </a:lnTo>
                  <a:lnTo>
                    <a:pt x="22" y="100"/>
                  </a:lnTo>
                  <a:lnTo>
                    <a:pt x="2" y="96"/>
                  </a:lnTo>
                  <a:lnTo>
                    <a:pt x="0" y="72"/>
                  </a:lnTo>
                  <a:lnTo>
                    <a:pt x="32" y="52"/>
                  </a:lnTo>
                  <a:lnTo>
                    <a:pt x="36" y="20"/>
                  </a:lnTo>
                  <a:lnTo>
                    <a:pt x="50" y="10"/>
                  </a:lnTo>
                  <a:lnTo>
                    <a:pt x="50" y="6"/>
                  </a:lnTo>
                  <a:lnTo>
                    <a:pt x="60" y="0"/>
                  </a:lnTo>
                  <a:lnTo>
                    <a:pt x="88" y="6"/>
                  </a:lnTo>
                  <a:lnTo>
                    <a:pt x="90" y="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26" name="Freeform 118">
              <a:extLst>
                <a:ext uri="{FF2B5EF4-FFF2-40B4-BE49-F238E27FC236}">
                  <a16:creationId xmlns:a16="http://schemas.microsoft.com/office/drawing/2014/main" id="{42C45BD7-814F-4870-A0F2-3C1D86DBD6F4}"/>
                </a:ext>
              </a:extLst>
            </p:cNvPr>
            <p:cNvSpPr>
              <a:spLocks/>
            </p:cNvSpPr>
            <p:nvPr/>
          </p:nvSpPr>
          <p:spPr bwMode="gray">
            <a:xfrm>
              <a:off x="7045101" y="3874720"/>
              <a:ext cx="46230" cy="46475"/>
            </a:xfrm>
            <a:custGeom>
              <a:avLst/>
              <a:gdLst>
                <a:gd name="T0" fmla="*/ 28 w 28"/>
                <a:gd name="T1" fmla="*/ 4 h 28"/>
                <a:gd name="T2" fmla="*/ 18 w 28"/>
                <a:gd name="T3" fmla="*/ 0 h 28"/>
                <a:gd name="T4" fmla="*/ 14 w 28"/>
                <a:gd name="T5" fmla="*/ 0 h 28"/>
                <a:gd name="T6" fmla="*/ 10 w 28"/>
                <a:gd name="T7" fmla="*/ 2 h 28"/>
                <a:gd name="T8" fmla="*/ 0 w 28"/>
                <a:gd name="T9" fmla="*/ 10 h 28"/>
                <a:gd name="T10" fmla="*/ 0 w 28"/>
                <a:gd name="T11" fmla="*/ 18 h 28"/>
                <a:gd name="T12" fmla="*/ 10 w 28"/>
                <a:gd name="T13" fmla="*/ 20 h 28"/>
                <a:gd name="T14" fmla="*/ 18 w 28"/>
                <a:gd name="T15" fmla="*/ 28 h 28"/>
                <a:gd name="T16" fmla="*/ 26 w 28"/>
                <a:gd name="T17" fmla="*/ 28 h 28"/>
                <a:gd name="T18" fmla="*/ 22 w 28"/>
                <a:gd name="T19" fmla="*/ 18 h 28"/>
                <a:gd name="T20" fmla="*/ 22 w 28"/>
                <a:gd name="T21" fmla="*/ 12 h 28"/>
                <a:gd name="T22" fmla="*/ 28 w 28"/>
                <a:gd name="T23"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28">
                  <a:moveTo>
                    <a:pt x="28" y="4"/>
                  </a:moveTo>
                  <a:lnTo>
                    <a:pt x="18" y="0"/>
                  </a:lnTo>
                  <a:lnTo>
                    <a:pt x="14" y="0"/>
                  </a:lnTo>
                  <a:lnTo>
                    <a:pt x="10" y="2"/>
                  </a:lnTo>
                  <a:lnTo>
                    <a:pt x="0" y="10"/>
                  </a:lnTo>
                  <a:lnTo>
                    <a:pt x="0" y="18"/>
                  </a:lnTo>
                  <a:lnTo>
                    <a:pt x="10" y="20"/>
                  </a:lnTo>
                  <a:lnTo>
                    <a:pt x="18" y="28"/>
                  </a:lnTo>
                  <a:lnTo>
                    <a:pt x="26" y="28"/>
                  </a:lnTo>
                  <a:lnTo>
                    <a:pt x="22" y="18"/>
                  </a:lnTo>
                  <a:lnTo>
                    <a:pt x="22" y="12"/>
                  </a:lnTo>
                  <a:lnTo>
                    <a:pt x="28" y="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27" name="Freeform 119">
              <a:extLst>
                <a:ext uri="{FF2B5EF4-FFF2-40B4-BE49-F238E27FC236}">
                  <a16:creationId xmlns:a16="http://schemas.microsoft.com/office/drawing/2014/main" id="{619CFC62-B30A-4638-A56A-6529EF87C1F7}"/>
                </a:ext>
              </a:extLst>
            </p:cNvPr>
            <p:cNvSpPr>
              <a:spLocks/>
            </p:cNvSpPr>
            <p:nvPr/>
          </p:nvSpPr>
          <p:spPr bwMode="gray">
            <a:xfrm>
              <a:off x="7160677" y="3997548"/>
              <a:ext cx="138690" cy="92950"/>
            </a:xfrm>
            <a:custGeom>
              <a:avLst/>
              <a:gdLst>
                <a:gd name="T0" fmla="*/ 0 w 84"/>
                <a:gd name="T1" fmla="*/ 24 h 56"/>
                <a:gd name="T2" fmla="*/ 8 w 84"/>
                <a:gd name="T3" fmla="*/ 34 h 56"/>
                <a:gd name="T4" fmla="*/ 22 w 84"/>
                <a:gd name="T5" fmla="*/ 50 h 56"/>
                <a:gd name="T6" fmla="*/ 48 w 84"/>
                <a:gd name="T7" fmla="*/ 56 h 56"/>
                <a:gd name="T8" fmla="*/ 66 w 84"/>
                <a:gd name="T9" fmla="*/ 56 h 56"/>
                <a:gd name="T10" fmla="*/ 84 w 84"/>
                <a:gd name="T11" fmla="*/ 24 h 56"/>
                <a:gd name="T12" fmla="*/ 82 w 84"/>
                <a:gd name="T13" fmla="*/ 10 h 56"/>
                <a:gd name="T14" fmla="*/ 80 w 84"/>
                <a:gd name="T15" fmla="*/ 2 h 56"/>
                <a:gd name="T16" fmla="*/ 76 w 84"/>
                <a:gd name="T17" fmla="*/ 0 h 56"/>
                <a:gd name="T18" fmla="*/ 68 w 84"/>
                <a:gd name="T19" fmla="*/ 10 h 56"/>
                <a:gd name="T20" fmla="*/ 58 w 84"/>
                <a:gd name="T21" fmla="*/ 18 h 56"/>
                <a:gd name="T22" fmla="*/ 50 w 84"/>
                <a:gd name="T23" fmla="*/ 28 h 56"/>
                <a:gd name="T24" fmla="*/ 42 w 84"/>
                <a:gd name="T25" fmla="*/ 30 h 56"/>
                <a:gd name="T26" fmla="*/ 32 w 84"/>
                <a:gd name="T27" fmla="*/ 26 h 56"/>
                <a:gd name="T28" fmla="*/ 26 w 84"/>
                <a:gd name="T29" fmla="*/ 30 h 56"/>
                <a:gd name="T30" fmla="*/ 22 w 84"/>
                <a:gd name="T31" fmla="*/ 32 h 56"/>
                <a:gd name="T32" fmla="*/ 14 w 84"/>
                <a:gd name="T33" fmla="*/ 30 h 56"/>
                <a:gd name="T34" fmla="*/ 8 w 84"/>
                <a:gd name="T35" fmla="*/ 24 h 56"/>
                <a:gd name="T36" fmla="*/ 4 w 84"/>
                <a:gd name="T37" fmla="*/ 20 h 56"/>
                <a:gd name="T38" fmla="*/ 0 w 84"/>
                <a:gd name="T39" fmla="*/ 2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4" h="56">
                  <a:moveTo>
                    <a:pt x="0" y="24"/>
                  </a:moveTo>
                  <a:lnTo>
                    <a:pt x="8" y="34"/>
                  </a:lnTo>
                  <a:lnTo>
                    <a:pt x="22" y="50"/>
                  </a:lnTo>
                  <a:lnTo>
                    <a:pt x="48" y="56"/>
                  </a:lnTo>
                  <a:lnTo>
                    <a:pt x="66" y="56"/>
                  </a:lnTo>
                  <a:lnTo>
                    <a:pt x="84" y="24"/>
                  </a:lnTo>
                  <a:lnTo>
                    <a:pt x="82" y="10"/>
                  </a:lnTo>
                  <a:lnTo>
                    <a:pt x="80" y="2"/>
                  </a:lnTo>
                  <a:lnTo>
                    <a:pt x="76" y="0"/>
                  </a:lnTo>
                  <a:lnTo>
                    <a:pt x="68" y="10"/>
                  </a:lnTo>
                  <a:lnTo>
                    <a:pt x="58" y="18"/>
                  </a:lnTo>
                  <a:lnTo>
                    <a:pt x="50" y="28"/>
                  </a:lnTo>
                  <a:lnTo>
                    <a:pt x="42" y="30"/>
                  </a:lnTo>
                  <a:lnTo>
                    <a:pt x="32" y="26"/>
                  </a:lnTo>
                  <a:lnTo>
                    <a:pt x="26" y="30"/>
                  </a:lnTo>
                  <a:lnTo>
                    <a:pt x="22" y="32"/>
                  </a:lnTo>
                  <a:lnTo>
                    <a:pt x="14" y="30"/>
                  </a:lnTo>
                  <a:lnTo>
                    <a:pt x="8" y="24"/>
                  </a:lnTo>
                  <a:lnTo>
                    <a:pt x="4" y="20"/>
                  </a:lnTo>
                  <a:lnTo>
                    <a:pt x="0" y="2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28" name="Freeform 120">
              <a:extLst>
                <a:ext uri="{FF2B5EF4-FFF2-40B4-BE49-F238E27FC236}">
                  <a16:creationId xmlns:a16="http://schemas.microsoft.com/office/drawing/2014/main" id="{EB9FB02B-C1A1-432C-BA0B-D9BEC087A0D1}"/>
                </a:ext>
              </a:extLst>
            </p:cNvPr>
            <p:cNvSpPr>
              <a:spLocks/>
            </p:cNvSpPr>
            <p:nvPr/>
          </p:nvSpPr>
          <p:spPr bwMode="gray">
            <a:xfrm>
              <a:off x="7183792" y="4037384"/>
              <a:ext cx="204732" cy="215777"/>
            </a:xfrm>
            <a:custGeom>
              <a:avLst/>
              <a:gdLst>
                <a:gd name="T0" fmla="*/ 52 w 124"/>
                <a:gd name="T1" fmla="*/ 30 h 130"/>
                <a:gd name="T2" fmla="*/ 70 w 124"/>
                <a:gd name="T3" fmla="*/ 0 h 130"/>
                <a:gd name="T4" fmla="*/ 82 w 124"/>
                <a:gd name="T5" fmla="*/ 8 h 130"/>
                <a:gd name="T6" fmla="*/ 90 w 124"/>
                <a:gd name="T7" fmla="*/ 14 h 130"/>
                <a:gd name="T8" fmla="*/ 102 w 124"/>
                <a:gd name="T9" fmla="*/ 16 h 130"/>
                <a:gd name="T10" fmla="*/ 124 w 124"/>
                <a:gd name="T11" fmla="*/ 36 h 130"/>
                <a:gd name="T12" fmla="*/ 116 w 124"/>
                <a:gd name="T13" fmla="*/ 50 h 130"/>
                <a:gd name="T14" fmla="*/ 104 w 124"/>
                <a:gd name="T15" fmla="*/ 64 h 130"/>
                <a:gd name="T16" fmla="*/ 98 w 124"/>
                <a:gd name="T17" fmla="*/ 66 h 130"/>
                <a:gd name="T18" fmla="*/ 86 w 124"/>
                <a:gd name="T19" fmla="*/ 70 h 130"/>
                <a:gd name="T20" fmla="*/ 88 w 124"/>
                <a:gd name="T21" fmla="*/ 80 h 130"/>
                <a:gd name="T22" fmla="*/ 90 w 124"/>
                <a:gd name="T23" fmla="*/ 90 h 130"/>
                <a:gd name="T24" fmla="*/ 80 w 124"/>
                <a:gd name="T25" fmla="*/ 92 h 130"/>
                <a:gd name="T26" fmla="*/ 72 w 124"/>
                <a:gd name="T27" fmla="*/ 98 h 130"/>
                <a:gd name="T28" fmla="*/ 68 w 124"/>
                <a:gd name="T29" fmla="*/ 104 h 130"/>
                <a:gd name="T30" fmla="*/ 68 w 124"/>
                <a:gd name="T31" fmla="*/ 110 h 130"/>
                <a:gd name="T32" fmla="*/ 54 w 124"/>
                <a:gd name="T33" fmla="*/ 112 h 130"/>
                <a:gd name="T34" fmla="*/ 52 w 124"/>
                <a:gd name="T35" fmla="*/ 118 h 130"/>
                <a:gd name="T36" fmla="*/ 46 w 124"/>
                <a:gd name="T37" fmla="*/ 128 h 130"/>
                <a:gd name="T38" fmla="*/ 26 w 124"/>
                <a:gd name="T39" fmla="*/ 126 h 130"/>
                <a:gd name="T40" fmla="*/ 16 w 124"/>
                <a:gd name="T41" fmla="*/ 130 h 130"/>
                <a:gd name="T42" fmla="*/ 0 w 124"/>
                <a:gd name="T43" fmla="*/ 94 h 130"/>
                <a:gd name="T44" fmla="*/ 12 w 124"/>
                <a:gd name="T45" fmla="*/ 84 h 130"/>
                <a:gd name="T46" fmla="*/ 48 w 124"/>
                <a:gd name="T47" fmla="*/ 72 h 130"/>
                <a:gd name="T48" fmla="*/ 56 w 124"/>
                <a:gd name="T49" fmla="*/ 54 h 130"/>
                <a:gd name="T50" fmla="*/ 56 w 124"/>
                <a:gd name="T51" fmla="*/ 40 h 130"/>
                <a:gd name="T52" fmla="*/ 52 w 124"/>
                <a:gd name="T53" fmla="*/ 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4" h="130">
                  <a:moveTo>
                    <a:pt x="52" y="30"/>
                  </a:moveTo>
                  <a:lnTo>
                    <a:pt x="70" y="0"/>
                  </a:lnTo>
                  <a:lnTo>
                    <a:pt x="82" y="8"/>
                  </a:lnTo>
                  <a:lnTo>
                    <a:pt x="90" y="14"/>
                  </a:lnTo>
                  <a:lnTo>
                    <a:pt x="102" y="16"/>
                  </a:lnTo>
                  <a:lnTo>
                    <a:pt x="124" y="36"/>
                  </a:lnTo>
                  <a:lnTo>
                    <a:pt x="116" y="50"/>
                  </a:lnTo>
                  <a:lnTo>
                    <a:pt x="104" y="64"/>
                  </a:lnTo>
                  <a:lnTo>
                    <a:pt x="98" y="66"/>
                  </a:lnTo>
                  <a:lnTo>
                    <a:pt x="86" y="70"/>
                  </a:lnTo>
                  <a:lnTo>
                    <a:pt x="88" y="80"/>
                  </a:lnTo>
                  <a:lnTo>
                    <a:pt x="90" y="90"/>
                  </a:lnTo>
                  <a:lnTo>
                    <a:pt x="80" y="92"/>
                  </a:lnTo>
                  <a:lnTo>
                    <a:pt x="72" y="98"/>
                  </a:lnTo>
                  <a:lnTo>
                    <a:pt x="68" y="104"/>
                  </a:lnTo>
                  <a:lnTo>
                    <a:pt x="68" y="110"/>
                  </a:lnTo>
                  <a:lnTo>
                    <a:pt x="54" y="112"/>
                  </a:lnTo>
                  <a:lnTo>
                    <a:pt x="52" y="118"/>
                  </a:lnTo>
                  <a:lnTo>
                    <a:pt x="46" y="128"/>
                  </a:lnTo>
                  <a:lnTo>
                    <a:pt x="26" y="126"/>
                  </a:lnTo>
                  <a:lnTo>
                    <a:pt x="16" y="130"/>
                  </a:lnTo>
                  <a:lnTo>
                    <a:pt x="0" y="94"/>
                  </a:lnTo>
                  <a:lnTo>
                    <a:pt x="12" y="84"/>
                  </a:lnTo>
                  <a:lnTo>
                    <a:pt x="48" y="72"/>
                  </a:lnTo>
                  <a:lnTo>
                    <a:pt x="56" y="54"/>
                  </a:lnTo>
                  <a:lnTo>
                    <a:pt x="56" y="40"/>
                  </a:lnTo>
                  <a:lnTo>
                    <a:pt x="52" y="3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29" name="Freeform 121">
              <a:extLst>
                <a:ext uri="{FF2B5EF4-FFF2-40B4-BE49-F238E27FC236}">
                  <a16:creationId xmlns:a16="http://schemas.microsoft.com/office/drawing/2014/main" id="{75A1A17E-6BC6-4A24-8B5B-29D7590C539F}"/>
                </a:ext>
              </a:extLst>
            </p:cNvPr>
            <p:cNvSpPr>
              <a:spLocks/>
            </p:cNvSpPr>
            <p:nvPr/>
          </p:nvSpPr>
          <p:spPr bwMode="gray">
            <a:xfrm>
              <a:off x="6942735" y="4193407"/>
              <a:ext cx="267473" cy="165983"/>
            </a:xfrm>
            <a:custGeom>
              <a:avLst/>
              <a:gdLst>
                <a:gd name="T0" fmla="*/ 50 w 162"/>
                <a:gd name="T1" fmla="*/ 86 h 100"/>
                <a:gd name="T2" fmla="*/ 42 w 162"/>
                <a:gd name="T3" fmla="*/ 92 h 100"/>
                <a:gd name="T4" fmla="*/ 36 w 162"/>
                <a:gd name="T5" fmla="*/ 100 h 100"/>
                <a:gd name="T6" fmla="*/ 16 w 162"/>
                <a:gd name="T7" fmla="*/ 100 h 100"/>
                <a:gd name="T8" fmla="*/ 8 w 162"/>
                <a:gd name="T9" fmla="*/ 96 h 100"/>
                <a:gd name="T10" fmla="*/ 0 w 162"/>
                <a:gd name="T11" fmla="*/ 66 h 100"/>
                <a:gd name="T12" fmla="*/ 0 w 162"/>
                <a:gd name="T13" fmla="*/ 42 h 100"/>
                <a:gd name="T14" fmla="*/ 8 w 162"/>
                <a:gd name="T15" fmla="*/ 24 h 100"/>
                <a:gd name="T16" fmla="*/ 42 w 162"/>
                <a:gd name="T17" fmla="*/ 22 h 100"/>
                <a:gd name="T18" fmla="*/ 72 w 162"/>
                <a:gd name="T19" fmla="*/ 28 h 100"/>
                <a:gd name="T20" fmla="*/ 98 w 162"/>
                <a:gd name="T21" fmla="*/ 4 h 100"/>
                <a:gd name="T22" fmla="*/ 128 w 162"/>
                <a:gd name="T23" fmla="*/ 0 h 100"/>
                <a:gd name="T24" fmla="*/ 146 w 162"/>
                <a:gd name="T25" fmla="*/ 0 h 100"/>
                <a:gd name="T26" fmla="*/ 162 w 162"/>
                <a:gd name="T27" fmla="*/ 36 h 100"/>
                <a:gd name="T28" fmla="*/ 150 w 162"/>
                <a:gd name="T29" fmla="*/ 42 h 100"/>
                <a:gd name="T30" fmla="*/ 142 w 162"/>
                <a:gd name="T31" fmla="*/ 48 h 100"/>
                <a:gd name="T32" fmla="*/ 142 w 162"/>
                <a:gd name="T33" fmla="*/ 56 h 100"/>
                <a:gd name="T34" fmla="*/ 136 w 162"/>
                <a:gd name="T35" fmla="*/ 60 h 100"/>
                <a:gd name="T36" fmla="*/ 114 w 162"/>
                <a:gd name="T37" fmla="*/ 66 h 100"/>
                <a:gd name="T38" fmla="*/ 104 w 162"/>
                <a:gd name="T39" fmla="*/ 68 h 100"/>
                <a:gd name="T40" fmla="*/ 96 w 162"/>
                <a:gd name="T41" fmla="*/ 80 h 100"/>
                <a:gd name="T42" fmla="*/ 78 w 162"/>
                <a:gd name="T43" fmla="*/ 78 h 100"/>
                <a:gd name="T44" fmla="*/ 70 w 162"/>
                <a:gd name="T45" fmla="*/ 88 h 100"/>
                <a:gd name="T46" fmla="*/ 56 w 162"/>
                <a:gd name="T47" fmla="*/ 88 h 100"/>
                <a:gd name="T48" fmla="*/ 50 w 162"/>
                <a:gd name="T49"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2" h="100">
                  <a:moveTo>
                    <a:pt x="50" y="86"/>
                  </a:moveTo>
                  <a:lnTo>
                    <a:pt x="42" y="92"/>
                  </a:lnTo>
                  <a:lnTo>
                    <a:pt x="36" y="100"/>
                  </a:lnTo>
                  <a:lnTo>
                    <a:pt x="16" y="100"/>
                  </a:lnTo>
                  <a:lnTo>
                    <a:pt x="8" y="96"/>
                  </a:lnTo>
                  <a:lnTo>
                    <a:pt x="0" y="66"/>
                  </a:lnTo>
                  <a:lnTo>
                    <a:pt x="0" y="42"/>
                  </a:lnTo>
                  <a:lnTo>
                    <a:pt x="8" y="24"/>
                  </a:lnTo>
                  <a:lnTo>
                    <a:pt x="42" y="22"/>
                  </a:lnTo>
                  <a:lnTo>
                    <a:pt x="72" y="28"/>
                  </a:lnTo>
                  <a:lnTo>
                    <a:pt x="98" y="4"/>
                  </a:lnTo>
                  <a:lnTo>
                    <a:pt x="128" y="0"/>
                  </a:lnTo>
                  <a:lnTo>
                    <a:pt x="146" y="0"/>
                  </a:lnTo>
                  <a:lnTo>
                    <a:pt x="162" y="36"/>
                  </a:lnTo>
                  <a:lnTo>
                    <a:pt x="150" y="42"/>
                  </a:lnTo>
                  <a:lnTo>
                    <a:pt x="142" y="48"/>
                  </a:lnTo>
                  <a:lnTo>
                    <a:pt x="142" y="56"/>
                  </a:lnTo>
                  <a:lnTo>
                    <a:pt x="136" y="60"/>
                  </a:lnTo>
                  <a:lnTo>
                    <a:pt x="114" y="66"/>
                  </a:lnTo>
                  <a:lnTo>
                    <a:pt x="104" y="68"/>
                  </a:lnTo>
                  <a:lnTo>
                    <a:pt x="96" y="80"/>
                  </a:lnTo>
                  <a:lnTo>
                    <a:pt x="78" y="78"/>
                  </a:lnTo>
                  <a:lnTo>
                    <a:pt x="70" y="88"/>
                  </a:lnTo>
                  <a:lnTo>
                    <a:pt x="56" y="88"/>
                  </a:lnTo>
                  <a:lnTo>
                    <a:pt x="50" y="8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30" name="Freeform 122">
              <a:extLst>
                <a:ext uri="{FF2B5EF4-FFF2-40B4-BE49-F238E27FC236}">
                  <a16:creationId xmlns:a16="http://schemas.microsoft.com/office/drawing/2014/main" id="{8B3FA341-616A-4190-B17E-C4992893C78F}"/>
                </a:ext>
              </a:extLst>
            </p:cNvPr>
            <p:cNvSpPr>
              <a:spLocks/>
            </p:cNvSpPr>
            <p:nvPr/>
          </p:nvSpPr>
          <p:spPr bwMode="gray">
            <a:xfrm>
              <a:off x="6975756" y="3589229"/>
              <a:ext cx="505228" cy="428236"/>
            </a:xfrm>
            <a:custGeom>
              <a:avLst/>
              <a:gdLst>
                <a:gd name="T0" fmla="*/ 80 w 306"/>
                <a:gd name="T1" fmla="*/ 38 h 258"/>
                <a:gd name="T2" fmla="*/ 112 w 306"/>
                <a:gd name="T3" fmla="*/ 56 h 258"/>
                <a:gd name="T4" fmla="*/ 156 w 306"/>
                <a:gd name="T5" fmla="*/ 48 h 258"/>
                <a:gd name="T6" fmla="*/ 204 w 306"/>
                <a:gd name="T7" fmla="*/ 28 h 258"/>
                <a:gd name="T8" fmla="*/ 256 w 306"/>
                <a:gd name="T9" fmla="*/ 52 h 258"/>
                <a:gd name="T10" fmla="*/ 274 w 306"/>
                <a:gd name="T11" fmla="*/ 78 h 258"/>
                <a:gd name="T12" fmla="*/ 262 w 306"/>
                <a:gd name="T13" fmla="*/ 126 h 258"/>
                <a:gd name="T14" fmla="*/ 282 w 306"/>
                <a:gd name="T15" fmla="*/ 150 h 258"/>
                <a:gd name="T16" fmla="*/ 266 w 306"/>
                <a:gd name="T17" fmla="*/ 176 h 258"/>
                <a:gd name="T18" fmla="*/ 286 w 306"/>
                <a:gd name="T19" fmla="*/ 202 h 258"/>
                <a:gd name="T20" fmla="*/ 298 w 306"/>
                <a:gd name="T21" fmla="*/ 224 h 258"/>
                <a:gd name="T22" fmla="*/ 306 w 306"/>
                <a:gd name="T23" fmla="*/ 232 h 258"/>
                <a:gd name="T24" fmla="*/ 278 w 306"/>
                <a:gd name="T25" fmla="*/ 242 h 258"/>
                <a:gd name="T26" fmla="*/ 236 w 306"/>
                <a:gd name="T27" fmla="*/ 254 h 258"/>
                <a:gd name="T28" fmla="*/ 206 w 306"/>
                <a:gd name="T29" fmla="*/ 230 h 258"/>
                <a:gd name="T30" fmla="*/ 188 w 306"/>
                <a:gd name="T31" fmla="*/ 224 h 258"/>
                <a:gd name="T32" fmla="*/ 164 w 306"/>
                <a:gd name="T33" fmla="*/ 234 h 258"/>
                <a:gd name="T34" fmla="*/ 118 w 306"/>
                <a:gd name="T35" fmla="*/ 206 h 258"/>
                <a:gd name="T36" fmla="*/ 98 w 306"/>
                <a:gd name="T37" fmla="*/ 176 h 258"/>
                <a:gd name="T38" fmla="*/ 70 w 306"/>
                <a:gd name="T39" fmla="*/ 176 h 258"/>
                <a:gd name="T40" fmla="*/ 62 w 306"/>
                <a:gd name="T41" fmla="*/ 166 h 258"/>
                <a:gd name="T42" fmla="*/ 60 w 306"/>
                <a:gd name="T43" fmla="*/ 140 h 258"/>
                <a:gd name="T44" fmla="*/ 38 w 306"/>
                <a:gd name="T45" fmla="*/ 126 h 258"/>
                <a:gd name="T46" fmla="*/ 26 w 306"/>
                <a:gd name="T47" fmla="*/ 90 h 258"/>
                <a:gd name="T48" fmla="*/ 30 w 306"/>
                <a:gd name="T49" fmla="*/ 78 h 258"/>
                <a:gd name="T50" fmla="*/ 26 w 306"/>
                <a:gd name="T51" fmla="*/ 70 h 258"/>
                <a:gd name="T52" fmla="*/ 10 w 306"/>
                <a:gd name="T53" fmla="*/ 44 h 258"/>
                <a:gd name="T54" fmla="*/ 4 w 306"/>
                <a:gd name="T55" fmla="*/ 24 h 258"/>
                <a:gd name="T56" fmla="*/ 0 w 306"/>
                <a:gd name="T57" fmla="*/ 8 h 258"/>
                <a:gd name="T58" fmla="*/ 10 w 306"/>
                <a:gd name="T59" fmla="*/ 2 h 258"/>
                <a:gd name="T60" fmla="*/ 32 w 306"/>
                <a:gd name="T61" fmla="*/ 18 h 258"/>
                <a:gd name="T62" fmla="*/ 42 w 306"/>
                <a:gd name="T63" fmla="*/ 14 h 258"/>
                <a:gd name="T64" fmla="*/ 60 w 306"/>
                <a:gd name="T65" fmla="*/ 0 h 258"/>
                <a:gd name="T66" fmla="*/ 64 w 306"/>
                <a:gd name="T67" fmla="*/ 10 h 258"/>
                <a:gd name="T68" fmla="*/ 62 w 306"/>
                <a:gd name="T69" fmla="*/ 18 h 258"/>
                <a:gd name="T70" fmla="*/ 76 w 306"/>
                <a:gd name="T71" fmla="*/ 24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6" h="258">
                  <a:moveTo>
                    <a:pt x="76" y="24"/>
                  </a:moveTo>
                  <a:lnTo>
                    <a:pt x="80" y="38"/>
                  </a:lnTo>
                  <a:lnTo>
                    <a:pt x="100" y="48"/>
                  </a:lnTo>
                  <a:lnTo>
                    <a:pt x="112" y="56"/>
                  </a:lnTo>
                  <a:lnTo>
                    <a:pt x="142" y="56"/>
                  </a:lnTo>
                  <a:lnTo>
                    <a:pt x="156" y="48"/>
                  </a:lnTo>
                  <a:lnTo>
                    <a:pt x="178" y="32"/>
                  </a:lnTo>
                  <a:lnTo>
                    <a:pt x="204" y="28"/>
                  </a:lnTo>
                  <a:lnTo>
                    <a:pt x="226" y="36"/>
                  </a:lnTo>
                  <a:lnTo>
                    <a:pt x="256" y="52"/>
                  </a:lnTo>
                  <a:lnTo>
                    <a:pt x="272" y="56"/>
                  </a:lnTo>
                  <a:lnTo>
                    <a:pt x="274" y="78"/>
                  </a:lnTo>
                  <a:lnTo>
                    <a:pt x="264" y="98"/>
                  </a:lnTo>
                  <a:lnTo>
                    <a:pt x="262" y="126"/>
                  </a:lnTo>
                  <a:lnTo>
                    <a:pt x="268" y="150"/>
                  </a:lnTo>
                  <a:lnTo>
                    <a:pt x="282" y="150"/>
                  </a:lnTo>
                  <a:lnTo>
                    <a:pt x="280" y="162"/>
                  </a:lnTo>
                  <a:lnTo>
                    <a:pt x="266" y="176"/>
                  </a:lnTo>
                  <a:lnTo>
                    <a:pt x="272" y="186"/>
                  </a:lnTo>
                  <a:lnTo>
                    <a:pt x="286" y="202"/>
                  </a:lnTo>
                  <a:lnTo>
                    <a:pt x="298" y="212"/>
                  </a:lnTo>
                  <a:lnTo>
                    <a:pt x="298" y="224"/>
                  </a:lnTo>
                  <a:lnTo>
                    <a:pt x="306" y="224"/>
                  </a:lnTo>
                  <a:lnTo>
                    <a:pt x="306" y="232"/>
                  </a:lnTo>
                  <a:lnTo>
                    <a:pt x="292" y="234"/>
                  </a:lnTo>
                  <a:lnTo>
                    <a:pt x="278" y="242"/>
                  </a:lnTo>
                  <a:lnTo>
                    <a:pt x="278" y="258"/>
                  </a:lnTo>
                  <a:lnTo>
                    <a:pt x="236" y="254"/>
                  </a:lnTo>
                  <a:lnTo>
                    <a:pt x="208" y="246"/>
                  </a:lnTo>
                  <a:lnTo>
                    <a:pt x="206" y="230"/>
                  </a:lnTo>
                  <a:lnTo>
                    <a:pt x="196" y="222"/>
                  </a:lnTo>
                  <a:lnTo>
                    <a:pt x="188" y="224"/>
                  </a:lnTo>
                  <a:lnTo>
                    <a:pt x="178" y="232"/>
                  </a:lnTo>
                  <a:lnTo>
                    <a:pt x="164" y="234"/>
                  </a:lnTo>
                  <a:lnTo>
                    <a:pt x="138" y="224"/>
                  </a:lnTo>
                  <a:lnTo>
                    <a:pt x="118" y="206"/>
                  </a:lnTo>
                  <a:lnTo>
                    <a:pt x="104" y="188"/>
                  </a:lnTo>
                  <a:lnTo>
                    <a:pt x="98" y="176"/>
                  </a:lnTo>
                  <a:lnTo>
                    <a:pt x="80" y="172"/>
                  </a:lnTo>
                  <a:lnTo>
                    <a:pt x="70" y="176"/>
                  </a:lnTo>
                  <a:lnTo>
                    <a:pt x="60" y="172"/>
                  </a:lnTo>
                  <a:lnTo>
                    <a:pt x="62" y="166"/>
                  </a:lnTo>
                  <a:lnTo>
                    <a:pt x="56" y="154"/>
                  </a:lnTo>
                  <a:lnTo>
                    <a:pt x="60" y="140"/>
                  </a:lnTo>
                  <a:lnTo>
                    <a:pt x="48" y="130"/>
                  </a:lnTo>
                  <a:lnTo>
                    <a:pt x="38" y="126"/>
                  </a:lnTo>
                  <a:lnTo>
                    <a:pt x="20" y="104"/>
                  </a:lnTo>
                  <a:lnTo>
                    <a:pt x="26" y="90"/>
                  </a:lnTo>
                  <a:lnTo>
                    <a:pt x="32" y="86"/>
                  </a:lnTo>
                  <a:lnTo>
                    <a:pt x="30" y="78"/>
                  </a:lnTo>
                  <a:lnTo>
                    <a:pt x="34" y="72"/>
                  </a:lnTo>
                  <a:lnTo>
                    <a:pt x="26" y="70"/>
                  </a:lnTo>
                  <a:lnTo>
                    <a:pt x="16" y="54"/>
                  </a:lnTo>
                  <a:lnTo>
                    <a:pt x="10" y="44"/>
                  </a:lnTo>
                  <a:lnTo>
                    <a:pt x="6" y="34"/>
                  </a:lnTo>
                  <a:lnTo>
                    <a:pt x="4" y="24"/>
                  </a:lnTo>
                  <a:lnTo>
                    <a:pt x="2" y="16"/>
                  </a:lnTo>
                  <a:lnTo>
                    <a:pt x="0" y="8"/>
                  </a:lnTo>
                  <a:lnTo>
                    <a:pt x="2" y="4"/>
                  </a:lnTo>
                  <a:lnTo>
                    <a:pt x="10" y="2"/>
                  </a:lnTo>
                  <a:lnTo>
                    <a:pt x="24" y="14"/>
                  </a:lnTo>
                  <a:lnTo>
                    <a:pt x="32" y="18"/>
                  </a:lnTo>
                  <a:lnTo>
                    <a:pt x="34" y="12"/>
                  </a:lnTo>
                  <a:lnTo>
                    <a:pt x="42" y="14"/>
                  </a:lnTo>
                  <a:lnTo>
                    <a:pt x="48" y="10"/>
                  </a:lnTo>
                  <a:lnTo>
                    <a:pt x="60" y="0"/>
                  </a:lnTo>
                  <a:lnTo>
                    <a:pt x="64" y="2"/>
                  </a:lnTo>
                  <a:lnTo>
                    <a:pt x="64" y="10"/>
                  </a:lnTo>
                  <a:lnTo>
                    <a:pt x="68" y="16"/>
                  </a:lnTo>
                  <a:lnTo>
                    <a:pt x="62" y="18"/>
                  </a:lnTo>
                  <a:lnTo>
                    <a:pt x="68" y="24"/>
                  </a:lnTo>
                  <a:lnTo>
                    <a:pt x="76" y="2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31" name="Freeform 123">
              <a:extLst>
                <a:ext uri="{FF2B5EF4-FFF2-40B4-BE49-F238E27FC236}">
                  <a16:creationId xmlns:a16="http://schemas.microsoft.com/office/drawing/2014/main" id="{7579E5C7-D843-495F-90C0-8171E24B5C14}"/>
                </a:ext>
              </a:extLst>
            </p:cNvPr>
            <p:cNvSpPr>
              <a:spLocks/>
            </p:cNvSpPr>
            <p:nvPr/>
          </p:nvSpPr>
          <p:spPr bwMode="gray">
            <a:xfrm>
              <a:off x="7408337" y="3625746"/>
              <a:ext cx="373141" cy="268892"/>
            </a:xfrm>
            <a:custGeom>
              <a:avLst/>
              <a:gdLst>
                <a:gd name="T0" fmla="*/ 12 w 226"/>
                <a:gd name="T1" fmla="*/ 56 h 162"/>
                <a:gd name="T2" fmla="*/ 24 w 226"/>
                <a:gd name="T3" fmla="*/ 56 h 162"/>
                <a:gd name="T4" fmla="*/ 34 w 226"/>
                <a:gd name="T5" fmla="*/ 60 h 162"/>
                <a:gd name="T6" fmla="*/ 44 w 226"/>
                <a:gd name="T7" fmla="*/ 48 h 162"/>
                <a:gd name="T8" fmla="*/ 56 w 226"/>
                <a:gd name="T9" fmla="*/ 44 h 162"/>
                <a:gd name="T10" fmla="*/ 68 w 226"/>
                <a:gd name="T11" fmla="*/ 26 h 162"/>
                <a:gd name="T12" fmla="*/ 84 w 226"/>
                <a:gd name="T13" fmla="*/ 20 h 162"/>
                <a:gd name="T14" fmla="*/ 96 w 226"/>
                <a:gd name="T15" fmla="*/ 20 h 162"/>
                <a:gd name="T16" fmla="*/ 116 w 226"/>
                <a:gd name="T17" fmla="*/ 26 h 162"/>
                <a:gd name="T18" fmla="*/ 126 w 226"/>
                <a:gd name="T19" fmla="*/ 30 h 162"/>
                <a:gd name="T20" fmla="*/ 146 w 226"/>
                <a:gd name="T21" fmla="*/ 18 h 162"/>
                <a:gd name="T22" fmla="*/ 154 w 226"/>
                <a:gd name="T23" fmla="*/ 16 h 162"/>
                <a:gd name="T24" fmla="*/ 164 w 226"/>
                <a:gd name="T25" fmla="*/ 0 h 162"/>
                <a:gd name="T26" fmla="*/ 172 w 226"/>
                <a:gd name="T27" fmla="*/ 6 h 162"/>
                <a:gd name="T28" fmla="*/ 174 w 226"/>
                <a:gd name="T29" fmla="*/ 18 h 162"/>
                <a:gd name="T30" fmla="*/ 172 w 226"/>
                <a:gd name="T31" fmla="*/ 26 h 162"/>
                <a:gd name="T32" fmla="*/ 172 w 226"/>
                <a:gd name="T33" fmla="*/ 32 h 162"/>
                <a:gd name="T34" fmla="*/ 182 w 226"/>
                <a:gd name="T35" fmla="*/ 30 h 162"/>
                <a:gd name="T36" fmla="*/ 190 w 226"/>
                <a:gd name="T37" fmla="*/ 26 h 162"/>
                <a:gd name="T38" fmla="*/ 198 w 226"/>
                <a:gd name="T39" fmla="*/ 20 h 162"/>
                <a:gd name="T40" fmla="*/ 226 w 226"/>
                <a:gd name="T41" fmla="*/ 20 h 162"/>
                <a:gd name="T42" fmla="*/ 226 w 226"/>
                <a:gd name="T43" fmla="*/ 28 h 162"/>
                <a:gd name="T44" fmla="*/ 214 w 226"/>
                <a:gd name="T45" fmla="*/ 30 h 162"/>
                <a:gd name="T46" fmla="*/ 198 w 226"/>
                <a:gd name="T47" fmla="*/ 30 h 162"/>
                <a:gd name="T48" fmla="*/ 190 w 226"/>
                <a:gd name="T49" fmla="*/ 30 h 162"/>
                <a:gd name="T50" fmla="*/ 186 w 226"/>
                <a:gd name="T51" fmla="*/ 32 h 162"/>
                <a:gd name="T52" fmla="*/ 174 w 226"/>
                <a:gd name="T53" fmla="*/ 40 h 162"/>
                <a:gd name="T54" fmla="*/ 168 w 226"/>
                <a:gd name="T55" fmla="*/ 46 h 162"/>
                <a:gd name="T56" fmla="*/ 172 w 226"/>
                <a:gd name="T57" fmla="*/ 52 h 162"/>
                <a:gd name="T58" fmla="*/ 174 w 226"/>
                <a:gd name="T59" fmla="*/ 58 h 162"/>
                <a:gd name="T60" fmla="*/ 172 w 226"/>
                <a:gd name="T61" fmla="*/ 68 h 162"/>
                <a:gd name="T62" fmla="*/ 168 w 226"/>
                <a:gd name="T63" fmla="*/ 78 h 162"/>
                <a:gd name="T64" fmla="*/ 152 w 226"/>
                <a:gd name="T65" fmla="*/ 84 h 162"/>
                <a:gd name="T66" fmla="*/ 148 w 226"/>
                <a:gd name="T67" fmla="*/ 96 h 162"/>
                <a:gd name="T68" fmla="*/ 142 w 226"/>
                <a:gd name="T69" fmla="*/ 100 h 162"/>
                <a:gd name="T70" fmla="*/ 138 w 226"/>
                <a:gd name="T71" fmla="*/ 110 h 162"/>
                <a:gd name="T72" fmla="*/ 138 w 226"/>
                <a:gd name="T73" fmla="*/ 124 h 162"/>
                <a:gd name="T74" fmla="*/ 114 w 226"/>
                <a:gd name="T75" fmla="*/ 124 h 162"/>
                <a:gd name="T76" fmla="*/ 110 w 226"/>
                <a:gd name="T77" fmla="*/ 132 h 162"/>
                <a:gd name="T78" fmla="*/ 94 w 226"/>
                <a:gd name="T79" fmla="*/ 132 h 162"/>
                <a:gd name="T80" fmla="*/ 90 w 226"/>
                <a:gd name="T81" fmla="*/ 138 h 162"/>
                <a:gd name="T82" fmla="*/ 88 w 226"/>
                <a:gd name="T83" fmla="*/ 156 h 162"/>
                <a:gd name="T84" fmla="*/ 78 w 226"/>
                <a:gd name="T85" fmla="*/ 158 h 162"/>
                <a:gd name="T86" fmla="*/ 42 w 226"/>
                <a:gd name="T87" fmla="*/ 162 h 162"/>
                <a:gd name="T88" fmla="*/ 24 w 226"/>
                <a:gd name="T89" fmla="*/ 162 h 162"/>
                <a:gd name="T90" fmla="*/ 18 w 226"/>
                <a:gd name="T91" fmla="*/ 156 h 162"/>
                <a:gd name="T92" fmla="*/ 8 w 226"/>
                <a:gd name="T93" fmla="*/ 160 h 162"/>
                <a:gd name="T94" fmla="*/ 4 w 226"/>
                <a:gd name="T95" fmla="*/ 154 h 162"/>
                <a:gd name="T96" fmla="*/ 18 w 226"/>
                <a:gd name="T97" fmla="*/ 140 h 162"/>
                <a:gd name="T98" fmla="*/ 20 w 226"/>
                <a:gd name="T99" fmla="*/ 128 h 162"/>
                <a:gd name="T100" fmla="*/ 6 w 226"/>
                <a:gd name="T101" fmla="*/ 128 h 162"/>
                <a:gd name="T102" fmla="*/ 4 w 226"/>
                <a:gd name="T103" fmla="*/ 114 h 162"/>
                <a:gd name="T104" fmla="*/ 0 w 226"/>
                <a:gd name="T105" fmla="*/ 104 h 162"/>
                <a:gd name="T106" fmla="*/ 2 w 226"/>
                <a:gd name="T107" fmla="*/ 76 h 162"/>
                <a:gd name="T108" fmla="*/ 12 w 226"/>
                <a:gd name="T109" fmla="*/ 56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26" h="162">
                  <a:moveTo>
                    <a:pt x="12" y="56"/>
                  </a:moveTo>
                  <a:lnTo>
                    <a:pt x="24" y="56"/>
                  </a:lnTo>
                  <a:lnTo>
                    <a:pt x="34" y="60"/>
                  </a:lnTo>
                  <a:lnTo>
                    <a:pt x="44" y="48"/>
                  </a:lnTo>
                  <a:lnTo>
                    <a:pt x="56" y="44"/>
                  </a:lnTo>
                  <a:lnTo>
                    <a:pt x="68" y="26"/>
                  </a:lnTo>
                  <a:lnTo>
                    <a:pt x="84" y="20"/>
                  </a:lnTo>
                  <a:lnTo>
                    <a:pt x="96" y="20"/>
                  </a:lnTo>
                  <a:lnTo>
                    <a:pt x="116" y="26"/>
                  </a:lnTo>
                  <a:lnTo>
                    <a:pt x="126" y="30"/>
                  </a:lnTo>
                  <a:lnTo>
                    <a:pt x="146" y="18"/>
                  </a:lnTo>
                  <a:lnTo>
                    <a:pt x="154" y="16"/>
                  </a:lnTo>
                  <a:lnTo>
                    <a:pt x="164" y="0"/>
                  </a:lnTo>
                  <a:lnTo>
                    <a:pt x="172" y="6"/>
                  </a:lnTo>
                  <a:lnTo>
                    <a:pt x="174" y="18"/>
                  </a:lnTo>
                  <a:lnTo>
                    <a:pt x="172" y="26"/>
                  </a:lnTo>
                  <a:lnTo>
                    <a:pt x="172" y="32"/>
                  </a:lnTo>
                  <a:lnTo>
                    <a:pt x="182" y="30"/>
                  </a:lnTo>
                  <a:lnTo>
                    <a:pt x="190" y="26"/>
                  </a:lnTo>
                  <a:lnTo>
                    <a:pt x="198" y="20"/>
                  </a:lnTo>
                  <a:lnTo>
                    <a:pt x="226" y="20"/>
                  </a:lnTo>
                  <a:lnTo>
                    <a:pt x="226" y="28"/>
                  </a:lnTo>
                  <a:lnTo>
                    <a:pt x="214" y="30"/>
                  </a:lnTo>
                  <a:lnTo>
                    <a:pt x="198" y="30"/>
                  </a:lnTo>
                  <a:lnTo>
                    <a:pt x="190" y="30"/>
                  </a:lnTo>
                  <a:lnTo>
                    <a:pt x="186" y="32"/>
                  </a:lnTo>
                  <a:lnTo>
                    <a:pt x="174" y="40"/>
                  </a:lnTo>
                  <a:lnTo>
                    <a:pt x="168" y="46"/>
                  </a:lnTo>
                  <a:lnTo>
                    <a:pt x="172" y="52"/>
                  </a:lnTo>
                  <a:lnTo>
                    <a:pt x="174" y="58"/>
                  </a:lnTo>
                  <a:lnTo>
                    <a:pt x="172" y="68"/>
                  </a:lnTo>
                  <a:lnTo>
                    <a:pt x="168" y="78"/>
                  </a:lnTo>
                  <a:lnTo>
                    <a:pt x="152" y="84"/>
                  </a:lnTo>
                  <a:lnTo>
                    <a:pt x="148" y="96"/>
                  </a:lnTo>
                  <a:lnTo>
                    <a:pt x="142" y="100"/>
                  </a:lnTo>
                  <a:lnTo>
                    <a:pt x="138" y="110"/>
                  </a:lnTo>
                  <a:lnTo>
                    <a:pt x="138" y="124"/>
                  </a:lnTo>
                  <a:lnTo>
                    <a:pt x="114" y="124"/>
                  </a:lnTo>
                  <a:lnTo>
                    <a:pt x="110" y="132"/>
                  </a:lnTo>
                  <a:lnTo>
                    <a:pt x="94" y="132"/>
                  </a:lnTo>
                  <a:lnTo>
                    <a:pt x="90" y="138"/>
                  </a:lnTo>
                  <a:lnTo>
                    <a:pt x="88" y="156"/>
                  </a:lnTo>
                  <a:lnTo>
                    <a:pt x="78" y="158"/>
                  </a:lnTo>
                  <a:lnTo>
                    <a:pt x="42" y="162"/>
                  </a:lnTo>
                  <a:lnTo>
                    <a:pt x="24" y="162"/>
                  </a:lnTo>
                  <a:lnTo>
                    <a:pt x="18" y="156"/>
                  </a:lnTo>
                  <a:lnTo>
                    <a:pt x="8" y="160"/>
                  </a:lnTo>
                  <a:lnTo>
                    <a:pt x="4" y="154"/>
                  </a:lnTo>
                  <a:lnTo>
                    <a:pt x="18" y="140"/>
                  </a:lnTo>
                  <a:lnTo>
                    <a:pt x="20" y="128"/>
                  </a:lnTo>
                  <a:lnTo>
                    <a:pt x="6" y="128"/>
                  </a:lnTo>
                  <a:lnTo>
                    <a:pt x="4" y="114"/>
                  </a:lnTo>
                  <a:lnTo>
                    <a:pt x="0" y="104"/>
                  </a:lnTo>
                  <a:lnTo>
                    <a:pt x="2" y="76"/>
                  </a:lnTo>
                  <a:lnTo>
                    <a:pt x="12" y="5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32" name="Freeform 125">
              <a:extLst>
                <a:ext uri="{FF2B5EF4-FFF2-40B4-BE49-F238E27FC236}">
                  <a16:creationId xmlns:a16="http://schemas.microsoft.com/office/drawing/2014/main" id="{78A802F7-29D3-4021-A904-DA532A453E08}"/>
                </a:ext>
              </a:extLst>
            </p:cNvPr>
            <p:cNvSpPr>
              <a:spLocks/>
            </p:cNvSpPr>
            <p:nvPr/>
          </p:nvSpPr>
          <p:spPr bwMode="gray">
            <a:xfrm>
              <a:off x="6734700" y="3778449"/>
              <a:ext cx="112273" cy="126147"/>
            </a:xfrm>
            <a:custGeom>
              <a:avLst/>
              <a:gdLst>
                <a:gd name="T0" fmla="*/ 66 w 68"/>
                <a:gd name="T1" fmla="*/ 0 h 76"/>
                <a:gd name="T2" fmla="*/ 68 w 68"/>
                <a:gd name="T3" fmla="*/ 24 h 76"/>
                <a:gd name="T4" fmla="*/ 66 w 68"/>
                <a:gd name="T5" fmla="*/ 30 h 76"/>
                <a:gd name="T6" fmla="*/ 38 w 68"/>
                <a:gd name="T7" fmla="*/ 34 h 76"/>
                <a:gd name="T8" fmla="*/ 50 w 68"/>
                <a:gd name="T9" fmla="*/ 50 h 76"/>
                <a:gd name="T10" fmla="*/ 44 w 68"/>
                <a:gd name="T11" fmla="*/ 56 h 76"/>
                <a:gd name="T12" fmla="*/ 42 w 68"/>
                <a:gd name="T13" fmla="*/ 62 h 76"/>
                <a:gd name="T14" fmla="*/ 30 w 68"/>
                <a:gd name="T15" fmla="*/ 64 h 76"/>
                <a:gd name="T16" fmla="*/ 24 w 68"/>
                <a:gd name="T17" fmla="*/ 72 h 76"/>
                <a:gd name="T18" fmla="*/ 20 w 68"/>
                <a:gd name="T19" fmla="*/ 76 h 76"/>
                <a:gd name="T20" fmla="*/ 0 w 68"/>
                <a:gd name="T21" fmla="*/ 70 h 76"/>
                <a:gd name="T22" fmla="*/ 6 w 68"/>
                <a:gd name="T23" fmla="*/ 58 h 76"/>
                <a:gd name="T24" fmla="*/ 8 w 68"/>
                <a:gd name="T25" fmla="*/ 48 h 76"/>
                <a:gd name="T26" fmla="*/ 8 w 68"/>
                <a:gd name="T27" fmla="*/ 36 h 76"/>
                <a:gd name="T28" fmla="*/ 10 w 68"/>
                <a:gd name="T29" fmla="*/ 28 h 76"/>
                <a:gd name="T30" fmla="*/ 10 w 68"/>
                <a:gd name="T31" fmla="*/ 20 h 76"/>
                <a:gd name="T32" fmla="*/ 12 w 68"/>
                <a:gd name="T33" fmla="*/ 14 h 76"/>
                <a:gd name="T34" fmla="*/ 16 w 68"/>
                <a:gd name="T35" fmla="*/ 16 h 76"/>
                <a:gd name="T36" fmla="*/ 20 w 68"/>
                <a:gd name="T37" fmla="*/ 16 h 76"/>
                <a:gd name="T38" fmla="*/ 28 w 68"/>
                <a:gd name="T39" fmla="*/ 20 h 76"/>
                <a:gd name="T40" fmla="*/ 36 w 68"/>
                <a:gd name="T41" fmla="*/ 18 h 76"/>
                <a:gd name="T42" fmla="*/ 66 w 68"/>
                <a:gd name="T43"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 h="76">
                  <a:moveTo>
                    <a:pt x="66" y="0"/>
                  </a:moveTo>
                  <a:lnTo>
                    <a:pt x="68" y="24"/>
                  </a:lnTo>
                  <a:lnTo>
                    <a:pt x="66" y="30"/>
                  </a:lnTo>
                  <a:lnTo>
                    <a:pt x="38" y="34"/>
                  </a:lnTo>
                  <a:lnTo>
                    <a:pt x="50" y="50"/>
                  </a:lnTo>
                  <a:lnTo>
                    <a:pt x="44" y="56"/>
                  </a:lnTo>
                  <a:lnTo>
                    <a:pt x="42" y="62"/>
                  </a:lnTo>
                  <a:lnTo>
                    <a:pt x="30" y="64"/>
                  </a:lnTo>
                  <a:lnTo>
                    <a:pt x="24" y="72"/>
                  </a:lnTo>
                  <a:lnTo>
                    <a:pt x="20" y="76"/>
                  </a:lnTo>
                  <a:lnTo>
                    <a:pt x="0" y="70"/>
                  </a:lnTo>
                  <a:lnTo>
                    <a:pt x="6" y="58"/>
                  </a:lnTo>
                  <a:lnTo>
                    <a:pt x="8" y="48"/>
                  </a:lnTo>
                  <a:lnTo>
                    <a:pt x="8" y="36"/>
                  </a:lnTo>
                  <a:lnTo>
                    <a:pt x="10" y="28"/>
                  </a:lnTo>
                  <a:lnTo>
                    <a:pt x="10" y="20"/>
                  </a:lnTo>
                  <a:lnTo>
                    <a:pt x="12" y="14"/>
                  </a:lnTo>
                  <a:lnTo>
                    <a:pt x="16" y="16"/>
                  </a:lnTo>
                  <a:lnTo>
                    <a:pt x="20" y="16"/>
                  </a:lnTo>
                  <a:lnTo>
                    <a:pt x="28" y="20"/>
                  </a:lnTo>
                  <a:lnTo>
                    <a:pt x="36" y="18"/>
                  </a:lnTo>
                  <a:lnTo>
                    <a:pt x="66"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33" name="Freeform 126">
              <a:extLst>
                <a:ext uri="{FF2B5EF4-FFF2-40B4-BE49-F238E27FC236}">
                  <a16:creationId xmlns:a16="http://schemas.microsoft.com/office/drawing/2014/main" id="{7316EECA-C181-4A7F-AF0E-B403EF97BFCC}"/>
                </a:ext>
              </a:extLst>
            </p:cNvPr>
            <p:cNvSpPr>
              <a:spLocks/>
            </p:cNvSpPr>
            <p:nvPr/>
          </p:nvSpPr>
          <p:spPr bwMode="gray">
            <a:xfrm>
              <a:off x="6731399" y="3818285"/>
              <a:ext cx="544853" cy="444834"/>
            </a:xfrm>
            <a:custGeom>
              <a:avLst/>
              <a:gdLst>
                <a:gd name="T0" fmla="*/ 0 w 330"/>
                <a:gd name="T1" fmla="*/ 68 h 268"/>
                <a:gd name="T2" fmla="*/ 4 w 330"/>
                <a:gd name="T3" fmla="*/ 46 h 268"/>
                <a:gd name="T4" fmla="*/ 22 w 330"/>
                <a:gd name="T5" fmla="*/ 52 h 268"/>
                <a:gd name="T6" fmla="*/ 26 w 330"/>
                <a:gd name="T7" fmla="*/ 48 h 268"/>
                <a:gd name="T8" fmla="*/ 32 w 330"/>
                <a:gd name="T9" fmla="*/ 40 h 268"/>
                <a:gd name="T10" fmla="*/ 44 w 330"/>
                <a:gd name="T11" fmla="*/ 38 h 268"/>
                <a:gd name="T12" fmla="*/ 46 w 330"/>
                <a:gd name="T13" fmla="*/ 32 h 268"/>
                <a:gd name="T14" fmla="*/ 52 w 330"/>
                <a:gd name="T15" fmla="*/ 26 h 268"/>
                <a:gd name="T16" fmla="*/ 40 w 330"/>
                <a:gd name="T17" fmla="*/ 10 h 268"/>
                <a:gd name="T18" fmla="*/ 68 w 330"/>
                <a:gd name="T19" fmla="*/ 6 h 268"/>
                <a:gd name="T20" fmla="*/ 70 w 330"/>
                <a:gd name="T21" fmla="*/ 0 h 268"/>
                <a:gd name="T22" fmla="*/ 90 w 330"/>
                <a:gd name="T23" fmla="*/ 4 h 268"/>
                <a:gd name="T24" fmla="*/ 126 w 330"/>
                <a:gd name="T25" fmla="*/ 24 h 268"/>
                <a:gd name="T26" fmla="*/ 134 w 330"/>
                <a:gd name="T27" fmla="*/ 36 h 268"/>
                <a:gd name="T28" fmla="*/ 136 w 330"/>
                <a:gd name="T29" fmla="*/ 40 h 268"/>
                <a:gd name="T30" fmla="*/ 144 w 330"/>
                <a:gd name="T31" fmla="*/ 42 h 268"/>
                <a:gd name="T32" fmla="*/ 158 w 330"/>
                <a:gd name="T33" fmla="*/ 52 h 268"/>
                <a:gd name="T34" fmla="*/ 174 w 330"/>
                <a:gd name="T35" fmla="*/ 52 h 268"/>
                <a:gd name="T36" fmla="*/ 190 w 330"/>
                <a:gd name="T37" fmla="*/ 52 h 268"/>
                <a:gd name="T38" fmla="*/ 200 w 330"/>
                <a:gd name="T39" fmla="*/ 54 h 268"/>
                <a:gd name="T40" fmla="*/ 208 w 330"/>
                <a:gd name="T41" fmla="*/ 62 h 268"/>
                <a:gd name="T42" fmla="*/ 216 w 330"/>
                <a:gd name="T43" fmla="*/ 62 h 268"/>
                <a:gd name="T44" fmla="*/ 226 w 330"/>
                <a:gd name="T45" fmla="*/ 82 h 268"/>
                <a:gd name="T46" fmla="*/ 234 w 330"/>
                <a:gd name="T47" fmla="*/ 88 h 268"/>
                <a:gd name="T48" fmla="*/ 242 w 330"/>
                <a:gd name="T49" fmla="*/ 96 h 268"/>
                <a:gd name="T50" fmla="*/ 244 w 330"/>
                <a:gd name="T51" fmla="*/ 110 h 268"/>
                <a:gd name="T52" fmla="*/ 248 w 330"/>
                <a:gd name="T53" fmla="*/ 118 h 268"/>
                <a:gd name="T54" fmla="*/ 256 w 330"/>
                <a:gd name="T55" fmla="*/ 128 h 268"/>
                <a:gd name="T56" fmla="*/ 260 w 330"/>
                <a:gd name="T57" fmla="*/ 132 h 268"/>
                <a:gd name="T58" fmla="*/ 282 w 330"/>
                <a:gd name="T59" fmla="*/ 158 h 268"/>
                <a:gd name="T60" fmla="*/ 290 w 330"/>
                <a:gd name="T61" fmla="*/ 160 h 268"/>
                <a:gd name="T62" fmla="*/ 302 w 330"/>
                <a:gd name="T63" fmla="*/ 164 h 268"/>
                <a:gd name="T64" fmla="*/ 308 w 330"/>
                <a:gd name="T65" fmla="*/ 166 h 268"/>
                <a:gd name="T66" fmla="*/ 326 w 330"/>
                <a:gd name="T67" fmla="*/ 164 h 268"/>
                <a:gd name="T68" fmla="*/ 330 w 330"/>
                <a:gd name="T69" fmla="*/ 172 h 268"/>
                <a:gd name="T70" fmla="*/ 330 w 330"/>
                <a:gd name="T71" fmla="*/ 186 h 268"/>
                <a:gd name="T72" fmla="*/ 322 w 330"/>
                <a:gd name="T73" fmla="*/ 204 h 268"/>
                <a:gd name="T74" fmla="*/ 306 w 330"/>
                <a:gd name="T75" fmla="*/ 208 h 268"/>
                <a:gd name="T76" fmla="*/ 290 w 330"/>
                <a:gd name="T77" fmla="*/ 216 h 268"/>
                <a:gd name="T78" fmla="*/ 274 w 330"/>
                <a:gd name="T79" fmla="*/ 226 h 268"/>
                <a:gd name="T80" fmla="*/ 258 w 330"/>
                <a:gd name="T81" fmla="*/ 224 h 268"/>
                <a:gd name="T82" fmla="*/ 226 w 330"/>
                <a:gd name="T83" fmla="*/ 230 h 268"/>
                <a:gd name="T84" fmla="*/ 200 w 330"/>
                <a:gd name="T85" fmla="*/ 254 h 268"/>
                <a:gd name="T86" fmla="*/ 170 w 330"/>
                <a:gd name="T87" fmla="*/ 248 h 268"/>
                <a:gd name="T88" fmla="*/ 136 w 330"/>
                <a:gd name="T89" fmla="*/ 250 h 268"/>
                <a:gd name="T90" fmla="*/ 128 w 330"/>
                <a:gd name="T91" fmla="*/ 268 h 268"/>
                <a:gd name="T92" fmla="*/ 120 w 330"/>
                <a:gd name="T93" fmla="*/ 250 h 268"/>
                <a:gd name="T94" fmla="*/ 106 w 330"/>
                <a:gd name="T95" fmla="*/ 232 h 268"/>
                <a:gd name="T96" fmla="*/ 96 w 330"/>
                <a:gd name="T97" fmla="*/ 212 h 268"/>
                <a:gd name="T98" fmla="*/ 88 w 330"/>
                <a:gd name="T99" fmla="*/ 202 h 268"/>
                <a:gd name="T100" fmla="*/ 76 w 330"/>
                <a:gd name="T101" fmla="*/ 200 h 268"/>
                <a:gd name="T102" fmla="*/ 68 w 330"/>
                <a:gd name="T103" fmla="*/ 184 h 268"/>
                <a:gd name="T104" fmla="*/ 68 w 330"/>
                <a:gd name="T105" fmla="*/ 160 h 268"/>
                <a:gd name="T106" fmla="*/ 56 w 330"/>
                <a:gd name="T107" fmla="*/ 142 h 268"/>
                <a:gd name="T108" fmla="*/ 42 w 330"/>
                <a:gd name="T109" fmla="*/ 136 h 268"/>
                <a:gd name="T110" fmla="*/ 38 w 330"/>
                <a:gd name="T111" fmla="*/ 126 h 268"/>
                <a:gd name="T112" fmla="*/ 38 w 330"/>
                <a:gd name="T113" fmla="*/ 114 h 268"/>
                <a:gd name="T114" fmla="*/ 18 w 330"/>
                <a:gd name="T115" fmla="*/ 90 h 268"/>
                <a:gd name="T116" fmla="*/ 8 w 330"/>
                <a:gd name="T117" fmla="*/ 70 h 268"/>
                <a:gd name="T118" fmla="*/ 0 w 330"/>
                <a:gd name="T119" fmla="*/ 68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30" h="268">
                  <a:moveTo>
                    <a:pt x="0" y="68"/>
                  </a:moveTo>
                  <a:lnTo>
                    <a:pt x="4" y="46"/>
                  </a:lnTo>
                  <a:lnTo>
                    <a:pt x="22" y="52"/>
                  </a:lnTo>
                  <a:lnTo>
                    <a:pt x="26" y="48"/>
                  </a:lnTo>
                  <a:lnTo>
                    <a:pt x="32" y="40"/>
                  </a:lnTo>
                  <a:lnTo>
                    <a:pt x="44" y="38"/>
                  </a:lnTo>
                  <a:lnTo>
                    <a:pt x="46" y="32"/>
                  </a:lnTo>
                  <a:lnTo>
                    <a:pt x="52" y="26"/>
                  </a:lnTo>
                  <a:lnTo>
                    <a:pt x="40" y="10"/>
                  </a:lnTo>
                  <a:lnTo>
                    <a:pt x="68" y="6"/>
                  </a:lnTo>
                  <a:lnTo>
                    <a:pt x="70" y="0"/>
                  </a:lnTo>
                  <a:lnTo>
                    <a:pt x="90" y="4"/>
                  </a:lnTo>
                  <a:lnTo>
                    <a:pt x="126" y="24"/>
                  </a:lnTo>
                  <a:lnTo>
                    <a:pt x="134" y="36"/>
                  </a:lnTo>
                  <a:lnTo>
                    <a:pt x="136" y="40"/>
                  </a:lnTo>
                  <a:lnTo>
                    <a:pt x="144" y="42"/>
                  </a:lnTo>
                  <a:lnTo>
                    <a:pt x="158" y="52"/>
                  </a:lnTo>
                  <a:lnTo>
                    <a:pt x="174" y="52"/>
                  </a:lnTo>
                  <a:lnTo>
                    <a:pt x="190" y="52"/>
                  </a:lnTo>
                  <a:lnTo>
                    <a:pt x="200" y="54"/>
                  </a:lnTo>
                  <a:lnTo>
                    <a:pt x="208" y="62"/>
                  </a:lnTo>
                  <a:lnTo>
                    <a:pt x="216" y="62"/>
                  </a:lnTo>
                  <a:lnTo>
                    <a:pt x="226" y="82"/>
                  </a:lnTo>
                  <a:lnTo>
                    <a:pt x="234" y="88"/>
                  </a:lnTo>
                  <a:lnTo>
                    <a:pt x="242" y="96"/>
                  </a:lnTo>
                  <a:lnTo>
                    <a:pt x="244" y="110"/>
                  </a:lnTo>
                  <a:lnTo>
                    <a:pt x="248" y="118"/>
                  </a:lnTo>
                  <a:lnTo>
                    <a:pt x="256" y="128"/>
                  </a:lnTo>
                  <a:lnTo>
                    <a:pt x="260" y="132"/>
                  </a:lnTo>
                  <a:lnTo>
                    <a:pt x="282" y="158"/>
                  </a:lnTo>
                  <a:lnTo>
                    <a:pt x="290" y="160"/>
                  </a:lnTo>
                  <a:lnTo>
                    <a:pt x="302" y="164"/>
                  </a:lnTo>
                  <a:lnTo>
                    <a:pt x="308" y="166"/>
                  </a:lnTo>
                  <a:lnTo>
                    <a:pt x="326" y="164"/>
                  </a:lnTo>
                  <a:lnTo>
                    <a:pt x="330" y="172"/>
                  </a:lnTo>
                  <a:lnTo>
                    <a:pt x="330" y="186"/>
                  </a:lnTo>
                  <a:lnTo>
                    <a:pt x="322" y="204"/>
                  </a:lnTo>
                  <a:lnTo>
                    <a:pt x="306" y="208"/>
                  </a:lnTo>
                  <a:lnTo>
                    <a:pt x="290" y="216"/>
                  </a:lnTo>
                  <a:lnTo>
                    <a:pt x="274" y="226"/>
                  </a:lnTo>
                  <a:lnTo>
                    <a:pt x="258" y="224"/>
                  </a:lnTo>
                  <a:lnTo>
                    <a:pt x="226" y="230"/>
                  </a:lnTo>
                  <a:lnTo>
                    <a:pt x="200" y="254"/>
                  </a:lnTo>
                  <a:lnTo>
                    <a:pt x="170" y="248"/>
                  </a:lnTo>
                  <a:lnTo>
                    <a:pt x="136" y="250"/>
                  </a:lnTo>
                  <a:lnTo>
                    <a:pt x="128" y="268"/>
                  </a:lnTo>
                  <a:lnTo>
                    <a:pt x="120" y="250"/>
                  </a:lnTo>
                  <a:lnTo>
                    <a:pt x="106" y="232"/>
                  </a:lnTo>
                  <a:lnTo>
                    <a:pt x="96" y="212"/>
                  </a:lnTo>
                  <a:lnTo>
                    <a:pt x="88" y="202"/>
                  </a:lnTo>
                  <a:lnTo>
                    <a:pt x="76" y="200"/>
                  </a:lnTo>
                  <a:lnTo>
                    <a:pt x="68" y="184"/>
                  </a:lnTo>
                  <a:lnTo>
                    <a:pt x="68" y="160"/>
                  </a:lnTo>
                  <a:lnTo>
                    <a:pt x="56" y="142"/>
                  </a:lnTo>
                  <a:lnTo>
                    <a:pt x="42" y="136"/>
                  </a:lnTo>
                  <a:lnTo>
                    <a:pt x="38" y="126"/>
                  </a:lnTo>
                  <a:lnTo>
                    <a:pt x="38" y="114"/>
                  </a:lnTo>
                  <a:lnTo>
                    <a:pt x="18" y="90"/>
                  </a:lnTo>
                  <a:lnTo>
                    <a:pt x="8" y="70"/>
                  </a:lnTo>
                  <a:lnTo>
                    <a:pt x="0" y="6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34" name="Freeform 127">
              <a:extLst>
                <a:ext uri="{FF2B5EF4-FFF2-40B4-BE49-F238E27FC236}">
                  <a16:creationId xmlns:a16="http://schemas.microsoft.com/office/drawing/2014/main" id="{FDB607A6-8958-4F29-8D04-2574ABB97934}"/>
                </a:ext>
              </a:extLst>
            </p:cNvPr>
            <p:cNvSpPr>
              <a:spLocks/>
            </p:cNvSpPr>
            <p:nvPr/>
          </p:nvSpPr>
          <p:spPr bwMode="gray">
            <a:xfrm>
              <a:off x="6738003" y="3811647"/>
              <a:ext cx="13209" cy="26557"/>
            </a:xfrm>
            <a:custGeom>
              <a:avLst/>
              <a:gdLst>
                <a:gd name="T0" fmla="*/ 8 w 8"/>
                <a:gd name="T1" fmla="*/ 0 h 16"/>
                <a:gd name="T2" fmla="*/ 2 w 8"/>
                <a:gd name="T3" fmla="*/ 0 h 16"/>
                <a:gd name="T4" fmla="*/ 0 w 8"/>
                <a:gd name="T5" fmla="*/ 4 h 16"/>
                <a:gd name="T6" fmla="*/ 0 w 8"/>
                <a:gd name="T7" fmla="*/ 10 h 16"/>
                <a:gd name="T8" fmla="*/ 2 w 8"/>
                <a:gd name="T9" fmla="*/ 16 h 16"/>
                <a:gd name="T10" fmla="*/ 6 w 8"/>
                <a:gd name="T11" fmla="*/ 16 h 16"/>
                <a:gd name="T12" fmla="*/ 8 w 8"/>
                <a:gd name="T13" fmla="*/ 8 h 16"/>
                <a:gd name="T14" fmla="*/ 8 w 8"/>
                <a:gd name="T15" fmla="*/ 2 h 16"/>
                <a:gd name="T16" fmla="*/ 8 w 8"/>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6">
                  <a:moveTo>
                    <a:pt x="8" y="0"/>
                  </a:moveTo>
                  <a:lnTo>
                    <a:pt x="2" y="0"/>
                  </a:lnTo>
                  <a:lnTo>
                    <a:pt x="0" y="4"/>
                  </a:lnTo>
                  <a:lnTo>
                    <a:pt x="0" y="10"/>
                  </a:lnTo>
                  <a:lnTo>
                    <a:pt x="2" y="16"/>
                  </a:lnTo>
                  <a:lnTo>
                    <a:pt x="6" y="16"/>
                  </a:lnTo>
                  <a:lnTo>
                    <a:pt x="8" y="8"/>
                  </a:lnTo>
                  <a:lnTo>
                    <a:pt x="8" y="2"/>
                  </a:lnTo>
                  <a:lnTo>
                    <a:pt x="8"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35" name="Freeform 128">
              <a:extLst>
                <a:ext uri="{FF2B5EF4-FFF2-40B4-BE49-F238E27FC236}">
                  <a16:creationId xmlns:a16="http://schemas.microsoft.com/office/drawing/2014/main" id="{B8353495-181E-4C4F-82A6-61DC67866717}"/>
                </a:ext>
              </a:extLst>
            </p:cNvPr>
            <p:cNvSpPr>
              <a:spLocks/>
            </p:cNvSpPr>
            <p:nvPr/>
          </p:nvSpPr>
          <p:spPr bwMode="gray">
            <a:xfrm>
              <a:off x="7154073" y="3994226"/>
              <a:ext cx="16510" cy="43155"/>
            </a:xfrm>
            <a:custGeom>
              <a:avLst/>
              <a:gdLst>
                <a:gd name="T0" fmla="*/ 0 w 10"/>
                <a:gd name="T1" fmla="*/ 22 h 26"/>
                <a:gd name="T2" fmla="*/ 0 w 10"/>
                <a:gd name="T3" fmla="*/ 10 h 26"/>
                <a:gd name="T4" fmla="*/ 4 w 10"/>
                <a:gd name="T5" fmla="*/ 0 h 26"/>
                <a:gd name="T6" fmla="*/ 8 w 10"/>
                <a:gd name="T7" fmla="*/ 0 h 26"/>
                <a:gd name="T8" fmla="*/ 10 w 10"/>
                <a:gd name="T9" fmla="*/ 8 h 26"/>
                <a:gd name="T10" fmla="*/ 10 w 10"/>
                <a:gd name="T11" fmla="*/ 14 h 26"/>
                <a:gd name="T12" fmla="*/ 8 w 10"/>
                <a:gd name="T13" fmla="*/ 22 h 26"/>
                <a:gd name="T14" fmla="*/ 4 w 10"/>
                <a:gd name="T15" fmla="*/ 26 h 26"/>
                <a:gd name="T16" fmla="*/ 0 w 10"/>
                <a:gd name="T17" fmla="*/ 2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26">
                  <a:moveTo>
                    <a:pt x="0" y="22"/>
                  </a:moveTo>
                  <a:lnTo>
                    <a:pt x="0" y="10"/>
                  </a:lnTo>
                  <a:lnTo>
                    <a:pt x="4" y="0"/>
                  </a:lnTo>
                  <a:lnTo>
                    <a:pt x="8" y="0"/>
                  </a:lnTo>
                  <a:lnTo>
                    <a:pt x="10" y="8"/>
                  </a:lnTo>
                  <a:lnTo>
                    <a:pt x="10" y="14"/>
                  </a:lnTo>
                  <a:lnTo>
                    <a:pt x="8" y="22"/>
                  </a:lnTo>
                  <a:lnTo>
                    <a:pt x="4" y="26"/>
                  </a:lnTo>
                  <a:lnTo>
                    <a:pt x="0" y="2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36" name="Freeform 129">
              <a:extLst>
                <a:ext uri="{FF2B5EF4-FFF2-40B4-BE49-F238E27FC236}">
                  <a16:creationId xmlns:a16="http://schemas.microsoft.com/office/drawing/2014/main" id="{F31F9323-A812-4616-80C9-47C07A21D7C0}"/>
                </a:ext>
              </a:extLst>
            </p:cNvPr>
            <p:cNvSpPr>
              <a:spLocks/>
            </p:cNvSpPr>
            <p:nvPr/>
          </p:nvSpPr>
          <p:spPr bwMode="gray">
            <a:xfrm>
              <a:off x="7140864" y="3980949"/>
              <a:ext cx="13209" cy="19918"/>
            </a:xfrm>
            <a:custGeom>
              <a:avLst/>
              <a:gdLst>
                <a:gd name="T0" fmla="*/ 0 w 8"/>
                <a:gd name="T1" fmla="*/ 0 h 12"/>
                <a:gd name="T2" fmla="*/ 8 w 8"/>
                <a:gd name="T3" fmla="*/ 2 h 12"/>
                <a:gd name="T4" fmla="*/ 4 w 8"/>
                <a:gd name="T5" fmla="*/ 12 h 12"/>
                <a:gd name="T6" fmla="*/ 0 w 8"/>
                <a:gd name="T7" fmla="*/ 0 h 12"/>
              </a:gdLst>
              <a:ahLst/>
              <a:cxnLst>
                <a:cxn ang="0">
                  <a:pos x="T0" y="T1"/>
                </a:cxn>
                <a:cxn ang="0">
                  <a:pos x="T2" y="T3"/>
                </a:cxn>
                <a:cxn ang="0">
                  <a:pos x="T4" y="T5"/>
                </a:cxn>
                <a:cxn ang="0">
                  <a:pos x="T6" y="T7"/>
                </a:cxn>
              </a:cxnLst>
              <a:rect l="0" t="0" r="r" b="b"/>
              <a:pathLst>
                <a:path w="8" h="12">
                  <a:moveTo>
                    <a:pt x="0" y="0"/>
                  </a:moveTo>
                  <a:lnTo>
                    <a:pt x="8" y="2"/>
                  </a:lnTo>
                  <a:lnTo>
                    <a:pt x="4" y="12"/>
                  </a:lnTo>
                  <a:lnTo>
                    <a:pt x="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grpSp>
          <p:nvGrpSpPr>
            <p:cNvPr id="1257" name="Group 1256">
              <a:extLst>
                <a:ext uri="{FF2B5EF4-FFF2-40B4-BE49-F238E27FC236}">
                  <a16:creationId xmlns:a16="http://schemas.microsoft.com/office/drawing/2014/main" id="{CBEC5149-7E3F-4489-B66A-993500B374F8}"/>
                </a:ext>
              </a:extLst>
            </p:cNvPr>
            <p:cNvGrpSpPr/>
            <p:nvPr/>
          </p:nvGrpSpPr>
          <p:grpSpPr>
            <a:xfrm>
              <a:off x="5411884" y="3671397"/>
              <a:ext cx="1739395" cy="1920749"/>
              <a:chOff x="5369265" y="3665581"/>
              <a:chExt cx="1794714" cy="1981836"/>
            </a:xfrm>
            <a:grpFill/>
          </p:grpSpPr>
          <p:sp>
            <p:nvSpPr>
              <p:cNvPr id="937" name="Freeform 130">
                <a:extLst>
                  <a:ext uri="{FF2B5EF4-FFF2-40B4-BE49-F238E27FC236}">
                    <a16:creationId xmlns:a16="http://schemas.microsoft.com/office/drawing/2014/main" id="{5D24B105-2F29-47CA-918E-E20DEF2A097C}"/>
                  </a:ext>
                </a:extLst>
              </p:cNvPr>
              <p:cNvSpPr>
                <a:spLocks/>
              </p:cNvSpPr>
              <p:nvPr/>
            </p:nvSpPr>
            <p:spPr bwMode="gray">
              <a:xfrm>
                <a:off x="6467227" y="3828244"/>
                <a:ext cx="283984" cy="285491"/>
              </a:xfrm>
              <a:custGeom>
                <a:avLst/>
                <a:gdLst>
                  <a:gd name="T0" fmla="*/ 6 w 172"/>
                  <a:gd name="T1" fmla="*/ 0 h 172"/>
                  <a:gd name="T2" fmla="*/ 16 w 172"/>
                  <a:gd name="T3" fmla="*/ 4 h 172"/>
                  <a:gd name="T4" fmla="*/ 24 w 172"/>
                  <a:gd name="T5" fmla="*/ 2 h 172"/>
                  <a:gd name="T6" fmla="*/ 48 w 172"/>
                  <a:gd name="T7" fmla="*/ 12 h 172"/>
                  <a:gd name="T8" fmla="*/ 66 w 172"/>
                  <a:gd name="T9" fmla="*/ 16 h 172"/>
                  <a:gd name="T10" fmla="*/ 80 w 172"/>
                  <a:gd name="T11" fmla="*/ 14 h 172"/>
                  <a:gd name="T12" fmla="*/ 90 w 172"/>
                  <a:gd name="T13" fmla="*/ 8 h 172"/>
                  <a:gd name="T14" fmla="*/ 112 w 172"/>
                  <a:gd name="T15" fmla="*/ 6 h 172"/>
                  <a:gd name="T16" fmla="*/ 122 w 172"/>
                  <a:gd name="T17" fmla="*/ 12 h 172"/>
                  <a:gd name="T18" fmla="*/ 134 w 172"/>
                  <a:gd name="T19" fmla="*/ 10 h 172"/>
                  <a:gd name="T20" fmla="*/ 150 w 172"/>
                  <a:gd name="T21" fmla="*/ 12 h 172"/>
                  <a:gd name="T22" fmla="*/ 154 w 172"/>
                  <a:gd name="T23" fmla="*/ 20 h 172"/>
                  <a:gd name="T24" fmla="*/ 162 w 172"/>
                  <a:gd name="T25" fmla="*/ 40 h 172"/>
                  <a:gd name="T26" fmla="*/ 158 w 172"/>
                  <a:gd name="T27" fmla="*/ 44 h 172"/>
                  <a:gd name="T28" fmla="*/ 152 w 172"/>
                  <a:gd name="T29" fmla="*/ 56 h 172"/>
                  <a:gd name="T30" fmla="*/ 150 w 172"/>
                  <a:gd name="T31" fmla="*/ 66 h 172"/>
                  <a:gd name="T32" fmla="*/ 146 w 172"/>
                  <a:gd name="T33" fmla="*/ 70 h 172"/>
                  <a:gd name="T34" fmla="*/ 140 w 172"/>
                  <a:gd name="T35" fmla="*/ 60 h 172"/>
                  <a:gd name="T36" fmla="*/ 136 w 172"/>
                  <a:gd name="T37" fmla="*/ 48 h 172"/>
                  <a:gd name="T38" fmla="*/ 130 w 172"/>
                  <a:gd name="T39" fmla="*/ 40 h 172"/>
                  <a:gd name="T40" fmla="*/ 126 w 172"/>
                  <a:gd name="T41" fmla="*/ 28 h 172"/>
                  <a:gd name="T42" fmla="*/ 122 w 172"/>
                  <a:gd name="T43" fmla="*/ 16 h 172"/>
                  <a:gd name="T44" fmla="*/ 122 w 172"/>
                  <a:gd name="T45" fmla="*/ 24 h 172"/>
                  <a:gd name="T46" fmla="*/ 124 w 172"/>
                  <a:gd name="T47" fmla="*/ 42 h 172"/>
                  <a:gd name="T48" fmla="*/ 128 w 172"/>
                  <a:gd name="T49" fmla="*/ 54 h 172"/>
                  <a:gd name="T50" fmla="*/ 136 w 172"/>
                  <a:gd name="T51" fmla="*/ 64 h 172"/>
                  <a:gd name="T52" fmla="*/ 142 w 172"/>
                  <a:gd name="T53" fmla="*/ 72 h 172"/>
                  <a:gd name="T54" fmla="*/ 150 w 172"/>
                  <a:gd name="T55" fmla="*/ 96 h 172"/>
                  <a:gd name="T56" fmla="*/ 170 w 172"/>
                  <a:gd name="T57" fmla="*/ 130 h 172"/>
                  <a:gd name="T58" fmla="*/ 172 w 172"/>
                  <a:gd name="T59" fmla="*/ 136 h 172"/>
                  <a:gd name="T60" fmla="*/ 172 w 172"/>
                  <a:gd name="T61" fmla="*/ 152 h 172"/>
                  <a:gd name="T62" fmla="*/ 164 w 172"/>
                  <a:gd name="T63" fmla="*/ 152 h 172"/>
                  <a:gd name="T64" fmla="*/ 144 w 172"/>
                  <a:gd name="T65" fmla="*/ 172 h 172"/>
                  <a:gd name="T66" fmla="*/ 134 w 172"/>
                  <a:gd name="T67" fmla="*/ 166 h 172"/>
                  <a:gd name="T68" fmla="*/ 6 w 172"/>
                  <a:gd name="T69" fmla="*/ 164 h 172"/>
                  <a:gd name="T70" fmla="*/ 6 w 172"/>
                  <a:gd name="T71" fmla="*/ 38 h 172"/>
                  <a:gd name="T72" fmla="*/ 2 w 172"/>
                  <a:gd name="T73" fmla="*/ 36 h 172"/>
                  <a:gd name="T74" fmla="*/ 0 w 172"/>
                  <a:gd name="T75" fmla="*/ 24 h 172"/>
                  <a:gd name="T76" fmla="*/ 6 w 172"/>
                  <a:gd name="T77" fmla="*/ 20 h 172"/>
                  <a:gd name="T78" fmla="*/ 6 w 172"/>
                  <a:gd name="T79"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72" h="172">
                    <a:moveTo>
                      <a:pt x="6" y="0"/>
                    </a:moveTo>
                    <a:lnTo>
                      <a:pt x="16" y="4"/>
                    </a:lnTo>
                    <a:lnTo>
                      <a:pt x="24" y="2"/>
                    </a:lnTo>
                    <a:lnTo>
                      <a:pt x="48" y="12"/>
                    </a:lnTo>
                    <a:lnTo>
                      <a:pt x="66" y="16"/>
                    </a:lnTo>
                    <a:lnTo>
                      <a:pt x="80" y="14"/>
                    </a:lnTo>
                    <a:lnTo>
                      <a:pt x="90" y="8"/>
                    </a:lnTo>
                    <a:lnTo>
                      <a:pt x="112" y="6"/>
                    </a:lnTo>
                    <a:lnTo>
                      <a:pt x="122" y="12"/>
                    </a:lnTo>
                    <a:lnTo>
                      <a:pt x="134" y="10"/>
                    </a:lnTo>
                    <a:lnTo>
                      <a:pt x="150" y="12"/>
                    </a:lnTo>
                    <a:lnTo>
                      <a:pt x="154" y="20"/>
                    </a:lnTo>
                    <a:lnTo>
                      <a:pt x="162" y="40"/>
                    </a:lnTo>
                    <a:lnTo>
                      <a:pt x="158" y="44"/>
                    </a:lnTo>
                    <a:lnTo>
                      <a:pt x="152" y="56"/>
                    </a:lnTo>
                    <a:lnTo>
                      <a:pt x="150" y="66"/>
                    </a:lnTo>
                    <a:lnTo>
                      <a:pt x="146" y="70"/>
                    </a:lnTo>
                    <a:lnTo>
                      <a:pt x="140" y="60"/>
                    </a:lnTo>
                    <a:lnTo>
                      <a:pt x="136" y="48"/>
                    </a:lnTo>
                    <a:lnTo>
                      <a:pt x="130" y="40"/>
                    </a:lnTo>
                    <a:lnTo>
                      <a:pt x="126" y="28"/>
                    </a:lnTo>
                    <a:lnTo>
                      <a:pt x="122" y="16"/>
                    </a:lnTo>
                    <a:lnTo>
                      <a:pt x="122" y="24"/>
                    </a:lnTo>
                    <a:lnTo>
                      <a:pt x="124" y="42"/>
                    </a:lnTo>
                    <a:lnTo>
                      <a:pt x="128" y="54"/>
                    </a:lnTo>
                    <a:lnTo>
                      <a:pt x="136" y="64"/>
                    </a:lnTo>
                    <a:lnTo>
                      <a:pt x="142" y="72"/>
                    </a:lnTo>
                    <a:lnTo>
                      <a:pt x="150" y="96"/>
                    </a:lnTo>
                    <a:lnTo>
                      <a:pt x="170" y="130"/>
                    </a:lnTo>
                    <a:lnTo>
                      <a:pt x="172" y="136"/>
                    </a:lnTo>
                    <a:lnTo>
                      <a:pt x="172" y="152"/>
                    </a:lnTo>
                    <a:lnTo>
                      <a:pt x="164" y="152"/>
                    </a:lnTo>
                    <a:lnTo>
                      <a:pt x="144" y="172"/>
                    </a:lnTo>
                    <a:lnTo>
                      <a:pt x="134" y="166"/>
                    </a:lnTo>
                    <a:lnTo>
                      <a:pt x="6" y="164"/>
                    </a:lnTo>
                    <a:lnTo>
                      <a:pt x="6" y="38"/>
                    </a:lnTo>
                    <a:lnTo>
                      <a:pt x="2" y="36"/>
                    </a:lnTo>
                    <a:lnTo>
                      <a:pt x="0" y="24"/>
                    </a:lnTo>
                    <a:lnTo>
                      <a:pt x="6" y="20"/>
                    </a:lnTo>
                    <a:lnTo>
                      <a:pt x="6"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38" name="Freeform 131">
                <a:extLst>
                  <a:ext uri="{FF2B5EF4-FFF2-40B4-BE49-F238E27FC236}">
                    <a16:creationId xmlns:a16="http://schemas.microsoft.com/office/drawing/2014/main" id="{BC1425CB-C18E-4618-A99F-CFED40E72133}"/>
                  </a:ext>
                </a:extLst>
              </p:cNvPr>
              <p:cNvSpPr>
                <a:spLocks/>
              </p:cNvSpPr>
              <p:nvPr/>
            </p:nvSpPr>
            <p:spPr bwMode="gray">
              <a:xfrm>
                <a:off x="6066016" y="3788408"/>
                <a:ext cx="411117" cy="368482"/>
              </a:xfrm>
              <a:custGeom>
                <a:avLst/>
                <a:gdLst>
                  <a:gd name="T0" fmla="*/ 35 w 249"/>
                  <a:gd name="T1" fmla="*/ 0 h 222"/>
                  <a:gd name="T2" fmla="*/ 51 w 249"/>
                  <a:gd name="T3" fmla="*/ 4 h 222"/>
                  <a:gd name="T4" fmla="*/ 79 w 249"/>
                  <a:gd name="T5" fmla="*/ 8 h 222"/>
                  <a:gd name="T6" fmla="*/ 93 w 249"/>
                  <a:gd name="T7" fmla="*/ 16 h 222"/>
                  <a:gd name="T8" fmla="*/ 99 w 249"/>
                  <a:gd name="T9" fmla="*/ 28 h 222"/>
                  <a:gd name="T10" fmla="*/ 107 w 249"/>
                  <a:gd name="T11" fmla="*/ 34 h 222"/>
                  <a:gd name="T12" fmla="*/ 125 w 249"/>
                  <a:gd name="T13" fmla="*/ 34 h 222"/>
                  <a:gd name="T14" fmla="*/ 137 w 249"/>
                  <a:gd name="T15" fmla="*/ 42 h 222"/>
                  <a:gd name="T16" fmla="*/ 157 w 249"/>
                  <a:gd name="T17" fmla="*/ 54 h 222"/>
                  <a:gd name="T18" fmla="*/ 171 w 249"/>
                  <a:gd name="T19" fmla="*/ 40 h 222"/>
                  <a:gd name="T20" fmla="*/ 173 w 249"/>
                  <a:gd name="T21" fmla="*/ 30 h 222"/>
                  <a:gd name="T22" fmla="*/ 167 w 249"/>
                  <a:gd name="T23" fmla="*/ 22 h 222"/>
                  <a:gd name="T24" fmla="*/ 177 w 249"/>
                  <a:gd name="T25" fmla="*/ 12 h 222"/>
                  <a:gd name="T26" fmla="*/ 191 w 249"/>
                  <a:gd name="T27" fmla="*/ 6 h 222"/>
                  <a:gd name="T28" fmla="*/ 209 w 249"/>
                  <a:gd name="T29" fmla="*/ 8 h 222"/>
                  <a:gd name="T30" fmla="*/ 223 w 249"/>
                  <a:gd name="T31" fmla="*/ 16 h 222"/>
                  <a:gd name="T32" fmla="*/ 237 w 249"/>
                  <a:gd name="T33" fmla="*/ 22 h 222"/>
                  <a:gd name="T34" fmla="*/ 249 w 249"/>
                  <a:gd name="T35" fmla="*/ 24 h 222"/>
                  <a:gd name="T36" fmla="*/ 249 w 249"/>
                  <a:gd name="T37" fmla="*/ 44 h 222"/>
                  <a:gd name="T38" fmla="*/ 243 w 249"/>
                  <a:gd name="T39" fmla="*/ 48 h 222"/>
                  <a:gd name="T40" fmla="*/ 245 w 249"/>
                  <a:gd name="T41" fmla="*/ 60 h 222"/>
                  <a:gd name="T42" fmla="*/ 249 w 249"/>
                  <a:gd name="T43" fmla="*/ 62 h 222"/>
                  <a:gd name="T44" fmla="*/ 249 w 249"/>
                  <a:gd name="T45" fmla="*/ 188 h 222"/>
                  <a:gd name="T46" fmla="*/ 249 w 249"/>
                  <a:gd name="T47" fmla="*/ 222 h 222"/>
                  <a:gd name="T48" fmla="*/ 231 w 249"/>
                  <a:gd name="T49" fmla="*/ 222 h 222"/>
                  <a:gd name="T50" fmla="*/ 97 w 249"/>
                  <a:gd name="T51" fmla="*/ 168 h 222"/>
                  <a:gd name="T52" fmla="*/ 91 w 249"/>
                  <a:gd name="T53" fmla="*/ 174 h 222"/>
                  <a:gd name="T54" fmla="*/ 79 w 249"/>
                  <a:gd name="T55" fmla="*/ 180 h 222"/>
                  <a:gd name="T56" fmla="*/ 69 w 249"/>
                  <a:gd name="T57" fmla="*/ 172 h 222"/>
                  <a:gd name="T58" fmla="*/ 59 w 249"/>
                  <a:gd name="T59" fmla="*/ 168 h 222"/>
                  <a:gd name="T60" fmla="*/ 43 w 249"/>
                  <a:gd name="T61" fmla="*/ 164 h 222"/>
                  <a:gd name="T62" fmla="*/ 37 w 249"/>
                  <a:gd name="T63" fmla="*/ 158 h 222"/>
                  <a:gd name="T64" fmla="*/ 33 w 249"/>
                  <a:gd name="T65" fmla="*/ 150 h 222"/>
                  <a:gd name="T66" fmla="*/ 14 w 249"/>
                  <a:gd name="T67" fmla="*/ 148 h 222"/>
                  <a:gd name="T68" fmla="*/ 8 w 249"/>
                  <a:gd name="T69" fmla="*/ 136 h 222"/>
                  <a:gd name="T70" fmla="*/ 4 w 249"/>
                  <a:gd name="T71" fmla="*/ 126 h 222"/>
                  <a:gd name="T72" fmla="*/ 0 w 249"/>
                  <a:gd name="T73" fmla="*/ 116 h 222"/>
                  <a:gd name="T74" fmla="*/ 8 w 249"/>
                  <a:gd name="T75" fmla="*/ 112 h 222"/>
                  <a:gd name="T76" fmla="*/ 8 w 249"/>
                  <a:gd name="T77" fmla="*/ 66 h 222"/>
                  <a:gd name="T78" fmla="*/ 4 w 249"/>
                  <a:gd name="T79" fmla="*/ 48 h 222"/>
                  <a:gd name="T80" fmla="*/ 12 w 249"/>
                  <a:gd name="T81" fmla="*/ 42 h 222"/>
                  <a:gd name="T82" fmla="*/ 12 w 249"/>
                  <a:gd name="T83" fmla="*/ 26 h 222"/>
                  <a:gd name="T84" fmla="*/ 33 w 249"/>
                  <a:gd name="T85" fmla="*/ 12 h 222"/>
                  <a:gd name="T86" fmla="*/ 35 w 249"/>
                  <a:gd name="T87" fmla="*/ 10 h 222"/>
                  <a:gd name="T88" fmla="*/ 35 w 249"/>
                  <a:gd name="T89" fmla="*/ 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49" h="222">
                    <a:moveTo>
                      <a:pt x="35" y="0"/>
                    </a:moveTo>
                    <a:lnTo>
                      <a:pt x="51" y="4"/>
                    </a:lnTo>
                    <a:lnTo>
                      <a:pt x="79" y="8"/>
                    </a:lnTo>
                    <a:lnTo>
                      <a:pt x="93" y="16"/>
                    </a:lnTo>
                    <a:lnTo>
                      <a:pt x="99" y="28"/>
                    </a:lnTo>
                    <a:lnTo>
                      <a:pt x="107" y="34"/>
                    </a:lnTo>
                    <a:lnTo>
                      <a:pt x="125" y="34"/>
                    </a:lnTo>
                    <a:lnTo>
                      <a:pt x="137" y="42"/>
                    </a:lnTo>
                    <a:lnTo>
                      <a:pt x="157" y="54"/>
                    </a:lnTo>
                    <a:lnTo>
                      <a:pt x="171" y="40"/>
                    </a:lnTo>
                    <a:lnTo>
                      <a:pt x="173" y="30"/>
                    </a:lnTo>
                    <a:lnTo>
                      <a:pt x="167" y="22"/>
                    </a:lnTo>
                    <a:lnTo>
                      <a:pt x="177" y="12"/>
                    </a:lnTo>
                    <a:lnTo>
                      <a:pt x="191" y="6"/>
                    </a:lnTo>
                    <a:lnTo>
                      <a:pt x="209" y="8"/>
                    </a:lnTo>
                    <a:lnTo>
                      <a:pt x="223" y="16"/>
                    </a:lnTo>
                    <a:lnTo>
                      <a:pt x="237" y="22"/>
                    </a:lnTo>
                    <a:lnTo>
                      <a:pt x="249" y="24"/>
                    </a:lnTo>
                    <a:lnTo>
                      <a:pt x="249" y="44"/>
                    </a:lnTo>
                    <a:lnTo>
                      <a:pt x="243" y="48"/>
                    </a:lnTo>
                    <a:lnTo>
                      <a:pt x="245" y="60"/>
                    </a:lnTo>
                    <a:lnTo>
                      <a:pt x="249" y="62"/>
                    </a:lnTo>
                    <a:lnTo>
                      <a:pt x="249" y="188"/>
                    </a:lnTo>
                    <a:lnTo>
                      <a:pt x="249" y="222"/>
                    </a:lnTo>
                    <a:lnTo>
                      <a:pt x="231" y="222"/>
                    </a:lnTo>
                    <a:lnTo>
                      <a:pt x="97" y="168"/>
                    </a:lnTo>
                    <a:lnTo>
                      <a:pt x="91" y="174"/>
                    </a:lnTo>
                    <a:lnTo>
                      <a:pt x="79" y="180"/>
                    </a:lnTo>
                    <a:lnTo>
                      <a:pt x="69" y="172"/>
                    </a:lnTo>
                    <a:lnTo>
                      <a:pt x="59" y="168"/>
                    </a:lnTo>
                    <a:lnTo>
                      <a:pt x="43" y="164"/>
                    </a:lnTo>
                    <a:lnTo>
                      <a:pt x="37" y="158"/>
                    </a:lnTo>
                    <a:lnTo>
                      <a:pt x="33" y="150"/>
                    </a:lnTo>
                    <a:lnTo>
                      <a:pt x="14" y="148"/>
                    </a:lnTo>
                    <a:lnTo>
                      <a:pt x="8" y="136"/>
                    </a:lnTo>
                    <a:lnTo>
                      <a:pt x="4" y="126"/>
                    </a:lnTo>
                    <a:lnTo>
                      <a:pt x="0" y="116"/>
                    </a:lnTo>
                    <a:lnTo>
                      <a:pt x="8" y="112"/>
                    </a:lnTo>
                    <a:lnTo>
                      <a:pt x="8" y="66"/>
                    </a:lnTo>
                    <a:lnTo>
                      <a:pt x="4" y="48"/>
                    </a:lnTo>
                    <a:lnTo>
                      <a:pt x="12" y="42"/>
                    </a:lnTo>
                    <a:lnTo>
                      <a:pt x="12" y="26"/>
                    </a:lnTo>
                    <a:lnTo>
                      <a:pt x="33" y="12"/>
                    </a:lnTo>
                    <a:lnTo>
                      <a:pt x="35" y="10"/>
                    </a:lnTo>
                    <a:lnTo>
                      <a:pt x="35"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39" name="Freeform 132">
                <a:extLst>
                  <a:ext uri="{FF2B5EF4-FFF2-40B4-BE49-F238E27FC236}">
                    <a16:creationId xmlns:a16="http://schemas.microsoft.com/office/drawing/2014/main" id="{B00C06F7-0EEE-43FF-A767-2BF63E6F4C74}"/>
                  </a:ext>
                </a:extLst>
              </p:cNvPr>
              <p:cNvSpPr>
                <a:spLocks/>
              </p:cNvSpPr>
              <p:nvPr/>
            </p:nvSpPr>
            <p:spPr bwMode="gray">
              <a:xfrm>
                <a:off x="6016485" y="3665581"/>
                <a:ext cx="107320" cy="202500"/>
              </a:xfrm>
              <a:custGeom>
                <a:avLst/>
                <a:gdLst>
                  <a:gd name="T0" fmla="*/ 16 w 65"/>
                  <a:gd name="T1" fmla="*/ 6 h 122"/>
                  <a:gd name="T2" fmla="*/ 30 w 65"/>
                  <a:gd name="T3" fmla="*/ 0 h 122"/>
                  <a:gd name="T4" fmla="*/ 38 w 65"/>
                  <a:gd name="T5" fmla="*/ 0 h 122"/>
                  <a:gd name="T6" fmla="*/ 42 w 65"/>
                  <a:gd name="T7" fmla="*/ 8 h 122"/>
                  <a:gd name="T8" fmla="*/ 48 w 65"/>
                  <a:gd name="T9" fmla="*/ 10 h 122"/>
                  <a:gd name="T10" fmla="*/ 54 w 65"/>
                  <a:gd name="T11" fmla="*/ 6 h 122"/>
                  <a:gd name="T12" fmla="*/ 58 w 65"/>
                  <a:gd name="T13" fmla="*/ 8 h 122"/>
                  <a:gd name="T14" fmla="*/ 56 w 65"/>
                  <a:gd name="T15" fmla="*/ 14 h 122"/>
                  <a:gd name="T16" fmla="*/ 50 w 65"/>
                  <a:gd name="T17" fmla="*/ 16 h 122"/>
                  <a:gd name="T18" fmla="*/ 46 w 65"/>
                  <a:gd name="T19" fmla="*/ 24 h 122"/>
                  <a:gd name="T20" fmla="*/ 50 w 65"/>
                  <a:gd name="T21" fmla="*/ 28 h 122"/>
                  <a:gd name="T22" fmla="*/ 58 w 65"/>
                  <a:gd name="T23" fmla="*/ 32 h 122"/>
                  <a:gd name="T24" fmla="*/ 58 w 65"/>
                  <a:gd name="T25" fmla="*/ 38 h 122"/>
                  <a:gd name="T26" fmla="*/ 52 w 65"/>
                  <a:gd name="T27" fmla="*/ 44 h 122"/>
                  <a:gd name="T28" fmla="*/ 46 w 65"/>
                  <a:gd name="T29" fmla="*/ 46 h 122"/>
                  <a:gd name="T30" fmla="*/ 40 w 65"/>
                  <a:gd name="T31" fmla="*/ 54 h 122"/>
                  <a:gd name="T32" fmla="*/ 44 w 65"/>
                  <a:gd name="T33" fmla="*/ 64 h 122"/>
                  <a:gd name="T34" fmla="*/ 54 w 65"/>
                  <a:gd name="T35" fmla="*/ 64 h 122"/>
                  <a:gd name="T36" fmla="*/ 58 w 65"/>
                  <a:gd name="T37" fmla="*/ 70 h 122"/>
                  <a:gd name="T38" fmla="*/ 65 w 65"/>
                  <a:gd name="T39" fmla="*/ 74 h 122"/>
                  <a:gd name="T40" fmla="*/ 65 w 65"/>
                  <a:gd name="T41" fmla="*/ 84 h 122"/>
                  <a:gd name="T42" fmla="*/ 42 w 65"/>
                  <a:gd name="T43" fmla="*/ 100 h 122"/>
                  <a:gd name="T44" fmla="*/ 42 w 65"/>
                  <a:gd name="T45" fmla="*/ 116 h 122"/>
                  <a:gd name="T46" fmla="*/ 34 w 65"/>
                  <a:gd name="T47" fmla="*/ 122 h 122"/>
                  <a:gd name="T48" fmla="*/ 28 w 65"/>
                  <a:gd name="T49" fmla="*/ 120 h 122"/>
                  <a:gd name="T50" fmla="*/ 26 w 65"/>
                  <a:gd name="T51" fmla="*/ 108 h 122"/>
                  <a:gd name="T52" fmla="*/ 24 w 65"/>
                  <a:gd name="T53" fmla="*/ 92 h 122"/>
                  <a:gd name="T54" fmla="*/ 10 w 65"/>
                  <a:gd name="T55" fmla="*/ 76 h 122"/>
                  <a:gd name="T56" fmla="*/ 0 w 65"/>
                  <a:gd name="T57" fmla="*/ 64 h 122"/>
                  <a:gd name="T58" fmla="*/ 0 w 65"/>
                  <a:gd name="T59" fmla="*/ 56 h 122"/>
                  <a:gd name="T60" fmla="*/ 12 w 65"/>
                  <a:gd name="T61" fmla="*/ 46 h 122"/>
                  <a:gd name="T62" fmla="*/ 12 w 65"/>
                  <a:gd name="T63" fmla="*/ 10 h 122"/>
                  <a:gd name="T64" fmla="*/ 16 w 65"/>
                  <a:gd name="T65" fmla="*/ 6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5" h="122">
                    <a:moveTo>
                      <a:pt x="16" y="6"/>
                    </a:moveTo>
                    <a:lnTo>
                      <a:pt x="30" y="0"/>
                    </a:lnTo>
                    <a:lnTo>
                      <a:pt x="38" y="0"/>
                    </a:lnTo>
                    <a:lnTo>
                      <a:pt x="42" y="8"/>
                    </a:lnTo>
                    <a:lnTo>
                      <a:pt x="48" y="10"/>
                    </a:lnTo>
                    <a:lnTo>
                      <a:pt x="54" y="6"/>
                    </a:lnTo>
                    <a:lnTo>
                      <a:pt x="58" y="8"/>
                    </a:lnTo>
                    <a:lnTo>
                      <a:pt x="56" y="14"/>
                    </a:lnTo>
                    <a:lnTo>
                      <a:pt x="50" y="16"/>
                    </a:lnTo>
                    <a:lnTo>
                      <a:pt x="46" y="24"/>
                    </a:lnTo>
                    <a:lnTo>
                      <a:pt x="50" y="28"/>
                    </a:lnTo>
                    <a:lnTo>
                      <a:pt x="58" y="32"/>
                    </a:lnTo>
                    <a:lnTo>
                      <a:pt x="58" y="38"/>
                    </a:lnTo>
                    <a:lnTo>
                      <a:pt x="52" y="44"/>
                    </a:lnTo>
                    <a:lnTo>
                      <a:pt x="46" y="46"/>
                    </a:lnTo>
                    <a:lnTo>
                      <a:pt x="40" y="54"/>
                    </a:lnTo>
                    <a:lnTo>
                      <a:pt x="44" y="64"/>
                    </a:lnTo>
                    <a:lnTo>
                      <a:pt x="54" y="64"/>
                    </a:lnTo>
                    <a:lnTo>
                      <a:pt x="58" y="70"/>
                    </a:lnTo>
                    <a:lnTo>
                      <a:pt x="65" y="74"/>
                    </a:lnTo>
                    <a:lnTo>
                      <a:pt x="65" y="84"/>
                    </a:lnTo>
                    <a:lnTo>
                      <a:pt x="42" y="100"/>
                    </a:lnTo>
                    <a:lnTo>
                      <a:pt x="42" y="116"/>
                    </a:lnTo>
                    <a:lnTo>
                      <a:pt x="34" y="122"/>
                    </a:lnTo>
                    <a:lnTo>
                      <a:pt x="28" y="120"/>
                    </a:lnTo>
                    <a:lnTo>
                      <a:pt x="26" y="108"/>
                    </a:lnTo>
                    <a:lnTo>
                      <a:pt x="24" y="92"/>
                    </a:lnTo>
                    <a:lnTo>
                      <a:pt x="10" y="76"/>
                    </a:lnTo>
                    <a:lnTo>
                      <a:pt x="0" y="64"/>
                    </a:lnTo>
                    <a:lnTo>
                      <a:pt x="0" y="56"/>
                    </a:lnTo>
                    <a:lnTo>
                      <a:pt x="12" y="46"/>
                    </a:lnTo>
                    <a:lnTo>
                      <a:pt x="12" y="10"/>
                    </a:lnTo>
                    <a:lnTo>
                      <a:pt x="16" y="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40" name="Freeform 133">
                <a:extLst>
                  <a:ext uri="{FF2B5EF4-FFF2-40B4-BE49-F238E27FC236}">
                    <a16:creationId xmlns:a16="http://schemas.microsoft.com/office/drawing/2014/main" id="{4B7ADB65-23BD-4E79-9E9F-5CFA236DCA6F}"/>
                  </a:ext>
                </a:extLst>
              </p:cNvPr>
              <p:cNvSpPr>
                <a:spLocks/>
              </p:cNvSpPr>
              <p:nvPr/>
            </p:nvSpPr>
            <p:spPr bwMode="gray">
              <a:xfrm>
                <a:off x="5590507" y="3675540"/>
                <a:ext cx="546505" cy="514547"/>
              </a:xfrm>
              <a:custGeom>
                <a:avLst/>
                <a:gdLst>
                  <a:gd name="T0" fmla="*/ 0 w 331"/>
                  <a:gd name="T1" fmla="*/ 164 h 310"/>
                  <a:gd name="T2" fmla="*/ 0 w 331"/>
                  <a:gd name="T3" fmla="*/ 146 h 310"/>
                  <a:gd name="T4" fmla="*/ 32 w 331"/>
                  <a:gd name="T5" fmla="*/ 126 h 310"/>
                  <a:gd name="T6" fmla="*/ 54 w 331"/>
                  <a:gd name="T7" fmla="*/ 124 h 310"/>
                  <a:gd name="T8" fmla="*/ 78 w 331"/>
                  <a:gd name="T9" fmla="*/ 104 h 310"/>
                  <a:gd name="T10" fmla="*/ 80 w 331"/>
                  <a:gd name="T11" fmla="*/ 96 h 310"/>
                  <a:gd name="T12" fmla="*/ 96 w 331"/>
                  <a:gd name="T13" fmla="*/ 86 h 310"/>
                  <a:gd name="T14" fmla="*/ 120 w 331"/>
                  <a:gd name="T15" fmla="*/ 84 h 310"/>
                  <a:gd name="T16" fmla="*/ 120 w 331"/>
                  <a:gd name="T17" fmla="*/ 76 h 310"/>
                  <a:gd name="T18" fmla="*/ 112 w 331"/>
                  <a:gd name="T19" fmla="*/ 66 h 310"/>
                  <a:gd name="T20" fmla="*/ 112 w 331"/>
                  <a:gd name="T21" fmla="*/ 40 h 310"/>
                  <a:gd name="T22" fmla="*/ 110 w 331"/>
                  <a:gd name="T23" fmla="*/ 34 h 310"/>
                  <a:gd name="T24" fmla="*/ 126 w 331"/>
                  <a:gd name="T25" fmla="*/ 22 h 310"/>
                  <a:gd name="T26" fmla="*/ 138 w 331"/>
                  <a:gd name="T27" fmla="*/ 20 h 310"/>
                  <a:gd name="T28" fmla="*/ 154 w 331"/>
                  <a:gd name="T29" fmla="*/ 10 h 310"/>
                  <a:gd name="T30" fmla="*/ 180 w 331"/>
                  <a:gd name="T31" fmla="*/ 6 h 310"/>
                  <a:gd name="T32" fmla="*/ 204 w 331"/>
                  <a:gd name="T33" fmla="*/ 2 h 310"/>
                  <a:gd name="T34" fmla="*/ 218 w 331"/>
                  <a:gd name="T35" fmla="*/ 4 h 310"/>
                  <a:gd name="T36" fmla="*/ 226 w 331"/>
                  <a:gd name="T37" fmla="*/ 6 h 310"/>
                  <a:gd name="T38" fmla="*/ 238 w 331"/>
                  <a:gd name="T39" fmla="*/ 0 h 310"/>
                  <a:gd name="T40" fmla="*/ 254 w 331"/>
                  <a:gd name="T41" fmla="*/ 0 h 310"/>
                  <a:gd name="T42" fmla="*/ 262 w 331"/>
                  <a:gd name="T43" fmla="*/ 0 h 310"/>
                  <a:gd name="T44" fmla="*/ 270 w 331"/>
                  <a:gd name="T45" fmla="*/ 4 h 310"/>
                  <a:gd name="T46" fmla="*/ 270 w 331"/>
                  <a:gd name="T47" fmla="*/ 40 h 310"/>
                  <a:gd name="T48" fmla="*/ 258 w 331"/>
                  <a:gd name="T49" fmla="*/ 50 h 310"/>
                  <a:gd name="T50" fmla="*/ 258 w 331"/>
                  <a:gd name="T51" fmla="*/ 58 h 310"/>
                  <a:gd name="T52" fmla="*/ 282 w 331"/>
                  <a:gd name="T53" fmla="*/ 86 h 310"/>
                  <a:gd name="T54" fmla="*/ 286 w 331"/>
                  <a:gd name="T55" fmla="*/ 114 h 310"/>
                  <a:gd name="T56" fmla="*/ 292 w 331"/>
                  <a:gd name="T57" fmla="*/ 116 h 310"/>
                  <a:gd name="T58" fmla="*/ 294 w 331"/>
                  <a:gd name="T59" fmla="*/ 132 h 310"/>
                  <a:gd name="T60" fmla="*/ 296 w 331"/>
                  <a:gd name="T61" fmla="*/ 180 h 310"/>
                  <a:gd name="T62" fmla="*/ 288 w 331"/>
                  <a:gd name="T63" fmla="*/ 184 h 310"/>
                  <a:gd name="T64" fmla="*/ 292 w 331"/>
                  <a:gd name="T65" fmla="*/ 194 h 310"/>
                  <a:gd name="T66" fmla="*/ 302 w 331"/>
                  <a:gd name="T67" fmla="*/ 216 h 310"/>
                  <a:gd name="T68" fmla="*/ 321 w 331"/>
                  <a:gd name="T69" fmla="*/ 218 h 310"/>
                  <a:gd name="T70" fmla="*/ 325 w 331"/>
                  <a:gd name="T71" fmla="*/ 226 h 310"/>
                  <a:gd name="T72" fmla="*/ 331 w 331"/>
                  <a:gd name="T73" fmla="*/ 232 h 310"/>
                  <a:gd name="T74" fmla="*/ 264 w 331"/>
                  <a:gd name="T75" fmla="*/ 272 h 310"/>
                  <a:gd name="T76" fmla="*/ 226 w 331"/>
                  <a:gd name="T77" fmla="*/ 304 h 310"/>
                  <a:gd name="T78" fmla="*/ 206 w 331"/>
                  <a:gd name="T79" fmla="*/ 308 h 310"/>
                  <a:gd name="T80" fmla="*/ 188 w 331"/>
                  <a:gd name="T81" fmla="*/ 310 h 310"/>
                  <a:gd name="T82" fmla="*/ 190 w 331"/>
                  <a:gd name="T83" fmla="*/ 294 h 310"/>
                  <a:gd name="T84" fmla="*/ 170 w 331"/>
                  <a:gd name="T85" fmla="*/ 286 h 310"/>
                  <a:gd name="T86" fmla="*/ 160 w 331"/>
                  <a:gd name="T87" fmla="*/ 276 h 310"/>
                  <a:gd name="T88" fmla="*/ 0 w 331"/>
                  <a:gd name="T89" fmla="*/ 164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31" h="310">
                    <a:moveTo>
                      <a:pt x="0" y="164"/>
                    </a:moveTo>
                    <a:lnTo>
                      <a:pt x="0" y="146"/>
                    </a:lnTo>
                    <a:lnTo>
                      <a:pt x="32" y="126"/>
                    </a:lnTo>
                    <a:lnTo>
                      <a:pt x="54" y="124"/>
                    </a:lnTo>
                    <a:lnTo>
                      <a:pt x="78" y="104"/>
                    </a:lnTo>
                    <a:lnTo>
                      <a:pt x="80" y="96"/>
                    </a:lnTo>
                    <a:lnTo>
                      <a:pt x="96" y="86"/>
                    </a:lnTo>
                    <a:lnTo>
                      <a:pt x="120" y="84"/>
                    </a:lnTo>
                    <a:lnTo>
                      <a:pt x="120" y="76"/>
                    </a:lnTo>
                    <a:lnTo>
                      <a:pt x="112" y="66"/>
                    </a:lnTo>
                    <a:lnTo>
                      <a:pt x="112" y="40"/>
                    </a:lnTo>
                    <a:lnTo>
                      <a:pt x="110" y="34"/>
                    </a:lnTo>
                    <a:lnTo>
                      <a:pt x="126" y="22"/>
                    </a:lnTo>
                    <a:lnTo>
                      <a:pt x="138" y="20"/>
                    </a:lnTo>
                    <a:lnTo>
                      <a:pt x="154" y="10"/>
                    </a:lnTo>
                    <a:lnTo>
                      <a:pt x="180" y="6"/>
                    </a:lnTo>
                    <a:lnTo>
                      <a:pt x="204" y="2"/>
                    </a:lnTo>
                    <a:lnTo>
                      <a:pt x="218" y="4"/>
                    </a:lnTo>
                    <a:lnTo>
                      <a:pt x="226" y="6"/>
                    </a:lnTo>
                    <a:lnTo>
                      <a:pt x="238" y="0"/>
                    </a:lnTo>
                    <a:lnTo>
                      <a:pt x="254" y="0"/>
                    </a:lnTo>
                    <a:lnTo>
                      <a:pt x="262" y="0"/>
                    </a:lnTo>
                    <a:lnTo>
                      <a:pt x="270" y="4"/>
                    </a:lnTo>
                    <a:lnTo>
                      <a:pt x="270" y="40"/>
                    </a:lnTo>
                    <a:lnTo>
                      <a:pt x="258" y="50"/>
                    </a:lnTo>
                    <a:lnTo>
                      <a:pt x="258" y="58"/>
                    </a:lnTo>
                    <a:lnTo>
                      <a:pt x="282" y="86"/>
                    </a:lnTo>
                    <a:lnTo>
                      <a:pt x="286" y="114"/>
                    </a:lnTo>
                    <a:lnTo>
                      <a:pt x="292" y="116"/>
                    </a:lnTo>
                    <a:lnTo>
                      <a:pt x="294" y="132"/>
                    </a:lnTo>
                    <a:lnTo>
                      <a:pt x="296" y="180"/>
                    </a:lnTo>
                    <a:lnTo>
                      <a:pt x="288" y="184"/>
                    </a:lnTo>
                    <a:lnTo>
                      <a:pt x="292" y="194"/>
                    </a:lnTo>
                    <a:lnTo>
                      <a:pt x="302" y="216"/>
                    </a:lnTo>
                    <a:lnTo>
                      <a:pt x="321" y="218"/>
                    </a:lnTo>
                    <a:lnTo>
                      <a:pt x="325" y="226"/>
                    </a:lnTo>
                    <a:lnTo>
                      <a:pt x="331" y="232"/>
                    </a:lnTo>
                    <a:lnTo>
                      <a:pt x="264" y="272"/>
                    </a:lnTo>
                    <a:lnTo>
                      <a:pt x="226" y="304"/>
                    </a:lnTo>
                    <a:lnTo>
                      <a:pt x="206" y="308"/>
                    </a:lnTo>
                    <a:lnTo>
                      <a:pt x="188" y="310"/>
                    </a:lnTo>
                    <a:lnTo>
                      <a:pt x="190" y="294"/>
                    </a:lnTo>
                    <a:lnTo>
                      <a:pt x="170" y="286"/>
                    </a:lnTo>
                    <a:lnTo>
                      <a:pt x="160" y="276"/>
                    </a:lnTo>
                    <a:lnTo>
                      <a:pt x="0" y="16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41" name="Freeform 134">
                <a:extLst>
                  <a:ext uri="{FF2B5EF4-FFF2-40B4-BE49-F238E27FC236}">
                    <a16:creationId xmlns:a16="http://schemas.microsoft.com/office/drawing/2014/main" id="{27D8226A-7FA7-4A5F-9C0D-0E6BACEFD5EF}"/>
                  </a:ext>
                </a:extLst>
              </p:cNvPr>
              <p:cNvSpPr>
                <a:spLocks/>
              </p:cNvSpPr>
              <p:nvPr/>
            </p:nvSpPr>
            <p:spPr bwMode="gray">
              <a:xfrm>
                <a:off x="5478235" y="3708737"/>
                <a:ext cx="310401" cy="239015"/>
              </a:xfrm>
              <a:custGeom>
                <a:avLst/>
                <a:gdLst>
                  <a:gd name="T0" fmla="*/ 68 w 188"/>
                  <a:gd name="T1" fmla="*/ 144 h 144"/>
                  <a:gd name="T2" fmla="*/ 0 w 188"/>
                  <a:gd name="T3" fmla="*/ 144 h 144"/>
                  <a:gd name="T4" fmla="*/ 10 w 188"/>
                  <a:gd name="T5" fmla="*/ 138 h 144"/>
                  <a:gd name="T6" fmla="*/ 28 w 188"/>
                  <a:gd name="T7" fmla="*/ 128 h 144"/>
                  <a:gd name="T8" fmla="*/ 50 w 188"/>
                  <a:gd name="T9" fmla="*/ 110 h 144"/>
                  <a:gd name="T10" fmla="*/ 52 w 188"/>
                  <a:gd name="T11" fmla="*/ 104 h 144"/>
                  <a:gd name="T12" fmla="*/ 52 w 188"/>
                  <a:gd name="T13" fmla="*/ 68 h 144"/>
                  <a:gd name="T14" fmla="*/ 62 w 188"/>
                  <a:gd name="T15" fmla="*/ 56 h 144"/>
                  <a:gd name="T16" fmla="*/ 74 w 188"/>
                  <a:gd name="T17" fmla="*/ 44 h 144"/>
                  <a:gd name="T18" fmla="*/ 88 w 188"/>
                  <a:gd name="T19" fmla="*/ 40 h 144"/>
                  <a:gd name="T20" fmla="*/ 102 w 188"/>
                  <a:gd name="T21" fmla="*/ 30 h 144"/>
                  <a:gd name="T22" fmla="*/ 108 w 188"/>
                  <a:gd name="T23" fmla="*/ 14 h 144"/>
                  <a:gd name="T24" fmla="*/ 112 w 188"/>
                  <a:gd name="T25" fmla="*/ 4 h 144"/>
                  <a:gd name="T26" fmla="*/ 116 w 188"/>
                  <a:gd name="T27" fmla="*/ 0 h 144"/>
                  <a:gd name="T28" fmla="*/ 122 w 188"/>
                  <a:gd name="T29" fmla="*/ 0 h 144"/>
                  <a:gd name="T30" fmla="*/ 126 w 188"/>
                  <a:gd name="T31" fmla="*/ 8 h 144"/>
                  <a:gd name="T32" fmla="*/ 132 w 188"/>
                  <a:gd name="T33" fmla="*/ 12 h 144"/>
                  <a:gd name="T34" fmla="*/ 154 w 188"/>
                  <a:gd name="T35" fmla="*/ 10 h 144"/>
                  <a:gd name="T36" fmla="*/ 164 w 188"/>
                  <a:gd name="T37" fmla="*/ 10 h 144"/>
                  <a:gd name="T38" fmla="*/ 168 w 188"/>
                  <a:gd name="T39" fmla="*/ 14 h 144"/>
                  <a:gd name="T40" fmla="*/ 178 w 188"/>
                  <a:gd name="T41" fmla="*/ 14 h 144"/>
                  <a:gd name="T42" fmla="*/ 180 w 188"/>
                  <a:gd name="T43" fmla="*/ 20 h 144"/>
                  <a:gd name="T44" fmla="*/ 180 w 188"/>
                  <a:gd name="T45" fmla="*/ 46 h 144"/>
                  <a:gd name="T46" fmla="*/ 188 w 188"/>
                  <a:gd name="T47" fmla="*/ 56 h 144"/>
                  <a:gd name="T48" fmla="*/ 188 w 188"/>
                  <a:gd name="T49" fmla="*/ 64 h 144"/>
                  <a:gd name="T50" fmla="*/ 164 w 188"/>
                  <a:gd name="T51" fmla="*/ 66 h 144"/>
                  <a:gd name="T52" fmla="*/ 148 w 188"/>
                  <a:gd name="T53" fmla="*/ 76 h 144"/>
                  <a:gd name="T54" fmla="*/ 146 w 188"/>
                  <a:gd name="T55" fmla="*/ 84 h 144"/>
                  <a:gd name="T56" fmla="*/ 122 w 188"/>
                  <a:gd name="T57" fmla="*/ 104 h 144"/>
                  <a:gd name="T58" fmla="*/ 100 w 188"/>
                  <a:gd name="T59" fmla="*/ 106 h 144"/>
                  <a:gd name="T60" fmla="*/ 68 w 188"/>
                  <a:gd name="T61" fmla="*/ 126 h 144"/>
                  <a:gd name="T62" fmla="*/ 68 w 188"/>
                  <a:gd name="T63"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8" h="144">
                    <a:moveTo>
                      <a:pt x="68" y="144"/>
                    </a:moveTo>
                    <a:lnTo>
                      <a:pt x="0" y="144"/>
                    </a:lnTo>
                    <a:lnTo>
                      <a:pt x="10" y="138"/>
                    </a:lnTo>
                    <a:lnTo>
                      <a:pt x="28" y="128"/>
                    </a:lnTo>
                    <a:lnTo>
                      <a:pt x="50" y="110"/>
                    </a:lnTo>
                    <a:lnTo>
                      <a:pt x="52" y="104"/>
                    </a:lnTo>
                    <a:lnTo>
                      <a:pt x="52" y="68"/>
                    </a:lnTo>
                    <a:lnTo>
                      <a:pt x="62" y="56"/>
                    </a:lnTo>
                    <a:lnTo>
                      <a:pt x="74" y="44"/>
                    </a:lnTo>
                    <a:lnTo>
                      <a:pt x="88" y="40"/>
                    </a:lnTo>
                    <a:lnTo>
                      <a:pt x="102" y="30"/>
                    </a:lnTo>
                    <a:lnTo>
                      <a:pt x="108" y="14"/>
                    </a:lnTo>
                    <a:lnTo>
                      <a:pt x="112" y="4"/>
                    </a:lnTo>
                    <a:lnTo>
                      <a:pt x="116" y="0"/>
                    </a:lnTo>
                    <a:lnTo>
                      <a:pt x="122" y="0"/>
                    </a:lnTo>
                    <a:lnTo>
                      <a:pt x="126" y="8"/>
                    </a:lnTo>
                    <a:lnTo>
                      <a:pt x="132" y="12"/>
                    </a:lnTo>
                    <a:lnTo>
                      <a:pt x="154" y="10"/>
                    </a:lnTo>
                    <a:lnTo>
                      <a:pt x="164" y="10"/>
                    </a:lnTo>
                    <a:lnTo>
                      <a:pt x="168" y="14"/>
                    </a:lnTo>
                    <a:lnTo>
                      <a:pt x="178" y="14"/>
                    </a:lnTo>
                    <a:lnTo>
                      <a:pt x="180" y="20"/>
                    </a:lnTo>
                    <a:lnTo>
                      <a:pt x="180" y="46"/>
                    </a:lnTo>
                    <a:lnTo>
                      <a:pt x="188" y="56"/>
                    </a:lnTo>
                    <a:lnTo>
                      <a:pt x="188" y="64"/>
                    </a:lnTo>
                    <a:lnTo>
                      <a:pt x="164" y="66"/>
                    </a:lnTo>
                    <a:lnTo>
                      <a:pt x="148" y="76"/>
                    </a:lnTo>
                    <a:lnTo>
                      <a:pt x="146" y="84"/>
                    </a:lnTo>
                    <a:lnTo>
                      <a:pt x="122" y="104"/>
                    </a:lnTo>
                    <a:lnTo>
                      <a:pt x="100" y="106"/>
                    </a:lnTo>
                    <a:lnTo>
                      <a:pt x="68" y="126"/>
                    </a:lnTo>
                    <a:lnTo>
                      <a:pt x="68" y="14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42" name="Freeform 135">
                <a:extLst>
                  <a:ext uri="{FF2B5EF4-FFF2-40B4-BE49-F238E27FC236}">
                    <a16:creationId xmlns:a16="http://schemas.microsoft.com/office/drawing/2014/main" id="{AE38F373-A35E-4879-853A-AE80848E3ACF}"/>
                  </a:ext>
                </a:extLst>
              </p:cNvPr>
              <p:cNvSpPr>
                <a:spLocks/>
              </p:cNvSpPr>
              <p:nvPr/>
            </p:nvSpPr>
            <p:spPr bwMode="gray">
              <a:xfrm>
                <a:off x="5372566" y="3947752"/>
                <a:ext cx="217941" cy="175942"/>
              </a:xfrm>
              <a:custGeom>
                <a:avLst/>
                <a:gdLst>
                  <a:gd name="T0" fmla="*/ 0 w 132"/>
                  <a:gd name="T1" fmla="*/ 106 h 106"/>
                  <a:gd name="T2" fmla="*/ 4 w 132"/>
                  <a:gd name="T3" fmla="*/ 94 h 106"/>
                  <a:gd name="T4" fmla="*/ 14 w 132"/>
                  <a:gd name="T5" fmla="*/ 78 h 106"/>
                  <a:gd name="T6" fmla="*/ 20 w 132"/>
                  <a:gd name="T7" fmla="*/ 62 h 106"/>
                  <a:gd name="T8" fmla="*/ 30 w 132"/>
                  <a:gd name="T9" fmla="*/ 54 h 106"/>
                  <a:gd name="T10" fmla="*/ 36 w 132"/>
                  <a:gd name="T11" fmla="*/ 38 h 106"/>
                  <a:gd name="T12" fmla="*/ 46 w 132"/>
                  <a:gd name="T13" fmla="*/ 24 h 106"/>
                  <a:gd name="T14" fmla="*/ 52 w 132"/>
                  <a:gd name="T15" fmla="*/ 18 h 106"/>
                  <a:gd name="T16" fmla="*/ 60 w 132"/>
                  <a:gd name="T17" fmla="*/ 8 h 106"/>
                  <a:gd name="T18" fmla="*/ 64 w 132"/>
                  <a:gd name="T19" fmla="*/ 0 h 106"/>
                  <a:gd name="T20" fmla="*/ 132 w 132"/>
                  <a:gd name="T21" fmla="*/ 0 h 106"/>
                  <a:gd name="T22" fmla="*/ 132 w 132"/>
                  <a:gd name="T23" fmla="*/ 28 h 106"/>
                  <a:gd name="T24" fmla="*/ 82 w 132"/>
                  <a:gd name="T25" fmla="*/ 28 h 106"/>
                  <a:gd name="T26" fmla="*/ 82 w 132"/>
                  <a:gd name="T27" fmla="*/ 70 h 106"/>
                  <a:gd name="T28" fmla="*/ 72 w 132"/>
                  <a:gd name="T29" fmla="*/ 70 h 106"/>
                  <a:gd name="T30" fmla="*/ 64 w 132"/>
                  <a:gd name="T31" fmla="*/ 74 h 106"/>
                  <a:gd name="T32" fmla="*/ 64 w 132"/>
                  <a:gd name="T33" fmla="*/ 82 h 106"/>
                  <a:gd name="T34" fmla="*/ 64 w 132"/>
                  <a:gd name="T35" fmla="*/ 106 h 106"/>
                  <a:gd name="T36" fmla="*/ 0 w 132"/>
                  <a:gd name="T37"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2" h="106">
                    <a:moveTo>
                      <a:pt x="0" y="106"/>
                    </a:moveTo>
                    <a:lnTo>
                      <a:pt x="4" y="94"/>
                    </a:lnTo>
                    <a:lnTo>
                      <a:pt x="14" y="78"/>
                    </a:lnTo>
                    <a:lnTo>
                      <a:pt x="20" y="62"/>
                    </a:lnTo>
                    <a:lnTo>
                      <a:pt x="30" y="54"/>
                    </a:lnTo>
                    <a:lnTo>
                      <a:pt x="36" y="38"/>
                    </a:lnTo>
                    <a:lnTo>
                      <a:pt x="46" y="24"/>
                    </a:lnTo>
                    <a:lnTo>
                      <a:pt x="52" y="18"/>
                    </a:lnTo>
                    <a:lnTo>
                      <a:pt x="60" y="8"/>
                    </a:lnTo>
                    <a:lnTo>
                      <a:pt x="64" y="0"/>
                    </a:lnTo>
                    <a:lnTo>
                      <a:pt x="132" y="0"/>
                    </a:lnTo>
                    <a:lnTo>
                      <a:pt x="132" y="28"/>
                    </a:lnTo>
                    <a:lnTo>
                      <a:pt x="82" y="28"/>
                    </a:lnTo>
                    <a:lnTo>
                      <a:pt x="82" y="70"/>
                    </a:lnTo>
                    <a:lnTo>
                      <a:pt x="72" y="70"/>
                    </a:lnTo>
                    <a:lnTo>
                      <a:pt x="64" y="74"/>
                    </a:lnTo>
                    <a:lnTo>
                      <a:pt x="64" y="82"/>
                    </a:lnTo>
                    <a:lnTo>
                      <a:pt x="64" y="106"/>
                    </a:lnTo>
                    <a:lnTo>
                      <a:pt x="0" y="10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43" name="Freeform 136">
                <a:extLst>
                  <a:ext uri="{FF2B5EF4-FFF2-40B4-BE49-F238E27FC236}">
                    <a16:creationId xmlns:a16="http://schemas.microsoft.com/office/drawing/2014/main" id="{2AE08152-B7BD-4B82-83E2-FAE0E0AAA137}"/>
                  </a:ext>
                </a:extLst>
              </p:cNvPr>
              <p:cNvSpPr>
                <a:spLocks/>
              </p:cNvSpPr>
              <p:nvPr/>
            </p:nvSpPr>
            <p:spPr bwMode="gray">
              <a:xfrm>
                <a:off x="5385775" y="4356070"/>
                <a:ext cx="79252" cy="46475"/>
              </a:xfrm>
              <a:custGeom>
                <a:avLst/>
                <a:gdLst>
                  <a:gd name="T0" fmla="*/ 0 w 48"/>
                  <a:gd name="T1" fmla="*/ 6 h 28"/>
                  <a:gd name="T2" fmla="*/ 18 w 48"/>
                  <a:gd name="T3" fmla="*/ 4 h 28"/>
                  <a:gd name="T4" fmla="*/ 22 w 48"/>
                  <a:gd name="T5" fmla="*/ 0 h 28"/>
                  <a:gd name="T6" fmla="*/ 48 w 48"/>
                  <a:gd name="T7" fmla="*/ 0 h 28"/>
                  <a:gd name="T8" fmla="*/ 44 w 48"/>
                  <a:gd name="T9" fmla="*/ 10 h 28"/>
                  <a:gd name="T10" fmla="*/ 42 w 48"/>
                  <a:gd name="T11" fmla="*/ 16 h 28"/>
                  <a:gd name="T12" fmla="*/ 30 w 48"/>
                  <a:gd name="T13" fmla="*/ 20 h 28"/>
                  <a:gd name="T14" fmla="*/ 22 w 48"/>
                  <a:gd name="T15" fmla="*/ 28 h 28"/>
                  <a:gd name="T16" fmla="*/ 16 w 48"/>
                  <a:gd name="T17" fmla="*/ 22 h 28"/>
                  <a:gd name="T18" fmla="*/ 8 w 48"/>
                  <a:gd name="T19" fmla="*/ 14 h 28"/>
                  <a:gd name="T20" fmla="*/ 6 w 48"/>
                  <a:gd name="T21" fmla="*/ 12 h 28"/>
                  <a:gd name="T22" fmla="*/ 0 w 48"/>
                  <a:gd name="T23" fmla="*/ 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28">
                    <a:moveTo>
                      <a:pt x="0" y="6"/>
                    </a:moveTo>
                    <a:lnTo>
                      <a:pt x="18" y="4"/>
                    </a:lnTo>
                    <a:lnTo>
                      <a:pt x="22" y="0"/>
                    </a:lnTo>
                    <a:lnTo>
                      <a:pt x="48" y="0"/>
                    </a:lnTo>
                    <a:lnTo>
                      <a:pt x="44" y="10"/>
                    </a:lnTo>
                    <a:lnTo>
                      <a:pt x="42" y="16"/>
                    </a:lnTo>
                    <a:lnTo>
                      <a:pt x="30" y="20"/>
                    </a:lnTo>
                    <a:lnTo>
                      <a:pt x="22" y="28"/>
                    </a:lnTo>
                    <a:lnTo>
                      <a:pt x="16" y="22"/>
                    </a:lnTo>
                    <a:lnTo>
                      <a:pt x="8" y="14"/>
                    </a:lnTo>
                    <a:lnTo>
                      <a:pt x="6" y="12"/>
                    </a:lnTo>
                    <a:lnTo>
                      <a:pt x="0" y="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44" name="Freeform 137">
                <a:extLst>
                  <a:ext uri="{FF2B5EF4-FFF2-40B4-BE49-F238E27FC236}">
                    <a16:creationId xmlns:a16="http://schemas.microsoft.com/office/drawing/2014/main" id="{64404911-E177-4AFD-A9F1-F361A2F05E87}"/>
                  </a:ext>
                </a:extLst>
              </p:cNvPr>
              <p:cNvSpPr>
                <a:spLocks/>
              </p:cNvSpPr>
              <p:nvPr/>
            </p:nvSpPr>
            <p:spPr bwMode="gray">
              <a:xfrm>
                <a:off x="5474933" y="4429103"/>
                <a:ext cx="72648" cy="79672"/>
              </a:xfrm>
              <a:custGeom>
                <a:avLst/>
                <a:gdLst>
                  <a:gd name="T0" fmla="*/ 0 w 44"/>
                  <a:gd name="T1" fmla="*/ 16 h 48"/>
                  <a:gd name="T2" fmla="*/ 8 w 44"/>
                  <a:gd name="T3" fmla="*/ 8 h 48"/>
                  <a:gd name="T4" fmla="*/ 16 w 44"/>
                  <a:gd name="T5" fmla="*/ 2 h 48"/>
                  <a:gd name="T6" fmla="*/ 30 w 44"/>
                  <a:gd name="T7" fmla="*/ 0 h 48"/>
                  <a:gd name="T8" fmla="*/ 38 w 44"/>
                  <a:gd name="T9" fmla="*/ 8 h 48"/>
                  <a:gd name="T10" fmla="*/ 44 w 44"/>
                  <a:gd name="T11" fmla="*/ 16 h 48"/>
                  <a:gd name="T12" fmla="*/ 42 w 44"/>
                  <a:gd name="T13" fmla="*/ 24 h 48"/>
                  <a:gd name="T14" fmla="*/ 40 w 44"/>
                  <a:gd name="T15" fmla="*/ 32 h 48"/>
                  <a:gd name="T16" fmla="*/ 34 w 44"/>
                  <a:gd name="T17" fmla="*/ 40 h 48"/>
                  <a:gd name="T18" fmla="*/ 24 w 44"/>
                  <a:gd name="T19" fmla="*/ 48 h 48"/>
                  <a:gd name="T20" fmla="*/ 16 w 44"/>
                  <a:gd name="T21" fmla="*/ 44 h 48"/>
                  <a:gd name="T22" fmla="*/ 4 w 44"/>
                  <a:gd name="T23" fmla="*/ 32 h 48"/>
                  <a:gd name="T24" fmla="*/ 0 w 44"/>
                  <a:gd name="T25" fmla="*/ 24 h 48"/>
                  <a:gd name="T26" fmla="*/ 0 w 44"/>
                  <a:gd name="T2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48">
                    <a:moveTo>
                      <a:pt x="0" y="16"/>
                    </a:moveTo>
                    <a:lnTo>
                      <a:pt x="8" y="8"/>
                    </a:lnTo>
                    <a:lnTo>
                      <a:pt x="16" y="2"/>
                    </a:lnTo>
                    <a:lnTo>
                      <a:pt x="30" y="0"/>
                    </a:lnTo>
                    <a:lnTo>
                      <a:pt x="38" y="8"/>
                    </a:lnTo>
                    <a:lnTo>
                      <a:pt x="44" y="16"/>
                    </a:lnTo>
                    <a:lnTo>
                      <a:pt x="42" y="24"/>
                    </a:lnTo>
                    <a:lnTo>
                      <a:pt x="40" y="32"/>
                    </a:lnTo>
                    <a:lnTo>
                      <a:pt x="34" y="40"/>
                    </a:lnTo>
                    <a:lnTo>
                      <a:pt x="24" y="48"/>
                    </a:lnTo>
                    <a:lnTo>
                      <a:pt x="16" y="44"/>
                    </a:lnTo>
                    <a:lnTo>
                      <a:pt x="4" y="32"/>
                    </a:lnTo>
                    <a:lnTo>
                      <a:pt x="0" y="24"/>
                    </a:lnTo>
                    <a:lnTo>
                      <a:pt x="0" y="1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45" name="Freeform 138">
                <a:extLst>
                  <a:ext uri="{FF2B5EF4-FFF2-40B4-BE49-F238E27FC236}">
                    <a16:creationId xmlns:a16="http://schemas.microsoft.com/office/drawing/2014/main" id="{B5059AE7-8FBC-4752-AC7A-2D83638B5272}"/>
                  </a:ext>
                </a:extLst>
              </p:cNvPr>
              <p:cNvSpPr>
                <a:spLocks/>
              </p:cNvSpPr>
              <p:nvPr/>
            </p:nvSpPr>
            <p:spPr bwMode="gray">
              <a:xfrm>
                <a:off x="5372566" y="3947752"/>
                <a:ext cx="326912" cy="355203"/>
              </a:xfrm>
              <a:custGeom>
                <a:avLst/>
                <a:gdLst>
                  <a:gd name="T0" fmla="*/ 0 w 198"/>
                  <a:gd name="T1" fmla="*/ 106 h 214"/>
                  <a:gd name="T2" fmla="*/ 64 w 198"/>
                  <a:gd name="T3" fmla="*/ 106 h 214"/>
                  <a:gd name="T4" fmla="*/ 64 w 198"/>
                  <a:gd name="T5" fmla="*/ 82 h 214"/>
                  <a:gd name="T6" fmla="*/ 64 w 198"/>
                  <a:gd name="T7" fmla="*/ 74 h 214"/>
                  <a:gd name="T8" fmla="*/ 68 w 198"/>
                  <a:gd name="T9" fmla="*/ 72 h 214"/>
                  <a:gd name="T10" fmla="*/ 72 w 198"/>
                  <a:gd name="T11" fmla="*/ 70 h 214"/>
                  <a:gd name="T12" fmla="*/ 82 w 198"/>
                  <a:gd name="T13" fmla="*/ 70 h 214"/>
                  <a:gd name="T14" fmla="*/ 82 w 198"/>
                  <a:gd name="T15" fmla="*/ 28 h 214"/>
                  <a:gd name="T16" fmla="*/ 132 w 198"/>
                  <a:gd name="T17" fmla="*/ 28 h 214"/>
                  <a:gd name="T18" fmla="*/ 132 w 198"/>
                  <a:gd name="T19" fmla="*/ 0 h 214"/>
                  <a:gd name="T20" fmla="*/ 198 w 198"/>
                  <a:gd name="T21" fmla="*/ 48 h 214"/>
                  <a:gd name="T22" fmla="*/ 168 w 198"/>
                  <a:gd name="T23" fmla="*/ 48 h 214"/>
                  <a:gd name="T24" fmla="*/ 180 w 198"/>
                  <a:gd name="T25" fmla="*/ 184 h 214"/>
                  <a:gd name="T26" fmla="*/ 186 w 198"/>
                  <a:gd name="T27" fmla="*/ 192 h 214"/>
                  <a:gd name="T28" fmla="*/ 184 w 198"/>
                  <a:gd name="T29" fmla="*/ 202 h 214"/>
                  <a:gd name="T30" fmla="*/ 84 w 198"/>
                  <a:gd name="T31" fmla="*/ 200 h 214"/>
                  <a:gd name="T32" fmla="*/ 78 w 198"/>
                  <a:gd name="T33" fmla="*/ 214 h 214"/>
                  <a:gd name="T34" fmla="*/ 68 w 198"/>
                  <a:gd name="T35" fmla="*/ 206 h 214"/>
                  <a:gd name="T36" fmla="*/ 60 w 198"/>
                  <a:gd name="T37" fmla="*/ 194 h 214"/>
                  <a:gd name="T38" fmla="*/ 52 w 198"/>
                  <a:gd name="T39" fmla="*/ 188 h 214"/>
                  <a:gd name="T40" fmla="*/ 40 w 198"/>
                  <a:gd name="T41" fmla="*/ 182 h 214"/>
                  <a:gd name="T42" fmla="*/ 26 w 198"/>
                  <a:gd name="T43" fmla="*/ 182 h 214"/>
                  <a:gd name="T44" fmla="*/ 12 w 198"/>
                  <a:gd name="T45" fmla="*/ 184 h 214"/>
                  <a:gd name="T46" fmla="*/ 12 w 198"/>
                  <a:gd name="T47" fmla="*/ 172 h 214"/>
                  <a:gd name="T48" fmla="*/ 18 w 198"/>
                  <a:gd name="T49" fmla="*/ 152 h 214"/>
                  <a:gd name="T50" fmla="*/ 12 w 198"/>
                  <a:gd name="T51" fmla="*/ 144 h 214"/>
                  <a:gd name="T52" fmla="*/ 8 w 198"/>
                  <a:gd name="T53" fmla="*/ 138 h 214"/>
                  <a:gd name="T54" fmla="*/ 12 w 198"/>
                  <a:gd name="T55" fmla="*/ 130 h 214"/>
                  <a:gd name="T56" fmla="*/ 12 w 198"/>
                  <a:gd name="T57" fmla="*/ 122 h 214"/>
                  <a:gd name="T58" fmla="*/ 8 w 198"/>
                  <a:gd name="T59" fmla="*/ 116 h 214"/>
                  <a:gd name="T60" fmla="*/ 0 w 198"/>
                  <a:gd name="T61" fmla="*/ 112 h 214"/>
                  <a:gd name="T62" fmla="*/ 0 w 198"/>
                  <a:gd name="T63" fmla="*/ 106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8" h="214">
                    <a:moveTo>
                      <a:pt x="0" y="106"/>
                    </a:moveTo>
                    <a:lnTo>
                      <a:pt x="64" y="106"/>
                    </a:lnTo>
                    <a:lnTo>
                      <a:pt x="64" y="82"/>
                    </a:lnTo>
                    <a:lnTo>
                      <a:pt x="64" y="74"/>
                    </a:lnTo>
                    <a:lnTo>
                      <a:pt x="68" y="72"/>
                    </a:lnTo>
                    <a:lnTo>
                      <a:pt x="72" y="70"/>
                    </a:lnTo>
                    <a:lnTo>
                      <a:pt x="82" y="70"/>
                    </a:lnTo>
                    <a:lnTo>
                      <a:pt x="82" y="28"/>
                    </a:lnTo>
                    <a:lnTo>
                      <a:pt x="132" y="28"/>
                    </a:lnTo>
                    <a:lnTo>
                      <a:pt x="132" y="0"/>
                    </a:lnTo>
                    <a:lnTo>
                      <a:pt x="198" y="48"/>
                    </a:lnTo>
                    <a:lnTo>
                      <a:pt x="168" y="48"/>
                    </a:lnTo>
                    <a:lnTo>
                      <a:pt x="180" y="184"/>
                    </a:lnTo>
                    <a:lnTo>
                      <a:pt x="186" y="192"/>
                    </a:lnTo>
                    <a:lnTo>
                      <a:pt x="184" y="202"/>
                    </a:lnTo>
                    <a:lnTo>
                      <a:pt x="84" y="200"/>
                    </a:lnTo>
                    <a:lnTo>
                      <a:pt x="78" y="214"/>
                    </a:lnTo>
                    <a:lnTo>
                      <a:pt x="68" y="206"/>
                    </a:lnTo>
                    <a:lnTo>
                      <a:pt x="60" y="194"/>
                    </a:lnTo>
                    <a:lnTo>
                      <a:pt x="52" y="188"/>
                    </a:lnTo>
                    <a:lnTo>
                      <a:pt x="40" y="182"/>
                    </a:lnTo>
                    <a:lnTo>
                      <a:pt x="26" y="182"/>
                    </a:lnTo>
                    <a:lnTo>
                      <a:pt x="12" y="184"/>
                    </a:lnTo>
                    <a:lnTo>
                      <a:pt x="12" y="172"/>
                    </a:lnTo>
                    <a:lnTo>
                      <a:pt x="18" y="152"/>
                    </a:lnTo>
                    <a:lnTo>
                      <a:pt x="12" y="144"/>
                    </a:lnTo>
                    <a:lnTo>
                      <a:pt x="8" y="138"/>
                    </a:lnTo>
                    <a:lnTo>
                      <a:pt x="12" y="130"/>
                    </a:lnTo>
                    <a:lnTo>
                      <a:pt x="12" y="122"/>
                    </a:lnTo>
                    <a:lnTo>
                      <a:pt x="8" y="116"/>
                    </a:lnTo>
                    <a:lnTo>
                      <a:pt x="0" y="112"/>
                    </a:lnTo>
                    <a:lnTo>
                      <a:pt x="0" y="10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46" name="Freeform 139">
                <a:extLst>
                  <a:ext uri="{FF2B5EF4-FFF2-40B4-BE49-F238E27FC236}">
                    <a16:creationId xmlns:a16="http://schemas.microsoft.com/office/drawing/2014/main" id="{3F75917B-D5A4-4BB8-9CDF-28752ECD68F3}"/>
                  </a:ext>
                </a:extLst>
              </p:cNvPr>
              <p:cNvSpPr>
                <a:spLocks/>
              </p:cNvSpPr>
              <p:nvPr/>
            </p:nvSpPr>
            <p:spPr bwMode="gray">
              <a:xfrm>
                <a:off x="5422098" y="4356070"/>
                <a:ext cx="191523" cy="146065"/>
              </a:xfrm>
              <a:custGeom>
                <a:avLst/>
                <a:gdLst>
                  <a:gd name="T0" fmla="*/ 60 w 116"/>
                  <a:gd name="T1" fmla="*/ 6 h 88"/>
                  <a:gd name="T2" fmla="*/ 60 w 116"/>
                  <a:gd name="T3" fmla="*/ 8 h 88"/>
                  <a:gd name="T4" fmla="*/ 72 w 116"/>
                  <a:gd name="T5" fmla="*/ 12 h 88"/>
                  <a:gd name="T6" fmla="*/ 84 w 116"/>
                  <a:gd name="T7" fmla="*/ 8 h 88"/>
                  <a:gd name="T8" fmla="*/ 98 w 116"/>
                  <a:gd name="T9" fmla="*/ 6 h 88"/>
                  <a:gd name="T10" fmla="*/ 100 w 116"/>
                  <a:gd name="T11" fmla="*/ 14 h 88"/>
                  <a:gd name="T12" fmla="*/ 106 w 116"/>
                  <a:gd name="T13" fmla="*/ 24 h 88"/>
                  <a:gd name="T14" fmla="*/ 112 w 116"/>
                  <a:gd name="T15" fmla="*/ 38 h 88"/>
                  <a:gd name="T16" fmla="*/ 110 w 116"/>
                  <a:gd name="T17" fmla="*/ 46 h 88"/>
                  <a:gd name="T18" fmla="*/ 112 w 116"/>
                  <a:gd name="T19" fmla="*/ 50 h 88"/>
                  <a:gd name="T20" fmla="*/ 114 w 116"/>
                  <a:gd name="T21" fmla="*/ 54 h 88"/>
                  <a:gd name="T22" fmla="*/ 116 w 116"/>
                  <a:gd name="T23" fmla="*/ 68 h 88"/>
                  <a:gd name="T24" fmla="*/ 110 w 116"/>
                  <a:gd name="T25" fmla="*/ 70 h 88"/>
                  <a:gd name="T26" fmla="*/ 112 w 116"/>
                  <a:gd name="T27" fmla="*/ 80 h 88"/>
                  <a:gd name="T28" fmla="*/ 106 w 116"/>
                  <a:gd name="T29" fmla="*/ 84 h 88"/>
                  <a:gd name="T30" fmla="*/ 100 w 116"/>
                  <a:gd name="T31" fmla="*/ 82 h 88"/>
                  <a:gd name="T32" fmla="*/ 96 w 116"/>
                  <a:gd name="T33" fmla="*/ 88 h 88"/>
                  <a:gd name="T34" fmla="*/ 90 w 116"/>
                  <a:gd name="T35" fmla="*/ 86 h 88"/>
                  <a:gd name="T36" fmla="*/ 88 w 116"/>
                  <a:gd name="T37" fmla="*/ 72 h 88"/>
                  <a:gd name="T38" fmla="*/ 82 w 116"/>
                  <a:gd name="T39" fmla="*/ 70 h 88"/>
                  <a:gd name="T40" fmla="*/ 74 w 116"/>
                  <a:gd name="T41" fmla="*/ 68 h 88"/>
                  <a:gd name="T42" fmla="*/ 76 w 116"/>
                  <a:gd name="T43" fmla="*/ 60 h 88"/>
                  <a:gd name="T44" fmla="*/ 70 w 116"/>
                  <a:gd name="T45" fmla="*/ 52 h 88"/>
                  <a:gd name="T46" fmla="*/ 62 w 116"/>
                  <a:gd name="T47" fmla="*/ 44 h 88"/>
                  <a:gd name="T48" fmla="*/ 48 w 116"/>
                  <a:gd name="T49" fmla="*/ 46 h 88"/>
                  <a:gd name="T50" fmla="*/ 40 w 116"/>
                  <a:gd name="T51" fmla="*/ 52 h 88"/>
                  <a:gd name="T52" fmla="*/ 32 w 116"/>
                  <a:gd name="T53" fmla="*/ 60 h 88"/>
                  <a:gd name="T54" fmla="*/ 24 w 116"/>
                  <a:gd name="T55" fmla="*/ 50 h 88"/>
                  <a:gd name="T56" fmla="*/ 14 w 116"/>
                  <a:gd name="T57" fmla="*/ 40 h 88"/>
                  <a:gd name="T58" fmla="*/ 6 w 116"/>
                  <a:gd name="T59" fmla="*/ 38 h 88"/>
                  <a:gd name="T60" fmla="*/ 0 w 116"/>
                  <a:gd name="T61" fmla="*/ 28 h 88"/>
                  <a:gd name="T62" fmla="*/ 8 w 116"/>
                  <a:gd name="T63" fmla="*/ 20 h 88"/>
                  <a:gd name="T64" fmla="*/ 20 w 116"/>
                  <a:gd name="T65" fmla="*/ 16 h 88"/>
                  <a:gd name="T66" fmla="*/ 22 w 116"/>
                  <a:gd name="T67" fmla="*/ 10 h 88"/>
                  <a:gd name="T68" fmla="*/ 26 w 116"/>
                  <a:gd name="T69" fmla="*/ 0 h 88"/>
                  <a:gd name="T70" fmla="*/ 32 w 116"/>
                  <a:gd name="T71" fmla="*/ 0 h 88"/>
                  <a:gd name="T72" fmla="*/ 38 w 116"/>
                  <a:gd name="T73" fmla="*/ 4 h 88"/>
                  <a:gd name="T74" fmla="*/ 50 w 116"/>
                  <a:gd name="T75" fmla="*/ 4 h 88"/>
                  <a:gd name="T76" fmla="*/ 60 w 116"/>
                  <a:gd name="T77" fmla="*/ 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6" h="88">
                    <a:moveTo>
                      <a:pt x="60" y="6"/>
                    </a:moveTo>
                    <a:lnTo>
                      <a:pt x="60" y="8"/>
                    </a:lnTo>
                    <a:lnTo>
                      <a:pt x="72" y="12"/>
                    </a:lnTo>
                    <a:lnTo>
                      <a:pt x="84" y="8"/>
                    </a:lnTo>
                    <a:lnTo>
                      <a:pt x="98" y="6"/>
                    </a:lnTo>
                    <a:lnTo>
                      <a:pt x="100" y="14"/>
                    </a:lnTo>
                    <a:lnTo>
                      <a:pt x="106" y="24"/>
                    </a:lnTo>
                    <a:lnTo>
                      <a:pt x="112" y="38"/>
                    </a:lnTo>
                    <a:lnTo>
                      <a:pt x="110" y="46"/>
                    </a:lnTo>
                    <a:lnTo>
                      <a:pt x="112" y="50"/>
                    </a:lnTo>
                    <a:lnTo>
                      <a:pt x="114" y="54"/>
                    </a:lnTo>
                    <a:lnTo>
                      <a:pt x="116" y="68"/>
                    </a:lnTo>
                    <a:lnTo>
                      <a:pt x="110" y="70"/>
                    </a:lnTo>
                    <a:lnTo>
                      <a:pt x="112" y="80"/>
                    </a:lnTo>
                    <a:lnTo>
                      <a:pt x="106" y="84"/>
                    </a:lnTo>
                    <a:lnTo>
                      <a:pt x="100" y="82"/>
                    </a:lnTo>
                    <a:lnTo>
                      <a:pt x="96" y="88"/>
                    </a:lnTo>
                    <a:lnTo>
                      <a:pt x="90" y="86"/>
                    </a:lnTo>
                    <a:lnTo>
                      <a:pt x="88" y="72"/>
                    </a:lnTo>
                    <a:lnTo>
                      <a:pt x="82" y="70"/>
                    </a:lnTo>
                    <a:lnTo>
                      <a:pt x="74" y="68"/>
                    </a:lnTo>
                    <a:lnTo>
                      <a:pt x="76" y="60"/>
                    </a:lnTo>
                    <a:lnTo>
                      <a:pt x="70" y="52"/>
                    </a:lnTo>
                    <a:lnTo>
                      <a:pt x="62" y="44"/>
                    </a:lnTo>
                    <a:lnTo>
                      <a:pt x="48" y="46"/>
                    </a:lnTo>
                    <a:lnTo>
                      <a:pt x="40" y="52"/>
                    </a:lnTo>
                    <a:lnTo>
                      <a:pt x="32" y="60"/>
                    </a:lnTo>
                    <a:lnTo>
                      <a:pt x="24" y="50"/>
                    </a:lnTo>
                    <a:lnTo>
                      <a:pt x="14" y="40"/>
                    </a:lnTo>
                    <a:lnTo>
                      <a:pt x="6" y="38"/>
                    </a:lnTo>
                    <a:lnTo>
                      <a:pt x="0" y="28"/>
                    </a:lnTo>
                    <a:lnTo>
                      <a:pt x="8" y="20"/>
                    </a:lnTo>
                    <a:lnTo>
                      <a:pt x="20" y="16"/>
                    </a:lnTo>
                    <a:lnTo>
                      <a:pt x="22" y="10"/>
                    </a:lnTo>
                    <a:lnTo>
                      <a:pt x="26" y="0"/>
                    </a:lnTo>
                    <a:lnTo>
                      <a:pt x="32" y="0"/>
                    </a:lnTo>
                    <a:lnTo>
                      <a:pt x="38" y="4"/>
                    </a:lnTo>
                    <a:lnTo>
                      <a:pt x="50" y="4"/>
                    </a:lnTo>
                    <a:lnTo>
                      <a:pt x="60" y="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47" name="Freeform 140">
                <a:extLst>
                  <a:ext uri="{FF2B5EF4-FFF2-40B4-BE49-F238E27FC236}">
                    <a16:creationId xmlns:a16="http://schemas.microsoft.com/office/drawing/2014/main" id="{9CE64D02-F3CF-4B63-A686-509E22C12719}"/>
                  </a:ext>
                </a:extLst>
              </p:cNvPr>
              <p:cNvSpPr>
                <a:spLocks/>
              </p:cNvSpPr>
              <p:nvPr/>
            </p:nvSpPr>
            <p:spPr bwMode="gray">
              <a:xfrm>
                <a:off x="5514558" y="4468939"/>
                <a:ext cx="108970" cy="109548"/>
              </a:xfrm>
              <a:custGeom>
                <a:avLst/>
                <a:gdLst>
                  <a:gd name="T0" fmla="*/ 50 w 66"/>
                  <a:gd name="T1" fmla="*/ 16 h 66"/>
                  <a:gd name="T2" fmla="*/ 50 w 66"/>
                  <a:gd name="T3" fmla="*/ 26 h 66"/>
                  <a:gd name="T4" fmla="*/ 50 w 66"/>
                  <a:gd name="T5" fmla="*/ 34 h 66"/>
                  <a:gd name="T6" fmla="*/ 58 w 66"/>
                  <a:gd name="T7" fmla="*/ 36 h 66"/>
                  <a:gd name="T8" fmla="*/ 64 w 66"/>
                  <a:gd name="T9" fmla="*/ 40 h 66"/>
                  <a:gd name="T10" fmla="*/ 66 w 66"/>
                  <a:gd name="T11" fmla="*/ 46 h 66"/>
                  <a:gd name="T12" fmla="*/ 66 w 66"/>
                  <a:gd name="T13" fmla="*/ 54 h 66"/>
                  <a:gd name="T14" fmla="*/ 62 w 66"/>
                  <a:gd name="T15" fmla="*/ 66 h 66"/>
                  <a:gd name="T16" fmla="*/ 50 w 66"/>
                  <a:gd name="T17" fmla="*/ 62 h 66"/>
                  <a:gd name="T18" fmla="*/ 38 w 66"/>
                  <a:gd name="T19" fmla="*/ 54 h 66"/>
                  <a:gd name="T20" fmla="*/ 30 w 66"/>
                  <a:gd name="T21" fmla="*/ 44 h 66"/>
                  <a:gd name="T22" fmla="*/ 18 w 66"/>
                  <a:gd name="T23" fmla="*/ 36 h 66"/>
                  <a:gd name="T24" fmla="*/ 8 w 66"/>
                  <a:gd name="T25" fmla="*/ 32 h 66"/>
                  <a:gd name="T26" fmla="*/ 0 w 66"/>
                  <a:gd name="T27" fmla="*/ 24 h 66"/>
                  <a:gd name="T28" fmla="*/ 16 w 66"/>
                  <a:gd name="T29" fmla="*/ 8 h 66"/>
                  <a:gd name="T30" fmla="*/ 18 w 66"/>
                  <a:gd name="T31" fmla="*/ 0 h 66"/>
                  <a:gd name="T32" fmla="*/ 24 w 66"/>
                  <a:gd name="T33" fmla="*/ 0 h 66"/>
                  <a:gd name="T34" fmla="*/ 32 w 66"/>
                  <a:gd name="T35" fmla="*/ 4 h 66"/>
                  <a:gd name="T36" fmla="*/ 34 w 66"/>
                  <a:gd name="T37" fmla="*/ 18 h 66"/>
                  <a:gd name="T38" fmla="*/ 40 w 66"/>
                  <a:gd name="T39" fmla="*/ 20 h 66"/>
                  <a:gd name="T40" fmla="*/ 44 w 66"/>
                  <a:gd name="T41" fmla="*/ 14 h 66"/>
                  <a:gd name="T42" fmla="*/ 50 w 66"/>
                  <a:gd name="T43" fmla="*/ 1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6" h="66">
                    <a:moveTo>
                      <a:pt x="50" y="16"/>
                    </a:moveTo>
                    <a:lnTo>
                      <a:pt x="50" y="26"/>
                    </a:lnTo>
                    <a:lnTo>
                      <a:pt x="50" y="34"/>
                    </a:lnTo>
                    <a:lnTo>
                      <a:pt x="58" y="36"/>
                    </a:lnTo>
                    <a:lnTo>
                      <a:pt x="64" y="40"/>
                    </a:lnTo>
                    <a:lnTo>
                      <a:pt x="66" y="46"/>
                    </a:lnTo>
                    <a:lnTo>
                      <a:pt x="66" y="54"/>
                    </a:lnTo>
                    <a:lnTo>
                      <a:pt x="62" y="66"/>
                    </a:lnTo>
                    <a:lnTo>
                      <a:pt x="50" y="62"/>
                    </a:lnTo>
                    <a:lnTo>
                      <a:pt x="38" y="54"/>
                    </a:lnTo>
                    <a:lnTo>
                      <a:pt x="30" y="44"/>
                    </a:lnTo>
                    <a:lnTo>
                      <a:pt x="18" y="36"/>
                    </a:lnTo>
                    <a:lnTo>
                      <a:pt x="8" y="32"/>
                    </a:lnTo>
                    <a:lnTo>
                      <a:pt x="0" y="24"/>
                    </a:lnTo>
                    <a:lnTo>
                      <a:pt x="16" y="8"/>
                    </a:lnTo>
                    <a:lnTo>
                      <a:pt x="18" y="0"/>
                    </a:lnTo>
                    <a:lnTo>
                      <a:pt x="24" y="0"/>
                    </a:lnTo>
                    <a:lnTo>
                      <a:pt x="32" y="4"/>
                    </a:lnTo>
                    <a:lnTo>
                      <a:pt x="34" y="18"/>
                    </a:lnTo>
                    <a:lnTo>
                      <a:pt x="40" y="20"/>
                    </a:lnTo>
                    <a:lnTo>
                      <a:pt x="44" y="14"/>
                    </a:lnTo>
                    <a:lnTo>
                      <a:pt x="50" y="1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48" name="Freeform 141">
                <a:extLst>
                  <a:ext uri="{FF2B5EF4-FFF2-40B4-BE49-F238E27FC236}">
                    <a16:creationId xmlns:a16="http://schemas.microsoft.com/office/drawing/2014/main" id="{89DD6D5B-5CAC-4D1B-83AA-E80BDB2F3737}"/>
                  </a:ext>
                </a:extLst>
              </p:cNvPr>
              <p:cNvSpPr>
                <a:spLocks/>
              </p:cNvSpPr>
              <p:nvPr/>
            </p:nvSpPr>
            <p:spPr bwMode="gray">
              <a:xfrm>
                <a:off x="6170033" y="4067260"/>
                <a:ext cx="277380" cy="428236"/>
              </a:xfrm>
              <a:custGeom>
                <a:avLst/>
                <a:gdLst>
                  <a:gd name="T0" fmla="*/ 166 w 168"/>
                  <a:gd name="T1" fmla="*/ 128 h 258"/>
                  <a:gd name="T2" fmla="*/ 152 w 168"/>
                  <a:gd name="T3" fmla="*/ 130 h 258"/>
                  <a:gd name="T4" fmla="*/ 148 w 168"/>
                  <a:gd name="T5" fmla="*/ 142 h 258"/>
                  <a:gd name="T6" fmla="*/ 136 w 168"/>
                  <a:gd name="T7" fmla="*/ 170 h 258"/>
                  <a:gd name="T8" fmla="*/ 144 w 168"/>
                  <a:gd name="T9" fmla="*/ 178 h 258"/>
                  <a:gd name="T10" fmla="*/ 148 w 168"/>
                  <a:gd name="T11" fmla="*/ 204 h 258"/>
                  <a:gd name="T12" fmla="*/ 136 w 168"/>
                  <a:gd name="T13" fmla="*/ 206 h 258"/>
                  <a:gd name="T14" fmla="*/ 112 w 168"/>
                  <a:gd name="T15" fmla="*/ 230 h 258"/>
                  <a:gd name="T16" fmla="*/ 88 w 168"/>
                  <a:gd name="T17" fmla="*/ 234 h 258"/>
                  <a:gd name="T18" fmla="*/ 86 w 168"/>
                  <a:gd name="T19" fmla="*/ 246 h 258"/>
                  <a:gd name="T20" fmla="*/ 40 w 168"/>
                  <a:gd name="T21" fmla="*/ 258 h 258"/>
                  <a:gd name="T22" fmla="*/ 30 w 168"/>
                  <a:gd name="T23" fmla="*/ 246 h 258"/>
                  <a:gd name="T24" fmla="*/ 10 w 168"/>
                  <a:gd name="T25" fmla="*/ 226 h 258"/>
                  <a:gd name="T26" fmla="*/ 12 w 168"/>
                  <a:gd name="T27" fmla="*/ 216 h 258"/>
                  <a:gd name="T28" fmla="*/ 32 w 168"/>
                  <a:gd name="T29" fmla="*/ 216 h 258"/>
                  <a:gd name="T30" fmla="*/ 26 w 168"/>
                  <a:gd name="T31" fmla="*/ 206 h 258"/>
                  <a:gd name="T32" fmla="*/ 24 w 168"/>
                  <a:gd name="T33" fmla="*/ 182 h 258"/>
                  <a:gd name="T34" fmla="*/ 16 w 168"/>
                  <a:gd name="T35" fmla="*/ 170 h 258"/>
                  <a:gd name="T36" fmla="*/ 2 w 168"/>
                  <a:gd name="T37" fmla="*/ 156 h 258"/>
                  <a:gd name="T38" fmla="*/ 0 w 168"/>
                  <a:gd name="T39" fmla="*/ 144 h 258"/>
                  <a:gd name="T40" fmla="*/ 32 w 168"/>
                  <a:gd name="T41" fmla="*/ 106 h 258"/>
                  <a:gd name="T42" fmla="*/ 36 w 168"/>
                  <a:gd name="T43" fmla="*/ 66 h 258"/>
                  <a:gd name="T44" fmla="*/ 40 w 168"/>
                  <a:gd name="T45" fmla="*/ 50 h 258"/>
                  <a:gd name="T46" fmla="*/ 28 w 168"/>
                  <a:gd name="T47" fmla="*/ 6 h 258"/>
                  <a:gd name="T48" fmla="*/ 34 w 168"/>
                  <a:gd name="T49" fmla="*/ 0 h 258"/>
                  <a:gd name="T50" fmla="*/ 168 w 168"/>
                  <a:gd name="T51" fmla="*/ 54 h 258"/>
                  <a:gd name="T52" fmla="*/ 166 w 168"/>
                  <a:gd name="T53" fmla="*/ 12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8" h="258">
                    <a:moveTo>
                      <a:pt x="166" y="128"/>
                    </a:moveTo>
                    <a:lnTo>
                      <a:pt x="152" y="130"/>
                    </a:lnTo>
                    <a:lnTo>
                      <a:pt x="148" y="142"/>
                    </a:lnTo>
                    <a:lnTo>
                      <a:pt x="136" y="170"/>
                    </a:lnTo>
                    <a:lnTo>
                      <a:pt x="144" y="178"/>
                    </a:lnTo>
                    <a:lnTo>
                      <a:pt x="148" y="204"/>
                    </a:lnTo>
                    <a:lnTo>
                      <a:pt x="136" y="206"/>
                    </a:lnTo>
                    <a:lnTo>
                      <a:pt x="112" y="230"/>
                    </a:lnTo>
                    <a:lnTo>
                      <a:pt x="88" y="234"/>
                    </a:lnTo>
                    <a:lnTo>
                      <a:pt x="86" y="246"/>
                    </a:lnTo>
                    <a:lnTo>
                      <a:pt x="40" y="258"/>
                    </a:lnTo>
                    <a:lnTo>
                      <a:pt x="30" y="246"/>
                    </a:lnTo>
                    <a:lnTo>
                      <a:pt x="10" y="226"/>
                    </a:lnTo>
                    <a:lnTo>
                      <a:pt x="12" y="216"/>
                    </a:lnTo>
                    <a:lnTo>
                      <a:pt x="32" y="216"/>
                    </a:lnTo>
                    <a:lnTo>
                      <a:pt x="26" y="206"/>
                    </a:lnTo>
                    <a:lnTo>
                      <a:pt x="24" y="182"/>
                    </a:lnTo>
                    <a:lnTo>
                      <a:pt x="16" y="170"/>
                    </a:lnTo>
                    <a:lnTo>
                      <a:pt x="2" y="156"/>
                    </a:lnTo>
                    <a:lnTo>
                      <a:pt x="0" y="144"/>
                    </a:lnTo>
                    <a:lnTo>
                      <a:pt x="32" y="106"/>
                    </a:lnTo>
                    <a:lnTo>
                      <a:pt x="36" y="66"/>
                    </a:lnTo>
                    <a:lnTo>
                      <a:pt x="40" y="50"/>
                    </a:lnTo>
                    <a:lnTo>
                      <a:pt x="28" y="6"/>
                    </a:lnTo>
                    <a:lnTo>
                      <a:pt x="34" y="0"/>
                    </a:lnTo>
                    <a:lnTo>
                      <a:pt x="168" y="54"/>
                    </a:lnTo>
                    <a:lnTo>
                      <a:pt x="166" y="12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49" name="Freeform 142">
                <a:extLst>
                  <a:ext uri="{FF2B5EF4-FFF2-40B4-BE49-F238E27FC236}">
                    <a16:creationId xmlns:a16="http://schemas.microsoft.com/office/drawing/2014/main" id="{75EC9D64-9DC2-4789-B17F-2A4FAF46C30C}"/>
                  </a:ext>
                </a:extLst>
              </p:cNvPr>
              <p:cNvSpPr>
                <a:spLocks/>
              </p:cNvSpPr>
              <p:nvPr/>
            </p:nvSpPr>
            <p:spPr bwMode="gray">
              <a:xfrm>
                <a:off x="5821658" y="4060621"/>
                <a:ext cx="414419" cy="322007"/>
              </a:xfrm>
              <a:custGeom>
                <a:avLst/>
                <a:gdLst>
                  <a:gd name="T0" fmla="*/ 4 w 251"/>
                  <a:gd name="T1" fmla="*/ 142 h 194"/>
                  <a:gd name="T2" fmla="*/ 18 w 251"/>
                  <a:gd name="T3" fmla="*/ 142 h 194"/>
                  <a:gd name="T4" fmla="*/ 52 w 251"/>
                  <a:gd name="T5" fmla="*/ 136 h 194"/>
                  <a:gd name="T6" fmla="*/ 64 w 251"/>
                  <a:gd name="T7" fmla="*/ 118 h 194"/>
                  <a:gd name="T8" fmla="*/ 66 w 251"/>
                  <a:gd name="T9" fmla="*/ 76 h 194"/>
                  <a:gd name="T10" fmla="*/ 86 w 251"/>
                  <a:gd name="T11" fmla="*/ 72 h 194"/>
                  <a:gd name="T12" fmla="*/ 124 w 251"/>
                  <a:gd name="T13" fmla="*/ 40 h 194"/>
                  <a:gd name="T14" fmla="*/ 191 w 251"/>
                  <a:gd name="T15" fmla="*/ 0 h 194"/>
                  <a:gd name="T16" fmla="*/ 199 w 251"/>
                  <a:gd name="T17" fmla="*/ 2 h 194"/>
                  <a:gd name="T18" fmla="*/ 207 w 251"/>
                  <a:gd name="T19" fmla="*/ 4 h 194"/>
                  <a:gd name="T20" fmla="*/ 217 w 251"/>
                  <a:gd name="T21" fmla="*/ 8 h 194"/>
                  <a:gd name="T22" fmla="*/ 227 w 251"/>
                  <a:gd name="T23" fmla="*/ 16 h 194"/>
                  <a:gd name="T24" fmla="*/ 239 w 251"/>
                  <a:gd name="T25" fmla="*/ 10 h 194"/>
                  <a:gd name="T26" fmla="*/ 251 w 251"/>
                  <a:gd name="T27" fmla="*/ 54 h 194"/>
                  <a:gd name="T28" fmla="*/ 247 w 251"/>
                  <a:gd name="T29" fmla="*/ 70 h 194"/>
                  <a:gd name="T30" fmla="*/ 243 w 251"/>
                  <a:gd name="T31" fmla="*/ 110 h 194"/>
                  <a:gd name="T32" fmla="*/ 211 w 251"/>
                  <a:gd name="T33" fmla="*/ 148 h 194"/>
                  <a:gd name="T34" fmla="*/ 213 w 251"/>
                  <a:gd name="T35" fmla="*/ 160 h 194"/>
                  <a:gd name="T36" fmla="*/ 191 w 251"/>
                  <a:gd name="T37" fmla="*/ 174 h 194"/>
                  <a:gd name="T38" fmla="*/ 156 w 251"/>
                  <a:gd name="T39" fmla="*/ 170 h 194"/>
                  <a:gd name="T40" fmla="*/ 150 w 251"/>
                  <a:gd name="T41" fmla="*/ 178 h 194"/>
                  <a:gd name="T42" fmla="*/ 122 w 251"/>
                  <a:gd name="T43" fmla="*/ 168 h 194"/>
                  <a:gd name="T44" fmla="*/ 112 w 251"/>
                  <a:gd name="T45" fmla="*/ 174 h 194"/>
                  <a:gd name="T46" fmla="*/ 96 w 251"/>
                  <a:gd name="T47" fmla="*/ 162 h 194"/>
                  <a:gd name="T48" fmla="*/ 66 w 251"/>
                  <a:gd name="T49" fmla="*/ 162 h 194"/>
                  <a:gd name="T50" fmla="*/ 54 w 251"/>
                  <a:gd name="T51" fmla="*/ 194 h 194"/>
                  <a:gd name="T52" fmla="*/ 44 w 251"/>
                  <a:gd name="T53" fmla="*/ 184 h 194"/>
                  <a:gd name="T54" fmla="*/ 30 w 251"/>
                  <a:gd name="T55" fmla="*/ 186 h 194"/>
                  <a:gd name="T56" fmla="*/ 16 w 251"/>
                  <a:gd name="T57" fmla="*/ 178 h 194"/>
                  <a:gd name="T58" fmla="*/ 12 w 251"/>
                  <a:gd name="T59" fmla="*/ 176 h 194"/>
                  <a:gd name="T60" fmla="*/ 14 w 251"/>
                  <a:gd name="T61" fmla="*/ 170 h 194"/>
                  <a:gd name="T62" fmla="*/ 4 w 251"/>
                  <a:gd name="T63" fmla="*/ 158 h 194"/>
                  <a:gd name="T64" fmla="*/ 0 w 251"/>
                  <a:gd name="T65" fmla="*/ 150 h 194"/>
                  <a:gd name="T66" fmla="*/ 4 w 251"/>
                  <a:gd name="T67" fmla="*/ 142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1" h="194">
                    <a:moveTo>
                      <a:pt x="4" y="142"/>
                    </a:moveTo>
                    <a:lnTo>
                      <a:pt x="18" y="142"/>
                    </a:lnTo>
                    <a:lnTo>
                      <a:pt x="52" y="136"/>
                    </a:lnTo>
                    <a:lnTo>
                      <a:pt x="64" y="118"/>
                    </a:lnTo>
                    <a:lnTo>
                      <a:pt x="66" y="76"/>
                    </a:lnTo>
                    <a:lnTo>
                      <a:pt x="86" y="72"/>
                    </a:lnTo>
                    <a:lnTo>
                      <a:pt x="124" y="40"/>
                    </a:lnTo>
                    <a:lnTo>
                      <a:pt x="191" y="0"/>
                    </a:lnTo>
                    <a:lnTo>
                      <a:pt x="199" y="2"/>
                    </a:lnTo>
                    <a:lnTo>
                      <a:pt x="207" y="4"/>
                    </a:lnTo>
                    <a:lnTo>
                      <a:pt x="217" y="8"/>
                    </a:lnTo>
                    <a:lnTo>
                      <a:pt x="227" y="16"/>
                    </a:lnTo>
                    <a:lnTo>
                      <a:pt x="239" y="10"/>
                    </a:lnTo>
                    <a:lnTo>
                      <a:pt x="251" y="54"/>
                    </a:lnTo>
                    <a:lnTo>
                      <a:pt x="247" y="70"/>
                    </a:lnTo>
                    <a:lnTo>
                      <a:pt x="243" y="110"/>
                    </a:lnTo>
                    <a:lnTo>
                      <a:pt x="211" y="148"/>
                    </a:lnTo>
                    <a:lnTo>
                      <a:pt x="213" y="160"/>
                    </a:lnTo>
                    <a:lnTo>
                      <a:pt x="191" y="174"/>
                    </a:lnTo>
                    <a:lnTo>
                      <a:pt x="156" y="170"/>
                    </a:lnTo>
                    <a:lnTo>
                      <a:pt x="150" y="178"/>
                    </a:lnTo>
                    <a:lnTo>
                      <a:pt x="122" y="168"/>
                    </a:lnTo>
                    <a:lnTo>
                      <a:pt x="112" y="174"/>
                    </a:lnTo>
                    <a:lnTo>
                      <a:pt x="96" y="162"/>
                    </a:lnTo>
                    <a:lnTo>
                      <a:pt x="66" y="162"/>
                    </a:lnTo>
                    <a:lnTo>
                      <a:pt x="54" y="194"/>
                    </a:lnTo>
                    <a:lnTo>
                      <a:pt x="44" y="184"/>
                    </a:lnTo>
                    <a:lnTo>
                      <a:pt x="30" y="186"/>
                    </a:lnTo>
                    <a:lnTo>
                      <a:pt x="16" y="178"/>
                    </a:lnTo>
                    <a:lnTo>
                      <a:pt x="12" y="176"/>
                    </a:lnTo>
                    <a:lnTo>
                      <a:pt x="14" y="170"/>
                    </a:lnTo>
                    <a:lnTo>
                      <a:pt x="4" y="158"/>
                    </a:lnTo>
                    <a:lnTo>
                      <a:pt x="0" y="150"/>
                    </a:lnTo>
                    <a:lnTo>
                      <a:pt x="4" y="14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50" name="Freeform 143">
                <a:extLst>
                  <a:ext uri="{FF2B5EF4-FFF2-40B4-BE49-F238E27FC236}">
                    <a16:creationId xmlns:a16="http://schemas.microsoft.com/office/drawing/2014/main" id="{F4EF538D-4C02-4A14-9467-53E72CB317F7}"/>
                  </a:ext>
                </a:extLst>
              </p:cNvPr>
              <p:cNvSpPr>
                <a:spLocks/>
              </p:cNvSpPr>
              <p:nvPr/>
            </p:nvSpPr>
            <p:spPr bwMode="gray">
              <a:xfrm>
                <a:off x="6203055" y="4405864"/>
                <a:ext cx="333517" cy="212458"/>
              </a:xfrm>
              <a:custGeom>
                <a:avLst/>
                <a:gdLst>
                  <a:gd name="T0" fmla="*/ 20 w 202"/>
                  <a:gd name="T1" fmla="*/ 54 h 128"/>
                  <a:gd name="T2" fmla="*/ 66 w 202"/>
                  <a:gd name="T3" fmla="*/ 42 h 128"/>
                  <a:gd name="T4" fmla="*/ 68 w 202"/>
                  <a:gd name="T5" fmla="*/ 30 h 128"/>
                  <a:gd name="T6" fmla="*/ 92 w 202"/>
                  <a:gd name="T7" fmla="*/ 26 h 128"/>
                  <a:gd name="T8" fmla="*/ 116 w 202"/>
                  <a:gd name="T9" fmla="*/ 2 h 128"/>
                  <a:gd name="T10" fmla="*/ 128 w 202"/>
                  <a:gd name="T11" fmla="*/ 0 h 128"/>
                  <a:gd name="T12" fmla="*/ 140 w 202"/>
                  <a:gd name="T13" fmla="*/ 8 h 128"/>
                  <a:gd name="T14" fmla="*/ 142 w 202"/>
                  <a:gd name="T15" fmla="*/ 22 h 128"/>
                  <a:gd name="T16" fmla="*/ 142 w 202"/>
                  <a:gd name="T17" fmla="*/ 34 h 128"/>
                  <a:gd name="T18" fmla="*/ 180 w 202"/>
                  <a:gd name="T19" fmla="*/ 60 h 128"/>
                  <a:gd name="T20" fmla="*/ 202 w 202"/>
                  <a:gd name="T21" fmla="*/ 92 h 128"/>
                  <a:gd name="T22" fmla="*/ 172 w 202"/>
                  <a:gd name="T23" fmla="*/ 90 h 128"/>
                  <a:gd name="T24" fmla="*/ 138 w 202"/>
                  <a:gd name="T25" fmla="*/ 100 h 128"/>
                  <a:gd name="T26" fmla="*/ 126 w 202"/>
                  <a:gd name="T27" fmla="*/ 108 h 128"/>
                  <a:gd name="T28" fmla="*/ 104 w 202"/>
                  <a:gd name="T29" fmla="*/ 106 h 128"/>
                  <a:gd name="T30" fmla="*/ 92 w 202"/>
                  <a:gd name="T31" fmla="*/ 102 h 128"/>
                  <a:gd name="T32" fmla="*/ 78 w 202"/>
                  <a:gd name="T33" fmla="*/ 88 h 128"/>
                  <a:gd name="T34" fmla="*/ 64 w 202"/>
                  <a:gd name="T35" fmla="*/ 104 h 128"/>
                  <a:gd name="T36" fmla="*/ 62 w 202"/>
                  <a:gd name="T37" fmla="*/ 118 h 128"/>
                  <a:gd name="T38" fmla="*/ 32 w 202"/>
                  <a:gd name="T39" fmla="*/ 116 h 128"/>
                  <a:gd name="T40" fmla="*/ 24 w 202"/>
                  <a:gd name="T41" fmla="*/ 128 h 128"/>
                  <a:gd name="T42" fmla="*/ 10 w 202"/>
                  <a:gd name="T43" fmla="*/ 112 h 128"/>
                  <a:gd name="T44" fmla="*/ 0 w 202"/>
                  <a:gd name="T45" fmla="*/ 86 h 128"/>
                  <a:gd name="T46" fmla="*/ 0 w 202"/>
                  <a:gd name="T47" fmla="*/ 70 h 128"/>
                  <a:gd name="T48" fmla="*/ 20 w 202"/>
                  <a:gd name="T49" fmla="*/ 5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2" h="128">
                    <a:moveTo>
                      <a:pt x="20" y="54"/>
                    </a:moveTo>
                    <a:lnTo>
                      <a:pt x="66" y="42"/>
                    </a:lnTo>
                    <a:lnTo>
                      <a:pt x="68" y="30"/>
                    </a:lnTo>
                    <a:lnTo>
                      <a:pt x="92" y="26"/>
                    </a:lnTo>
                    <a:lnTo>
                      <a:pt x="116" y="2"/>
                    </a:lnTo>
                    <a:lnTo>
                      <a:pt x="128" y="0"/>
                    </a:lnTo>
                    <a:lnTo>
                      <a:pt x="140" y="8"/>
                    </a:lnTo>
                    <a:lnTo>
                      <a:pt x="142" y="22"/>
                    </a:lnTo>
                    <a:lnTo>
                      <a:pt x="142" y="34"/>
                    </a:lnTo>
                    <a:lnTo>
                      <a:pt x="180" y="60"/>
                    </a:lnTo>
                    <a:lnTo>
                      <a:pt x="202" y="92"/>
                    </a:lnTo>
                    <a:lnTo>
                      <a:pt x="172" y="90"/>
                    </a:lnTo>
                    <a:lnTo>
                      <a:pt x="138" y="100"/>
                    </a:lnTo>
                    <a:lnTo>
                      <a:pt x="126" y="108"/>
                    </a:lnTo>
                    <a:lnTo>
                      <a:pt x="104" y="106"/>
                    </a:lnTo>
                    <a:lnTo>
                      <a:pt x="92" y="102"/>
                    </a:lnTo>
                    <a:lnTo>
                      <a:pt x="78" y="88"/>
                    </a:lnTo>
                    <a:lnTo>
                      <a:pt x="64" y="104"/>
                    </a:lnTo>
                    <a:lnTo>
                      <a:pt x="62" y="118"/>
                    </a:lnTo>
                    <a:lnTo>
                      <a:pt x="32" y="116"/>
                    </a:lnTo>
                    <a:lnTo>
                      <a:pt x="24" y="128"/>
                    </a:lnTo>
                    <a:lnTo>
                      <a:pt x="10" y="112"/>
                    </a:lnTo>
                    <a:lnTo>
                      <a:pt x="0" y="86"/>
                    </a:lnTo>
                    <a:lnTo>
                      <a:pt x="0" y="70"/>
                    </a:lnTo>
                    <a:lnTo>
                      <a:pt x="20" y="5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51" name="Freeform 144">
                <a:extLst>
                  <a:ext uri="{FF2B5EF4-FFF2-40B4-BE49-F238E27FC236}">
                    <a16:creationId xmlns:a16="http://schemas.microsoft.com/office/drawing/2014/main" id="{1EA1C605-7BC3-402B-9863-0A9CB0535A6C}"/>
                  </a:ext>
                </a:extLst>
              </p:cNvPr>
              <p:cNvSpPr>
                <a:spLocks/>
              </p:cNvSpPr>
              <p:nvPr/>
            </p:nvSpPr>
            <p:spPr bwMode="gray">
              <a:xfrm>
                <a:off x="6394580" y="4080539"/>
                <a:ext cx="435883" cy="511227"/>
              </a:xfrm>
              <a:custGeom>
                <a:avLst/>
                <a:gdLst>
                  <a:gd name="T0" fmla="*/ 188 w 264"/>
                  <a:gd name="T1" fmla="*/ 20 h 308"/>
                  <a:gd name="T2" fmla="*/ 208 w 264"/>
                  <a:gd name="T3" fmla="*/ 0 h 308"/>
                  <a:gd name="T4" fmla="*/ 216 w 264"/>
                  <a:gd name="T5" fmla="*/ 0 h 308"/>
                  <a:gd name="T6" fmla="*/ 238 w 264"/>
                  <a:gd name="T7" fmla="*/ 18 h 308"/>
                  <a:gd name="T8" fmla="*/ 242 w 264"/>
                  <a:gd name="T9" fmla="*/ 32 h 308"/>
                  <a:gd name="T10" fmla="*/ 240 w 264"/>
                  <a:gd name="T11" fmla="*/ 60 h 308"/>
                  <a:gd name="T12" fmla="*/ 264 w 264"/>
                  <a:gd name="T13" fmla="*/ 86 h 308"/>
                  <a:gd name="T14" fmla="*/ 236 w 264"/>
                  <a:gd name="T15" fmla="*/ 98 h 308"/>
                  <a:gd name="T16" fmla="*/ 230 w 264"/>
                  <a:gd name="T17" fmla="*/ 128 h 308"/>
                  <a:gd name="T18" fmla="*/ 230 w 264"/>
                  <a:gd name="T19" fmla="*/ 142 h 308"/>
                  <a:gd name="T20" fmla="*/ 206 w 264"/>
                  <a:gd name="T21" fmla="*/ 180 h 308"/>
                  <a:gd name="T22" fmla="*/ 206 w 264"/>
                  <a:gd name="T23" fmla="*/ 196 h 308"/>
                  <a:gd name="T24" fmla="*/ 194 w 264"/>
                  <a:gd name="T25" fmla="*/ 198 h 308"/>
                  <a:gd name="T26" fmla="*/ 194 w 264"/>
                  <a:gd name="T27" fmla="*/ 234 h 308"/>
                  <a:gd name="T28" fmla="*/ 174 w 264"/>
                  <a:gd name="T29" fmla="*/ 234 h 308"/>
                  <a:gd name="T30" fmla="*/ 178 w 264"/>
                  <a:gd name="T31" fmla="*/ 248 h 308"/>
                  <a:gd name="T32" fmla="*/ 188 w 264"/>
                  <a:gd name="T33" fmla="*/ 250 h 308"/>
                  <a:gd name="T34" fmla="*/ 212 w 264"/>
                  <a:gd name="T35" fmla="*/ 282 h 308"/>
                  <a:gd name="T36" fmla="*/ 218 w 264"/>
                  <a:gd name="T37" fmla="*/ 282 h 308"/>
                  <a:gd name="T38" fmla="*/ 218 w 264"/>
                  <a:gd name="T39" fmla="*/ 296 h 308"/>
                  <a:gd name="T40" fmla="*/ 198 w 264"/>
                  <a:gd name="T41" fmla="*/ 296 h 308"/>
                  <a:gd name="T42" fmla="*/ 190 w 264"/>
                  <a:gd name="T43" fmla="*/ 304 h 308"/>
                  <a:gd name="T44" fmla="*/ 138 w 264"/>
                  <a:gd name="T45" fmla="*/ 308 h 308"/>
                  <a:gd name="T46" fmla="*/ 122 w 264"/>
                  <a:gd name="T47" fmla="*/ 296 h 308"/>
                  <a:gd name="T48" fmla="*/ 94 w 264"/>
                  <a:gd name="T49" fmla="*/ 298 h 308"/>
                  <a:gd name="T50" fmla="*/ 86 w 264"/>
                  <a:gd name="T51" fmla="*/ 288 h 308"/>
                  <a:gd name="T52" fmla="*/ 64 w 264"/>
                  <a:gd name="T53" fmla="*/ 256 h 308"/>
                  <a:gd name="T54" fmla="*/ 26 w 264"/>
                  <a:gd name="T55" fmla="*/ 230 h 308"/>
                  <a:gd name="T56" fmla="*/ 24 w 264"/>
                  <a:gd name="T57" fmla="*/ 204 h 308"/>
                  <a:gd name="T58" fmla="*/ 12 w 264"/>
                  <a:gd name="T59" fmla="*/ 196 h 308"/>
                  <a:gd name="T60" fmla="*/ 8 w 264"/>
                  <a:gd name="T61" fmla="*/ 170 h 308"/>
                  <a:gd name="T62" fmla="*/ 0 w 264"/>
                  <a:gd name="T63" fmla="*/ 162 h 308"/>
                  <a:gd name="T64" fmla="*/ 16 w 264"/>
                  <a:gd name="T65" fmla="*/ 122 h 308"/>
                  <a:gd name="T66" fmla="*/ 30 w 264"/>
                  <a:gd name="T67" fmla="*/ 120 h 308"/>
                  <a:gd name="T68" fmla="*/ 32 w 264"/>
                  <a:gd name="T69" fmla="*/ 46 h 308"/>
                  <a:gd name="T70" fmla="*/ 50 w 264"/>
                  <a:gd name="T71" fmla="*/ 46 h 308"/>
                  <a:gd name="T72" fmla="*/ 50 w 264"/>
                  <a:gd name="T73" fmla="*/ 12 h 308"/>
                  <a:gd name="T74" fmla="*/ 178 w 264"/>
                  <a:gd name="T75" fmla="*/ 14 h 308"/>
                  <a:gd name="T76" fmla="*/ 188 w 264"/>
                  <a:gd name="T77" fmla="*/ 2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64" h="308">
                    <a:moveTo>
                      <a:pt x="188" y="20"/>
                    </a:moveTo>
                    <a:lnTo>
                      <a:pt x="208" y="0"/>
                    </a:lnTo>
                    <a:lnTo>
                      <a:pt x="216" y="0"/>
                    </a:lnTo>
                    <a:lnTo>
                      <a:pt x="238" y="18"/>
                    </a:lnTo>
                    <a:lnTo>
                      <a:pt x="242" y="32"/>
                    </a:lnTo>
                    <a:lnTo>
                      <a:pt x="240" y="60"/>
                    </a:lnTo>
                    <a:lnTo>
                      <a:pt x="264" y="86"/>
                    </a:lnTo>
                    <a:lnTo>
                      <a:pt x="236" y="98"/>
                    </a:lnTo>
                    <a:lnTo>
                      <a:pt x="230" y="128"/>
                    </a:lnTo>
                    <a:lnTo>
                      <a:pt x="230" y="142"/>
                    </a:lnTo>
                    <a:lnTo>
                      <a:pt x="206" y="180"/>
                    </a:lnTo>
                    <a:lnTo>
                      <a:pt x="206" y="196"/>
                    </a:lnTo>
                    <a:lnTo>
                      <a:pt x="194" y="198"/>
                    </a:lnTo>
                    <a:lnTo>
                      <a:pt x="194" y="234"/>
                    </a:lnTo>
                    <a:lnTo>
                      <a:pt x="174" y="234"/>
                    </a:lnTo>
                    <a:lnTo>
                      <a:pt x="178" y="248"/>
                    </a:lnTo>
                    <a:lnTo>
                      <a:pt x="188" y="250"/>
                    </a:lnTo>
                    <a:lnTo>
                      <a:pt x="212" y="282"/>
                    </a:lnTo>
                    <a:lnTo>
                      <a:pt x="218" y="282"/>
                    </a:lnTo>
                    <a:lnTo>
                      <a:pt x="218" y="296"/>
                    </a:lnTo>
                    <a:lnTo>
                      <a:pt x="198" y="296"/>
                    </a:lnTo>
                    <a:lnTo>
                      <a:pt x="190" y="304"/>
                    </a:lnTo>
                    <a:lnTo>
                      <a:pt x="138" y="308"/>
                    </a:lnTo>
                    <a:lnTo>
                      <a:pt x="122" y="296"/>
                    </a:lnTo>
                    <a:lnTo>
                      <a:pt x="94" y="298"/>
                    </a:lnTo>
                    <a:lnTo>
                      <a:pt x="86" y="288"/>
                    </a:lnTo>
                    <a:lnTo>
                      <a:pt x="64" y="256"/>
                    </a:lnTo>
                    <a:lnTo>
                      <a:pt x="26" y="230"/>
                    </a:lnTo>
                    <a:lnTo>
                      <a:pt x="24" y="204"/>
                    </a:lnTo>
                    <a:lnTo>
                      <a:pt x="12" y="196"/>
                    </a:lnTo>
                    <a:lnTo>
                      <a:pt x="8" y="170"/>
                    </a:lnTo>
                    <a:lnTo>
                      <a:pt x="0" y="162"/>
                    </a:lnTo>
                    <a:lnTo>
                      <a:pt x="16" y="122"/>
                    </a:lnTo>
                    <a:lnTo>
                      <a:pt x="30" y="120"/>
                    </a:lnTo>
                    <a:lnTo>
                      <a:pt x="32" y="46"/>
                    </a:lnTo>
                    <a:lnTo>
                      <a:pt x="50" y="46"/>
                    </a:lnTo>
                    <a:lnTo>
                      <a:pt x="50" y="12"/>
                    </a:lnTo>
                    <a:lnTo>
                      <a:pt x="178" y="14"/>
                    </a:lnTo>
                    <a:lnTo>
                      <a:pt x="188" y="2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52" name="Freeform 145">
                <a:extLst>
                  <a:ext uri="{FF2B5EF4-FFF2-40B4-BE49-F238E27FC236}">
                    <a16:creationId xmlns:a16="http://schemas.microsoft.com/office/drawing/2014/main" id="{C3997325-9344-41E1-B9AC-0307D557DE66}"/>
                  </a:ext>
                </a:extLst>
              </p:cNvPr>
              <p:cNvSpPr>
                <a:spLocks/>
              </p:cNvSpPr>
              <p:nvPr/>
            </p:nvSpPr>
            <p:spPr bwMode="gray">
              <a:xfrm>
                <a:off x="6774325" y="4223284"/>
                <a:ext cx="165108" cy="142746"/>
              </a:xfrm>
              <a:custGeom>
                <a:avLst/>
                <a:gdLst>
                  <a:gd name="T0" fmla="*/ 34 w 100"/>
                  <a:gd name="T1" fmla="*/ 0 h 86"/>
                  <a:gd name="T2" fmla="*/ 42 w 100"/>
                  <a:gd name="T3" fmla="*/ 12 h 86"/>
                  <a:gd name="T4" fmla="*/ 48 w 100"/>
                  <a:gd name="T5" fmla="*/ 26 h 86"/>
                  <a:gd name="T6" fmla="*/ 50 w 100"/>
                  <a:gd name="T7" fmla="*/ 44 h 86"/>
                  <a:gd name="T8" fmla="*/ 64 w 100"/>
                  <a:gd name="T9" fmla="*/ 44 h 86"/>
                  <a:gd name="T10" fmla="*/ 100 w 100"/>
                  <a:gd name="T11" fmla="*/ 76 h 86"/>
                  <a:gd name="T12" fmla="*/ 94 w 100"/>
                  <a:gd name="T13" fmla="*/ 86 h 86"/>
                  <a:gd name="T14" fmla="*/ 76 w 100"/>
                  <a:gd name="T15" fmla="*/ 68 h 86"/>
                  <a:gd name="T16" fmla="*/ 58 w 100"/>
                  <a:gd name="T17" fmla="*/ 52 h 86"/>
                  <a:gd name="T18" fmla="*/ 24 w 100"/>
                  <a:gd name="T19" fmla="*/ 50 h 86"/>
                  <a:gd name="T20" fmla="*/ 22 w 100"/>
                  <a:gd name="T21" fmla="*/ 56 h 86"/>
                  <a:gd name="T22" fmla="*/ 0 w 100"/>
                  <a:gd name="T23" fmla="*/ 56 h 86"/>
                  <a:gd name="T24" fmla="*/ 0 w 100"/>
                  <a:gd name="T25" fmla="*/ 42 h 86"/>
                  <a:gd name="T26" fmla="*/ 4 w 100"/>
                  <a:gd name="T27" fmla="*/ 28 h 86"/>
                  <a:gd name="T28" fmla="*/ 6 w 100"/>
                  <a:gd name="T29" fmla="*/ 12 h 86"/>
                  <a:gd name="T30" fmla="*/ 34 w 100"/>
                  <a:gd name="T31"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0" h="86">
                    <a:moveTo>
                      <a:pt x="34" y="0"/>
                    </a:moveTo>
                    <a:lnTo>
                      <a:pt x="42" y="12"/>
                    </a:lnTo>
                    <a:lnTo>
                      <a:pt x="48" y="26"/>
                    </a:lnTo>
                    <a:lnTo>
                      <a:pt x="50" y="44"/>
                    </a:lnTo>
                    <a:lnTo>
                      <a:pt x="64" y="44"/>
                    </a:lnTo>
                    <a:lnTo>
                      <a:pt x="100" y="76"/>
                    </a:lnTo>
                    <a:lnTo>
                      <a:pt x="94" y="86"/>
                    </a:lnTo>
                    <a:lnTo>
                      <a:pt x="76" y="68"/>
                    </a:lnTo>
                    <a:lnTo>
                      <a:pt x="58" y="52"/>
                    </a:lnTo>
                    <a:lnTo>
                      <a:pt x="24" y="50"/>
                    </a:lnTo>
                    <a:lnTo>
                      <a:pt x="22" y="56"/>
                    </a:lnTo>
                    <a:lnTo>
                      <a:pt x="0" y="56"/>
                    </a:lnTo>
                    <a:lnTo>
                      <a:pt x="0" y="42"/>
                    </a:lnTo>
                    <a:lnTo>
                      <a:pt x="4" y="28"/>
                    </a:lnTo>
                    <a:lnTo>
                      <a:pt x="6" y="12"/>
                    </a:lnTo>
                    <a:lnTo>
                      <a:pt x="34"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53" name="Freeform 146">
                <a:extLst>
                  <a:ext uri="{FF2B5EF4-FFF2-40B4-BE49-F238E27FC236}">
                    <a16:creationId xmlns:a16="http://schemas.microsoft.com/office/drawing/2014/main" id="{CB75B9F6-9EAA-4B63-B23F-FCFA405864E7}"/>
                  </a:ext>
                </a:extLst>
              </p:cNvPr>
              <p:cNvSpPr>
                <a:spLocks/>
              </p:cNvSpPr>
              <p:nvPr/>
            </p:nvSpPr>
            <p:spPr bwMode="gray">
              <a:xfrm>
                <a:off x="6916317" y="4349431"/>
                <a:ext cx="36323" cy="56435"/>
              </a:xfrm>
              <a:custGeom>
                <a:avLst/>
                <a:gdLst>
                  <a:gd name="T0" fmla="*/ 22 w 22"/>
                  <a:gd name="T1" fmla="*/ 16 h 34"/>
                  <a:gd name="T2" fmla="*/ 14 w 22"/>
                  <a:gd name="T3" fmla="*/ 22 h 34"/>
                  <a:gd name="T4" fmla="*/ 16 w 22"/>
                  <a:gd name="T5" fmla="*/ 34 h 34"/>
                  <a:gd name="T6" fmla="*/ 0 w 22"/>
                  <a:gd name="T7" fmla="*/ 32 h 34"/>
                  <a:gd name="T8" fmla="*/ 0 w 22"/>
                  <a:gd name="T9" fmla="*/ 20 h 34"/>
                  <a:gd name="T10" fmla="*/ 8 w 22"/>
                  <a:gd name="T11" fmla="*/ 10 h 34"/>
                  <a:gd name="T12" fmla="*/ 14 w 22"/>
                  <a:gd name="T13" fmla="*/ 0 h 34"/>
                  <a:gd name="T14" fmla="*/ 22 w 22"/>
                  <a:gd name="T15" fmla="*/ 16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34">
                    <a:moveTo>
                      <a:pt x="22" y="16"/>
                    </a:moveTo>
                    <a:lnTo>
                      <a:pt x="14" y="22"/>
                    </a:lnTo>
                    <a:lnTo>
                      <a:pt x="16" y="34"/>
                    </a:lnTo>
                    <a:lnTo>
                      <a:pt x="0" y="32"/>
                    </a:lnTo>
                    <a:lnTo>
                      <a:pt x="0" y="20"/>
                    </a:lnTo>
                    <a:lnTo>
                      <a:pt x="8" y="10"/>
                    </a:lnTo>
                    <a:lnTo>
                      <a:pt x="14" y="0"/>
                    </a:lnTo>
                    <a:lnTo>
                      <a:pt x="22" y="1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54" name="Freeform 147">
                <a:extLst>
                  <a:ext uri="{FF2B5EF4-FFF2-40B4-BE49-F238E27FC236}">
                    <a16:creationId xmlns:a16="http://schemas.microsoft.com/office/drawing/2014/main" id="{95ACDB8E-5996-4A32-9D76-353F68ED099B}"/>
                  </a:ext>
                </a:extLst>
              </p:cNvPr>
              <p:cNvSpPr>
                <a:spLocks/>
              </p:cNvSpPr>
              <p:nvPr/>
            </p:nvSpPr>
            <p:spPr bwMode="gray">
              <a:xfrm>
                <a:off x="6889901" y="4379308"/>
                <a:ext cx="274078" cy="358523"/>
              </a:xfrm>
              <a:custGeom>
                <a:avLst/>
                <a:gdLst>
                  <a:gd name="T0" fmla="*/ 60 w 166"/>
                  <a:gd name="T1" fmla="*/ 26 h 216"/>
                  <a:gd name="T2" fmla="*/ 78 w 166"/>
                  <a:gd name="T3" fmla="*/ 18 h 216"/>
                  <a:gd name="T4" fmla="*/ 146 w 166"/>
                  <a:gd name="T5" fmla="*/ 8 h 216"/>
                  <a:gd name="T6" fmla="*/ 164 w 166"/>
                  <a:gd name="T7" fmla="*/ 0 h 216"/>
                  <a:gd name="T8" fmla="*/ 166 w 166"/>
                  <a:gd name="T9" fmla="*/ 22 h 216"/>
                  <a:gd name="T10" fmla="*/ 158 w 166"/>
                  <a:gd name="T11" fmla="*/ 30 h 216"/>
                  <a:gd name="T12" fmla="*/ 132 w 166"/>
                  <a:gd name="T13" fmla="*/ 80 h 216"/>
                  <a:gd name="T14" fmla="*/ 80 w 166"/>
                  <a:gd name="T15" fmla="*/ 152 h 216"/>
                  <a:gd name="T16" fmla="*/ 12 w 166"/>
                  <a:gd name="T17" fmla="*/ 216 h 216"/>
                  <a:gd name="T18" fmla="*/ 2 w 166"/>
                  <a:gd name="T19" fmla="*/ 202 h 216"/>
                  <a:gd name="T20" fmla="*/ 0 w 166"/>
                  <a:gd name="T21" fmla="*/ 146 h 216"/>
                  <a:gd name="T22" fmla="*/ 16 w 166"/>
                  <a:gd name="T23" fmla="*/ 136 h 216"/>
                  <a:gd name="T24" fmla="*/ 16 w 166"/>
                  <a:gd name="T25" fmla="*/ 126 h 216"/>
                  <a:gd name="T26" fmla="*/ 40 w 166"/>
                  <a:gd name="T27" fmla="*/ 112 h 216"/>
                  <a:gd name="T28" fmla="*/ 66 w 166"/>
                  <a:gd name="T29" fmla="*/ 108 h 216"/>
                  <a:gd name="T30" fmla="*/ 108 w 166"/>
                  <a:gd name="T31" fmla="*/ 62 h 216"/>
                  <a:gd name="T32" fmla="*/ 52 w 166"/>
                  <a:gd name="T33" fmla="*/ 48 h 216"/>
                  <a:gd name="T34" fmla="*/ 32 w 166"/>
                  <a:gd name="T35" fmla="*/ 26 h 216"/>
                  <a:gd name="T36" fmla="*/ 32 w 166"/>
                  <a:gd name="T37" fmla="*/ 16 h 216"/>
                  <a:gd name="T38" fmla="*/ 40 w 166"/>
                  <a:gd name="T39" fmla="*/ 8 h 216"/>
                  <a:gd name="T40" fmla="*/ 60 w 166"/>
                  <a:gd name="T41" fmla="*/ 2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6" h="216">
                    <a:moveTo>
                      <a:pt x="60" y="26"/>
                    </a:moveTo>
                    <a:lnTo>
                      <a:pt x="78" y="18"/>
                    </a:lnTo>
                    <a:lnTo>
                      <a:pt x="146" y="8"/>
                    </a:lnTo>
                    <a:lnTo>
                      <a:pt x="164" y="0"/>
                    </a:lnTo>
                    <a:lnTo>
                      <a:pt x="166" y="22"/>
                    </a:lnTo>
                    <a:lnTo>
                      <a:pt x="158" y="30"/>
                    </a:lnTo>
                    <a:lnTo>
                      <a:pt x="132" y="80"/>
                    </a:lnTo>
                    <a:lnTo>
                      <a:pt x="80" y="152"/>
                    </a:lnTo>
                    <a:lnTo>
                      <a:pt x="12" y="216"/>
                    </a:lnTo>
                    <a:lnTo>
                      <a:pt x="2" y="202"/>
                    </a:lnTo>
                    <a:lnTo>
                      <a:pt x="0" y="146"/>
                    </a:lnTo>
                    <a:lnTo>
                      <a:pt x="16" y="136"/>
                    </a:lnTo>
                    <a:lnTo>
                      <a:pt x="16" y="126"/>
                    </a:lnTo>
                    <a:lnTo>
                      <a:pt x="40" y="112"/>
                    </a:lnTo>
                    <a:lnTo>
                      <a:pt x="66" y="108"/>
                    </a:lnTo>
                    <a:lnTo>
                      <a:pt x="108" y="62"/>
                    </a:lnTo>
                    <a:lnTo>
                      <a:pt x="52" y="48"/>
                    </a:lnTo>
                    <a:lnTo>
                      <a:pt x="32" y="26"/>
                    </a:lnTo>
                    <a:lnTo>
                      <a:pt x="32" y="16"/>
                    </a:lnTo>
                    <a:lnTo>
                      <a:pt x="40" y="8"/>
                    </a:lnTo>
                    <a:lnTo>
                      <a:pt x="60" y="2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55" name="Freeform 148">
                <a:extLst>
                  <a:ext uri="{FF2B5EF4-FFF2-40B4-BE49-F238E27FC236}">
                    <a16:creationId xmlns:a16="http://schemas.microsoft.com/office/drawing/2014/main" id="{90481255-D60D-4BA6-B34F-0BE5ED63B1DE}"/>
                  </a:ext>
                </a:extLst>
              </p:cNvPr>
              <p:cNvSpPr>
                <a:spLocks/>
              </p:cNvSpPr>
              <p:nvPr/>
            </p:nvSpPr>
            <p:spPr bwMode="gray">
              <a:xfrm>
                <a:off x="6681865" y="4306275"/>
                <a:ext cx="386350" cy="295449"/>
              </a:xfrm>
              <a:custGeom>
                <a:avLst/>
                <a:gdLst>
                  <a:gd name="T0" fmla="*/ 56 w 234"/>
                  <a:gd name="T1" fmla="*/ 6 h 178"/>
                  <a:gd name="T2" fmla="*/ 78 w 234"/>
                  <a:gd name="T3" fmla="*/ 6 h 178"/>
                  <a:gd name="T4" fmla="*/ 80 w 234"/>
                  <a:gd name="T5" fmla="*/ 0 h 178"/>
                  <a:gd name="T6" fmla="*/ 114 w 234"/>
                  <a:gd name="T7" fmla="*/ 2 h 178"/>
                  <a:gd name="T8" fmla="*/ 150 w 234"/>
                  <a:gd name="T9" fmla="*/ 36 h 178"/>
                  <a:gd name="T10" fmla="*/ 142 w 234"/>
                  <a:gd name="T11" fmla="*/ 46 h 178"/>
                  <a:gd name="T12" fmla="*/ 142 w 234"/>
                  <a:gd name="T13" fmla="*/ 58 h 178"/>
                  <a:gd name="T14" fmla="*/ 158 w 234"/>
                  <a:gd name="T15" fmla="*/ 60 h 178"/>
                  <a:gd name="T16" fmla="*/ 158 w 234"/>
                  <a:gd name="T17" fmla="*/ 70 h 178"/>
                  <a:gd name="T18" fmla="*/ 178 w 234"/>
                  <a:gd name="T19" fmla="*/ 92 h 178"/>
                  <a:gd name="T20" fmla="*/ 234 w 234"/>
                  <a:gd name="T21" fmla="*/ 106 h 178"/>
                  <a:gd name="T22" fmla="*/ 192 w 234"/>
                  <a:gd name="T23" fmla="*/ 152 h 178"/>
                  <a:gd name="T24" fmla="*/ 166 w 234"/>
                  <a:gd name="T25" fmla="*/ 156 h 178"/>
                  <a:gd name="T26" fmla="*/ 142 w 234"/>
                  <a:gd name="T27" fmla="*/ 170 h 178"/>
                  <a:gd name="T28" fmla="*/ 130 w 234"/>
                  <a:gd name="T29" fmla="*/ 174 h 178"/>
                  <a:gd name="T30" fmla="*/ 124 w 234"/>
                  <a:gd name="T31" fmla="*/ 166 h 178"/>
                  <a:gd name="T32" fmla="*/ 104 w 234"/>
                  <a:gd name="T33" fmla="*/ 178 h 178"/>
                  <a:gd name="T34" fmla="*/ 80 w 234"/>
                  <a:gd name="T35" fmla="*/ 176 h 178"/>
                  <a:gd name="T36" fmla="*/ 44 w 234"/>
                  <a:gd name="T37" fmla="*/ 160 h 178"/>
                  <a:gd name="T38" fmla="*/ 44 w 234"/>
                  <a:gd name="T39" fmla="*/ 146 h 178"/>
                  <a:gd name="T40" fmla="*/ 38 w 234"/>
                  <a:gd name="T41" fmla="*/ 146 h 178"/>
                  <a:gd name="T42" fmla="*/ 14 w 234"/>
                  <a:gd name="T43" fmla="*/ 114 h 178"/>
                  <a:gd name="T44" fmla="*/ 4 w 234"/>
                  <a:gd name="T45" fmla="*/ 112 h 178"/>
                  <a:gd name="T46" fmla="*/ 0 w 234"/>
                  <a:gd name="T47" fmla="*/ 98 h 178"/>
                  <a:gd name="T48" fmla="*/ 20 w 234"/>
                  <a:gd name="T49" fmla="*/ 98 h 178"/>
                  <a:gd name="T50" fmla="*/ 20 w 234"/>
                  <a:gd name="T51" fmla="*/ 62 h 178"/>
                  <a:gd name="T52" fmla="*/ 32 w 234"/>
                  <a:gd name="T53" fmla="*/ 60 h 178"/>
                  <a:gd name="T54" fmla="*/ 32 w 234"/>
                  <a:gd name="T55" fmla="*/ 44 h 178"/>
                  <a:gd name="T56" fmla="*/ 56 w 234"/>
                  <a:gd name="T57" fmla="*/ 6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34" h="178">
                    <a:moveTo>
                      <a:pt x="56" y="6"/>
                    </a:moveTo>
                    <a:lnTo>
                      <a:pt x="78" y="6"/>
                    </a:lnTo>
                    <a:lnTo>
                      <a:pt x="80" y="0"/>
                    </a:lnTo>
                    <a:lnTo>
                      <a:pt x="114" y="2"/>
                    </a:lnTo>
                    <a:lnTo>
                      <a:pt x="150" y="36"/>
                    </a:lnTo>
                    <a:lnTo>
                      <a:pt x="142" y="46"/>
                    </a:lnTo>
                    <a:lnTo>
                      <a:pt x="142" y="58"/>
                    </a:lnTo>
                    <a:lnTo>
                      <a:pt x="158" y="60"/>
                    </a:lnTo>
                    <a:lnTo>
                      <a:pt x="158" y="70"/>
                    </a:lnTo>
                    <a:lnTo>
                      <a:pt x="178" y="92"/>
                    </a:lnTo>
                    <a:lnTo>
                      <a:pt x="234" y="106"/>
                    </a:lnTo>
                    <a:lnTo>
                      <a:pt x="192" y="152"/>
                    </a:lnTo>
                    <a:lnTo>
                      <a:pt x="166" y="156"/>
                    </a:lnTo>
                    <a:lnTo>
                      <a:pt x="142" y="170"/>
                    </a:lnTo>
                    <a:lnTo>
                      <a:pt x="130" y="174"/>
                    </a:lnTo>
                    <a:lnTo>
                      <a:pt x="124" y="166"/>
                    </a:lnTo>
                    <a:lnTo>
                      <a:pt x="104" y="178"/>
                    </a:lnTo>
                    <a:lnTo>
                      <a:pt x="80" y="176"/>
                    </a:lnTo>
                    <a:lnTo>
                      <a:pt x="44" y="160"/>
                    </a:lnTo>
                    <a:lnTo>
                      <a:pt x="44" y="146"/>
                    </a:lnTo>
                    <a:lnTo>
                      <a:pt x="38" y="146"/>
                    </a:lnTo>
                    <a:lnTo>
                      <a:pt x="14" y="114"/>
                    </a:lnTo>
                    <a:lnTo>
                      <a:pt x="4" y="112"/>
                    </a:lnTo>
                    <a:lnTo>
                      <a:pt x="0" y="98"/>
                    </a:lnTo>
                    <a:lnTo>
                      <a:pt x="20" y="98"/>
                    </a:lnTo>
                    <a:lnTo>
                      <a:pt x="20" y="62"/>
                    </a:lnTo>
                    <a:lnTo>
                      <a:pt x="32" y="60"/>
                    </a:lnTo>
                    <a:lnTo>
                      <a:pt x="32" y="44"/>
                    </a:lnTo>
                    <a:lnTo>
                      <a:pt x="56" y="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56" name="Freeform 149">
                <a:extLst>
                  <a:ext uri="{FF2B5EF4-FFF2-40B4-BE49-F238E27FC236}">
                    <a16:creationId xmlns:a16="http://schemas.microsoft.com/office/drawing/2014/main" id="{5E368153-D955-4893-9C72-726163090567}"/>
                  </a:ext>
                </a:extLst>
              </p:cNvPr>
              <p:cNvSpPr>
                <a:spLocks/>
              </p:cNvSpPr>
              <p:nvPr/>
            </p:nvSpPr>
            <p:spPr bwMode="gray">
              <a:xfrm>
                <a:off x="6046203" y="4349431"/>
                <a:ext cx="196478" cy="295449"/>
              </a:xfrm>
              <a:custGeom>
                <a:avLst/>
                <a:gdLst>
                  <a:gd name="T0" fmla="*/ 91 w 119"/>
                  <a:gd name="T1" fmla="*/ 0 h 178"/>
                  <a:gd name="T2" fmla="*/ 99 w 119"/>
                  <a:gd name="T3" fmla="*/ 12 h 178"/>
                  <a:gd name="T4" fmla="*/ 101 w 119"/>
                  <a:gd name="T5" fmla="*/ 36 h 178"/>
                  <a:gd name="T6" fmla="*/ 107 w 119"/>
                  <a:gd name="T7" fmla="*/ 46 h 178"/>
                  <a:gd name="T8" fmla="*/ 87 w 119"/>
                  <a:gd name="T9" fmla="*/ 46 h 178"/>
                  <a:gd name="T10" fmla="*/ 85 w 119"/>
                  <a:gd name="T11" fmla="*/ 56 h 178"/>
                  <a:gd name="T12" fmla="*/ 115 w 119"/>
                  <a:gd name="T13" fmla="*/ 88 h 178"/>
                  <a:gd name="T14" fmla="*/ 95 w 119"/>
                  <a:gd name="T15" fmla="*/ 104 h 178"/>
                  <a:gd name="T16" fmla="*/ 95 w 119"/>
                  <a:gd name="T17" fmla="*/ 120 h 178"/>
                  <a:gd name="T18" fmla="*/ 105 w 119"/>
                  <a:gd name="T19" fmla="*/ 146 h 178"/>
                  <a:gd name="T20" fmla="*/ 119 w 119"/>
                  <a:gd name="T21" fmla="*/ 162 h 178"/>
                  <a:gd name="T22" fmla="*/ 117 w 119"/>
                  <a:gd name="T23" fmla="*/ 176 h 178"/>
                  <a:gd name="T24" fmla="*/ 99 w 119"/>
                  <a:gd name="T25" fmla="*/ 178 h 178"/>
                  <a:gd name="T26" fmla="*/ 99 w 119"/>
                  <a:gd name="T27" fmla="*/ 170 h 178"/>
                  <a:gd name="T28" fmla="*/ 18 w 119"/>
                  <a:gd name="T29" fmla="*/ 170 h 178"/>
                  <a:gd name="T30" fmla="*/ 18 w 119"/>
                  <a:gd name="T31" fmla="*/ 146 h 178"/>
                  <a:gd name="T32" fmla="*/ 10 w 119"/>
                  <a:gd name="T33" fmla="*/ 138 h 178"/>
                  <a:gd name="T34" fmla="*/ 0 w 119"/>
                  <a:gd name="T35" fmla="*/ 132 h 178"/>
                  <a:gd name="T36" fmla="*/ 2 w 119"/>
                  <a:gd name="T37" fmla="*/ 114 h 178"/>
                  <a:gd name="T38" fmla="*/ 22 w 119"/>
                  <a:gd name="T39" fmla="*/ 96 h 178"/>
                  <a:gd name="T40" fmla="*/ 32 w 119"/>
                  <a:gd name="T41" fmla="*/ 96 h 178"/>
                  <a:gd name="T42" fmla="*/ 43 w 119"/>
                  <a:gd name="T43" fmla="*/ 104 h 178"/>
                  <a:gd name="T44" fmla="*/ 83 w 119"/>
                  <a:gd name="T45" fmla="*/ 28 h 178"/>
                  <a:gd name="T46" fmla="*/ 93 w 119"/>
                  <a:gd name="T47" fmla="*/ 26 h 178"/>
                  <a:gd name="T48" fmla="*/ 91 w 119"/>
                  <a:gd name="T49" fmla="*/ 12 h 178"/>
                  <a:gd name="T50" fmla="*/ 91 w 119"/>
                  <a:gd name="T51"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9" h="178">
                    <a:moveTo>
                      <a:pt x="91" y="0"/>
                    </a:moveTo>
                    <a:lnTo>
                      <a:pt x="99" y="12"/>
                    </a:lnTo>
                    <a:lnTo>
                      <a:pt x="101" y="36"/>
                    </a:lnTo>
                    <a:lnTo>
                      <a:pt x="107" y="46"/>
                    </a:lnTo>
                    <a:lnTo>
                      <a:pt x="87" y="46"/>
                    </a:lnTo>
                    <a:lnTo>
                      <a:pt x="85" y="56"/>
                    </a:lnTo>
                    <a:lnTo>
                      <a:pt x="115" y="88"/>
                    </a:lnTo>
                    <a:lnTo>
                      <a:pt x="95" y="104"/>
                    </a:lnTo>
                    <a:lnTo>
                      <a:pt x="95" y="120"/>
                    </a:lnTo>
                    <a:lnTo>
                      <a:pt x="105" y="146"/>
                    </a:lnTo>
                    <a:lnTo>
                      <a:pt x="119" y="162"/>
                    </a:lnTo>
                    <a:lnTo>
                      <a:pt x="117" y="176"/>
                    </a:lnTo>
                    <a:lnTo>
                      <a:pt x="99" y="178"/>
                    </a:lnTo>
                    <a:lnTo>
                      <a:pt x="99" y="170"/>
                    </a:lnTo>
                    <a:lnTo>
                      <a:pt x="18" y="170"/>
                    </a:lnTo>
                    <a:lnTo>
                      <a:pt x="18" y="146"/>
                    </a:lnTo>
                    <a:lnTo>
                      <a:pt x="10" y="138"/>
                    </a:lnTo>
                    <a:lnTo>
                      <a:pt x="0" y="132"/>
                    </a:lnTo>
                    <a:lnTo>
                      <a:pt x="2" y="114"/>
                    </a:lnTo>
                    <a:lnTo>
                      <a:pt x="22" y="96"/>
                    </a:lnTo>
                    <a:lnTo>
                      <a:pt x="32" y="96"/>
                    </a:lnTo>
                    <a:lnTo>
                      <a:pt x="43" y="104"/>
                    </a:lnTo>
                    <a:lnTo>
                      <a:pt x="83" y="28"/>
                    </a:lnTo>
                    <a:lnTo>
                      <a:pt x="93" y="26"/>
                    </a:lnTo>
                    <a:lnTo>
                      <a:pt x="91" y="12"/>
                    </a:lnTo>
                    <a:lnTo>
                      <a:pt x="91"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57" name="Freeform 150">
                <a:extLst>
                  <a:ext uri="{FF2B5EF4-FFF2-40B4-BE49-F238E27FC236}">
                    <a16:creationId xmlns:a16="http://schemas.microsoft.com/office/drawing/2014/main" id="{3C8F2B86-7299-436D-BC3D-70F0A3870DA9}"/>
                  </a:ext>
                </a:extLst>
              </p:cNvPr>
              <p:cNvSpPr>
                <a:spLocks/>
              </p:cNvSpPr>
              <p:nvPr/>
            </p:nvSpPr>
            <p:spPr bwMode="gray">
              <a:xfrm>
                <a:off x="5891003" y="4326193"/>
                <a:ext cx="308750" cy="248974"/>
              </a:xfrm>
              <a:custGeom>
                <a:avLst/>
                <a:gdLst>
                  <a:gd name="T0" fmla="*/ 94 w 187"/>
                  <a:gd name="T1" fmla="*/ 146 h 150"/>
                  <a:gd name="T2" fmla="*/ 64 w 187"/>
                  <a:gd name="T3" fmla="*/ 150 h 150"/>
                  <a:gd name="T4" fmla="*/ 44 w 187"/>
                  <a:gd name="T5" fmla="*/ 148 h 150"/>
                  <a:gd name="T6" fmla="*/ 46 w 187"/>
                  <a:gd name="T7" fmla="*/ 132 h 150"/>
                  <a:gd name="T8" fmla="*/ 22 w 187"/>
                  <a:gd name="T9" fmla="*/ 118 h 150"/>
                  <a:gd name="T10" fmla="*/ 2 w 187"/>
                  <a:gd name="T11" fmla="*/ 116 h 150"/>
                  <a:gd name="T12" fmla="*/ 0 w 187"/>
                  <a:gd name="T13" fmla="*/ 78 h 150"/>
                  <a:gd name="T14" fmla="*/ 22 w 187"/>
                  <a:gd name="T15" fmla="*/ 52 h 150"/>
                  <a:gd name="T16" fmla="*/ 10 w 187"/>
                  <a:gd name="T17" fmla="*/ 42 h 150"/>
                  <a:gd name="T18" fmla="*/ 12 w 187"/>
                  <a:gd name="T19" fmla="*/ 34 h 150"/>
                  <a:gd name="T20" fmla="*/ 24 w 187"/>
                  <a:gd name="T21" fmla="*/ 2 h 150"/>
                  <a:gd name="T22" fmla="*/ 54 w 187"/>
                  <a:gd name="T23" fmla="*/ 2 h 150"/>
                  <a:gd name="T24" fmla="*/ 70 w 187"/>
                  <a:gd name="T25" fmla="*/ 14 h 150"/>
                  <a:gd name="T26" fmla="*/ 80 w 187"/>
                  <a:gd name="T27" fmla="*/ 8 h 150"/>
                  <a:gd name="T28" fmla="*/ 108 w 187"/>
                  <a:gd name="T29" fmla="*/ 18 h 150"/>
                  <a:gd name="T30" fmla="*/ 114 w 187"/>
                  <a:gd name="T31" fmla="*/ 10 h 150"/>
                  <a:gd name="T32" fmla="*/ 149 w 187"/>
                  <a:gd name="T33" fmla="*/ 14 h 150"/>
                  <a:gd name="T34" fmla="*/ 171 w 187"/>
                  <a:gd name="T35" fmla="*/ 0 h 150"/>
                  <a:gd name="T36" fmla="*/ 185 w 187"/>
                  <a:gd name="T37" fmla="*/ 14 h 150"/>
                  <a:gd name="T38" fmla="*/ 187 w 187"/>
                  <a:gd name="T39" fmla="*/ 40 h 150"/>
                  <a:gd name="T40" fmla="*/ 177 w 187"/>
                  <a:gd name="T41" fmla="*/ 42 h 150"/>
                  <a:gd name="T42" fmla="*/ 137 w 187"/>
                  <a:gd name="T43" fmla="*/ 118 h 150"/>
                  <a:gd name="T44" fmla="*/ 126 w 187"/>
                  <a:gd name="T45" fmla="*/ 110 h 150"/>
                  <a:gd name="T46" fmla="*/ 116 w 187"/>
                  <a:gd name="T47" fmla="*/ 110 h 150"/>
                  <a:gd name="T48" fmla="*/ 96 w 187"/>
                  <a:gd name="T49" fmla="*/ 128 h 150"/>
                  <a:gd name="T50" fmla="*/ 94 w 187"/>
                  <a:gd name="T51" fmla="*/ 146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87" h="150">
                    <a:moveTo>
                      <a:pt x="94" y="146"/>
                    </a:moveTo>
                    <a:lnTo>
                      <a:pt x="64" y="150"/>
                    </a:lnTo>
                    <a:lnTo>
                      <a:pt x="44" y="148"/>
                    </a:lnTo>
                    <a:lnTo>
                      <a:pt x="46" y="132"/>
                    </a:lnTo>
                    <a:lnTo>
                      <a:pt x="22" y="118"/>
                    </a:lnTo>
                    <a:lnTo>
                      <a:pt x="2" y="116"/>
                    </a:lnTo>
                    <a:lnTo>
                      <a:pt x="0" y="78"/>
                    </a:lnTo>
                    <a:lnTo>
                      <a:pt x="22" y="52"/>
                    </a:lnTo>
                    <a:lnTo>
                      <a:pt x="10" y="42"/>
                    </a:lnTo>
                    <a:lnTo>
                      <a:pt x="12" y="34"/>
                    </a:lnTo>
                    <a:lnTo>
                      <a:pt x="24" y="2"/>
                    </a:lnTo>
                    <a:lnTo>
                      <a:pt x="54" y="2"/>
                    </a:lnTo>
                    <a:lnTo>
                      <a:pt x="70" y="14"/>
                    </a:lnTo>
                    <a:lnTo>
                      <a:pt x="80" y="8"/>
                    </a:lnTo>
                    <a:lnTo>
                      <a:pt x="108" y="18"/>
                    </a:lnTo>
                    <a:lnTo>
                      <a:pt x="114" y="10"/>
                    </a:lnTo>
                    <a:lnTo>
                      <a:pt x="149" y="14"/>
                    </a:lnTo>
                    <a:lnTo>
                      <a:pt x="171" y="0"/>
                    </a:lnTo>
                    <a:lnTo>
                      <a:pt x="185" y="14"/>
                    </a:lnTo>
                    <a:lnTo>
                      <a:pt x="187" y="40"/>
                    </a:lnTo>
                    <a:lnTo>
                      <a:pt x="177" y="42"/>
                    </a:lnTo>
                    <a:lnTo>
                      <a:pt x="137" y="118"/>
                    </a:lnTo>
                    <a:lnTo>
                      <a:pt x="126" y="110"/>
                    </a:lnTo>
                    <a:lnTo>
                      <a:pt x="116" y="110"/>
                    </a:lnTo>
                    <a:lnTo>
                      <a:pt x="96" y="128"/>
                    </a:lnTo>
                    <a:lnTo>
                      <a:pt x="94" y="14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58" name="Freeform 151">
                <a:extLst>
                  <a:ext uri="{FF2B5EF4-FFF2-40B4-BE49-F238E27FC236}">
                    <a16:creationId xmlns:a16="http://schemas.microsoft.com/office/drawing/2014/main" id="{D1E831C4-3922-4B24-9138-E07AAAB7800B}"/>
                  </a:ext>
                </a:extLst>
              </p:cNvPr>
              <p:cNvSpPr>
                <a:spLocks/>
              </p:cNvSpPr>
              <p:nvPr/>
            </p:nvSpPr>
            <p:spPr bwMode="gray">
              <a:xfrm>
                <a:off x="5838168" y="4366029"/>
                <a:ext cx="89158" cy="159344"/>
              </a:xfrm>
              <a:custGeom>
                <a:avLst/>
                <a:gdLst>
                  <a:gd name="T0" fmla="*/ 20 w 54"/>
                  <a:gd name="T1" fmla="*/ 2 h 96"/>
                  <a:gd name="T2" fmla="*/ 34 w 54"/>
                  <a:gd name="T3" fmla="*/ 0 h 96"/>
                  <a:gd name="T4" fmla="*/ 44 w 54"/>
                  <a:gd name="T5" fmla="*/ 10 h 96"/>
                  <a:gd name="T6" fmla="*/ 42 w 54"/>
                  <a:gd name="T7" fmla="*/ 18 h 96"/>
                  <a:gd name="T8" fmla="*/ 54 w 54"/>
                  <a:gd name="T9" fmla="*/ 28 h 96"/>
                  <a:gd name="T10" fmla="*/ 32 w 54"/>
                  <a:gd name="T11" fmla="*/ 54 h 96"/>
                  <a:gd name="T12" fmla="*/ 34 w 54"/>
                  <a:gd name="T13" fmla="*/ 92 h 96"/>
                  <a:gd name="T14" fmla="*/ 12 w 54"/>
                  <a:gd name="T15" fmla="*/ 96 h 96"/>
                  <a:gd name="T16" fmla="*/ 12 w 54"/>
                  <a:gd name="T17" fmla="*/ 48 h 96"/>
                  <a:gd name="T18" fmla="*/ 0 w 54"/>
                  <a:gd name="T19" fmla="*/ 32 h 96"/>
                  <a:gd name="T20" fmla="*/ 4 w 54"/>
                  <a:gd name="T21" fmla="*/ 20 h 96"/>
                  <a:gd name="T22" fmla="*/ 20 w 54"/>
                  <a:gd name="T23" fmla="*/ 16 h 96"/>
                  <a:gd name="T24" fmla="*/ 20 w 54"/>
                  <a:gd name="T25" fmla="*/ 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96">
                    <a:moveTo>
                      <a:pt x="20" y="2"/>
                    </a:moveTo>
                    <a:lnTo>
                      <a:pt x="34" y="0"/>
                    </a:lnTo>
                    <a:lnTo>
                      <a:pt x="44" y="10"/>
                    </a:lnTo>
                    <a:lnTo>
                      <a:pt x="42" y="18"/>
                    </a:lnTo>
                    <a:lnTo>
                      <a:pt x="54" y="28"/>
                    </a:lnTo>
                    <a:lnTo>
                      <a:pt x="32" y="54"/>
                    </a:lnTo>
                    <a:lnTo>
                      <a:pt x="34" y="92"/>
                    </a:lnTo>
                    <a:lnTo>
                      <a:pt x="12" y="96"/>
                    </a:lnTo>
                    <a:lnTo>
                      <a:pt x="12" y="48"/>
                    </a:lnTo>
                    <a:lnTo>
                      <a:pt x="0" y="32"/>
                    </a:lnTo>
                    <a:lnTo>
                      <a:pt x="4" y="20"/>
                    </a:lnTo>
                    <a:lnTo>
                      <a:pt x="20" y="16"/>
                    </a:lnTo>
                    <a:lnTo>
                      <a:pt x="20" y="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59" name="Freeform 152">
                <a:extLst>
                  <a:ext uri="{FF2B5EF4-FFF2-40B4-BE49-F238E27FC236}">
                    <a16:creationId xmlns:a16="http://schemas.microsoft.com/office/drawing/2014/main" id="{28D3DDDF-32C7-414D-850A-5A8E0A78C993}"/>
                  </a:ext>
                </a:extLst>
              </p:cNvPr>
              <p:cNvSpPr>
                <a:spLocks/>
              </p:cNvSpPr>
              <p:nvPr/>
            </p:nvSpPr>
            <p:spPr bwMode="gray">
              <a:xfrm>
                <a:off x="5808450" y="4399226"/>
                <a:ext cx="49532" cy="132786"/>
              </a:xfrm>
              <a:custGeom>
                <a:avLst/>
                <a:gdLst>
                  <a:gd name="T0" fmla="*/ 30 w 30"/>
                  <a:gd name="T1" fmla="*/ 76 h 80"/>
                  <a:gd name="T2" fmla="*/ 16 w 30"/>
                  <a:gd name="T3" fmla="*/ 80 h 80"/>
                  <a:gd name="T4" fmla="*/ 12 w 30"/>
                  <a:gd name="T5" fmla="*/ 48 h 80"/>
                  <a:gd name="T6" fmla="*/ 8 w 30"/>
                  <a:gd name="T7" fmla="*/ 34 h 80"/>
                  <a:gd name="T8" fmla="*/ 12 w 30"/>
                  <a:gd name="T9" fmla="*/ 18 h 80"/>
                  <a:gd name="T10" fmla="*/ 0 w 30"/>
                  <a:gd name="T11" fmla="*/ 0 h 80"/>
                  <a:gd name="T12" fmla="*/ 22 w 30"/>
                  <a:gd name="T13" fmla="*/ 0 h 80"/>
                  <a:gd name="T14" fmla="*/ 18 w 30"/>
                  <a:gd name="T15" fmla="*/ 12 h 80"/>
                  <a:gd name="T16" fmla="*/ 30 w 30"/>
                  <a:gd name="T17" fmla="*/ 28 h 80"/>
                  <a:gd name="T18" fmla="*/ 30 w 30"/>
                  <a:gd name="T19" fmla="*/ 76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80">
                    <a:moveTo>
                      <a:pt x="30" y="76"/>
                    </a:moveTo>
                    <a:lnTo>
                      <a:pt x="16" y="80"/>
                    </a:lnTo>
                    <a:lnTo>
                      <a:pt x="12" y="48"/>
                    </a:lnTo>
                    <a:lnTo>
                      <a:pt x="8" y="34"/>
                    </a:lnTo>
                    <a:lnTo>
                      <a:pt x="12" y="18"/>
                    </a:lnTo>
                    <a:lnTo>
                      <a:pt x="0" y="0"/>
                    </a:lnTo>
                    <a:lnTo>
                      <a:pt x="22" y="0"/>
                    </a:lnTo>
                    <a:lnTo>
                      <a:pt x="18" y="12"/>
                    </a:lnTo>
                    <a:lnTo>
                      <a:pt x="30" y="28"/>
                    </a:lnTo>
                    <a:lnTo>
                      <a:pt x="30" y="7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60" name="Freeform 153">
                <a:extLst>
                  <a:ext uri="{FF2B5EF4-FFF2-40B4-BE49-F238E27FC236}">
                    <a16:creationId xmlns:a16="http://schemas.microsoft.com/office/drawing/2014/main" id="{A2C7CE92-0297-4EE3-96D8-1DC0CA1873E3}"/>
                  </a:ext>
                </a:extLst>
              </p:cNvPr>
              <p:cNvSpPr>
                <a:spLocks/>
              </p:cNvSpPr>
              <p:nvPr/>
            </p:nvSpPr>
            <p:spPr bwMode="gray">
              <a:xfrm>
                <a:off x="5501349" y="4027424"/>
                <a:ext cx="425976" cy="391720"/>
              </a:xfrm>
              <a:custGeom>
                <a:avLst/>
                <a:gdLst>
                  <a:gd name="T0" fmla="*/ 120 w 258"/>
                  <a:gd name="T1" fmla="*/ 0 h 236"/>
                  <a:gd name="T2" fmla="*/ 210 w 258"/>
                  <a:gd name="T3" fmla="*/ 60 h 236"/>
                  <a:gd name="T4" fmla="*/ 224 w 258"/>
                  <a:gd name="T5" fmla="*/ 74 h 236"/>
                  <a:gd name="T6" fmla="*/ 244 w 258"/>
                  <a:gd name="T7" fmla="*/ 82 h 236"/>
                  <a:gd name="T8" fmla="*/ 242 w 258"/>
                  <a:gd name="T9" fmla="*/ 98 h 236"/>
                  <a:gd name="T10" fmla="*/ 258 w 258"/>
                  <a:gd name="T11" fmla="*/ 96 h 236"/>
                  <a:gd name="T12" fmla="*/ 258 w 258"/>
                  <a:gd name="T13" fmla="*/ 138 h 236"/>
                  <a:gd name="T14" fmla="*/ 246 w 258"/>
                  <a:gd name="T15" fmla="*/ 156 h 236"/>
                  <a:gd name="T16" fmla="*/ 212 w 258"/>
                  <a:gd name="T17" fmla="*/ 162 h 236"/>
                  <a:gd name="T18" fmla="*/ 198 w 258"/>
                  <a:gd name="T19" fmla="*/ 162 h 236"/>
                  <a:gd name="T20" fmla="*/ 178 w 258"/>
                  <a:gd name="T21" fmla="*/ 162 h 236"/>
                  <a:gd name="T22" fmla="*/ 154 w 258"/>
                  <a:gd name="T23" fmla="*/ 172 h 236"/>
                  <a:gd name="T24" fmla="*/ 136 w 258"/>
                  <a:gd name="T25" fmla="*/ 190 h 236"/>
                  <a:gd name="T26" fmla="*/ 128 w 258"/>
                  <a:gd name="T27" fmla="*/ 186 h 236"/>
                  <a:gd name="T28" fmla="*/ 118 w 258"/>
                  <a:gd name="T29" fmla="*/ 210 h 236"/>
                  <a:gd name="T30" fmla="*/ 108 w 258"/>
                  <a:gd name="T31" fmla="*/ 212 h 236"/>
                  <a:gd name="T32" fmla="*/ 104 w 258"/>
                  <a:gd name="T33" fmla="*/ 234 h 236"/>
                  <a:gd name="T34" fmla="*/ 64 w 258"/>
                  <a:gd name="T35" fmla="*/ 236 h 236"/>
                  <a:gd name="T36" fmla="*/ 56 w 258"/>
                  <a:gd name="T37" fmla="*/ 218 h 236"/>
                  <a:gd name="T38" fmla="*/ 50 w 258"/>
                  <a:gd name="T39" fmla="*/ 204 h 236"/>
                  <a:gd name="T40" fmla="*/ 24 w 258"/>
                  <a:gd name="T41" fmla="*/ 210 h 236"/>
                  <a:gd name="T42" fmla="*/ 12 w 258"/>
                  <a:gd name="T43" fmla="*/ 206 h 236"/>
                  <a:gd name="T44" fmla="*/ 12 w 258"/>
                  <a:gd name="T45" fmla="*/ 204 h 236"/>
                  <a:gd name="T46" fmla="*/ 12 w 258"/>
                  <a:gd name="T47" fmla="*/ 200 h 236"/>
                  <a:gd name="T48" fmla="*/ 10 w 258"/>
                  <a:gd name="T49" fmla="*/ 192 h 236"/>
                  <a:gd name="T50" fmla="*/ 4 w 258"/>
                  <a:gd name="T51" fmla="*/ 184 h 236"/>
                  <a:gd name="T52" fmla="*/ 2 w 258"/>
                  <a:gd name="T53" fmla="*/ 172 h 236"/>
                  <a:gd name="T54" fmla="*/ 0 w 258"/>
                  <a:gd name="T55" fmla="*/ 166 h 236"/>
                  <a:gd name="T56" fmla="*/ 6 w 258"/>
                  <a:gd name="T57" fmla="*/ 152 h 236"/>
                  <a:gd name="T58" fmla="*/ 106 w 258"/>
                  <a:gd name="T59" fmla="*/ 154 h 236"/>
                  <a:gd name="T60" fmla="*/ 108 w 258"/>
                  <a:gd name="T61" fmla="*/ 144 h 236"/>
                  <a:gd name="T62" fmla="*/ 102 w 258"/>
                  <a:gd name="T63" fmla="*/ 136 h 236"/>
                  <a:gd name="T64" fmla="*/ 90 w 258"/>
                  <a:gd name="T65" fmla="*/ 0 h 236"/>
                  <a:gd name="T66" fmla="*/ 120 w 258"/>
                  <a:gd name="T67" fmla="*/ 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8" h="236">
                    <a:moveTo>
                      <a:pt x="120" y="0"/>
                    </a:moveTo>
                    <a:lnTo>
                      <a:pt x="210" y="60"/>
                    </a:lnTo>
                    <a:lnTo>
                      <a:pt x="224" y="74"/>
                    </a:lnTo>
                    <a:lnTo>
                      <a:pt x="244" y="82"/>
                    </a:lnTo>
                    <a:lnTo>
                      <a:pt x="242" y="98"/>
                    </a:lnTo>
                    <a:lnTo>
                      <a:pt x="258" y="96"/>
                    </a:lnTo>
                    <a:lnTo>
                      <a:pt x="258" y="138"/>
                    </a:lnTo>
                    <a:lnTo>
                      <a:pt x="246" y="156"/>
                    </a:lnTo>
                    <a:lnTo>
                      <a:pt x="212" y="162"/>
                    </a:lnTo>
                    <a:lnTo>
                      <a:pt x="198" y="162"/>
                    </a:lnTo>
                    <a:lnTo>
                      <a:pt x="178" y="162"/>
                    </a:lnTo>
                    <a:lnTo>
                      <a:pt x="154" y="172"/>
                    </a:lnTo>
                    <a:lnTo>
                      <a:pt x="136" y="190"/>
                    </a:lnTo>
                    <a:lnTo>
                      <a:pt x="128" y="186"/>
                    </a:lnTo>
                    <a:lnTo>
                      <a:pt x="118" y="210"/>
                    </a:lnTo>
                    <a:lnTo>
                      <a:pt x="108" y="212"/>
                    </a:lnTo>
                    <a:lnTo>
                      <a:pt x="104" y="234"/>
                    </a:lnTo>
                    <a:lnTo>
                      <a:pt x="64" y="236"/>
                    </a:lnTo>
                    <a:lnTo>
                      <a:pt x="56" y="218"/>
                    </a:lnTo>
                    <a:lnTo>
                      <a:pt x="50" y="204"/>
                    </a:lnTo>
                    <a:lnTo>
                      <a:pt x="24" y="210"/>
                    </a:lnTo>
                    <a:lnTo>
                      <a:pt x="12" y="206"/>
                    </a:lnTo>
                    <a:lnTo>
                      <a:pt x="12" y="204"/>
                    </a:lnTo>
                    <a:lnTo>
                      <a:pt x="12" y="200"/>
                    </a:lnTo>
                    <a:lnTo>
                      <a:pt x="10" y="192"/>
                    </a:lnTo>
                    <a:lnTo>
                      <a:pt x="4" y="184"/>
                    </a:lnTo>
                    <a:lnTo>
                      <a:pt x="2" y="172"/>
                    </a:lnTo>
                    <a:lnTo>
                      <a:pt x="0" y="166"/>
                    </a:lnTo>
                    <a:lnTo>
                      <a:pt x="6" y="152"/>
                    </a:lnTo>
                    <a:lnTo>
                      <a:pt x="106" y="154"/>
                    </a:lnTo>
                    <a:lnTo>
                      <a:pt x="108" y="144"/>
                    </a:lnTo>
                    <a:lnTo>
                      <a:pt x="102" y="136"/>
                    </a:lnTo>
                    <a:lnTo>
                      <a:pt x="90" y="0"/>
                    </a:lnTo>
                    <a:lnTo>
                      <a:pt x="12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61" name="Freeform 154">
                <a:extLst>
                  <a:ext uri="{FF2B5EF4-FFF2-40B4-BE49-F238E27FC236}">
                    <a16:creationId xmlns:a16="http://schemas.microsoft.com/office/drawing/2014/main" id="{8988295B-46A9-42AC-B564-FCE9BF553CF4}"/>
                  </a:ext>
                </a:extLst>
              </p:cNvPr>
              <p:cNvSpPr>
                <a:spLocks/>
              </p:cNvSpPr>
              <p:nvPr/>
            </p:nvSpPr>
            <p:spPr bwMode="gray">
              <a:xfrm>
                <a:off x="5673062" y="4296316"/>
                <a:ext cx="198128" cy="142746"/>
              </a:xfrm>
              <a:custGeom>
                <a:avLst/>
                <a:gdLst>
                  <a:gd name="T0" fmla="*/ 44 w 120"/>
                  <a:gd name="T1" fmla="*/ 62 h 86"/>
                  <a:gd name="T2" fmla="*/ 44 w 120"/>
                  <a:gd name="T3" fmla="*/ 84 h 86"/>
                  <a:gd name="T4" fmla="*/ 30 w 120"/>
                  <a:gd name="T5" fmla="*/ 78 h 86"/>
                  <a:gd name="T6" fmla="*/ 20 w 120"/>
                  <a:gd name="T7" fmla="*/ 86 h 86"/>
                  <a:gd name="T8" fmla="*/ 0 w 120"/>
                  <a:gd name="T9" fmla="*/ 72 h 86"/>
                  <a:gd name="T10" fmla="*/ 4 w 120"/>
                  <a:gd name="T11" fmla="*/ 50 h 86"/>
                  <a:gd name="T12" fmla="*/ 14 w 120"/>
                  <a:gd name="T13" fmla="*/ 48 h 86"/>
                  <a:gd name="T14" fmla="*/ 24 w 120"/>
                  <a:gd name="T15" fmla="*/ 24 h 86"/>
                  <a:gd name="T16" fmla="*/ 32 w 120"/>
                  <a:gd name="T17" fmla="*/ 28 h 86"/>
                  <a:gd name="T18" fmla="*/ 50 w 120"/>
                  <a:gd name="T19" fmla="*/ 10 h 86"/>
                  <a:gd name="T20" fmla="*/ 74 w 120"/>
                  <a:gd name="T21" fmla="*/ 0 h 86"/>
                  <a:gd name="T22" fmla="*/ 94 w 120"/>
                  <a:gd name="T23" fmla="*/ 0 h 86"/>
                  <a:gd name="T24" fmla="*/ 90 w 120"/>
                  <a:gd name="T25" fmla="*/ 8 h 86"/>
                  <a:gd name="T26" fmla="*/ 92 w 120"/>
                  <a:gd name="T27" fmla="*/ 14 h 86"/>
                  <a:gd name="T28" fmla="*/ 104 w 120"/>
                  <a:gd name="T29" fmla="*/ 28 h 86"/>
                  <a:gd name="T30" fmla="*/ 102 w 120"/>
                  <a:gd name="T31" fmla="*/ 34 h 86"/>
                  <a:gd name="T32" fmla="*/ 120 w 120"/>
                  <a:gd name="T33" fmla="*/ 44 h 86"/>
                  <a:gd name="T34" fmla="*/ 120 w 120"/>
                  <a:gd name="T35" fmla="*/ 58 h 86"/>
                  <a:gd name="T36" fmla="*/ 104 w 120"/>
                  <a:gd name="T37" fmla="*/ 62 h 86"/>
                  <a:gd name="T38" fmla="*/ 82 w 120"/>
                  <a:gd name="T39" fmla="*/ 62 h 86"/>
                  <a:gd name="T40" fmla="*/ 44 w 120"/>
                  <a:gd name="T41" fmla="*/ 6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0" h="86">
                    <a:moveTo>
                      <a:pt x="44" y="62"/>
                    </a:moveTo>
                    <a:lnTo>
                      <a:pt x="44" y="84"/>
                    </a:lnTo>
                    <a:lnTo>
                      <a:pt x="30" y="78"/>
                    </a:lnTo>
                    <a:lnTo>
                      <a:pt x="20" y="86"/>
                    </a:lnTo>
                    <a:lnTo>
                      <a:pt x="0" y="72"/>
                    </a:lnTo>
                    <a:lnTo>
                      <a:pt x="4" y="50"/>
                    </a:lnTo>
                    <a:lnTo>
                      <a:pt x="14" y="48"/>
                    </a:lnTo>
                    <a:lnTo>
                      <a:pt x="24" y="24"/>
                    </a:lnTo>
                    <a:lnTo>
                      <a:pt x="32" y="28"/>
                    </a:lnTo>
                    <a:lnTo>
                      <a:pt x="50" y="10"/>
                    </a:lnTo>
                    <a:lnTo>
                      <a:pt x="74" y="0"/>
                    </a:lnTo>
                    <a:lnTo>
                      <a:pt x="94" y="0"/>
                    </a:lnTo>
                    <a:lnTo>
                      <a:pt x="90" y="8"/>
                    </a:lnTo>
                    <a:lnTo>
                      <a:pt x="92" y="14"/>
                    </a:lnTo>
                    <a:lnTo>
                      <a:pt x="104" y="28"/>
                    </a:lnTo>
                    <a:lnTo>
                      <a:pt x="102" y="34"/>
                    </a:lnTo>
                    <a:lnTo>
                      <a:pt x="120" y="44"/>
                    </a:lnTo>
                    <a:lnTo>
                      <a:pt x="120" y="58"/>
                    </a:lnTo>
                    <a:lnTo>
                      <a:pt x="104" y="62"/>
                    </a:lnTo>
                    <a:lnTo>
                      <a:pt x="82" y="62"/>
                    </a:lnTo>
                    <a:lnTo>
                      <a:pt x="44" y="6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62" name="Freeform 155">
                <a:extLst>
                  <a:ext uri="{FF2B5EF4-FFF2-40B4-BE49-F238E27FC236}">
                    <a16:creationId xmlns:a16="http://schemas.microsoft.com/office/drawing/2014/main" id="{330C1619-F7DF-4984-AEEF-8FC30C87FA66}"/>
                  </a:ext>
                </a:extLst>
              </p:cNvPr>
              <p:cNvSpPr>
                <a:spLocks/>
              </p:cNvSpPr>
              <p:nvPr/>
            </p:nvSpPr>
            <p:spPr bwMode="gray">
              <a:xfrm>
                <a:off x="5735802" y="4399226"/>
                <a:ext cx="99064" cy="165983"/>
              </a:xfrm>
              <a:custGeom>
                <a:avLst/>
                <a:gdLst>
                  <a:gd name="T0" fmla="*/ 60 w 60"/>
                  <a:gd name="T1" fmla="*/ 80 h 100"/>
                  <a:gd name="T2" fmla="*/ 48 w 60"/>
                  <a:gd name="T3" fmla="*/ 86 h 100"/>
                  <a:gd name="T4" fmla="*/ 36 w 60"/>
                  <a:gd name="T5" fmla="*/ 96 h 100"/>
                  <a:gd name="T6" fmla="*/ 20 w 60"/>
                  <a:gd name="T7" fmla="*/ 100 h 100"/>
                  <a:gd name="T8" fmla="*/ 8 w 60"/>
                  <a:gd name="T9" fmla="*/ 94 h 100"/>
                  <a:gd name="T10" fmla="*/ 0 w 60"/>
                  <a:gd name="T11" fmla="*/ 72 h 100"/>
                  <a:gd name="T12" fmla="*/ 10 w 60"/>
                  <a:gd name="T13" fmla="*/ 50 h 100"/>
                  <a:gd name="T14" fmla="*/ 6 w 60"/>
                  <a:gd name="T15" fmla="*/ 22 h 100"/>
                  <a:gd name="T16" fmla="*/ 6 w 60"/>
                  <a:gd name="T17" fmla="*/ 0 h 100"/>
                  <a:gd name="T18" fmla="*/ 44 w 60"/>
                  <a:gd name="T19" fmla="*/ 0 h 100"/>
                  <a:gd name="T20" fmla="*/ 56 w 60"/>
                  <a:gd name="T21" fmla="*/ 18 h 100"/>
                  <a:gd name="T22" fmla="*/ 52 w 60"/>
                  <a:gd name="T23" fmla="*/ 30 h 100"/>
                  <a:gd name="T24" fmla="*/ 54 w 60"/>
                  <a:gd name="T25" fmla="*/ 40 h 100"/>
                  <a:gd name="T26" fmla="*/ 56 w 60"/>
                  <a:gd name="T27" fmla="*/ 48 h 100"/>
                  <a:gd name="T28" fmla="*/ 60 w 60"/>
                  <a:gd name="T29" fmla="*/ 8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0" h="100">
                    <a:moveTo>
                      <a:pt x="60" y="80"/>
                    </a:moveTo>
                    <a:lnTo>
                      <a:pt x="48" y="86"/>
                    </a:lnTo>
                    <a:lnTo>
                      <a:pt x="36" y="96"/>
                    </a:lnTo>
                    <a:lnTo>
                      <a:pt x="20" y="100"/>
                    </a:lnTo>
                    <a:lnTo>
                      <a:pt x="8" y="94"/>
                    </a:lnTo>
                    <a:lnTo>
                      <a:pt x="0" y="72"/>
                    </a:lnTo>
                    <a:lnTo>
                      <a:pt x="10" y="50"/>
                    </a:lnTo>
                    <a:lnTo>
                      <a:pt x="6" y="22"/>
                    </a:lnTo>
                    <a:lnTo>
                      <a:pt x="6" y="0"/>
                    </a:lnTo>
                    <a:lnTo>
                      <a:pt x="44" y="0"/>
                    </a:lnTo>
                    <a:lnTo>
                      <a:pt x="56" y="18"/>
                    </a:lnTo>
                    <a:lnTo>
                      <a:pt x="52" y="30"/>
                    </a:lnTo>
                    <a:lnTo>
                      <a:pt x="54" y="40"/>
                    </a:lnTo>
                    <a:lnTo>
                      <a:pt x="56" y="48"/>
                    </a:lnTo>
                    <a:lnTo>
                      <a:pt x="60" y="8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63" name="Freeform 156">
                <a:extLst>
                  <a:ext uri="{FF2B5EF4-FFF2-40B4-BE49-F238E27FC236}">
                    <a16:creationId xmlns:a16="http://schemas.microsoft.com/office/drawing/2014/main" id="{06F72D32-569D-4F87-89FE-CFF2083FB22B}"/>
                  </a:ext>
                </a:extLst>
              </p:cNvPr>
              <p:cNvSpPr>
                <a:spLocks/>
              </p:cNvSpPr>
              <p:nvPr/>
            </p:nvSpPr>
            <p:spPr bwMode="gray">
              <a:xfrm>
                <a:off x="5597112" y="4415823"/>
                <a:ext cx="155201" cy="162664"/>
              </a:xfrm>
              <a:custGeom>
                <a:avLst/>
                <a:gdLst>
                  <a:gd name="T0" fmla="*/ 92 w 94"/>
                  <a:gd name="T1" fmla="*/ 84 h 98"/>
                  <a:gd name="T2" fmla="*/ 50 w 94"/>
                  <a:gd name="T3" fmla="*/ 84 h 98"/>
                  <a:gd name="T4" fmla="*/ 24 w 94"/>
                  <a:gd name="T5" fmla="*/ 94 h 98"/>
                  <a:gd name="T6" fmla="*/ 12 w 94"/>
                  <a:gd name="T7" fmla="*/ 98 h 98"/>
                  <a:gd name="T8" fmla="*/ 16 w 94"/>
                  <a:gd name="T9" fmla="*/ 78 h 98"/>
                  <a:gd name="T10" fmla="*/ 14 w 94"/>
                  <a:gd name="T11" fmla="*/ 72 h 98"/>
                  <a:gd name="T12" fmla="*/ 8 w 94"/>
                  <a:gd name="T13" fmla="*/ 68 h 98"/>
                  <a:gd name="T14" fmla="*/ 0 w 94"/>
                  <a:gd name="T15" fmla="*/ 66 h 98"/>
                  <a:gd name="T16" fmla="*/ 0 w 94"/>
                  <a:gd name="T17" fmla="*/ 56 h 98"/>
                  <a:gd name="T18" fmla="*/ 0 w 94"/>
                  <a:gd name="T19" fmla="*/ 48 h 98"/>
                  <a:gd name="T20" fmla="*/ 6 w 94"/>
                  <a:gd name="T21" fmla="*/ 44 h 98"/>
                  <a:gd name="T22" fmla="*/ 4 w 94"/>
                  <a:gd name="T23" fmla="*/ 34 h 98"/>
                  <a:gd name="T24" fmla="*/ 10 w 94"/>
                  <a:gd name="T25" fmla="*/ 32 h 98"/>
                  <a:gd name="T26" fmla="*/ 8 w 94"/>
                  <a:gd name="T27" fmla="*/ 18 h 98"/>
                  <a:gd name="T28" fmla="*/ 4 w 94"/>
                  <a:gd name="T29" fmla="*/ 10 h 98"/>
                  <a:gd name="T30" fmla="*/ 6 w 94"/>
                  <a:gd name="T31" fmla="*/ 2 h 98"/>
                  <a:gd name="T32" fmla="*/ 46 w 94"/>
                  <a:gd name="T33" fmla="*/ 0 h 98"/>
                  <a:gd name="T34" fmla="*/ 66 w 94"/>
                  <a:gd name="T35" fmla="*/ 14 h 98"/>
                  <a:gd name="T36" fmla="*/ 76 w 94"/>
                  <a:gd name="T37" fmla="*/ 6 h 98"/>
                  <a:gd name="T38" fmla="*/ 90 w 94"/>
                  <a:gd name="T39" fmla="*/ 12 h 98"/>
                  <a:gd name="T40" fmla="*/ 94 w 94"/>
                  <a:gd name="T41" fmla="*/ 40 h 98"/>
                  <a:gd name="T42" fmla="*/ 84 w 94"/>
                  <a:gd name="T43" fmla="*/ 62 h 98"/>
                  <a:gd name="T44" fmla="*/ 92 w 94"/>
                  <a:gd name="T45" fmla="*/ 84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4" h="98">
                    <a:moveTo>
                      <a:pt x="92" y="84"/>
                    </a:moveTo>
                    <a:lnTo>
                      <a:pt x="50" y="84"/>
                    </a:lnTo>
                    <a:lnTo>
                      <a:pt x="24" y="94"/>
                    </a:lnTo>
                    <a:lnTo>
                      <a:pt x="12" y="98"/>
                    </a:lnTo>
                    <a:lnTo>
                      <a:pt x="16" y="78"/>
                    </a:lnTo>
                    <a:lnTo>
                      <a:pt x="14" y="72"/>
                    </a:lnTo>
                    <a:lnTo>
                      <a:pt x="8" y="68"/>
                    </a:lnTo>
                    <a:lnTo>
                      <a:pt x="0" y="66"/>
                    </a:lnTo>
                    <a:lnTo>
                      <a:pt x="0" y="56"/>
                    </a:lnTo>
                    <a:lnTo>
                      <a:pt x="0" y="48"/>
                    </a:lnTo>
                    <a:lnTo>
                      <a:pt x="6" y="44"/>
                    </a:lnTo>
                    <a:lnTo>
                      <a:pt x="4" y="34"/>
                    </a:lnTo>
                    <a:lnTo>
                      <a:pt x="10" y="32"/>
                    </a:lnTo>
                    <a:lnTo>
                      <a:pt x="8" y="18"/>
                    </a:lnTo>
                    <a:lnTo>
                      <a:pt x="4" y="10"/>
                    </a:lnTo>
                    <a:lnTo>
                      <a:pt x="6" y="2"/>
                    </a:lnTo>
                    <a:lnTo>
                      <a:pt x="46" y="0"/>
                    </a:lnTo>
                    <a:lnTo>
                      <a:pt x="66" y="14"/>
                    </a:lnTo>
                    <a:lnTo>
                      <a:pt x="76" y="6"/>
                    </a:lnTo>
                    <a:lnTo>
                      <a:pt x="90" y="12"/>
                    </a:lnTo>
                    <a:lnTo>
                      <a:pt x="94" y="40"/>
                    </a:lnTo>
                    <a:lnTo>
                      <a:pt x="84" y="62"/>
                    </a:lnTo>
                    <a:lnTo>
                      <a:pt x="92" y="8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64" name="Freeform 157">
                <a:extLst>
                  <a:ext uri="{FF2B5EF4-FFF2-40B4-BE49-F238E27FC236}">
                    <a16:creationId xmlns:a16="http://schemas.microsoft.com/office/drawing/2014/main" id="{765E549D-7EFE-46A8-967D-E2413B47A008}"/>
                  </a:ext>
                </a:extLst>
              </p:cNvPr>
              <p:cNvSpPr>
                <a:spLocks/>
              </p:cNvSpPr>
              <p:nvPr/>
            </p:nvSpPr>
            <p:spPr bwMode="gray">
              <a:xfrm>
                <a:off x="6069320" y="4631601"/>
                <a:ext cx="47881" cy="39836"/>
              </a:xfrm>
              <a:custGeom>
                <a:avLst/>
                <a:gdLst>
                  <a:gd name="T0" fmla="*/ 4 w 29"/>
                  <a:gd name="T1" fmla="*/ 0 h 24"/>
                  <a:gd name="T2" fmla="*/ 29 w 29"/>
                  <a:gd name="T3" fmla="*/ 0 h 24"/>
                  <a:gd name="T4" fmla="*/ 26 w 29"/>
                  <a:gd name="T5" fmla="*/ 22 h 24"/>
                  <a:gd name="T6" fmla="*/ 2 w 29"/>
                  <a:gd name="T7" fmla="*/ 24 h 24"/>
                  <a:gd name="T8" fmla="*/ 0 w 29"/>
                  <a:gd name="T9" fmla="*/ 10 h 24"/>
                  <a:gd name="T10" fmla="*/ 4 w 29"/>
                  <a:gd name="T11" fmla="*/ 0 h 24"/>
                </a:gdLst>
                <a:ahLst/>
                <a:cxnLst>
                  <a:cxn ang="0">
                    <a:pos x="T0" y="T1"/>
                  </a:cxn>
                  <a:cxn ang="0">
                    <a:pos x="T2" y="T3"/>
                  </a:cxn>
                  <a:cxn ang="0">
                    <a:pos x="T4" y="T5"/>
                  </a:cxn>
                  <a:cxn ang="0">
                    <a:pos x="T6" y="T7"/>
                  </a:cxn>
                  <a:cxn ang="0">
                    <a:pos x="T8" y="T9"/>
                  </a:cxn>
                  <a:cxn ang="0">
                    <a:pos x="T10" y="T11"/>
                  </a:cxn>
                </a:cxnLst>
                <a:rect l="0" t="0" r="r" b="b"/>
                <a:pathLst>
                  <a:path w="29" h="24">
                    <a:moveTo>
                      <a:pt x="4" y="0"/>
                    </a:moveTo>
                    <a:lnTo>
                      <a:pt x="29" y="0"/>
                    </a:lnTo>
                    <a:lnTo>
                      <a:pt x="26" y="22"/>
                    </a:lnTo>
                    <a:lnTo>
                      <a:pt x="2" y="24"/>
                    </a:lnTo>
                    <a:lnTo>
                      <a:pt x="0" y="10"/>
                    </a:lnTo>
                    <a:lnTo>
                      <a:pt x="4"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65" name="Freeform 158">
                <a:extLst>
                  <a:ext uri="{FF2B5EF4-FFF2-40B4-BE49-F238E27FC236}">
                    <a16:creationId xmlns:a16="http://schemas.microsoft.com/office/drawing/2014/main" id="{51FC3635-E051-4748-B9DE-C45CC594AEA4}"/>
                  </a:ext>
                </a:extLst>
              </p:cNvPr>
              <p:cNvSpPr>
                <a:spLocks/>
              </p:cNvSpPr>
              <p:nvPr/>
            </p:nvSpPr>
            <p:spPr bwMode="gray">
              <a:xfrm>
                <a:off x="6952642" y="5010043"/>
                <a:ext cx="188222" cy="371802"/>
              </a:xfrm>
              <a:custGeom>
                <a:avLst/>
                <a:gdLst>
                  <a:gd name="T0" fmla="*/ 22 w 114"/>
                  <a:gd name="T1" fmla="*/ 70 h 224"/>
                  <a:gd name="T2" fmla="*/ 46 w 114"/>
                  <a:gd name="T3" fmla="*/ 60 h 224"/>
                  <a:gd name="T4" fmla="*/ 70 w 114"/>
                  <a:gd name="T5" fmla="*/ 44 h 224"/>
                  <a:gd name="T6" fmla="*/ 78 w 114"/>
                  <a:gd name="T7" fmla="*/ 30 h 224"/>
                  <a:gd name="T8" fmla="*/ 86 w 114"/>
                  <a:gd name="T9" fmla="*/ 26 h 224"/>
                  <a:gd name="T10" fmla="*/ 94 w 114"/>
                  <a:gd name="T11" fmla="*/ 10 h 224"/>
                  <a:gd name="T12" fmla="*/ 96 w 114"/>
                  <a:gd name="T13" fmla="*/ 0 h 224"/>
                  <a:gd name="T14" fmla="*/ 108 w 114"/>
                  <a:gd name="T15" fmla="*/ 20 h 224"/>
                  <a:gd name="T16" fmla="*/ 112 w 114"/>
                  <a:gd name="T17" fmla="*/ 40 h 224"/>
                  <a:gd name="T18" fmla="*/ 114 w 114"/>
                  <a:gd name="T19" fmla="*/ 52 h 224"/>
                  <a:gd name="T20" fmla="*/ 114 w 114"/>
                  <a:gd name="T21" fmla="*/ 64 h 224"/>
                  <a:gd name="T22" fmla="*/ 102 w 114"/>
                  <a:gd name="T23" fmla="*/ 66 h 224"/>
                  <a:gd name="T24" fmla="*/ 102 w 114"/>
                  <a:gd name="T25" fmla="*/ 82 h 224"/>
                  <a:gd name="T26" fmla="*/ 82 w 114"/>
                  <a:gd name="T27" fmla="*/ 150 h 224"/>
                  <a:gd name="T28" fmla="*/ 74 w 114"/>
                  <a:gd name="T29" fmla="*/ 182 h 224"/>
                  <a:gd name="T30" fmla="*/ 62 w 114"/>
                  <a:gd name="T31" fmla="*/ 214 h 224"/>
                  <a:gd name="T32" fmla="*/ 40 w 114"/>
                  <a:gd name="T33" fmla="*/ 224 h 224"/>
                  <a:gd name="T34" fmla="*/ 18 w 114"/>
                  <a:gd name="T35" fmla="*/ 222 h 224"/>
                  <a:gd name="T36" fmla="*/ 8 w 114"/>
                  <a:gd name="T37" fmla="*/ 202 h 224"/>
                  <a:gd name="T38" fmla="*/ 6 w 114"/>
                  <a:gd name="T39" fmla="*/ 182 h 224"/>
                  <a:gd name="T40" fmla="*/ 0 w 114"/>
                  <a:gd name="T41" fmla="*/ 164 h 224"/>
                  <a:gd name="T42" fmla="*/ 16 w 114"/>
                  <a:gd name="T43" fmla="*/ 142 h 224"/>
                  <a:gd name="T44" fmla="*/ 20 w 114"/>
                  <a:gd name="T45" fmla="*/ 122 h 224"/>
                  <a:gd name="T46" fmla="*/ 16 w 114"/>
                  <a:gd name="T47" fmla="*/ 106 h 224"/>
                  <a:gd name="T48" fmla="*/ 10 w 114"/>
                  <a:gd name="T49" fmla="*/ 90 h 224"/>
                  <a:gd name="T50" fmla="*/ 18 w 114"/>
                  <a:gd name="T51" fmla="*/ 80 h 224"/>
                  <a:gd name="T52" fmla="*/ 22 w 114"/>
                  <a:gd name="T53" fmla="*/ 7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4" h="224">
                    <a:moveTo>
                      <a:pt x="22" y="70"/>
                    </a:moveTo>
                    <a:lnTo>
                      <a:pt x="46" y="60"/>
                    </a:lnTo>
                    <a:lnTo>
                      <a:pt x="70" y="44"/>
                    </a:lnTo>
                    <a:lnTo>
                      <a:pt x="78" y="30"/>
                    </a:lnTo>
                    <a:lnTo>
                      <a:pt x="86" y="26"/>
                    </a:lnTo>
                    <a:lnTo>
                      <a:pt x="94" y="10"/>
                    </a:lnTo>
                    <a:lnTo>
                      <a:pt x="96" y="0"/>
                    </a:lnTo>
                    <a:lnTo>
                      <a:pt x="108" y="20"/>
                    </a:lnTo>
                    <a:lnTo>
                      <a:pt x="112" y="40"/>
                    </a:lnTo>
                    <a:lnTo>
                      <a:pt x="114" y="52"/>
                    </a:lnTo>
                    <a:lnTo>
                      <a:pt x="114" y="64"/>
                    </a:lnTo>
                    <a:lnTo>
                      <a:pt x="102" y="66"/>
                    </a:lnTo>
                    <a:lnTo>
                      <a:pt x="102" y="82"/>
                    </a:lnTo>
                    <a:lnTo>
                      <a:pt x="82" y="150"/>
                    </a:lnTo>
                    <a:lnTo>
                      <a:pt x="74" y="182"/>
                    </a:lnTo>
                    <a:lnTo>
                      <a:pt x="62" y="214"/>
                    </a:lnTo>
                    <a:lnTo>
                      <a:pt x="40" y="224"/>
                    </a:lnTo>
                    <a:lnTo>
                      <a:pt x="18" y="222"/>
                    </a:lnTo>
                    <a:lnTo>
                      <a:pt x="8" y="202"/>
                    </a:lnTo>
                    <a:lnTo>
                      <a:pt x="6" y="182"/>
                    </a:lnTo>
                    <a:lnTo>
                      <a:pt x="0" y="164"/>
                    </a:lnTo>
                    <a:lnTo>
                      <a:pt x="16" y="142"/>
                    </a:lnTo>
                    <a:lnTo>
                      <a:pt x="20" y="122"/>
                    </a:lnTo>
                    <a:lnTo>
                      <a:pt x="16" y="106"/>
                    </a:lnTo>
                    <a:lnTo>
                      <a:pt x="10" y="90"/>
                    </a:lnTo>
                    <a:lnTo>
                      <a:pt x="18" y="80"/>
                    </a:lnTo>
                    <a:lnTo>
                      <a:pt x="22" y="7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66" name="Freeform 159">
                <a:extLst>
                  <a:ext uri="{FF2B5EF4-FFF2-40B4-BE49-F238E27FC236}">
                    <a16:creationId xmlns:a16="http://schemas.microsoft.com/office/drawing/2014/main" id="{3ABF0F2C-249D-4D11-82F8-9F33E8367543}"/>
                  </a:ext>
                </a:extLst>
              </p:cNvPr>
              <p:cNvSpPr>
                <a:spLocks/>
              </p:cNvSpPr>
              <p:nvPr/>
            </p:nvSpPr>
            <p:spPr bwMode="gray">
              <a:xfrm>
                <a:off x="6255890" y="5285574"/>
                <a:ext cx="429279" cy="361843"/>
              </a:xfrm>
              <a:custGeom>
                <a:avLst/>
                <a:gdLst>
                  <a:gd name="T0" fmla="*/ 0 w 260"/>
                  <a:gd name="T1" fmla="*/ 108 h 218"/>
                  <a:gd name="T2" fmla="*/ 2 w 260"/>
                  <a:gd name="T3" fmla="*/ 104 h 218"/>
                  <a:gd name="T4" fmla="*/ 6 w 260"/>
                  <a:gd name="T5" fmla="*/ 102 h 218"/>
                  <a:gd name="T6" fmla="*/ 8 w 260"/>
                  <a:gd name="T7" fmla="*/ 102 h 218"/>
                  <a:gd name="T8" fmla="*/ 14 w 260"/>
                  <a:gd name="T9" fmla="*/ 110 h 218"/>
                  <a:gd name="T10" fmla="*/ 22 w 260"/>
                  <a:gd name="T11" fmla="*/ 114 h 218"/>
                  <a:gd name="T12" fmla="*/ 38 w 260"/>
                  <a:gd name="T13" fmla="*/ 114 h 218"/>
                  <a:gd name="T14" fmla="*/ 54 w 260"/>
                  <a:gd name="T15" fmla="*/ 104 h 218"/>
                  <a:gd name="T16" fmla="*/ 54 w 260"/>
                  <a:gd name="T17" fmla="*/ 46 h 218"/>
                  <a:gd name="T18" fmla="*/ 66 w 260"/>
                  <a:gd name="T19" fmla="*/ 58 h 218"/>
                  <a:gd name="T20" fmla="*/ 66 w 260"/>
                  <a:gd name="T21" fmla="*/ 78 h 218"/>
                  <a:gd name="T22" fmla="*/ 82 w 260"/>
                  <a:gd name="T23" fmla="*/ 78 h 218"/>
                  <a:gd name="T24" fmla="*/ 96 w 260"/>
                  <a:gd name="T25" fmla="*/ 66 h 218"/>
                  <a:gd name="T26" fmla="*/ 100 w 260"/>
                  <a:gd name="T27" fmla="*/ 54 h 218"/>
                  <a:gd name="T28" fmla="*/ 110 w 260"/>
                  <a:gd name="T29" fmla="*/ 54 h 218"/>
                  <a:gd name="T30" fmla="*/ 120 w 260"/>
                  <a:gd name="T31" fmla="*/ 62 h 218"/>
                  <a:gd name="T32" fmla="*/ 140 w 260"/>
                  <a:gd name="T33" fmla="*/ 60 h 218"/>
                  <a:gd name="T34" fmla="*/ 148 w 260"/>
                  <a:gd name="T35" fmla="*/ 46 h 218"/>
                  <a:gd name="T36" fmla="*/ 186 w 260"/>
                  <a:gd name="T37" fmla="*/ 6 h 218"/>
                  <a:gd name="T38" fmla="*/ 196 w 260"/>
                  <a:gd name="T39" fmla="*/ 6 h 218"/>
                  <a:gd name="T40" fmla="*/ 198 w 260"/>
                  <a:gd name="T41" fmla="*/ 0 h 218"/>
                  <a:gd name="T42" fmla="*/ 228 w 260"/>
                  <a:gd name="T43" fmla="*/ 2 h 218"/>
                  <a:gd name="T44" fmla="*/ 236 w 260"/>
                  <a:gd name="T45" fmla="*/ 8 h 218"/>
                  <a:gd name="T46" fmla="*/ 241 w 260"/>
                  <a:gd name="T47" fmla="*/ 31 h 218"/>
                  <a:gd name="T48" fmla="*/ 241 w 260"/>
                  <a:gd name="T49" fmla="*/ 55 h 218"/>
                  <a:gd name="T50" fmla="*/ 217 w 260"/>
                  <a:gd name="T51" fmla="*/ 69 h 218"/>
                  <a:gd name="T52" fmla="*/ 227 w 260"/>
                  <a:gd name="T53" fmla="*/ 93 h 218"/>
                  <a:gd name="T54" fmla="*/ 260 w 260"/>
                  <a:gd name="T55" fmla="*/ 80 h 218"/>
                  <a:gd name="T56" fmla="*/ 254 w 260"/>
                  <a:gd name="T57" fmla="*/ 90 h 218"/>
                  <a:gd name="T58" fmla="*/ 254 w 260"/>
                  <a:gd name="T59" fmla="*/ 104 h 218"/>
                  <a:gd name="T60" fmla="*/ 246 w 260"/>
                  <a:gd name="T61" fmla="*/ 110 h 218"/>
                  <a:gd name="T62" fmla="*/ 230 w 260"/>
                  <a:gd name="T63" fmla="*/ 130 h 218"/>
                  <a:gd name="T64" fmla="*/ 224 w 260"/>
                  <a:gd name="T65" fmla="*/ 142 h 218"/>
                  <a:gd name="T66" fmla="*/ 210 w 260"/>
                  <a:gd name="T67" fmla="*/ 160 h 218"/>
                  <a:gd name="T68" fmla="*/ 188 w 260"/>
                  <a:gd name="T69" fmla="*/ 176 h 218"/>
                  <a:gd name="T70" fmla="*/ 164 w 260"/>
                  <a:gd name="T71" fmla="*/ 198 h 218"/>
                  <a:gd name="T72" fmla="*/ 142 w 260"/>
                  <a:gd name="T73" fmla="*/ 202 h 218"/>
                  <a:gd name="T74" fmla="*/ 128 w 260"/>
                  <a:gd name="T75" fmla="*/ 208 h 218"/>
                  <a:gd name="T76" fmla="*/ 110 w 260"/>
                  <a:gd name="T77" fmla="*/ 206 h 218"/>
                  <a:gd name="T78" fmla="*/ 88 w 260"/>
                  <a:gd name="T79" fmla="*/ 206 h 218"/>
                  <a:gd name="T80" fmla="*/ 70 w 260"/>
                  <a:gd name="T81" fmla="*/ 212 h 218"/>
                  <a:gd name="T82" fmla="*/ 50 w 260"/>
                  <a:gd name="T83" fmla="*/ 218 h 218"/>
                  <a:gd name="T84" fmla="*/ 34 w 260"/>
                  <a:gd name="T85" fmla="*/ 210 h 218"/>
                  <a:gd name="T86" fmla="*/ 28 w 260"/>
                  <a:gd name="T87" fmla="*/ 198 h 218"/>
                  <a:gd name="T88" fmla="*/ 20 w 260"/>
                  <a:gd name="T89" fmla="*/ 184 h 218"/>
                  <a:gd name="T90" fmla="*/ 30 w 260"/>
                  <a:gd name="T91" fmla="*/ 172 h 218"/>
                  <a:gd name="T92" fmla="*/ 22 w 260"/>
                  <a:gd name="T93" fmla="*/ 158 h 218"/>
                  <a:gd name="T94" fmla="*/ 12 w 260"/>
                  <a:gd name="T95" fmla="*/ 144 h 218"/>
                  <a:gd name="T96" fmla="*/ 6 w 260"/>
                  <a:gd name="T97" fmla="*/ 122 h 218"/>
                  <a:gd name="T98" fmla="*/ 0 w 260"/>
                  <a:gd name="T99" fmla="*/ 10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60" h="218">
                    <a:moveTo>
                      <a:pt x="0" y="108"/>
                    </a:moveTo>
                    <a:lnTo>
                      <a:pt x="2" y="104"/>
                    </a:lnTo>
                    <a:lnTo>
                      <a:pt x="6" y="102"/>
                    </a:lnTo>
                    <a:lnTo>
                      <a:pt x="8" y="102"/>
                    </a:lnTo>
                    <a:lnTo>
                      <a:pt x="14" y="110"/>
                    </a:lnTo>
                    <a:lnTo>
                      <a:pt x="22" y="114"/>
                    </a:lnTo>
                    <a:lnTo>
                      <a:pt x="38" y="114"/>
                    </a:lnTo>
                    <a:lnTo>
                      <a:pt x="54" y="104"/>
                    </a:lnTo>
                    <a:lnTo>
                      <a:pt x="54" y="46"/>
                    </a:lnTo>
                    <a:lnTo>
                      <a:pt x="66" y="58"/>
                    </a:lnTo>
                    <a:lnTo>
                      <a:pt x="66" y="78"/>
                    </a:lnTo>
                    <a:lnTo>
                      <a:pt x="82" y="78"/>
                    </a:lnTo>
                    <a:lnTo>
                      <a:pt x="96" y="66"/>
                    </a:lnTo>
                    <a:lnTo>
                      <a:pt x="100" y="54"/>
                    </a:lnTo>
                    <a:lnTo>
                      <a:pt x="110" y="54"/>
                    </a:lnTo>
                    <a:lnTo>
                      <a:pt x="120" y="62"/>
                    </a:lnTo>
                    <a:lnTo>
                      <a:pt x="140" y="60"/>
                    </a:lnTo>
                    <a:lnTo>
                      <a:pt x="148" y="46"/>
                    </a:lnTo>
                    <a:lnTo>
                      <a:pt x="186" y="6"/>
                    </a:lnTo>
                    <a:lnTo>
                      <a:pt x="196" y="6"/>
                    </a:lnTo>
                    <a:lnTo>
                      <a:pt x="198" y="0"/>
                    </a:lnTo>
                    <a:lnTo>
                      <a:pt x="228" y="2"/>
                    </a:lnTo>
                    <a:lnTo>
                      <a:pt x="236" y="8"/>
                    </a:lnTo>
                    <a:lnTo>
                      <a:pt x="241" y="31"/>
                    </a:lnTo>
                    <a:lnTo>
                      <a:pt x="241" y="55"/>
                    </a:lnTo>
                    <a:lnTo>
                      <a:pt x="217" y="69"/>
                    </a:lnTo>
                    <a:lnTo>
                      <a:pt x="227" y="93"/>
                    </a:lnTo>
                    <a:lnTo>
                      <a:pt x="260" y="80"/>
                    </a:lnTo>
                    <a:lnTo>
                      <a:pt x="254" y="90"/>
                    </a:lnTo>
                    <a:lnTo>
                      <a:pt x="254" y="104"/>
                    </a:lnTo>
                    <a:lnTo>
                      <a:pt x="246" y="110"/>
                    </a:lnTo>
                    <a:lnTo>
                      <a:pt x="230" y="130"/>
                    </a:lnTo>
                    <a:lnTo>
                      <a:pt x="224" y="142"/>
                    </a:lnTo>
                    <a:lnTo>
                      <a:pt x="210" y="160"/>
                    </a:lnTo>
                    <a:lnTo>
                      <a:pt x="188" y="176"/>
                    </a:lnTo>
                    <a:lnTo>
                      <a:pt x="164" y="198"/>
                    </a:lnTo>
                    <a:lnTo>
                      <a:pt x="142" y="202"/>
                    </a:lnTo>
                    <a:lnTo>
                      <a:pt x="128" y="208"/>
                    </a:lnTo>
                    <a:lnTo>
                      <a:pt x="110" y="206"/>
                    </a:lnTo>
                    <a:lnTo>
                      <a:pt x="88" y="206"/>
                    </a:lnTo>
                    <a:lnTo>
                      <a:pt x="70" y="212"/>
                    </a:lnTo>
                    <a:lnTo>
                      <a:pt x="50" y="218"/>
                    </a:lnTo>
                    <a:lnTo>
                      <a:pt x="34" y="210"/>
                    </a:lnTo>
                    <a:lnTo>
                      <a:pt x="28" y="198"/>
                    </a:lnTo>
                    <a:lnTo>
                      <a:pt x="20" y="184"/>
                    </a:lnTo>
                    <a:lnTo>
                      <a:pt x="30" y="172"/>
                    </a:lnTo>
                    <a:lnTo>
                      <a:pt x="22" y="158"/>
                    </a:lnTo>
                    <a:lnTo>
                      <a:pt x="12" y="144"/>
                    </a:lnTo>
                    <a:lnTo>
                      <a:pt x="6" y="122"/>
                    </a:lnTo>
                    <a:lnTo>
                      <a:pt x="0" y="10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67" name="Freeform 160">
                <a:extLst>
                  <a:ext uri="{FF2B5EF4-FFF2-40B4-BE49-F238E27FC236}">
                    <a16:creationId xmlns:a16="http://schemas.microsoft.com/office/drawing/2014/main" id="{93A587C1-116A-4277-BE5C-D647CC3C6DA7}"/>
                  </a:ext>
                </a:extLst>
              </p:cNvPr>
              <p:cNvSpPr>
                <a:spLocks/>
              </p:cNvSpPr>
              <p:nvPr/>
            </p:nvSpPr>
            <p:spPr bwMode="gray">
              <a:xfrm>
                <a:off x="6483737" y="5112952"/>
                <a:ext cx="198128" cy="175942"/>
              </a:xfrm>
              <a:custGeom>
                <a:avLst/>
                <a:gdLst>
                  <a:gd name="T0" fmla="*/ 60 w 120"/>
                  <a:gd name="T1" fmla="*/ 104 h 106"/>
                  <a:gd name="T2" fmla="*/ 58 w 120"/>
                  <a:gd name="T3" fmla="*/ 98 h 106"/>
                  <a:gd name="T4" fmla="*/ 44 w 120"/>
                  <a:gd name="T5" fmla="*/ 96 h 106"/>
                  <a:gd name="T6" fmla="*/ 36 w 120"/>
                  <a:gd name="T7" fmla="*/ 76 h 106"/>
                  <a:gd name="T8" fmla="*/ 12 w 120"/>
                  <a:gd name="T9" fmla="*/ 64 h 106"/>
                  <a:gd name="T10" fmla="*/ 8 w 120"/>
                  <a:gd name="T11" fmla="*/ 48 h 106"/>
                  <a:gd name="T12" fmla="*/ 0 w 120"/>
                  <a:gd name="T13" fmla="*/ 36 h 106"/>
                  <a:gd name="T14" fmla="*/ 28 w 120"/>
                  <a:gd name="T15" fmla="*/ 34 h 106"/>
                  <a:gd name="T16" fmla="*/ 42 w 120"/>
                  <a:gd name="T17" fmla="*/ 16 h 106"/>
                  <a:gd name="T18" fmla="*/ 54 w 120"/>
                  <a:gd name="T19" fmla="*/ 14 h 106"/>
                  <a:gd name="T20" fmla="*/ 62 w 120"/>
                  <a:gd name="T21" fmla="*/ 0 h 106"/>
                  <a:gd name="T22" fmla="*/ 78 w 120"/>
                  <a:gd name="T23" fmla="*/ 0 h 106"/>
                  <a:gd name="T24" fmla="*/ 118 w 120"/>
                  <a:gd name="T25" fmla="*/ 14 h 106"/>
                  <a:gd name="T26" fmla="*/ 120 w 120"/>
                  <a:gd name="T27" fmla="*/ 42 h 106"/>
                  <a:gd name="T28" fmla="*/ 120 w 120"/>
                  <a:gd name="T29" fmla="*/ 72 h 106"/>
                  <a:gd name="T30" fmla="*/ 112 w 120"/>
                  <a:gd name="T31" fmla="*/ 90 h 106"/>
                  <a:gd name="T32" fmla="*/ 90 w 120"/>
                  <a:gd name="T33" fmla="*/ 106 h 106"/>
                  <a:gd name="T34" fmla="*/ 60 w 120"/>
                  <a:gd name="T35" fmla="*/ 104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 h="106">
                    <a:moveTo>
                      <a:pt x="60" y="104"/>
                    </a:moveTo>
                    <a:lnTo>
                      <a:pt x="58" y="98"/>
                    </a:lnTo>
                    <a:lnTo>
                      <a:pt x="44" y="96"/>
                    </a:lnTo>
                    <a:lnTo>
                      <a:pt x="36" y="76"/>
                    </a:lnTo>
                    <a:lnTo>
                      <a:pt x="12" y="64"/>
                    </a:lnTo>
                    <a:lnTo>
                      <a:pt x="8" y="48"/>
                    </a:lnTo>
                    <a:lnTo>
                      <a:pt x="0" y="36"/>
                    </a:lnTo>
                    <a:lnTo>
                      <a:pt x="28" y="34"/>
                    </a:lnTo>
                    <a:lnTo>
                      <a:pt x="42" y="16"/>
                    </a:lnTo>
                    <a:lnTo>
                      <a:pt x="54" y="14"/>
                    </a:lnTo>
                    <a:lnTo>
                      <a:pt x="62" y="0"/>
                    </a:lnTo>
                    <a:lnTo>
                      <a:pt x="78" y="0"/>
                    </a:lnTo>
                    <a:lnTo>
                      <a:pt x="118" y="14"/>
                    </a:lnTo>
                    <a:lnTo>
                      <a:pt x="120" y="42"/>
                    </a:lnTo>
                    <a:lnTo>
                      <a:pt x="120" y="72"/>
                    </a:lnTo>
                    <a:lnTo>
                      <a:pt x="112" y="90"/>
                    </a:lnTo>
                    <a:lnTo>
                      <a:pt x="90" y="106"/>
                    </a:lnTo>
                    <a:lnTo>
                      <a:pt x="60" y="10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68" name="Freeform 161">
                <a:extLst>
                  <a:ext uri="{FF2B5EF4-FFF2-40B4-BE49-F238E27FC236}">
                    <a16:creationId xmlns:a16="http://schemas.microsoft.com/office/drawing/2014/main" id="{C7C29C65-876F-4664-B8B0-3C5C2AD4DABB}"/>
                  </a:ext>
                </a:extLst>
              </p:cNvPr>
              <p:cNvSpPr>
                <a:spLocks/>
              </p:cNvSpPr>
              <p:nvPr/>
            </p:nvSpPr>
            <p:spPr bwMode="gray">
              <a:xfrm>
                <a:off x="6345047" y="5172706"/>
                <a:ext cx="237754" cy="242335"/>
              </a:xfrm>
              <a:custGeom>
                <a:avLst/>
                <a:gdLst>
                  <a:gd name="T0" fmla="*/ 0 w 144"/>
                  <a:gd name="T1" fmla="*/ 114 h 146"/>
                  <a:gd name="T2" fmla="*/ 0 w 144"/>
                  <a:gd name="T3" fmla="*/ 66 h 146"/>
                  <a:gd name="T4" fmla="*/ 14 w 144"/>
                  <a:gd name="T5" fmla="*/ 66 h 146"/>
                  <a:gd name="T6" fmla="*/ 16 w 144"/>
                  <a:gd name="T7" fmla="*/ 4 h 146"/>
                  <a:gd name="T8" fmla="*/ 50 w 144"/>
                  <a:gd name="T9" fmla="*/ 0 h 146"/>
                  <a:gd name="T10" fmla="*/ 56 w 144"/>
                  <a:gd name="T11" fmla="*/ 8 h 146"/>
                  <a:gd name="T12" fmla="*/ 84 w 144"/>
                  <a:gd name="T13" fmla="*/ 0 h 146"/>
                  <a:gd name="T14" fmla="*/ 92 w 144"/>
                  <a:gd name="T15" fmla="*/ 12 h 146"/>
                  <a:gd name="T16" fmla="*/ 96 w 144"/>
                  <a:gd name="T17" fmla="*/ 28 h 146"/>
                  <a:gd name="T18" fmla="*/ 120 w 144"/>
                  <a:gd name="T19" fmla="*/ 40 h 146"/>
                  <a:gd name="T20" fmla="*/ 128 w 144"/>
                  <a:gd name="T21" fmla="*/ 60 h 146"/>
                  <a:gd name="T22" fmla="*/ 142 w 144"/>
                  <a:gd name="T23" fmla="*/ 62 h 146"/>
                  <a:gd name="T24" fmla="*/ 144 w 144"/>
                  <a:gd name="T25" fmla="*/ 70 h 146"/>
                  <a:gd name="T26" fmla="*/ 142 w 144"/>
                  <a:gd name="T27" fmla="*/ 74 h 146"/>
                  <a:gd name="T28" fmla="*/ 132 w 144"/>
                  <a:gd name="T29" fmla="*/ 74 h 146"/>
                  <a:gd name="T30" fmla="*/ 94 w 144"/>
                  <a:gd name="T31" fmla="*/ 114 h 146"/>
                  <a:gd name="T32" fmla="*/ 86 w 144"/>
                  <a:gd name="T33" fmla="*/ 128 h 146"/>
                  <a:gd name="T34" fmla="*/ 66 w 144"/>
                  <a:gd name="T35" fmla="*/ 130 h 146"/>
                  <a:gd name="T36" fmla="*/ 56 w 144"/>
                  <a:gd name="T37" fmla="*/ 122 h 146"/>
                  <a:gd name="T38" fmla="*/ 46 w 144"/>
                  <a:gd name="T39" fmla="*/ 122 h 146"/>
                  <a:gd name="T40" fmla="*/ 42 w 144"/>
                  <a:gd name="T41" fmla="*/ 134 h 146"/>
                  <a:gd name="T42" fmla="*/ 28 w 144"/>
                  <a:gd name="T43" fmla="*/ 146 h 146"/>
                  <a:gd name="T44" fmla="*/ 12 w 144"/>
                  <a:gd name="T45" fmla="*/ 146 h 146"/>
                  <a:gd name="T46" fmla="*/ 12 w 144"/>
                  <a:gd name="T47" fmla="*/ 126 h 146"/>
                  <a:gd name="T48" fmla="*/ 0 w 144"/>
                  <a:gd name="T49" fmla="*/ 11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4" h="146">
                    <a:moveTo>
                      <a:pt x="0" y="114"/>
                    </a:moveTo>
                    <a:lnTo>
                      <a:pt x="0" y="66"/>
                    </a:lnTo>
                    <a:lnTo>
                      <a:pt x="14" y="66"/>
                    </a:lnTo>
                    <a:lnTo>
                      <a:pt x="16" y="4"/>
                    </a:lnTo>
                    <a:lnTo>
                      <a:pt x="50" y="0"/>
                    </a:lnTo>
                    <a:lnTo>
                      <a:pt x="56" y="8"/>
                    </a:lnTo>
                    <a:lnTo>
                      <a:pt x="84" y="0"/>
                    </a:lnTo>
                    <a:lnTo>
                      <a:pt x="92" y="12"/>
                    </a:lnTo>
                    <a:lnTo>
                      <a:pt x="96" y="28"/>
                    </a:lnTo>
                    <a:lnTo>
                      <a:pt x="120" y="40"/>
                    </a:lnTo>
                    <a:lnTo>
                      <a:pt x="128" y="60"/>
                    </a:lnTo>
                    <a:lnTo>
                      <a:pt x="142" y="62"/>
                    </a:lnTo>
                    <a:lnTo>
                      <a:pt x="144" y="70"/>
                    </a:lnTo>
                    <a:lnTo>
                      <a:pt x="142" y="74"/>
                    </a:lnTo>
                    <a:lnTo>
                      <a:pt x="132" y="74"/>
                    </a:lnTo>
                    <a:lnTo>
                      <a:pt x="94" y="114"/>
                    </a:lnTo>
                    <a:lnTo>
                      <a:pt x="86" y="128"/>
                    </a:lnTo>
                    <a:lnTo>
                      <a:pt x="66" y="130"/>
                    </a:lnTo>
                    <a:lnTo>
                      <a:pt x="56" y="122"/>
                    </a:lnTo>
                    <a:lnTo>
                      <a:pt x="46" y="122"/>
                    </a:lnTo>
                    <a:lnTo>
                      <a:pt x="42" y="134"/>
                    </a:lnTo>
                    <a:lnTo>
                      <a:pt x="28" y="146"/>
                    </a:lnTo>
                    <a:lnTo>
                      <a:pt x="12" y="146"/>
                    </a:lnTo>
                    <a:lnTo>
                      <a:pt x="12" y="126"/>
                    </a:lnTo>
                    <a:lnTo>
                      <a:pt x="0" y="11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69" name="Freeform 162">
                <a:extLst>
                  <a:ext uri="{FF2B5EF4-FFF2-40B4-BE49-F238E27FC236}">
                    <a16:creationId xmlns:a16="http://schemas.microsoft.com/office/drawing/2014/main" id="{1F752715-F5EF-4269-A7CC-95EFD3F93AE7}"/>
                  </a:ext>
                </a:extLst>
              </p:cNvPr>
              <p:cNvSpPr>
                <a:spLocks/>
              </p:cNvSpPr>
              <p:nvPr/>
            </p:nvSpPr>
            <p:spPr bwMode="gray">
              <a:xfrm>
                <a:off x="6137013" y="5156107"/>
                <a:ext cx="234452" cy="318687"/>
              </a:xfrm>
              <a:custGeom>
                <a:avLst/>
                <a:gdLst>
                  <a:gd name="T0" fmla="*/ 0 w 142"/>
                  <a:gd name="T1" fmla="*/ 0 h 192"/>
                  <a:gd name="T2" fmla="*/ 98 w 142"/>
                  <a:gd name="T3" fmla="*/ 0 h 192"/>
                  <a:gd name="T4" fmla="*/ 106 w 142"/>
                  <a:gd name="T5" fmla="*/ 6 h 192"/>
                  <a:gd name="T6" fmla="*/ 134 w 142"/>
                  <a:gd name="T7" fmla="*/ 8 h 192"/>
                  <a:gd name="T8" fmla="*/ 142 w 142"/>
                  <a:gd name="T9" fmla="*/ 14 h 192"/>
                  <a:gd name="T10" fmla="*/ 140 w 142"/>
                  <a:gd name="T11" fmla="*/ 76 h 192"/>
                  <a:gd name="T12" fmla="*/ 126 w 142"/>
                  <a:gd name="T13" fmla="*/ 76 h 192"/>
                  <a:gd name="T14" fmla="*/ 126 w 142"/>
                  <a:gd name="T15" fmla="*/ 182 h 192"/>
                  <a:gd name="T16" fmla="*/ 110 w 142"/>
                  <a:gd name="T17" fmla="*/ 192 h 192"/>
                  <a:gd name="T18" fmla="*/ 94 w 142"/>
                  <a:gd name="T19" fmla="*/ 192 h 192"/>
                  <a:gd name="T20" fmla="*/ 86 w 142"/>
                  <a:gd name="T21" fmla="*/ 188 h 192"/>
                  <a:gd name="T22" fmla="*/ 80 w 142"/>
                  <a:gd name="T23" fmla="*/ 180 h 192"/>
                  <a:gd name="T24" fmla="*/ 72 w 142"/>
                  <a:gd name="T25" fmla="*/ 186 h 192"/>
                  <a:gd name="T26" fmla="*/ 52 w 142"/>
                  <a:gd name="T27" fmla="*/ 164 h 192"/>
                  <a:gd name="T28" fmla="*/ 44 w 142"/>
                  <a:gd name="T29" fmla="*/ 126 h 192"/>
                  <a:gd name="T30" fmla="*/ 38 w 142"/>
                  <a:gd name="T31" fmla="*/ 114 h 192"/>
                  <a:gd name="T32" fmla="*/ 38 w 142"/>
                  <a:gd name="T33" fmla="*/ 82 h 192"/>
                  <a:gd name="T34" fmla="*/ 12 w 142"/>
                  <a:gd name="T35" fmla="*/ 36 h 192"/>
                  <a:gd name="T36" fmla="*/ 0 w 142"/>
                  <a:gd name="T37" fmla="*/ 16 h 192"/>
                  <a:gd name="T38" fmla="*/ 0 w 142"/>
                  <a:gd name="T3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92">
                    <a:moveTo>
                      <a:pt x="0" y="0"/>
                    </a:moveTo>
                    <a:lnTo>
                      <a:pt x="98" y="0"/>
                    </a:lnTo>
                    <a:lnTo>
                      <a:pt x="106" y="6"/>
                    </a:lnTo>
                    <a:lnTo>
                      <a:pt x="134" y="8"/>
                    </a:lnTo>
                    <a:lnTo>
                      <a:pt x="142" y="14"/>
                    </a:lnTo>
                    <a:lnTo>
                      <a:pt x="140" y="76"/>
                    </a:lnTo>
                    <a:lnTo>
                      <a:pt x="126" y="76"/>
                    </a:lnTo>
                    <a:lnTo>
                      <a:pt x="126" y="182"/>
                    </a:lnTo>
                    <a:lnTo>
                      <a:pt x="110" y="192"/>
                    </a:lnTo>
                    <a:lnTo>
                      <a:pt x="94" y="192"/>
                    </a:lnTo>
                    <a:lnTo>
                      <a:pt x="86" y="188"/>
                    </a:lnTo>
                    <a:lnTo>
                      <a:pt x="80" y="180"/>
                    </a:lnTo>
                    <a:lnTo>
                      <a:pt x="72" y="186"/>
                    </a:lnTo>
                    <a:lnTo>
                      <a:pt x="52" y="164"/>
                    </a:lnTo>
                    <a:lnTo>
                      <a:pt x="44" y="126"/>
                    </a:lnTo>
                    <a:lnTo>
                      <a:pt x="38" y="114"/>
                    </a:lnTo>
                    <a:lnTo>
                      <a:pt x="38" y="82"/>
                    </a:lnTo>
                    <a:lnTo>
                      <a:pt x="12" y="36"/>
                    </a:lnTo>
                    <a:lnTo>
                      <a:pt x="0" y="16"/>
                    </a:lnTo>
                    <a:lnTo>
                      <a:pt x="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70" name="Freeform 163">
                <a:extLst>
                  <a:ext uri="{FF2B5EF4-FFF2-40B4-BE49-F238E27FC236}">
                    <a16:creationId xmlns:a16="http://schemas.microsoft.com/office/drawing/2014/main" id="{8F990D2E-6834-45E3-BF3A-F61C3FC4777A}"/>
                  </a:ext>
                </a:extLst>
              </p:cNvPr>
              <p:cNvSpPr>
                <a:spLocks/>
              </p:cNvSpPr>
              <p:nvPr/>
            </p:nvSpPr>
            <p:spPr bwMode="gray">
              <a:xfrm>
                <a:off x="6619125" y="4970207"/>
                <a:ext cx="267473" cy="448154"/>
              </a:xfrm>
              <a:custGeom>
                <a:avLst/>
                <a:gdLst>
                  <a:gd name="T0" fmla="*/ 0 w 162"/>
                  <a:gd name="T1" fmla="*/ 88 h 270"/>
                  <a:gd name="T2" fmla="*/ 0 w 162"/>
                  <a:gd name="T3" fmla="*/ 72 h 270"/>
                  <a:gd name="T4" fmla="*/ 50 w 162"/>
                  <a:gd name="T5" fmla="*/ 64 h 270"/>
                  <a:gd name="T6" fmla="*/ 66 w 162"/>
                  <a:gd name="T7" fmla="*/ 64 h 270"/>
                  <a:gd name="T8" fmla="*/ 64 w 162"/>
                  <a:gd name="T9" fmla="*/ 94 h 270"/>
                  <a:gd name="T10" fmla="*/ 76 w 162"/>
                  <a:gd name="T11" fmla="*/ 106 h 270"/>
                  <a:gd name="T12" fmla="*/ 86 w 162"/>
                  <a:gd name="T13" fmla="*/ 92 h 270"/>
                  <a:gd name="T14" fmla="*/ 84 w 162"/>
                  <a:gd name="T15" fmla="*/ 64 h 270"/>
                  <a:gd name="T16" fmla="*/ 70 w 162"/>
                  <a:gd name="T17" fmla="*/ 48 h 270"/>
                  <a:gd name="T18" fmla="*/ 64 w 162"/>
                  <a:gd name="T19" fmla="*/ 32 h 270"/>
                  <a:gd name="T20" fmla="*/ 68 w 162"/>
                  <a:gd name="T21" fmla="*/ 16 h 270"/>
                  <a:gd name="T22" fmla="*/ 90 w 162"/>
                  <a:gd name="T23" fmla="*/ 18 h 270"/>
                  <a:gd name="T24" fmla="*/ 116 w 162"/>
                  <a:gd name="T25" fmla="*/ 20 h 270"/>
                  <a:gd name="T26" fmla="*/ 142 w 162"/>
                  <a:gd name="T27" fmla="*/ 10 h 270"/>
                  <a:gd name="T28" fmla="*/ 158 w 162"/>
                  <a:gd name="T29" fmla="*/ 0 h 270"/>
                  <a:gd name="T30" fmla="*/ 158 w 162"/>
                  <a:gd name="T31" fmla="*/ 40 h 270"/>
                  <a:gd name="T32" fmla="*/ 162 w 162"/>
                  <a:gd name="T33" fmla="*/ 80 h 270"/>
                  <a:gd name="T34" fmla="*/ 144 w 162"/>
                  <a:gd name="T35" fmla="*/ 98 h 270"/>
                  <a:gd name="T36" fmla="*/ 112 w 162"/>
                  <a:gd name="T37" fmla="*/ 118 h 270"/>
                  <a:gd name="T38" fmla="*/ 76 w 162"/>
                  <a:gd name="T39" fmla="*/ 150 h 270"/>
                  <a:gd name="T40" fmla="*/ 68 w 162"/>
                  <a:gd name="T41" fmla="*/ 154 h 270"/>
                  <a:gd name="T42" fmla="*/ 70 w 162"/>
                  <a:gd name="T43" fmla="*/ 168 h 270"/>
                  <a:gd name="T44" fmla="*/ 80 w 162"/>
                  <a:gd name="T45" fmla="*/ 196 h 270"/>
                  <a:gd name="T46" fmla="*/ 76 w 162"/>
                  <a:gd name="T47" fmla="*/ 228 h 270"/>
                  <a:gd name="T48" fmla="*/ 38 w 162"/>
                  <a:gd name="T49" fmla="*/ 248 h 270"/>
                  <a:gd name="T50" fmla="*/ 34 w 162"/>
                  <a:gd name="T51" fmla="*/ 256 h 270"/>
                  <a:gd name="T52" fmla="*/ 38 w 162"/>
                  <a:gd name="T53" fmla="*/ 264 h 270"/>
                  <a:gd name="T54" fmla="*/ 40 w 162"/>
                  <a:gd name="T55" fmla="*/ 270 h 270"/>
                  <a:gd name="T56" fmla="*/ 24 w 162"/>
                  <a:gd name="T57" fmla="*/ 268 h 270"/>
                  <a:gd name="T58" fmla="*/ 24 w 162"/>
                  <a:gd name="T59" fmla="*/ 258 h 270"/>
                  <a:gd name="T60" fmla="*/ 24 w 162"/>
                  <a:gd name="T61" fmla="*/ 222 h 270"/>
                  <a:gd name="T62" fmla="*/ 16 w 162"/>
                  <a:gd name="T63" fmla="*/ 198 h 270"/>
                  <a:gd name="T64" fmla="*/ 8 w 162"/>
                  <a:gd name="T65" fmla="*/ 192 h 270"/>
                  <a:gd name="T66" fmla="*/ 30 w 162"/>
                  <a:gd name="T67" fmla="*/ 176 h 270"/>
                  <a:gd name="T68" fmla="*/ 38 w 162"/>
                  <a:gd name="T69" fmla="*/ 158 h 270"/>
                  <a:gd name="T70" fmla="*/ 38 w 162"/>
                  <a:gd name="T71" fmla="*/ 128 h 270"/>
                  <a:gd name="T72" fmla="*/ 36 w 162"/>
                  <a:gd name="T73" fmla="*/ 100 h 270"/>
                  <a:gd name="T74" fmla="*/ 0 w 162"/>
                  <a:gd name="T75" fmla="*/ 88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2" h="270">
                    <a:moveTo>
                      <a:pt x="0" y="88"/>
                    </a:moveTo>
                    <a:lnTo>
                      <a:pt x="0" y="72"/>
                    </a:lnTo>
                    <a:lnTo>
                      <a:pt x="50" y="64"/>
                    </a:lnTo>
                    <a:lnTo>
                      <a:pt x="66" y="64"/>
                    </a:lnTo>
                    <a:lnTo>
                      <a:pt x="64" y="94"/>
                    </a:lnTo>
                    <a:lnTo>
                      <a:pt x="76" y="106"/>
                    </a:lnTo>
                    <a:lnTo>
                      <a:pt x="86" y="92"/>
                    </a:lnTo>
                    <a:lnTo>
                      <a:pt x="84" y="64"/>
                    </a:lnTo>
                    <a:lnTo>
                      <a:pt x="70" y="48"/>
                    </a:lnTo>
                    <a:lnTo>
                      <a:pt x="64" y="32"/>
                    </a:lnTo>
                    <a:lnTo>
                      <a:pt x="68" y="16"/>
                    </a:lnTo>
                    <a:lnTo>
                      <a:pt x="90" y="18"/>
                    </a:lnTo>
                    <a:lnTo>
                      <a:pt x="116" y="20"/>
                    </a:lnTo>
                    <a:lnTo>
                      <a:pt x="142" y="10"/>
                    </a:lnTo>
                    <a:lnTo>
                      <a:pt x="158" y="0"/>
                    </a:lnTo>
                    <a:lnTo>
                      <a:pt x="158" y="40"/>
                    </a:lnTo>
                    <a:lnTo>
                      <a:pt x="162" y="80"/>
                    </a:lnTo>
                    <a:lnTo>
                      <a:pt x="144" y="98"/>
                    </a:lnTo>
                    <a:lnTo>
                      <a:pt x="112" y="118"/>
                    </a:lnTo>
                    <a:lnTo>
                      <a:pt x="76" y="150"/>
                    </a:lnTo>
                    <a:lnTo>
                      <a:pt x="68" y="154"/>
                    </a:lnTo>
                    <a:lnTo>
                      <a:pt x="70" y="168"/>
                    </a:lnTo>
                    <a:lnTo>
                      <a:pt x="80" y="196"/>
                    </a:lnTo>
                    <a:lnTo>
                      <a:pt x="76" y="228"/>
                    </a:lnTo>
                    <a:lnTo>
                      <a:pt x="38" y="248"/>
                    </a:lnTo>
                    <a:lnTo>
                      <a:pt x="34" y="256"/>
                    </a:lnTo>
                    <a:lnTo>
                      <a:pt x="38" y="264"/>
                    </a:lnTo>
                    <a:lnTo>
                      <a:pt x="40" y="270"/>
                    </a:lnTo>
                    <a:lnTo>
                      <a:pt x="24" y="268"/>
                    </a:lnTo>
                    <a:lnTo>
                      <a:pt x="24" y="258"/>
                    </a:lnTo>
                    <a:lnTo>
                      <a:pt x="24" y="222"/>
                    </a:lnTo>
                    <a:lnTo>
                      <a:pt x="16" y="198"/>
                    </a:lnTo>
                    <a:lnTo>
                      <a:pt x="8" y="192"/>
                    </a:lnTo>
                    <a:lnTo>
                      <a:pt x="30" y="176"/>
                    </a:lnTo>
                    <a:lnTo>
                      <a:pt x="38" y="158"/>
                    </a:lnTo>
                    <a:lnTo>
                      <a:pt x="38" y="128"/>
                    </a:lnTo>
                    <a:lnTo>
                      <a:pt x="36" y="100"/>
                    </a:lnTo>
                    <a:lnTo>
                      <a:pt x="0" y="8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71" name="Freeform 164">
                <a:extLst>
                  <a:ext uri="{FF2B5EF4-FFF2-40B4-BE49-F238E27FC236}">
                    <a16:creationId xmlns:a16="http://schemas.microsoft.com/office/drawing/2014/main" id="{725F01C9-B993-4486-907D-1B08B80A7D0C}"/>
                  </a:ext>
                </a:extLst>
              </p:cNvPr>
              <p:cNvSpPr>
                <a:spLocks/>
              </p:cNvSpPr>
              <p:nvPr/>
            </p:nvSpPr>
            <p:spPr bwMode="gray">
              <a:xfrm>
                <a:off x="6678564" y="4946970"/>
                <a:ext cx="82553" cy="199179"/>
              </a:xfrm>
              <a:custGeom>
                <a:avLst/>
                <a:gdLst>
                  <a:gd name="T0" fmla="*/ 4 w 50"/>
                  <a:gd name="T1" fmla="*/ 50 h 120"/>
                  <a:gd name="T2" fmla="*/ 10 w 50"/>
                  <a:gd name="T3" fmla="*/ 44 h 120"/>
                  <a:gd name="T4" fmla="*/ 12 w 50"/>
                  <a:gd name="T5" fmla="*/ 18 h 120"/>
                  <a:gd name="T6" fmla="*/ 14 w 50"/>
                  <a:gd name="T7" fmla="*/ 14 h 120"/>
                  <a:gd name="T8" fmla="*/ 8 w 50"/>
                  <a:gd name="T9" fmla="*/ 0 h 120"/>
                  <a:gd name="T10" fmla="*/ 22 w 50"/>
                  <a:gd name="T11" fmla="*/ 0 h 120"/>
                  <a:gd name="T12" fmla="*/ 30 w 50"/>
                  <a:gd name="T13" fmla="*/ 12 h 120"/>
                  <a:gd name="T14" fmla="*/ 32 w 50"/>
                  <a:gd name="T15" fmla="*/ 30 h 120"/>
                  <a:gd name="T16" fmla="*/ 28 w 50"/>
                  <a:gd name="T17" fmla="*/ 46 h 120"/>
                  <a:gd name="T18" fmla="*/ 34 w 50"/>
                  <a:gd name="T19" fmla="*/ 62 h 120"/>
                  <a:gd name="T20" fmla="*/ 48 w 50"/>
                  <a:gd name="T21" fmla="*/ 78 h 120"/>
                  <a:gd name="T22" fmla="*/ 50 w 50"/>
                  <a:gd name="T23" fmla="*/ 106 h 120"/>
                  <a:gd name="T24" fmla="*/ 40 w 50"/>
                  <a:gd name="T25" fmla="*/ 120 h 120"/>
                  <a:gd name="T26" fmla="*/ 28 w 50"/>
                  <a:gd name="T27" fmla="*/ 108 h 120"/>
                  <a:gd name="T28" fmla="*/ 30 w 50"/>
                  <a:gd name="T29" fmla="*/ 78 h 120"/>
                  <a:gd name="T30" fmla="*/ 10 w 50"/>
                  <a:gd name="T31" fmla="*/ 78 h 120"/>
                  <a:gd name="T32" fmla="*/ 0 w 50"/>
                  <a:gd name="T33" fmla="*/ 64 h 120"/>
                  <a:gd name="T34" fmla="*/ 4 w 50"/>
                  <a:gd name="T35" fmla="*/ 5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 h="120">
                    <a:moveTo>
                      <a:pt x="4" y="50"/>
                    </a:moveTo>
                    <a:lnTo>
                      <a:pt x="10" y="44"/>
                    </a:lnTo>
                    <a:lnTo>
                      <a:pt x="12" y="18"/>
                    </a:lnTo>
                    <a:lnTo>
                      <a:pt x="14" y="14"/>
                    </a:lnTo>
                    <a:lnTo>
                      <a:pt x="8" y="0"/>
                    </a:lnTo>
                    <a:lnTo>
                      <a:pt x="22" y="0"/>
                    </a:lnTo>
                    <a:lnTo>
                      <a:pt x="30" y="12"/>
                    </a:lnTo>
                    <a:lnTo>
                      <a:pt x="32" y="30"/>
                    </a:lnTo>
                    <a:lnTo>
                      <a:pt x="28" y="46"/>
                    </a:lnTo>
                    <a:lnTo>
                      <a:pt x="34" y="62"/>
                    </a:lnTo>
                    <a:lnTo>
                      <a:pt x="48" y="78"/>
                    </a:lnTo>
                    <a:lnTo>
                      <a:pt x="50" y="106"/>
                    </a:lnTo>
                    <a:lnTo>
                      <a:pt x="40" y="120"/>
                    </a:lnTo>
                    <a:lnTo>
                      <a:pt x="28" y="108"/>
                    </a:lnTo>
                    <a:lnTo>
                      <a:pt x="30" y="78"/>
                    </a:lnTo>
                    <a:lnTo>
                      <a:pt x="10" y="78"/>
                    </a:lnTo>
                    <a:lnTo>
                      <a:pt x="0" y="64"/>
                    </a:lnTo>
                    <a:lnTo>
                      <a:pt x="4" y="5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72" name="Freeform 165">
                <a:extLst>
                  <a:ext uri="{FF2B5EF4-FFF2-40B4-BE49-F238E27FC236}">
                    <a16:creationId xmlns:a16="http://schemas.microsoft.com/office/drawing/2014/main" id="{47EABC7C-203D-4BE2-B3DD-58753365DD7B}"/>
                  </a:ext>
                </a:extLst>
              </p:cNvPr>
              <p:cNvSpPr>
                <a:spLocks/>
              </p:cNvSpPr>
              <p:nvPr/>
            </p:nvSpPr>
            <p:spPr bwMode="gray">
              <a:xfrm>
                <a:off x="6397882" y="4913772"/>
                <a:ext cx="303797" cy="258933"/>
              </a:xfrm>
              <a:custGeom>
                <a:avLst/>
                <a:gdLst>
                  <a:gd name="T0" fmla="*/ 52 w 184"/>
                  <a:gd name="T1" fmla="*/ 156 h 156"/>
                  <a:gd name="T2" fmla="*/ 46 w 184"/>
                  <a:gd name="T3" fmla="*/ 150 h 156"/>
                  <a:gd name="T4" fmla="*/ 20 w 184"/>
                  <a:gd name="T5" fmla="*/ 148 h 156"/>
                  <a:gd name="T6" fmla="*/ 2 w 184"/>
                  <a:gd name="T7" fmla="*/ 128 h 156"/>
                  <a:gd name="T8" fmla="*/ 0 w 184"/>
                  <a:gd name="T9" fmla="*/ 76 h 156"/>
                  <a:gd name="T10" fmla="*/ 30 w 184"/>
                  <a:gd name="T11" fmla="*/ 76 h 156"/>
                  <a:gd name="T12" fmla="*/ 30 w 184"/>
                  <a:gd name="T13" fmla="*/ 42 h 156"/>
                  <a:gd name="T14" fmla="*/ 48 w 184"/>
                  <a:gd name="T15" fmla="*/ 50 h 156"/>
                  <a:gd name="T16" fmla="*/ 68 w 184"/>
                  <a:gd name="T17" fmla="*/ 58 h 156"/>
                  <a:gd name="T18" fmla="*/ 82 w 184"/>
                  <a:gd name="T19" fmla="*/ 52 h 156"/>
                  <a:gd name="T20" fmla="*/ 90 w 184"/>
                  <a:gd name="T21" fmla="*/ 64 h 156"/>
                  <a:gd name="T22" fmla="*/ 102 w 184"/>
                  <a:gd name="T23" fmla="*/ 70 h 156"/>
                  <a:gd name="T24" fmla="*/ 110 w 184"/>
                  <a:gd name="T25" fmla="*/ 82 h 156"/>
                  <a:gd name="T26" fmla="*/ 124 w 184"/>
                  <a:gd name="T27" fmla="*/ 82 h 156"/>
                  <a:gd name="T28" fmla="*/ 124 w 184"/>
                  <a:gd name="T29" fmla="*/ 64 h 156"/>
                  <a:gd name="T30" fmla="*/ 110 w 184"/>
                  <a:gd name="T31" fmla="*/ 58 h 156"/>
                  <a:gd name="T32" fmla="*/ 100 w 184"/>
                  <a:gd name="T33" fmla="*/ 48 h 156"/>
                  <a:gd name="T34" fmla="*/ 104 w 184"/>
                  <a:gd name="T35" fmla="*/ 26 h 156"/>
                  <a:gd name="T36" fmla="*/ 102 w 184"/>
                  <a:gd name="T37" fmla="*/ 8 h 156"/>
                  <a:gd name="T38" fmla="*/ 118 w 184"/>
                  <a:gd name="T39" fmla="*/ 0 h 156"/>
                  <a:gd name="T40" fmla="*/ 136 w 184"/>
                  <a:gd name="T41" fmla="*/ 0 h 156"/>
                  <a:gd name="T42" fmla="*/ 178 w 184"/>
                  <a:gd name="T43" fmla="*/ 20 h 156"/>
                  <a:gd name="T44" fmla="*/ 184 w 184"/>
                  <a:gd name="T45" fmla="*/ 34 h 156"/>
                  <a:gd name="T46" fmla="*/ 180 w 184"/>
                  <a:gd name="T47" fmla="*/ 40 h 156"/>
                  <a:gd name="T48" fmla="*/ 180 w 184"/>
                  <a:gd name="T49" fmla="*/ 64 h 156"/>
                  <a:gd name="T50" fmla="*/ 174 w 184"/>
                  <a:gd name="T51" fmla="*/ 70 h 156"/>
                  <a:gd name="T52" fmla="*/ 170 w 184"/>
                  <a:gd name="T53" fmla="*/ 84 h 156"/>
                  <a:gd name="T54" fmla="*/ 180 w 184"/>
                  <a:gd name="T55" fmla="*/ 98 h 156"/>
                  <a:gd name="T56" fmla="*/ 134 w 184"/>
                  <a:gd name="T57" fmla="*/ 106 h 156"/>
                  <a:gd name="T58" fmla="*/ 134 w 184"/>
                  <a:gd name="T59" fmla="*/ 122 h 156"/>
                  <a:gd name="T60" fmla="*/ 114 w 184"/>
                  <a:gd name="T61" fmla="*/ 120 h 156"/>
                  <a:gd name="T62" fmla="*/ 106 w 184"/>
                  <a:gd name="T63" fmla="*/ 134 h 156"/>
                  <a:gd name="T64" fmla="*/ 94 w 184"/>
                  <a:gd name="T65" fmla="*/ 136 h 156"/>
                  <a:gd name="T66" fmla="*/ 80 w 184"/>
                  <a:gd name="T67" fmla="*/ 154 h 156"/>
                  <a:gd name="T68" fmla="*/ 52 w 184"/>
                  <a:gd name="T69"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4" h="156">
                    <a:moveTo>
                      <a:pt x="52" y="156"/>
                    </a:moveTo>
                    <a:lnTo>
                      <a:pt x="46" y="150"/>
                    </a:lnTo>
                    <a:lnTo>
                      <a:pt x="20" y="148"/>
                    </a:lnTo>
                    <a:lnTo>
                      <a:pt x="2" y="128"/>
                    </a:lnTo>
                    <a:lnTo>
                      <a:pt x="0" y="76"/>
                    </a:lnTo>
                    <a:lnTo>
                      <a:pt x="30" y="76"/>
                    </a:lnTo>
                    <a:lnTo>
                      <a:pt x="30" y="42"/>
                    </a:lnTo>
                    <a:lnTo>
                      <a:pt x="48" y="50"/>
                    </a:lnTo>
                    <a:lnTo>
                      <a:pt x="68" y="58"/>
                    </a:lnTo>
                    <a:lnTo>
                      <a:pt x="82" y="52"/>
                    </a:lnTo>
                    <a:lnTo>
                      <a:pt x="90" y="64"/>
                    </a:lnTo>
                    <a:lnTo>
                      <a:pt x="102" y="70"/>
                    </a:lnTo>
                    <a:lnTo>
                      <a:pt x="110" y="82"/>
                    </a:lnTo>
                    <a:lnTo>
                      <a:pt x="124" y="82"/>
                    </a:lnTo>
                    <a:lnTo>
                      <a:pt x="124" y="64"/>
                    </a:lnTo>
                    <a:lnTo>
                      <a:pt x="110" y="58"/>
                    </a:lnTo>
                    <a:lnTo>
                      <a:pt x="100" y="48"/>
                    </a:lnTo>
                    <a:lnTo>
                      <a:pt x="104" y="26"/>
                    </a:lnTo>
                    <a:lnTo>
                      <a:pt x="102" y="8"/>
                    </a:lnTo>
                    <a:lnTo>
                      <a:pt x="118" y="0"/>
                    </a:lnTo>
                    <a:lnTo>
                      <a:pt x="136" y="0"/>
                    </a:lnTo>
                    <a:lnTo>
                      <a:pt x="178" y="20"/>
                    </a:lnTo>
                    <a:lnTo>
                      <a:pt x="184" y="34"/>
                    </a:lnTo>
                    <a:lnTo>
                      <a:pt x="180" y="40"/>
                    </a:lnTo>
                    <a:lnTo>
                      <a:pt x="180" y="64"/>
                    </a:lnTo>
                    <a:lnTo>
                      <a:pt x="174" y="70"/>
                    </a:lnTo>
                    <a:lnTo>
                      <a:pt x="170" y="84"/>
                    </a:lnTo>
                    <a:lnTo>
                      <a:pt x="180" y="98"/>
                    </a:lnTo>
                    <a:lnTo>
                      <a:pt x="134" y="106"/>
                    </a:lnTo>
                    <a:lnTo>
                      <a:pt x="134" y="122"/>
                    </a:lnTo>
                    <a:lnTo>
                      <a:pt x="114" y="120"/>
                    </a:lnTo>
                    <a:lnTo>
                      <a:pt x="106" y="134"/>
                    </a:lnTo>
                    <a:lnTo>
                      <a:pt x="94" y="136"/>
                    </a:lnTo>
                    <a:lnTo>
                      <a:pt x="80" y="154"/>
                    </a:lnTo>
                    <a:lnTo>
                      <a:pt x="52" y="15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73" name="Freeform 166">
                <a:extLst>
                  <a:ext uri="{FF2B5EF4-FFF2-40B4-BE49-F238E27FC236}">
                    <a16:creationId xmlns:a16="http://schemas.microsoft.com/office/drawing/2014/main" id="{77C713E0-297D-4506-878B-E0CB2A1B71F7}"/>
                  </a:ext>
                </a:extLst>
              </p:cNvPr>
              <p:cNvSpPr>
                <a:spLocks/>
              </p:cNvSpPr>
              <p:nvPr/>
            </p:nvSpPr>
            <p:spPr bwMode="gray">
              <a:xfrm>
                <a:off x="6592707" y="4721233"/>
                <a:ext cx="287287" cy="282171"/>
              </a:xfrm>
              <a:custGeom>
                <a:avLst/>
                <a:gdLst>
                  <a:gd name="T0" fmla="*/ 18 w 174"/>
                  <a:gd name="T1" fmla="*/ 116 h 170"/>
                  <a:gd name="T2" fmla="*/ 16 w 174"/>
                  <a:gd name="T3" fmla="*/ 100 h 170"/>
                  <a:gd name="T4" fmla="*/ 2 w 174"/>
                  <a:gd name="T5" fmla="*/ 82 h 170"/>
                  <a:gd name="T6" fmla="*/ 0 w 174"/>
                  <a:gd name="T7" fmla="*/ 56 h 170"/>
                  <a:gd name="T8" fmla="*/ 20 w 174"/>
                  <a:gd name="T9" fmla="*/ 34 h 170"/>
                  <a:gd name="T10" fmla="*/ 16 w 174"/>
                  <a:gd name="T11" fmla="*/ 20 h 170"/>
                  <a:gd name="T12" fmla="*/ 22 w 174"/>
                  <a:gd name="T13" fmla="*/ 12 h 170"/>
                  <a:gd name="T14" fmla="*/ 16 w 174"/>
                  <a:gd name="T15" fmla="*/ 0 h 170"/>
                  <a:gd name="T16" fmla="*/ 38 w 174"/>
                  <a:gd name="T17" fmla="*/ 0 h 170"/>
                  <a:gd name="T18" fmla="*/ 76 w 174"/>
                  <a:gd name="T19" fmla="*/ 2 h 170"/>
                  <a:gd name="T20" fmla="*/ 128 w 174"/>
                  <a:gd name="T21" fmla="*/ 30 h 170"/>
                  <a:gd name="T22" fmla="*/ 132 w 174"/>
                  <a:gd name="T23" fmla="*/ 40 h 170"/>
                  <a:gd name="T24" fmla="*/ 156 w 174"/>
                  <a:gd name="T25" fmla="*/ 58 h 170"/>
                  <a:gd name="T26" fmla="*/ 150 w 174"/>
                  <a:gd name="T27" fmla="*/ 72 h 170"/>
                  <a:gd name="T28" fmla="*/ 148 w 174"/>
                  <a:gd name="T29" fmla="*/ 86 h 170"/>
                  <a:gd name="T30" fmla="*/ 156 w 174"/>
                  <a:gd name="T31" fmla="*/ 98 h 170"/>
                  <a:gd name="T32" fmla="*/ 156 w 174"/>
                  <a:gd name="T33" fmla="*/ 126 h 170"/>
                  <a:gd name="T34" fmla="*/ 174 w 174"/>
                  <a:gd name="T35" fmla="*/ 150 h 170"/>
                  <a:gd name="T36" fmla="*/ 158 w 174"/>
                  <a:gd name="T37" fmla="*/ 160 h 170"/>
                  <a:gd name="T38" fmla="*/ 132 w 174"/>
                  <a:gd name="T39" fmla="*/ 170 h 170"/>
                  <a:gd name="T40" fmla="*/ 84 w 174"/>
                  <a:gd name="T41" fmla="*/ 166 h 170"/>
                  <a:gd name="T42" fmla="*/ 82 w 174"/>
                  <a:gd name="T43" fmla="*/ 148 h 170"/>
                  <a:gd name="T44" fmla="*/ 74 w 174"/>
                  <a:gd name="T45" fmla="*/ 136 h 170"/>
                  <a:gd name="T46" fmla="*/ 60 w 174"/>
                  <a:gd name="T47" fmla="*/ 136 h 170"/>
                  <a:gd name="T48" fmla="*/ 18 w 174"/>
                  <a:gd name="T49" fmla="*/ 11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4" h="170">
                    <a:moveTo>
                      <a:pt x="18" y="116"/>
                    </a:moveTo>
                    <a:lnTo>
                      <a:pt x="16" y="100"/>
                    </a:lnTo>
                    <a:lnTo>
                      <a:pt x="2" y="82"/>
                    </a:lnTo>
                    <a:lnTo>
                      <a:pt x="0" y="56"/>
                    </a:lnTo>
                    <a:lnTo>
                      <a:pt x="20" y="34"/>
                    </a:lnTo>
                    <a:lnTo>
                      <a:pt x="16" y="20"/>
                    </a:lnTo>
                    <a:lnTo>
                      <a:pt x="22" y="12"/>
                    </a:lnTo>
                    <a:lnTo>
                      <a:pt x="16" y="0"/>
                    </a:lnTo>
                    <a:lnTo>
                      <a:pt x="38" y="0"/>
                    </a:lnTo>
                    <a:lnTo>
                      <a:pt x="76" y="2"/>
                    </a:lnTo>
                    <a:lnTo>
                      <a:pt x="128" y="30"/>
                    </a:lnTo>
                    <a:lnTo>
                      <a:pt x="132" y="40"/>
                    </a:lnTo>
                    <a:lnTo>
                      <a:pt x="156" y="58"/>
                    </a:lnTo>
                    <a:lnTo>
                      <a:pt x="150" y="72"/>
                    </a:lnTo>
                    <a:lnTo>
                      <a:pt x="148" y="86"/>
                    </a:lnTo>
                    <a:lnTo>
                      <a:pt x="156" y="98"/>
                    </a:lnTo>
                    <a:lnTo>
                      <a:pt x="156" y="126"/>
                    </a:lnTo>
                    <a:lnTo>
                      <a:pt x="174" y="150"/>
                    </a:lnTo>
                    <a:lnTo>
                      <a:pt x="158" y="160"/>
                    </a:lnTo>
                    <a:lnTo>
                      <a:pt x="132" y="170"/>
                    </a:lnTo>
                    <a:lnTo>
                      <a:pt x="84" y="166"/>
                    </a:lnTo>
                    <a:lnTo>
                      <a:pt x="82" y="148"/>
                    </a:lnTo>
                    <a:lnTo>
                      <a:pt x="74" y="136"/>
                    </a:lnTo>
                    <a:lnTo>
                      <a:pt x="60" y="136"/>
                    </a:lnTo>
                    <a:lnTo>
                      <a:pt x="18" y="11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74" name="Freeform 167">
                <a:extLst>
                  <a:ext uri="{FF2B5EF4-FFF2-40B4-BE49-F238E27FC236}">
                    <a16:creationId xmlns:a16="http://schemas.microsoft.com/office/drawing/2014/main" id="{CC53B25D-A590-408D-B22B-C994774C946E}"/>
                  </a:ext>
                </a:extLst>
              </p:cNvPr>
              <p:cNvSpPr>
                <a:spLocks/>
              </p:cNvSpPr>
              <p:nvPr/>
            </p:nvSpPr>
            <p:spPr bwMode="gray">
              <a:xfrm>
                <a:off x="6589406" y="4754428"/>
                <a:ext cx="36323" cy="59754"/>
              </a:xfrm>
              <a:custGeom>
                <a:avLst/>
                <a:gdLst>
                  <a:gd name="T0" fmla="*/ 18 w 22"/>
                  <a:gd name="T1" fmla="*/ 0 h 36"/>
                  <a:gd name="T2" fmla="*/ 10 w 22"/>
                  <a:gd name="T3" fmla="*/ 2 h 36"/>
                  <a:gd name="T4" fmla="*/ 0 w 22"/>
                  <a:gd name="T5" fmla="*/ 12 h 36"/>
                  <a:gd name="T6" fmla="*/ 2 w 22"/>
                  <a:gd name="T7" fmla="*/ 36 h 36"/>
                  <a:gd name="T8" fmla="*/ 22 w 22"/>
                  <a:gd name="T9" fmla="*/ 14 h 36"/>
                  <a:gd name="T10" fmla="*/ 18 w 22"/>
                  <a:gd name="T11" fmla="*/ 0 h 36"/>
                </a:gdLst>
                <a:ahLst/>
                <a:cxnLst>
                  <a:cxn ang="0">
                    <a:pos x="T0" y="T1"/>
                  </a:cxn>
                  <a:cxn ang="0">
                    <a:pos x="T2" y="T3"/>
                  </a:cxn>
                  <a:cxn ang="0">
                    <a:pos x="T4" y="T5"/>
                  </a:cxn>
                  <a:cxn ang="0">
                    <a:pos x="T6" y="T7"/>
                  </a:cxn>
                  <a:cxn ang="0">
                    <a:pos x="T8" y="T9"/>
                  </a:cxn>
                  <a:cxn ang="0">
                    <a:pos x="T10" y="T11"/>
                  </a:cxn>
                </a:cxnLst>
                <a:rect l="0" t="0" r="r" b="b"/>
                <a:pathLst>
                  <a:path w="22" h="36">
                    <a:moveTo>
                      <a:pt x="18" y="0"/>
                    </a:moveTo>
                    <a:lnTo>
                      <a:pt x="10" y="2"/>
                    </a:lnTo>
                    <a:lnTo>
                      <a:pt x="0" y="12"/>
                    </a:lnTo>
                    <a:lnTo>
                      <a:pt x="2" y="36"/>
                    </a:lnTo>
                    <a:lnTo>
                      <a:pt x="22" y="14"/>
                    </a:lnTo>
                    <a:lnTo>
                      <a:pt x="18"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75" name="Freeform 168">
                <a:extLst>
                  <a:ext uri="{FF2B5EF4-FFF2-40B4-BE49-F238E27FC236}">
                    <a16:creationId xmlns:a16="http://schemas.microsoft.com/office/drawing/2014/main" id="{B3641C01-4063-4814-B054-2ED1B1C0FFF2}"/>
                  </a:ext>
                </a:extLst>
              </p:cNvPr>
              <p:cNvSpPr>
                <a:spLocks/>
              </p:cNvSpPr>
              <p:nvPr/>
            </p:nvSpPr>
            <p:spPr bwMode="gray">
              <a:xfrm>
                <a:off x="6579500" y="4721233"/>
                <a:ext cx="49532" cy="53115"/>
              </a:xfrm>
              <a:custGeom>
                <a:avLst/>
                <a:gdLst>
                  <a:gd name="T0" fmla="*/ 10 w 30"/>
                  <a:gd name="T1" fmla="*/ 2 h 32"/>
                  <a:gd name="T2" fmla="*/ 24 w 30"/>
                  <a:gd name="T3" fmla="*/ 0 h 32"/>
                  <a:gd name="T4" fmla="*/ 30 w 30"/>
                  <a:gd name="T5" fmla="*/ 12 h 32"/>
                  <a:gd name="T6" fmla="*/ 24 w 30"/>
                  <a:gd name="T7" fmla="*/ 20 h 32"/>
                  <a:gd name="T8" fmla="*/ 16 w 30"/>
                  <a:gd name="T9" fmla="*/ 22 h 32"/>
                  <a:gd name="T10" fmla="*/ 6 w 30"/>
                  <a:gd name="T11" fmla="*/ 32 h 32"/>
                  <a:gd name="T12" fmla="*/ 0 w 30"/>
                  <a:gd name="T13" fmla="*/ 16 h 32"/>
                  <a:gd name="T14" fmla="*/ 10 w 30"/>
                  <a:gd name="T15" fmla="*/ 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32">
                    <a:moveTo>
                      <a:pt x="10" y="2"/>
                    </a:moveTo>
                    <a:lnTo>
                      <a:pt x="24" y="0"/>
                    </a:lnTo>
                    <a:lnTo>
                      <a:pt x="30" y="12"/>
                    </a:lnTo>
                    <a:lnTo>
                      <a:pt x="24" y="20"/>
                    </a:lnTo>
                    <a:lnTo>
                      <a:pt x="16" y="22"/>
                    </a:lnTo>
                    <a:lnTo>
                      <a:pt x="6" y="32"/>
                    </a:lnTo>
                    <a:lnTo>
                      <a:pt x="0" y="16"/>
                    </a:lnTo>
                    <a:lnTo>
                      <a:pt x="10" y="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76" name="Freeform 169">
                <a:extLst>
                  <a:ext uri="{FF2B5EF4-FFF2-40B4-BE49-F238E27FC236}">
                    <a16:creationId xmlns:a16="http://schemas.microsoft.com/office/drawing/2014/main" id="{1C42F06B-782E-4738-B892-9E8C83E89588}"/>
                  </a:ext>
                </a:extLst>
              </p:cNvPr>
              <p:cNvSpPr>
                <a:spLocks/>
              </p:cNvSpPr>
              <p:nvPr/>
            </p:nvSpPr>
            <p:spPr bwMode="gray">
              <a:xfrm>
                <a:off x="6596011" y="4585126"/>
                <a:ext cx="141992" cy="139426"/>
              </a:xfrm>
              <a:custGeom>
                <a:avLst/>
                <a:gdLst>
                  <a:gd name="T0" fmla="*/ 0 w 86"/>
                  <a:gd name="T1" fmla="*/ 84 h 84"/>
                  <a:gd name="T2" fmla="*/ 2 w 86"/>
                  <a:gd name="T3" fmla="*/ 64 h 84"/>
                  <a:gd name="T4" fmla="*/ 6 w 86"/>
                  <a:gd name="T5" fmla="*/ 52 h 84"/>
                  <a:gd name="T6" fmla="*/ 26 w 86"/>
                  <a:gd name="T7" fmla="*/ 34 h 84"/>
                  <a:gd name="T8" fmla="*/ 26 w 86"/>
                  <a:gd name="T9" fmla="*/ 30 h 84"/>
                  <a:gd name="T10" fmla="*/ 20 w 86"/>
                  <a:gd name="T11" fmla="*/ 28 h 84"/>
                  <a:gd name="T12" fmla="*/ 16 w 86"/>
                  <a:gd name="T13" fmla="*/ 4 h 84"/>
                  <a:gd name="T14" fmla="*/ 68 w 86"/>
                  <a:gd name="T15" fmla="*/ 0 h 84"/>
                  <a:gd name="T16" fmla="*/ 80 w 86"/>
                  <a:gd name="T17" fmla="*/ 20 h 84"/>
                  <a:gd name="T18" fmla="*/ 86 w 86"/>
                  <a:gd name="T19" fmla="*/ 42 h 84"/>
                  <a:gd name="T20" fmla="*/ 72 w 86"/>
                  <a:gd name="T21" fmla="*/ 58 h 84"/>
                  <a:gd name="T22" fmla="*/ 76 w 86"/>
                  <a:gd name="T23" fmla="*/ 72 h 84"/>
                  <a:gd name="T24" fmla="*/ 70 w 86"/>
                  <a:gd name="T25" fmla="*/ 84 h 84"/>
                  <a:gd name="T26" fmla="*/ 36 w 86"/>
                  <a:gd name="T27" fmla="*/ 82 h 84"/>
                  <a:gd name="T28" fmla="*/ 14 w 86"/>
                  <a:gd name="T29" fmla="*/ 82 h 84"/>
                  <a:gd name="T30" fmla="*/ 0 w 86"/>
                  <a:gd name="T3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6" h="84">
                    <a:moveTo>
                      <a:pt x="0" y="84"/>
                    </a:moveTo>
                    <a:lnTo>
                      <a:pt x="2" y="64"/>
                    </a:lnTo>
                    <a:lnTo>
                      <a:pt x="6" y="52"/>
                    </a:lnTo>
                    <a:lnTo>
                      <a:pt x="26" y="34"/>
                    </a:lnTo>
                    <a:lnTo>
                      <a:pt x="26" y="30"/>
                    </a:lnTo>
                    <a:lnTo>
                      <a:pt x="20" y="28"/>
                    </a:lnTo>
                    <a:lnTo>
                      <a:pt x="16" y="4"/>
                    </a:lnTo>
                    <a:lnTo>
                      <a:pt x="68" y="0"/>
                    </a:lnTo>
                    <a:lnTo>
                      <a:pt x="80" y="20"/>
                    </a:lnTo>
                    <a:lnTo>
                      <a:pt x="86" y="42"/>
                    </a:lnTo>
                    <a:lnTo>
                      <a:pt x="72" y="58"/>
                    </a:lnTo>
                    <a:lnTo>
                      <a:pt x="76" y="72"/>
                    </a:lnTo>
                    <a:lnTo>
                      <a:pt x="70" y="84"/>
                    </a:lnTo>
                    <a:lnTo>
                      <a:pt x="36" y="82"/>
                    </a:lnTo>
                    <a:lnTo>
                      <a:pt x="14" y="82"/>
                    </a:lnTo>
                    <a:lnTo>
                      <a:pt x="0" y="8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77" name="Freeform 170">
                <a:extLst>
                  <a:ext uri="{FF2B5EF4-FFF2-40B4-BE49-F238E27FC236}">
                    <a16:creationId xmlns:a16="http://schemas.microsoft.com/office/drawing/2014/main" id="{75CA18AA-EAAB-4279-949A-15988C167180}"/>
                  </a:ext>
                </a:extLst>
              </p:cNvPr>
              <p:cNvSpPr>
                <a:spLocks/>
              </p:cNvSpPr>
              <p:nvPr/>
            </p:nvSpPr>
            <p:spPr bwMode="gray">
              <a:xfrm>
                <a:off x="6137013" y="4847379"/>
                <a:ext cx="346724" cy="338605"/>
              </a:xfrm>
              <a:custGeom>
                <a:avLst/>
                <a:gdLst>
                  <a:gd name="T0" fmla="*/ 0 w 210"/>
                  <a:gd name="T1" fmla="*/ 186 h 204"/>
                  <a:gd name="T2" fmla="*/ 0 w 210"/>
                  <a:gd name="T3" fmla="*/ 162 h 204"/>
                  <a:gd name="T4" fmla="*/ 8 w 210"/>
                  <a:gd name="T5" fmla="*/ 126 h 204"/>
                  <a:gd name="T6" fmla="*/ 28 w 210"/>
                  <a:gd name="T7" fmla="*/ 94 h 204"/>
                  <a:gd name="T8" fmla="*/ 28 w 210"/>
                  <a:gd name="T9" fmla="*/ 78 h 204"/>
                  <a:gd name="T10" fmla="*/ 16 w 210"/>
                  <a:gd name="T11" fmla="*/ 52 h 204"/>
                  <a:gd name="T12" fmla="*/ 20 w 210"/>
                  <a:gd name="T13" fmla="*/ 38 h 204"/>
                  <a:gd name="T14" fmla="*/ 0 w 210"/>
                  <a:gd name="T15" fmla="*/ 2 h 204"/>
                  <a:gd name="T16" fmla="*/ 10 w 210"/>
                  <a:gd name="T17" fmla="*/ 0 h 204"/>
                  <a:gd name="T18" fmla="*/ 72 w 210"/>
                  <a:gd name="T19" fmla="*/ 0 h 204"/>
                  <a:gd name="T20" fmla="*/ 76 w 210"/>
                  <a:gd name="T21" fmla="*/ 14 h 204"/>
                  <a:gd name="T22" fmla="*/ 86 w 210"/>
                  <a:gd name="T23" fmla="*/ 32 h 204"/>
                  <a:gd name="T24" fmla="*/ 116 w 210"/>
                  <a:gd name="T25" fmla="*/ 34 h 204"/>
                  <a:gd name="T26" fmla="*/ 126 w 210"/>
                  <a:gd name="T27" fmla="*/ 18 h 204"/>
                  <a:gd name="T28" fmla="*/ 152 w 210"/>
                  <a:gd name="T29" fmla="*/ 24 h 204"/>
                  <a:gd name="T30" fmla="*/ 154 w 210"/>
                  <a:gd name="T31" fmla="*/ 64 h 204"/>
                  <a:gd name="T32" fmla="*/ 164 w 210"/>
                  <a:gd name="T33" fmla="*/ 70 h 204"/>
                  <a:gd name="T34" fmla="*/ 162 w 210"/>
                  <a:gd name="T35" fmla="*/ 82 h 204"/>
                  <a:gd name="T36" fmla="*/ 188 w 210"/>
                  <a:gd name="T37" fmla="*/ 82 h 204"/>
                  <a:gd name="T38" fmla="*/ 188 w 210"/>
                  <a:gd name="T39" fmla="*/ 116 h 204"/>
                  <a:gd name="T40" fmla="*/ 158 w 210"/>
                  <a:gd name="T41" fmla="*/ 116 h 204"/>
                  <a:gd name="T42" fmla="*/ 160 w 210"/>
                  <a:gd name="T43" fmla="*/ 168 h 204"/>
                  <a:gd name="T44" fmla="*/ 178 w 210"/>
                  <a:gd name="T45" fmla="*/ 188 h 204"/>
                  <a:gd name="T46" fmla="*/ 204 w 210"/>
                  <a:gd name="T47" fmla="*/ 190 h 204"/>
                  <a:gd name="T48" fmla="*/ 210 w 210"/>
                  <a:gd name="T49" fmla="*/ 196 h 204"/>
                  <a:gd name="T50" fmla="*/ 204 w 210"/>
                  <a:gd name="T51" fmla="*/ 196 h 204"/>
                  <a:gd name="T52" fmla="*/ 182 w 210"/>
                  <a:gd name="T53" fmla="*/ 204 h 204"/>
                  <a:gd name="T54" fmla="*/ 176 w 210"/>
                  <a:gd name="T55" fmla="*/ 196 h 204"/>
                  <a:gd name="T56" fmla="*/ 142 w 210"/>
                  <a:gd name="T57" fmla="*/ 200 h 204"/>
                  <a:gd name="T58" fmla="*/ 134 w 210"/>
                  <a:gd name="T59" fmla="*/ 194 h 204"/>
                  <a:gd name="T60" fmla="*/ 106 w 210"/>
                  <a:gd name="T61" fmla="*/ 192 h 204"/>
                  <a:gd name="T62" fmla="*/ 98 w 210"/>
                  <a:gd name="T63" fmla="*/ 186 h 204"/>
                  <a:gd name="T64" fmla="*/ 0 w 210"/>
                  <a:gd name="T65" fmla="*/ 186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0" h="204">
                    <a:moveTo>
                      <a:pt x="0" y="186"/>
                    </a:moveTo>
                    <a:lnTo>
                      <a:pt x="0" y="162"/>
                    </a:lnTo>
                    <a:lnTo>
                      <a:pt x="8" y="126"/>
                    </a:lnTo>
                    <a:lnTo>
                      <a:pt x="28" y="94"/>
                    </a:lnTo>
                    <a:lnTo>
                      <a:pt x="28" y="78"/>
                    </a:lnTo>
                    <a:lnTo>
                      <a:pt x="16" y="52"/>
                    </a:lnTo>
                    <a:lnTo>
                      <a:pt x="20" y="38"/>
                    </a:lnTo>
                    <a:lnTo>
                      <a:pt x="0" y="2"/>
                    </a:lnTo>
                    <a:lnTo>
                      <a:pt x="10" y="0"/>
                    </a:lnTo>
                    <a:lnTo>
                      <a:pt x="72" y="0"/>
                    </a:lnTo>
                    <a:lnTo>
                      <a:pt x="76" y="14"/>
                    </a:lnTo>
                    <a:lnTo>
                      <a:pt x="86" y="32"/>
                    </a:lnTo>
                    <a:lnTo>
                      <a:pt x="116" y="34"/>
                    </a:lnTo>
                    <a:lnTo>
                      <a:pt x="126" y="18"/>
                    </a:lnTo>
                    <a:lnTo>
                      <a:pt x="152" y="24"/>
                    </a:lnTo>
                    <a:lnTo>
                      <a:pt x="154" y="64"/>
                    </a:lnTo>
                    <a:lnTo>
                      <a:pt x="164" y="70"/>
                    </a:lnTo>
                    <a:lnTo>
                      <a:pt x="162" y="82"/>
                    </a:lnTo>
                    <a:lnTo>
                      <a:pt x="188" y="82"/>
                    </a:lnTo>
                    <a:lnTo>
                      <a:pt x="188" y="116"/>
                    </a:lnTo>
                    <a:lnTo>
                      <a:pt x="158" y="116"/>
                    </a:lnTo>
                    <a:lnTo>
                      <a:pt x="160" y="168"/>
                    </a:lnTo>
                    <a:lnTo>
                      <a:pt x="178" y="188"/>
                    </a:lnTo>
                    <a:lnTo>
                      <a:pt x="204" y="190"/>
                    </a:lnTo>
                    <a:lnTo>
                      <a:pt x="210" y="196"/>
                    </a:lnTo>
                    <a:lnTo>
                      <a:pt x="204" y="196"/>
                    </a:lnTo>
                    <a:lnTo>
                      <a:pt x="182" y="204"/>
                    </a:lnTo>
                    <a:lnTo>
                      <a:pt x="176" y="196"/>
                    </a:lnTo>
                    <a:lnTo>
                      <a:pt x="142" y="200"/>
                    </a:lnTo>
                    <a:lnTo>
                      <a:pt x="134" y="194"/>
                    </a:lnTo>
                    <a:lnTo>
                      <a:pt x="106" y="192"/>
                    </a:lnTo>
                    <a:lnTo>
                      <a:pt x="98" y="186"/>
                    </a:lnTo>
                    <a:lnTo>
                      <a:pt x="0" y="18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78" name="Freeform 171">
                <a:extLst>
                  <a:ext uri="{FF2B5EF4-FFF2-40B4-BE49-F238E27FC236}">
                    <a16:creationId xmlns:a16="http://schemas.microsoft.com/office/drawing/2014/main" id="{96BBE507-5D14-4F29-A589-0FD28F5C050E}"/>
                  </a:ext>
                </a:extLst>
              </p:cNvPr>
              <p:cNvSpPr>
                <a:spLocks/>
              </p:cNvSpPr>
              <p:nvPr/>
            </p:nvSpPr>
            <p:spPr bwMode="gray">
              <a:xfrm>
                <a:off x="6146918" y="4551930"/>
                <a:ext cx="492019" cy="497949"/>
              </a:xfrm>
              <a:custGeom>
                <a:avLst/>
                <a:gdLst>
                  <a:gd name="T0" fmla="*/ 0 w 298"/>
                  <a:gd name="T1" fmla="*/ 176 h 300"/>
                  <a:gd name="T2" fmla="*/ 6 w 298"/>
                  <a:gd name="T3" fmla="*/ 162 h 300"/>
                  <a:gd name="T4" fmla="*/ 14 w 298"/>
                  <a:gd name="T5" fmla="*/ 160 h 300"/>
                  <a:gd name="T6" fmla="*/ 34 w 298"/>
                  <a:gd name="T7" fmla="*/ 156 h 300"/>
                  <a:gd name="T8" fmla="*/ 60 w 298"/>
                  <a:gd name="T9" fmla="*/ 144 h 300"/>
                  <a:gd name="T10" fmla="*/ 64 w 298"/>
                  <a:gd name="T11" fmla="*/ 112 h 300"/>
                  <a:gd name="T12" fmla="*/ 88 w 298"/>
                  <a:gd name="T13" fmla="*/ 74 h 300"/>
                  <a:gd name="T14" fmla="*/ 94 w 298"/>
                  <a:gd name="T15" fmla="*/ 42 h 300"/>
                  <a:gd name="T16" fmla="*/ 96 w 298"/>
                  <a:gd name="T17" fmla="*/ 30 h 300"/>
                  <a:gd name="T18" fmla="*/ 98 w 298"/>
                  <a:gd name="T19" fmla="*/ 16 h 300"/>
                  <a:gd name="T20" fmla="*/ 112 w 298"/>
                  <a:gd name="T21" fmla="*/ 0 h 300"/>
                  <a:gd name="T22" fmla="*/ 126 w 298"/>
                  <a:gd name="T23" fmla="*/ 14 h 300"/>
                  <a:gd name="T24" fmla="*/ 138 w 298"/>
                  <a:gd name="T25" fmla="*/ 18 h 300"/>
                  <a:gd name="T26" fmla="*/ 160 w 298"/>
                  <a:gd name="T27" fmla="*/ 20 h 300"/>
                  <a:gd name="T28" fmla="*/ 172 w 298"/>
                  <a:gd name="T29" fmla="*/ 12 h 300"/>
                  <a:gd name="T30" fmla="*/ 206 w 298"/>
                  <a:gd name="T31" fmla="*/ 2 h 300"/>
                  <a:gd name="T32" fmla="*/ 236 w 298"/>
                  <a:gd name="T33" fmla="*/ 4 h 300"/>
                  <a:gd name="T34" fmla="*/ 244 w 298"/>
                  <a:gd name="T35" fmla="*/ 14 h 300"/>
                  <a:gd name="T36" fmla="*/ 272 w 298"/>
                  <a:gd name="T37" fmla="*/ 12 h 300"/>
                  <a:gd name="T38" fmla="*/ 288 w 298"/>
                  <a:gd name="T39" fmla="*/ 24 h 300"/>
                  <a:gd name="T40" fmla="*/ 292 w 298"/>
                  <a:gd name="T41" fmla="*/ 48 h 300"/>
                  <a:gd name="T42" fmla="*/ 298 w 298"/>
                  <a:gd name="T43" fmla="*/ 50 h 300"/>
                  <a:gd name="T44" fmla="*/ 298 w 298"/>
                  <a:gd name="T45" fmla="*/ 54 h 300"/>
                  <a:gd name="T46" fmla="*/ 278 w 298"/>
                  <a:gd name="T47" fmla="*/ 72 h 300"/>
                  <a:gd name="T48" fmla="*/ 274 w 298"/>
                  <a:gd name="T49" fmla="*/ 84 h 300"/>
                  <a:gd name="T50" fmla="*/ 272 w 298"/>
                  <a:gd name="T51" fmla="*/ 104 h 300"/>
                  <a:gd name="T52" fmla="*/ 262 w 298"/>
                  <a:gd name="T53" fmla="*/ 118 h 300"/>
                  <a:gd name="T54" fmla="*/ 268 w 298"/>
                  <a:gd name="T55" fmla="*/ 134 h 300"/>
                  <a:gd name="T56" fmla="*/ 270 w 298"/>
                  <a:gd name="T57" fmla="*/ 158 h 300"/>
                  <a:gd name="T58" fmla="*/ 270 w 298"/>
                  <a:gd name="T59" fmla="*/ 172 h 300"/>
                  <a:gd name="T60" fmla="*/ 272 w 298"/>
                  <a:gd name="T61" fmla="*/ 184 h 300"/>
                  <a:gd name="T62" fmla="*/ 286 w 298"/>
                  <a:gd name="T63" fmla="*/ 202 h 300"/>
                  <a:gd name="T64" fmla="*/ 288 w 298"/>
                  <a:gd name="T65" fmla="*/ 218 h 300"/>
                  <a:gd name="T66" fmla="*/ 270 w 298"/>
                  <a:gd name="T67" fmla="*/ 218 h 300"/>
                  <a:gd name="T68" fmla="*/ 254 w 298"/>
                  <a:gd name="T69" fmla="*/ 226 h 300"/>
                  <a:gd name="T70" fmla="*/ 256 w 298"/>
                  <a:gd name="T71" fmla="*/ 244 h 300"/>
                  <a:gd name="T72" fmla="*/ 252 w 298"/>
                  <a:gd name="T73" fmla="*/ 266 h 300"/>
                  <a:gd name="T74" fmla="*/ 262 w 298"/>
                  <a:gd name="T75" fmla="*/ 276 h 300"/>
                  <a:gd name="T76" fmla="*/ 276 w 298"/>
                  <a:gd name="T77" fmla="*/ 282 h 300"/>
                  <a:gd name="T78" fmla="*/ 276 w 298"/>
                  <a:gd name="T79" fmla="*/ 300 h 300"/>
                  <a:gd name="T80" fmla="*/ 262 w 298"/>
                  <a:gd name="T81" fmla="*/ 300 h 300"/>
                  <a:gd name="T82" fmla="*/ 254 w 298"/>
                  <a:gd name="T83" fmla="*/ 288 h 300"/>
                  <a:gd name="T84" fmla="*/ 242 w 298"/>
                  <a:gd name="T85" fmla="*/ 282 h 300"/>
                  <a:gd name="T86" fmla="*/ 234 w 298"/>
                  <a:gd name="T87" fmla="*/ 270 h 300"/>
                  <a:gd name="T88" fmla="*/ 220 w 298"/>
                  <a:gd name="T89" fmla="*/ 276 h 300"/>
                  <a:gd name="T90" fmla="*/ 182 w 298"/>
                  <a:gd name="T91" fmla="*/ 260 h 300"/>
                  <a:gd name="T92" fmla="*/ 156 w 298"/>
                  <a:gd name="T93" fmla="*/ 260 h 300"/>
                  <a:gd name="T94" fmla="*/ 158 w 298"/>
                  <a:gd name="T95" fmla="*/ 248 h 300"/>
                  <a:gd name="T96" fmla="*/ 148 w 298"/>
                  <a:gd name="T97" fmla="*/ 242 h 300"/>
                  <a:gd name="T98" fmla="*/ 146 w 298"/>
                  <a:gd name="T99" fmla="*/ 202 h 300"/>
                  <a:gd name="T100" fmla="*/ 120 w 298"/>
                  <a:gd name="T101" fmla="*/ 196 h 300"/>
                  <a:gd name="T102" fmla="*/ 110 w 298"/>
                  <a:gd name="T103" fmla="*/ 212 h 300"/>
                  <a:gd name="T104" fmla="*/ 80 w 298"/>
                  <a:gd name="T105" fmla="*/ 210 h 300"/>
                  <a:gd name="T106" fmla="*/ 70 w 298"/>
                  <a:gd name="T107" fmla="*/ 192 h 300"/>
                  <a:gd name="T108" fmla="*/ 66 w 298"/>
                  <a:gd name="T109" fmla="*/ 178 h 300"/>
                  <a:gd name="T110" fmla="*/ 6 w 298"/>
                  <a:gd name="T111" fmla="*/ 178 h 300"/>
                  <a:gd name="T112" fmla="*/ 0 w 298"/>
                  <a:gd name="T113" fmla="*/ 176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98" h="300">
                    <a:moveTo>
                      <a:pt x="0" y="176"/>
                    </a:moveTo>
                    <a:lnTo>
                      <a:pt x="6" y="162"/>
                    </a:lnTo>
                    <a:lnTo>
                      <a:pt x="14" y="160"/>
                    </a:lnTo>
                    <a:lnTo>
                      <a:pt x="34" y="156"/>
                    </a:lnTo>
                    <a:lnTo>
                      <a:pt x="60" y="144"/>
                    </a:lnTo>
                    <a:lnTo>
                      <a:pt x="64" y="112"/>
                    </a:lnTo>
                    <a:lnTo>
                      <a:pt x="88" y="74"/>
                    </a:lnTo>
                    <a:lnTo>
                      <a:pt x="94" y="42"/>
                    </a:lnTo>
                    <a:lnTo>
                      <a:pt x="96" y="30"/>
                    </a:lnTo>
                    <a:lnTo>
                      <a:pt x="98" y="16"/>
                    </a:lnTo>
                    <a:lnTo>
                      <a:pt x="112" y="0"/>
                    </a:lnTo>
                    <a:lnTo>
                      <a:pt x="126" y="14"/>
                    </a:lnTo>
                    <a:lnTo>
                      <a:pt x="138" y="18"/>
                    </a:lnTo>
                    <a:lnTo>
                      <a:pt x="160" y="20"/>
                    </a:lnTo>
                    <a:lnTo>
                      <a:pt x="172" y="12"/>
                    </a:lnTo>
                    <a:lnTo>
                      <a:pt x="206" y="2"/>
                    </a:lnTo>
                    <a:lnTo>
                      <a:pt x="236" y="4"/>
                    </a:lnTo>
                    <a:lnTo>
                      <a:pt x="244" y="14"/>
                    </a:lnTo>
                    <a:lnTo>
                      <a:pt x="272" y="12"/>
                    </a:lnTo>
                    <a:lnTo>
                      <a:pt x="288" y="24"/>
                    </a:lnTo>
                    <a:lnTo>
                      <a:pt x="292" y="48"/>
                    </a:lnTo>
                    <a:lnTo>
                      <a:pt x="298" y="50"/>
                    </a:lnTo>
                    <a:lnTo>
                      <a:pt x="298" y="54"/>
                    </a:lnTo>
                    <a:lnTo>
                      <a:pt x="278" y="72"/>
                    </a:lnTo>
                    <a:lnTo>
                      <a:pt x="274" y="84"/>
                    </a:lnTo>
                    <a:lnTo>
                      <a:pt x="272" y="104"/>
                    </a:lnTo>
                    <a:lnTo>
                      <a:pt x="262" y="118"/>
                    </a:lnTo>
                    <a:lnTo>
                      <a:pt x="268" y="134"/>
                    </a:lnTo>
                    <a:lnTo>
                      <a:pt x="270" y="158"/>
                    </a:lnTo>
                    <a:lnTo>
                      <a:pt x="270" y="172"/>
                    </a:lnTo>
                    <a:lnTo>
                      <a:pt x="272" y="184"/>
                    </a:lnTo>
                    <a:lnTo>
                      <a:pt x="286" y="202"/>
                    </a:lnTo>
                    <a:lnTo>
                      <a:pt x="288" y="218"/>
                    </a:lnTo>
                    <a:lnTo>
                      <a:pt x="270" y="218"/>
                    </a:lnTo>
                    <a:lnTo>
                      <a:pt x="254" y="226"/>
                    </a:lnTo>
                    <a:lnTo>
                      <a:pt x="256" y="244"/>
                    </a:lnTo>
                    <a:lnTo>
                      <a:pt x="252" y="266"/>
                    </a:lnTo>
                    <a:lnTo>
                      <a:pt x="262" y="276"/>
                    </a:lnTo>
                    <a:lnTo>
                      <a:pt x="276" y="282"/>
                    </a:lnTo>
                    <a:lnTo>
                      <a:pt x="276" y="300"/>
                    </a:lnTo>
                    <a:lnTo>
                      <a:pt x="262" y="300"/>
                    </a:lnTo>
                    <a:lnTo>
                      <a:pt x="254" y="288"/>
                    </a:lnTo>
                    <a:lnTo>
                      <a:pt x="242" y="282"/>
                    </a:lnTo>
                    <a:lnTo>
                      <a:pt x="234" y="270"/>
                    </a:lnTo>
                    <a:lnTo>
                      <a:pt x="220" y="276"/>
                    </a:lnTo>
                    <a:lnTo>
                      <a:pt x="182" y="260"/>
                    </a:lnTo>
                    <a:lnTo>
                      <a:pt x="156" y="260"/>
                    </a:lnTo>
                    <a:lnTo>
                      <a:pt x="158" y="248"/>
                    </a:lnTo>
                    <a:lnTo>
                      <a:pt x="148" y="242"/>
                    </a:lnTo>
                    <a:lnTo>
                      <a:pt x="146" y="202"/>
                    </a:lnTo>
                    <a:lnTo>
                      <a:pt x="120" y="196"/>
                    </a:lnTo>
                    <a:lnTo>
                      <a:pt x="110" y="212"/>
                    </a:lnTo>
                    <a:lnTo>
                      <a:pt x="80" y="210"/>
                    </a:lnTo>
                    <a:lnTo>
                      <a:pt x="70" y="192"/>
                    </a:lnTo>
                    <a:lnTo>
                      <a:pt x="66" y="178"/>
                    </a:lnTo>
                    <a:lnTo>
                      <a:pt x="6" y="178"/>
                    </a:lnTo>
                    <a:lnTo>
                      <a:pt x="0" y="17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79" name="Freeform 172">
                <a:extLst>
                  <a:ext uri="{FF2B5EF4-FFF2-40B4-BE49-F238E27FC236}">
                    <a16:creationId xmlns:a16="http://schemas.microsoft.com/office/drawing/2014/main" id="{235D61A2-F09C-4DB7-A058-C539EE9326AA}"/>
                  </a:ext>
                </a:extLst>
              </p:cNvPr>
              <p:cNvSpPr>
                <a:spLocks/>
              </p:cNvSpPr>
              <p:nvPr/>
            </p:nvSpPr>
            <p:spPr bwMode="gray">
              <a:xfrm>
                <a:off x="6137013" y="4810863"/>
                <a:ext cx="19813" cy="33197"/>
              </a:xfrm>
              <a:custGeom>
                <a:avLst/>
                <a:gdLst>
                  <a:gd name="T0" fmla="*/ 0 w 12"/>
                  <a:gd name="T1" fmla="*/ 4 h 20"/>
                  <a:gd name="T2" fmla="*/ 10 w 12"/>
                  <a:gd name="T3" fmla="*/ 0 h 20"/>
                  <a:gd name="T4" fmla="*/ 12 w 12"/>
                  <a:gd name="T5" fmla="*/ 4 h 20"/>
                  <a:gd name="T6" fmla="*/ 10 w 12"/>
                  <a:gd name="T7" fmla="*/ 12 h 20"/>
                  <a:gd name="T8" fmla="*/ 0 w 12"/>
                  <a:gd name="T9" fmla="*/ 20 h 20"/>
                  <a:gd name="T10" fmla="*/ 0 w 12"/>
                  <a:gd name="T11" fmla="*/ 4 h 20"/>
                </a:gdLst>
                <a:ahLst/>
                <a:cxnLst>
                  <a:cxn ang="0">
                    <a:pos x="T0" y="T1"/>
                  </a:cxn>
                  <a:cxn ang="0">
                    <a:pos x="T2" y="T3"/>
                  </a:cxn>
                  <a:cxn ang="0">
                    <a:pos x="T4" y="T5"/>
                  </a:cxn>
                  <a:cxn ang="0">
                    <a:pos x="T6" y="T7"/>
                  </a:cxn>
                  <a:cxn ang="0">
                    <a:pos x="T8" y="T9"/>
                  </a:cxn>
                  <a:cxn ang="0">
                    <a:pos x="T10" y="T11"/>
                  </a:cxn>
                </a:cxnLst>
                <a:rect l="0" t="0" r="r" b="b"/>
                <a:pathLst>
                  <a:path w="12" h="20">
                    <a:moveTo>
                      <a:pt x="0" y="4"/>
                    </a:moveTo>
                    <a:lnTo>
                      <a:pt x="10" y="0"/>
                    </a:lnTo>
                    <a:lnTo>
                      <a:pt x="12" y="4"/>
                    </a:lnTo>
                    <a:lnTo>
                      <a:pt x="10" y="12"/>
                    </a:lnTo>
                    <a:lnTo>
                      <a:pt x="0" y="20"/>
                    </a:lnTo>
                    <a:lnTo>
                      <a:pt x="0" y="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80" name="Freeform 173">
                <a:extLst>
                  <a:ext uri="{FF2B5EF4-FFF2-40B4-BE49-F238E27FC236}">
                    <a16:creationId xmlns:a16="http://schemas.microsoft.com/office/drawing/2014/main" id="{3738DF10-2AAE-4BB7-8DE0-DA139D5A8686}"/>
                  </a:ext>
                </a:extLst>
              </p:cNvPr>
              <p:cNvSpPr>
                <a:spLocks/>
              </p:cNvSpPr>
              <p:nvPr/>
            </p:nvSpPr>
            <p:spPr bwMode="gray">
              <a:xfrm>
                <a:off x="6112246" y="4598405"/>
                <a:ext cx="193176" cy="219097"/>
              </a:xfrm>
              <a:custGeom>
                <a:avLst/>
                <a:gdLst>
                  <a:gd name="T0" fmla="*/ 0 w 117"/>
                  <a:gd name="T1" fmla="*/ 116 h 132"/>
                  <a:gd name="T2" fmla="*/ 15 w 117"/>
                  <a:gd name="T3" fmla="*/ 116 h 132"/>
                  <a:gd name="T4" fmla="*/ 15 w 117"/>
                  <a:gd name="T5" fmla="*/ 106 h 132"/>
                  <a:gd name="T6" fmla="*/ 7 w 117"/>
                  <a:gd name="T7" fmla="*/ 106 h 132"/>
                  <a:gd name="T8" fmla="*/ 7 w 117"/>
                  <a:gd name="T9" fmla="*/ 94 h 132"/>
                  <a:gd name="T10" fmla="*/ 15 w 117"/>
                  <a:gd name="T11" fmla="*/ 94 h 132"/>
                  <a:gd name="T12" fmla="*/ 25 w 117"/>
                  <a:gd name="T13" fmla="*/ 86 h 132"/>
                  <a:gd name="T14" fmla="*/ 31 w 117"/>
                  <a:gd name="T15" fmla="*/ 94 h 132"/>
                  <a:gd name="T16" fmla="*/ 49 w 117"/>
                  <a:gd name="T17" fmla="*/ 96 h 132"/>
                  <a:gd name="T18" fmla="*/ 53 w 117"/>
                  <a:gd name="T19" fmla="*/ 88 h 132"/>
                  <a:gd name="T20" fmla="*/ 53 w 117"/>
                  <a:gd name="T21" fmla="*/ 68 h 132"/>
                  <a:gd name="T22" fmla="*/ 45 w 117"/>
                  <a:gd name="T23" fmla="*/ 62 h 132"/>
                  <a:gd name="T24" fmla="*/ 45 w 117"/>
                  <a:gd name="T25" fmla="*/ 50 h 132"/>
                  <a:gd name="T26" fmla="*/ 53 w 117"/>
                  <a:gd name="T27" fmla="*/ 44 h 132"/>
                  <a:gd name="T28" fmla="*/ 49 w 117"/>
                  <a:gd name="T29" fmla="*/ 34 h 132"/>
                  <a:gd name="T30" fmla="*/ 35 w 117"/>
                  <a:gd name="T31" fmla="*/ 36 h 132"/>
                  <a:gd name="T32" fmla="*/ 31 w 117"/>
                  <a:gd name="T33" fmla="*/ 20 h 132"/>
                  <a:gd name="T34" fmla="*/ 59 w 117"/>
                  <a:gd name="T35" fmla="*/ 20 h 132"/>
                  <a:gd name="T36" fmla="*/ 59 w 117"/>
                  <a:gd name="T37" fmla="*/ 28 h 132"/>
                  <a:gd name="T38" fmla="*/ 77 w 117"/>
                  <a:gd name="T39" fmla="*/ 26 h 132"/>
                  <a:gd name="T40" fmla="*/ 79 w 117"/>
                  <a:gd name="T41" fmla="*/ 12 h 132"/>
                  <a:gd name="T42" fmla="*/ 87 w 117"/>
                  <a:gd name="T43" fmla="*/ 0 h 132"/>
                  <a:gd name="T44" fmla="*/ 117 w 117"/>
                  <a:gd name="T45" fmla="*/ 2 h 132"/>
                  <a:gd name="T46" fmla="*/ 109 w 117"/>
                  <a:gd name="T47" fmla="*/ 46 h 132"/>
                  <a:gd name="T48" fmla="*/ 85 w 117"/>
                  <a:gd name="T49" fmla="*/ 84 h 132"/>
                  <a:gd name="T50" fmla="*/ 81 w 117"/>
                  <a:gd name="T51" fmla="*/ 116 h 132"/>
                  <a:gd name="T52" fmla="*/ 55 w 117"/>
                  <a:gd name="T53" fmla="*/ 128 h 132"/>
                  <a:gd name="T54" fmla="*/ 27 w 117"/>
                  <a:gd name="T55" fmla="*/ 132 h 132"/>
                  <a:gd name="T56" fmla="*/ 25 w 117"/>
                  <a:gd name="T57" fmla="*/ 128 h 132"/>
                  <a:gd name="T58" fmla="*/ 15 w 117"/>
                  <a:gd name="T59" fmla="*/ 132 h 132"/>
                  <a:gd name="T60" fmla="*/ 0 w 117"/>
                  <a:gd name="T61" fmla="*/ 116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7" h="132">
                    <a:moveTo>
                      <a:pt x="0" y="116"/>
                    </a:moveTo>
                    <a:lnTo>
                      <a:pt x="15" y="116"/>
                    </a:lnTo>
                    <a:lnTo>
                      <a:pt x="15" y="106"/>
                    </a:lnTo>
                    <a:lnTo>
                      <a:pt x="7" y="106"/>
                    </a:lnTo>
                    <a:lnTo>
                      <a:pt x="7" y="94"/>
                    </a:lnTo>
                    <a:lnTo>
                      <a:pt x="15" y="94"/>
                    </a:lnTo>
                    <a:lnTo>
                      <a:pt x="25" y="86"/>
                    </a:lnTo>
                    <a:lnTo>
                      <a:pt x="31" y="94"/>
                    </a:lnTo>
                    <a:lnTo>
                      <a:pt x="49" y="96"/>
                    </a:lnTo>
                    <a:lnTo>
                      <a:pt x="53" y="88"/>
                    </a:lnTo>
                    <a:lnTo>
                      <a:pt x="53" y="68"/>
                    </a:lnTo>
                    <a:lnTo>
                      <a:pt x="45" y="62"/>
                    </a:lnTo>
                    <a:lnTo>
                      <a:pt x="45" y="50"/>
                    </a:lnTo>
                    <a:lnTo>
                      <a:pt x="53" y="44"/>
                    </a:lnTo>
                    <a:lnTo>
                      <a:pt x="49" y="34"/>
                    </a:lnTo>
                    <a:lnTo>
                      <a:pt x="35" y="36"/>
                    </a:lnTo>
                    <a:lnTo>
                      <a:pt x="31" y="20"/>
                    </a:lnTo>
                    <a:lnTo>
                      <a:pt x="59" y="20"/>
                    </a:lnTo>
                    <a:lnTo>
                      <a:pt x="59" y="28"/>
                    </a:lnTo>
                    <a:lnTo>
                      <a:pt x="77" y="26"/>
                    </a:lnTo>
                    <a:lnTo>
                      <a:pt x="79" y="12"/>
                    </a:lnTo>
                    <a:lnTo>
                      <a:pt x="87" y="0"/>
                    </a:lnTo>
                    <a:lnTo>
                      <a:pt x="117" y="2"/>
                    </a:lnTo>
                    <a:lnTo>
                      <a:pt x="109" y="46"/>
                    </a:lnTo>
                    <a:lnTo>
                      <a:pt x="85" y="84"/>
                    </a:lnTo>
                    <a:lnTo>
                      <a:pt x="81" y="116"/>
                    </a:lnTo>
                    <a:lnTo>
                      <a:pt x="55" y="128"/>
                    </a:lnTo>
                    <a:lnTo>
                      <a:pt x="27" y="132"/>
                    </a:lnTo>
                    <a:lnTo>
                      <a:pt x="25" y="128"/>
                    </a:lnTo>
                    <a:lnTo>
                      <a:pt x="15" y="132"/>
                    </a:lnTo>
                    <a:lnTo>
                      <a:pt x="0" y="11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81" name="Freeform 174">
                <a:extLst>
                  <a:ext uri="{FF2B5EF4-FFF2-40B4-BE49-F238E27FC236}">
                    <a16:creationId xmlns:a16="http://schemas.microsoft.com/office/drawing/2014/main" id="{AC15D2DD-D09B-4191-92DB-DAD76AD73F01}"/>
                  </a:ext>
                </a:extLst>
              </p:cNvPr>
              <p:cNvSpPr>
                <a:spLocks/>
              </p:cNvSpPr>
              <p:nvPr/>
            </p:nvSpPr>
            <p:spPr bwMode="gray">
              <a:xfrm>
                <a:off x="6708283" y="4571848"/>
                <a:ext cx="208036" cy="245655"/>
              </a:xfrm>
              <a:custGeom>
                <a:avLst/>
                <a:gdLst>
                  <a:gd name="T0" fmla="*/ 8 w 126"/>
                  <a:gd name="T1" fmla="*/ 0 h 148"/>
                  <a:gd name="T2" fmla="*/ 28 w 126"/>
                  <a:gd name="T3" fmla="*/ 0 h 148"/>
                  <a:gd name="T4" fmla="*/ 64 w 126"/>
                  <a:gd name="T5" fmla="*/ 16 h 148"/>
                  <a:gd name="T6" fmla="*/ 88 w 126"/>
                  <a:gd name="T7" fmla="*/ 18 h 148"/>
                  <a:gd name="T8" fmla="*/ 108 w 126"/>
                  <a:gd name="T9" fmla="*/ 6 h 148"/>
                  <a:gd name="T10" fmla="*/ 114 w 126"/>
                  <a:gd name="T11" fmla="*/ 14 h 148"/>
                  <a:gd name="T12" fmla="*/ 126 w 126"/>
                  <a:gd name="T13" fmla="*/ 10 h 148"/>
                  <a:gd name="T14" fmla="*/ 126 w 126"/>
                  <a:gd name="T15" fmla="*/ 20 h 148"/>
                  <a:gd name="T16" fmla="*/ 110 w 126"/>
                  <a:gd name="T17" fmla="*/ 30 h 148"/>
                  <a:gd name="T18" fmla="*/ 112 w 126"/>
                  <a:gd name="T19" fmla="*/ 86 h 148"/>
                  <a:gd name="T20" fmla="*/ 122 w 126"/>
                  <a:gd name="T21" fmla="*/ 98 h 148"/>
                  <a:gd name="T22" fmla="*/ 112 w 126"/>
                  <a:gd name="T23" fmla="*/ 106 h 148"/>
                  <a:gd name="T24" fmla="*/ 100 w 126"/>
                  <a:gd name="T25" fmla="*/ 118 h 148"/>
                  <a:gd name="T26" fmla="*/ 92 w 126"/>
                  <a:gd name="T27" fmla="*/ 136 h 148"/>
                  <a:gd name="T28" fmla="*/ 86 w 126"/>
                  <a:gd name="T29" fmla="*/ 148 h 148"/>
                  <a:gd name="T30" fmla="*/ 62 w 126"/>
                  <a:gd name="T31" fmla="*/ 130 h 148"/>
                  <a:gd name="T32" fmla="*/ 58 w 126"/>
                  <a:gd name="T33" fmla="*/ 120 h 148"/>
                  <a:gd name="T34" fmla="*/ 6 w 126"/>
                  <a:gd name="T35" fmla="*/ 92 h 148"/>
                  <a:gd name="T36" fmla="*/ 2 w 126"/>
                  <a:gd name="T37" fmla="*/ 92 h 148"/>
                  <a:gd name="T38" fmla="*/ 6 w 126"/>
                  <a:gd name="T39" fmla="*/ 78 h 148"/>
                  <a:gd name="T40" fmla="*/ 4 w 126"/>
                  <a:gd name="T41" fmla="*/ 66 h 148"/>
                  <a:gd name="T42" fmla="*/ 18 w 126"/>
                  <a:gd name="T43" fmla="*/ 50 h 148"/>
                  <a:gd name="T44" fmla="*/ 12 w 126"/>
                  <a:gd name="T45" fmla="*/ 28 h 148"/>
                  <a:gd name="T46" fmla="*/ 0 w 126"/>
                  <a:gd name="T47" fmla="*/ 8 h 148"/>
                  <a:gd name="T48" fmla="*/ 8 w 126"/>
                  <a:gd name="T49"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6" h="148">
                    <a:moveTo>
                      <a:pt x="8" y="0"/>
                    </a:moveTo>
                    <a:lnTo>
                      <a:pt x="28" y="0"/>
                    </a:lnTo>
                    <a:lnTo>
                      <a:pt x="64" y="16"/>
                    </a:lnTo>
                    <a:lnTo>
                      <a:pt x="88" y="18"/>
                    </a:lnTo>
                    <a:lnTo>
                      <a:pt x="108" y="6"/>
                    </a:lnTo>
                    <a:lnTo>
                      <a:pt x="114" y="14"/>
                    </a:lnTo>
                    <a:lnTo>
                      <a:pt x="126" y="10"/>
                    </a:lnTo>
                    <a:lnTo>
                      <a:pt x="126" y="20"/>
                    </a:lnTo>
                    <a:lnTo>
                      <a:pt x="110" y="30"/>
                    </a:lnTo>
                    <a:lnTo>
                      <a:pt x="112" y="86"/>
                    </a:lnTo>
                    <a:lnTo>
                      <a:pt x="122" y="98"/>
                    </a:lnTo>
                    <a:lnTo>
                      <a:pt x="112" y="106"/>
                    </a:lnTo>
                    <a:lnTo>
                      <a:pt x="100" y="118"/>
                    </a:lnTo>
                    <a:lnTo>
                      <a:pt x="92" y="136"/>
                    </a:lnTo>
                    <a:lnTo>
                      <a:pt x="86" y="148"/>
                    </a:lnTo>
                    <a:lnTo>
                      <a:pt x="62" y="130"/>
                    </a:lnTo>
                    <a:lnTo>
                      <a:pt x="58" y="120"/>
                    </a:lnTo>
                    <a:lnTo>
                      <a:pt x="6" y="92"/>
                    </a:lnTo>
                    <a:lnTo>
                      <a:pt x="2" y="92"/>
                    </a:lnTo>
                    <a:lnTo>
                      <a:pt x="6" y="78"/>
                    </a:lnTo>
                    <a:lnTo>
                      <a:pt x="4" y="66"/>
                    </a:lnTo>
                    <a:lnTo>
                      <a:pt x="18" y="50"/>
                    </a:lnTo>
                    <a:lnTo>
                      <a:pt x="12" y="28"/>
                    </a:lnTo>
                    <a:lnTo>
                      <a:pt x="0" y="8"/>
                    </a:lnTo>
                    <a:lnTo>
                      <a:pt x="8"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82" name="Freeform 175">
                <a:extLst>
                  <a:ext uri="{FF2B5EF4-FFF2-40B4-BE49-F238E27FC236}">
                    <a16:creationId xmlns:a16="http://schemas.microsoft.com/office/drawing/2014/main" id="{404F451A-D8DF-493C-91E1-BBB935A53445}"/>
                  </a:ext>
                </a:extLst>
              </p:cNvPr>
              <p:cNvSpPr>
                <a:spLocks/>
              </p:cNvSpPr>
              <p:nvPr/>
            </p:nvSpPr>
            <p:spPr bwMode="gray">
              <a:xfrm>
                <a:off x="6052807" y="4631601"/>
                <a:ext cx="146946" cy="159344"/>
              </a:xfrm>
              <a:custGeom>
                <a:avLst/>
                <a:gdLst>
                  <a:gd name="T0" fmla="*/ 39 w 89"/>
                  <a:gd name="T1" fmla="*/ 0 h 96"/>
                  <a:gd name="T2" fmla="*/ 67 w 89"/>
                  <a:gd name="T3" fmla="*/ 0 h 96"/>
                  <a:gd name="T4" fmla="*/ 71 w 89"/>
                  <a:gd name="T5" fmla="*/ 16 h 96"/>
                  <a:gd name="T6" fmla="*/ 85 w 89"/>
                  <a:gd name="T7" fmla="*/ 14 h 96"/>
                  <a:gd name="T8" fmla="*/ 89 w 89"/>
                  <a:gd name="T9" fmla="*/ 24 h 96"/>
                  <a:gd name="T10" fmla="*/ 81 w 89"/>
                  <a:gd name="T11" fmla="*/ 30 h 96"/>
                  <a:gd name="T12" fmla="*/ 81 w 89"/>
                  <a:gd name="T13" fmla="*/ 42 h 96"/>
                  <a:gd name="T14" fmla="*/ 89 w 89"/>
                  <a:gd name="T15" fmla="*/ 48 h 96"/>
                  <a:gd name="T16" fmla="*/ 89 w 89"/>
                  <a:gd name="T17" fmla="*/ 68 h 96"/>
                  <a:gd name="T18" fmla="*/ 85 w 89"/>
                  <a:gd name="T19" fmla="*/ 76 h 96"/>
                  <a:gd name="T20" fmla="*/ 67 w 89"/>
                  <a:gd name="T21" fmla="*/ 74 h 96"/>
                  <a:gd name="T22" fmla="*/ 61 w 89"/>
                  <a:gd name="T23" fmla="*/ 66 h 96"/>
                  <a:gd name="T24" fmla="*/ 51 w 89"/>
                  <a:gd name="T25" fmla="*/ 74 h 96"/>
                  <a:gd name="T26" fmla="*/ 43 w 89"/>
                  <a:gd name="T27" fmla="*/ 74 h 96"/>
                  <a:gd name="T28" fmla="*/ 43 w 89"/>
                  <a:gd name="T29" fmla="*/ 86 h 96"/>
                  <a:gd name="T30" fmla="*/ 51 w 89"/>
                  <a:gd name="T31" fmla="*/ 86 h 96"/>
                  <a:gd name="T32" fmla="*/ 51 w 89"/>
                  <a:gd name="T33" fmla="*/ 96 h 96"/>
                  <a:gd name="T34" fmla="*/ 36 w 89"/>
                  <a:gd name="T35" fmla="*/ 96 h 96"/>
                  <a:gd name="T36" fmla="*/ 18 w 89"/>
                  <a:gd name="T37" fmla="*/ 82 h 96"/>
                  <a:gd name="T38" fmla="*/ 10 w 89"/>
                  <a:gd name="T39" fmla="*/ 68 h 96"/>
                  <a:gd name="T40" fmla="*/ 0 w 89"/>
                  <a:gd name="T41" fmla="*/ 48 h 96"/>
                  <a:gd name="T42" fmla="*/ 10 w 89"/>
                  <a:gd name="T43" fmla="*/ 32 h 96"/>
                  <a:gd name="T44" fmla="*/ 12 w 89"/>
                  <a:gd name="T45" fmla="*/ 24 h 96"/>
                  <a:gd name="T46" fmla="*/ 36 w 89"/>
                  <a:gd name="T47" fmla="*/ 22 h 96"/>
                  <a:gd name="T48" fmla="*/ 39 w 89"/>
                  <a:gd name="T49"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9" h="96">
                    <a:moveTo>
                      <a:pt x="39" y="0"/>
                    </a:moveTo>
                    <a:lnTo>
                      <a:pt x="67" y="0"/>
                    </a:lnTo>
                    <a:lnTo>
                      <a:pt x="71" y="16"/>
                    </a:lnTo>
                    <a:lnTo>
                      <a:pt x="85" y="14"/>
                    </a:lnTo>
                    <a:lnTo>
                      <a:pt x="89" y="24"/>
                    </a:lnTo>
                    <a:lnTo>
                      <a:pt x="81" y="30"/>
                    </a:lnTo>
                    <a:lnTo>
                      <a:pt x="81" y="42"/>
                    </a:lnTo>
                    <a:lnTo>
                      <a:pt x="89" y="48"/>
                    </a:lnTo>
                    <a:lnTo>
                      <a:pt x="89" y="68"/>
                    </a:lnTo>
                    <a:lnTo>
                      <a:pt x="85" y="76"/>
                    </a:lnTo>
                    <a:lnTo>
                      <a:pt x="67" y="74"/>
                    </a:lnTo>
                    <a:lnTo>
                      <a:pt x="61" y="66"/>
                    </a:lnTo>
                    <a:lnTo>
                      <a:pt x="51" y="74"/>
                    </a:lnTo>
                    <a:lnTo>
                      <a:pt x="43" y="74"/>
                    </a:lnTo>
                    <a:lnTo>
                      <a:pt x="43" y="86"/>
                    </a:lnTo>
                    <a:lnTo>
                      <a:pt x="51" y="86"/>
                    </a:lnTo>
                    <a:lnTo>
                      <a:pt x="51" y="96"/>
                    </a:lnTo>
                    <a:lnTo>
                      <a:pt x="36" y="96"/>
                    </a:lnTo>
                    <a:lnTo>
                      <a:pt x="18" y="82"/>
                    </a:lnTo>
                    <a:lnTo>
                      <a:pt x="10" y="68"/>
                    </a:lnTo>
                    <a:lnTo>
                      <a:pt x="0" y="48"/>
                    </a:lnTo>
                    <a:lnTo>
                      <a:pt x="10" y="32"/>
                    </a:lnTo>
                    <a:lnTo>
                      <a:pt x="12" y="24"/>
                    </a:lnTo>
                    <a:lnTo>
                      <a:pt x="36" y="22"/>
                    </a:lnTo>
                    <a:lnTo>
                      <a:pt x="39"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83" name="Freeform 176">
                <a:extLst>
                  <a:ext uri="{FF2B5EF4-FFF2-40B4-BE49-F238E27FC236}">
                    <a16:creationId xmlns:a16="http://schemas.microsoft.com/office/drawing/2014/main" id="{370636B2-122F-4A5C-B742-D2B8D5A0A4F4}"/>
                  </a:ext>
                </a:extLst>
              </p:cNvPr>
              <p:cNvSpPr>
                <a:spLocks/>
              </p:cNvSpPr>
              <p:nvPr/>
            </p:nvSpPr>
            <p:spPr bwMode="gray">
              <a:xfrm>
                <a:off x="5375869" y="4329513"/>
                <a:ext cx="82553" cy="19918"/>
              </a:xfrm>
              <a:custGeom>
                <a:avLst/>
                <a:gdLst>
                  <a:gd name="T0" fmla="*/ 8 w 50"/>
                  <a:gd name="T1" fmla="*/ 0 h 12"/>
                  <a:gd name="T2" fmla="*/ 20 w 50"/>
                  <a:gd name="T3" fmla="*/ 0 h 12"/>
                  <a:gd name="T4" fmla="*/ 32 w 50"/>
                  <a:gd name="T5" fmla="*/ 2 h 12"/>
                  <a:gd name="T6" fmla="*/ 42 w 50"/>
                  <a:gd name="T7" fmla="*/ 4 h 12"/>
                  <a:gd name="T8" fmla="*/ 50 w 50"/>
                  <a:gd name="T9" fmla="*/ 6 h 12"/>
                  <a:gd name="T10" fmla="*/ 46 w 50"/>
                  <a:gd name="T11" fmla="*/ 8 h 12"/>
                  <a:gd name="T12" fmla="*/ 34 w 50"/>
                  <a:gd name="T13" fmla="*/ 8 h 12"/>
                  <a:gd name="T14" fmla="*/ 26 w 50"/>
                  <a:gd name="T15" fmla="*/ 8 h 12"/>
                  <a:gd name="T16" fmla="*/ 16 w 50"/>
                  <a:gd name="T17" fmla="*/ 8 h 12"/>
                  <a:gd name="T18" fmla="*/ 6 w 50"/>
                  <a:gd name="T19" fmla="*/ 12 h 12"/>
                  <a:gd name="T20" fmla="*/ 0 w 50"/>
                  <a:gd name="T21" fmla="*/ 10 h 12"/>
                  <a:gd name="T22" fmla="*/ 4 w 50"/>
                  <a:gd name="T23" fmla="*/ 0 h 12"/>
                  <a:gd name="T24" fmla="*/ 8 w 5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12">
                    <a:moveTo>
                      <a:pt x="8" y="0"/>
                    </a:moveTo>
                    <a:lnTo>
                      <a:pt x="20" y="0"/>
                    </a:lnTo>
                    <a:lnTo>
                      <a:pt x="32" y="2"/>
                    </a:lnTo>
                    <a:lnTo>
                      <a:pt x="42" y="4"/>
                    </a:lnTo>
                    <a:lnTo>
                      <a:pt x="50" y="6"/>
                    </a:lnTo>
                    <a:lnTo>
                      <a:pt x="46" y="8"/>
                    </a:lnTo>
                    <a:lnTo>
                      <a:pt x="34" y="8"/>
                    </a:lnTo>
                    <a:lnTo>
                      <a:pt x="26" y="8"/>
                    </a:lnTo>
                    <a:lnTo>
                      <a:pt x="16" y="8"/>
                    </a:lnTo>
                    <a:lnTo>
                      <a:pt x="6" y="12"/>
                    </a:lnTo>
                    <a:lnTo>
                      <a:pt x="0" y="10"/>
                    </a:lnTo>
                    <a:lnTo>
                      <a:pt x="4" y="0"/>
                    </a:lnTo>
                    <a:lnTo>
                      <a:pt x="8"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84" name="Freeform 177">
                <a:extLst>
                  <a:ext uri="{FF2B5EF4-FFF2-40B4-BE49-F238E27FC236}">
                    <a16:creationId xmlns:a16="http://schemas.microsoft.com/office/drawing/2014/main" id="{3D6B15A4-93E2-4EB0-AF64-1B4BEE23F830}"/>
                  </a:ext>
                </a:extLst>
              </p:cNvPr>
              <p:cNvSpPr>
                <a:spLocks/>
              </p:cNvSpPr>
              <p:nvPr/>
            </p:nvSpPr>
            <p:spPr bwMode="gray">
              <a:xfrm>
                <a:off x="5375869" y="4329513"/>
                <a:ext cx="82553" cy="19918"/>
              </a:xfrm>
              <a:custGeom>
                <a:avLst/>
                <a:gdLst>
                  <a:gd name="T0" fmla="*/ 8 w 50"/>
                  <a:gd name="T1" fmla="*/ 0 h 12"/>
                  <a:gd name="T2" fmla="*/ 20 w 50"/>
                  <a:gd name="T3" fmla="*/ 0 h 12"/>
                  <a:gd name="T4" fmla="*/ 32 w 50"/>
                  <a:gd name="T5" fmla="*/ 2 h 12"/>
                  <a:gd name="T6" fmla="*/ 42 w 50"/>
                  <a:gd name="T7" fmla="*/ 4 h 12"/>
                  <a:gd name="T8" fmla="*/ 50 w 50"/>
                  <a:gd name="T9" fmla="*/ 6 h 12"/>
                  <a:gd name="T10" fmla="*/ 46 w 50"/>
                  <a:gd name="T11" fmla="*/ 8 h 12"/>
                  <a:gd name="T12" fmla="*/ 34 w 50"/>
                  <a:gd name="T13" fmla="*/ 8 h 12"/>
                  <a:gd name="T14" fmla="*/ 26 w 50"/>
                  <a:gd name="T15" fmla="*/ 8 h 12"/>
                  <a:gd name="T16" fmla="*/ 16 w 50"/>
                  <a:gd name="T17" fmla="*/ 8 h 12"/>
                  <a:gd name="T18" fmla="*/ 6 w 50"/>
                  <a:gd name="T19" fmla="*/ 12 h 12"/>
                  <a:gd name="T20" fmla="*/ 0 w 50"/>
                  <a:gd name="T21" fmla="*/ 10 h 12"/>
                  <a:gd name="T22" fmla="*/ 4 w 50"/>
                  <a:gd name="T23" fmla="*/ 0 h 12"/>
                  <a:gd name="T24" fmla="*/ 8 w 5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12">
                    <a:moveTo>
                      <a:pt x="8" y="0"/>
                    </a:moveTo>
                    <a:lnTo>
                      <a:pt x="20" y="0"/>
                    </a:lnTo>
                    <a:lnTo>
                      <a:pt x="32" y="2"/>
                    </a:lnTo>
                    <a:lnTo>
                      <a:pt x="42" y="4"/>
                    </a:lnTo>
                    <a:lnTo>
                      <a:pt x="50" y="6"/>
                    </a:lnTo>
                    <a:lnTo>
                      <a:pt x="46" y="8"/>
                    </a:lnTo>
                    <a:lnTo>
                      <a:pt x="34" y="8"/>
                    </a:lnTo>
                    <a:lnTo>
                      <a:pt x="26" y="8"/>
                    </a:lnTo>
                    <a:lnTo>
                      <a:pt x="16" y="8"/>
                    </a:lnTo>
                    <a:lnTo>
                      <a:pt x="6" y="12"/>
                    </a:lnTo>
                    <a:lnTo>
                      <a:pt x="0" y="10"/>
                    </a:lnTo>
                    <a:lnTo>
                      <a:pt x="4" y="0"/>
                    </a:lnTo>
                    <a:lnTo>
                      <a:pt x="8"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85" name="Freeform 178">
                <a:extLst>
                  <a:ext uri="{FF2B5EF4-FFF2-40B4-BE49-F238E27FC236}">
                    <a16:creationId xmlns:a16="http://schemas.microsoft.com/office/drawing/2014/main" id="{2D565648-A5C3-49DC-9584-CCF8AC706B09}"/>
                  </a:ext>
                </a:extLst>
              </p:cNvPr>
              <p:cNvSpPr>
                <a:spLocks/>
              </p:cNvSpPr>
              <p:nvPr/>
            </p:nvSpPr>
            <p:spPr bwMode="gray">
              <a:xfrm>
                <a:off x="5369265" y="4249841"/>
                <a:ext cx="151899" cy="116189"/>
              </a:xfrm>
              <a:custGeom>
                <a:avLst/>
                <a:gdLst>
                  <a:gd name="T0" fmla="*/ 2 w 92"/>
                  <a:gd name="T1" fmla="*/ 34 h 70"/>
                  <a:gd name="T2" fmla="*/ 0 w 92"/>
                  <a:gd name="T3" fmla="*/ 28 h 70"/>
                  <a:gd name="T4" fmla="*/ 6 w 92"/>
                  <a:gd name="T5" fmla="*/ 20 h 70"/>
                  <a:gd name="T6" fmla="*/ 12 w 92"/>
                  <a:gd name="T7" fmla="*/ 12 h 70"/>
                  <a:gd name="T8" fmla="*/ 14 w 92"/>
                  <a:gd name="T9" fmla="*/ 2 h 70"/>
                  <a:gd name="T10" fmla="*/ 28 w 92"/>
                  <a:gd name="T11" fmla="*/ 0 h 70"/>
                  <a:gd name="T12" fmla="*/ 42 w 92"/>
                  <a:gd name="T13" fmla="*/ 0 h 70"/>
                  <a:gd name="T14" fmla="*/ 54 w 92"/>
                  <a:gd name="T15" fmla="*/ 6 h 70"/>
                  <a:gd name="T16" fmla="*/ 62 w 92"/>
                  <a:gd name="T17" fmla="*/ 12 h 70"/>
                  <a:gd name="T18" fmla="*/ 70 w 92"/>
                  <a:gd name="T19" fmla="*/ 24 h 70"/>
                  <a:gd name="T20" fmla="*/ 80 w 92"/>
                  <a:gd name="T21" fmla="*/ 32 h 70"/>
                  <a:gd name="T22" fmla="*/ 82 w 92"/>
                  <a:gd name="T23" fmla="*/ 38 h 70"/>
                  <a:gd name="T24" fmla="*/ 84 w 92"/>
                  <a:gd name="T25" fmla="*/ 50 h 70"/>
                  <a:gd name="T26" fmla="*/ 90 w 92"/>
                  <a:gd name="T27" fmla="*/ 58 h 70"/>
                  <a:gd name="T28" fmla="*/ 92 w 92"/>
                  <a:gd name="T29" fmla="*/ 66 h 70"/>
                  <a:gd name="T30" fmla="*/ 92 w 92"/>
                  <a:gd name="T31" fmla="*/ 70 h 70"/>
                  <a:gd name="T32" fmla="*/ 70 w 92"/>
                  <a:gd name="T33" fmla="*/ 68 h 70"/>
                  <a:gd name="T34" fmla="*/ 64 w 92"/>
                  <a:gd name="T35" fmla="*/ 64 h 70"/>
                  <a:gd name="T36" fmla="*/ 58 w 92"/>
                  <a:gd name="T37" fmla="*/ 64 h 70"/>
                  <a:gd name="T38" fmla="*/ 50 w 92"/>
                  <a:gd name="T39" fmla="*/ 64 h 70"/>
                  <a:gd name="T40" fmla="*/ 38 w 92"/>
                  <a:gd name="T41" fmla="*/ 64 h 70"/>
                  <a:gd name="T42" fmla="*/ 32 w 92"/>
                  <a:gd name="T43" fmla="*/ 64 h 70"/>
                  <a:gd name="T44" fmla="*/ 28 w 92"/>
                  <a:gd name="T45" fmla="*/ 68 h 70"/>
                  <a:gd name="T46" fmla="*/ 10 w 92"/>
                  <a:gd name="T47" fmla="*/ 70 h 70"/>
                  <a:gd name="T48" fmla="*/ 10 w 92"/>
                  <a:gd name="T49" fmla="*/ 60 h 70"/>
                  <a:gd name="T50" fmla="*/ 20 w 92"/>
                  <a:gd name="T51" fmla="*/ 56 h 70"/>
                  <a:gd name="T52" fmla="*/ 30 w 92"/>
                  <a:gd name="T53" fmla="*/ 56 h 70"/>
                  <a:gd name="T54" fmla="*/ 38 w 92"/>
                  <a:gd name="T55" fmla="*/ 56 h 70"/>
                  <a:gd name="T56" fmla="*/ 50 w 92"/>
                  <a:gd name="T57" fmla="*/ 56 h 70"/>
                  <a:gd name="T58" fmla="*/ 54 w 92"/>
                  <a:gd name="T59" fmla="*/ 54 h 70"/>
                  <a:gd name="T60" fmla="*/ 40 w 92"/>
                  <a:gd name="T61" fmla="*/ 50 h 70"/>
                  <a:gd name="T62" fmla="*/ 36 w 92"/>
                  <a:gd name="T63" fmla="*/ 50 h 70"/>
                  <a:gd name="T64" fmla="*/ 22 w 92"/>
                  <a:gd name="T65" fmla="*/ 48 h 70"/>
                  <a:gd name="T66" fmla="*/ 12 w 92"/>
                  <a:gd name="T67" fmla="*/ 48 h 70"/>
                  <a:gd name="T68" fmla="*/ 8 w 92"/>
                  <a:gd name="T69" fmla="*/ 48 h 70"/>
                  <a:gd name="T70" fmla="*/ 4 w 92"/>
                  <a:gd name="T71" fmla="*/ 40 h 70"/>
                  <a:gd name="T72" fmla="*/ 2 w 92"/>
                  <a:gd name="T73" fmla="*/ 3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2" h="70">
                    <a:moveTo>
                      <a:pt x="2" y="34"/>
                    </a:moveTo>
                    <a:lnTo>
                      <a:pt x="0" y="28"/>
                    </a:lnTo>
                    <a:lnTo>
                      <a:pt x="6" y="20"/>
                    </a:lnTo>
                    <a:lnTo>
                      <a:pt x="12" y="12"/>
                    </a:lnTo>
                    <a:lnTo>
                      <a:pt x="14" y="2"/>
                    </a:lnTo>
                    <a:lnTo>
                      <a:pt x="28" y="0"/>
                    </a:lnTo>
                    <a:lnTo>
                      <a:pt x="42" y="0"/>
                    </a:lnTo>
                    <a:lnTo>
                      <a:pt x="54" y="6"/>
                    </a:lnTo>
                    <a:lnTo>
                      <a:pt x="62" y="12"/>
                    </a:lnTo>
                    <a:lnTo>
                      <a:pt x="70" y="24"/>
                    </a:lnTo>
                    <a:lnTo>
                      <a:pt x="80" y="32"/>
                    </a:lnTo>
                    <a:lnTo>
                      <a:pt x="82" y="38"/>
                    </a:lnTo>
                    <a:lnTo>
                      <a:pt x="84" y="50"/>
                    </a:lnTo>
                    <a:lnTo>
                      <a:pt x="90" y="58"/>
                    </a:lnTo>
                    <a:lnTo>
                      <a:pt x="92" y="66"/>
                    </a:lnTo>
                    <a:lnTo>
                      <a:pt x="92" y="70"/>
                    </a:lnTo>
                    <a:lnTo>
                      <a:pt x="70" y="68"/>
                    </a:lnTo>
                    <a:lnTo>
                      <a:pt x="64" y="64"/>
                    </a:lnTo>
                    <a:lnTo>
                      <a:pt x="58" y="64"/>
                    </a:lnTo>
                    <a:lnTo>
                      <a:pt x="50" y="64"/>
                    </a:lnTo>
                    <a:lnTo>
                      <a:pt x="38" y="64"/>
                    </a:lnTo>
                    <a:lnTo>
                      <a:pt x="32" y="64"/>
                    </a:lnTo>
                    <a:lnTo>
                      <a:pt x="28" y="68"/>
                    </a:lnTo>
                    <a:lnTo>
                      <a:pt x="10" y="70"/>
                    </a:lnTo>
                    <a:lnTo>
                      <a:pt x="10" y="60"/>
                    </a:lnTo>
                    <a:lnTo>
                      <a:pt x="20" y="56"/>
                    </a:lnTo>
                    <a:lnTo>
                      <a:pt x="30" y="56"/>
                    </a:lnTo>
                    <a:lnTo>
                      <a:pt x="38" y="56"/>
                    </a:lnTo>
                    <a:lnTo>
                      <a:pt x="50" y="56"/>
                    </a:lnTo>
                    <a:lnTo>
                      <a:pt x="54" y="54"/>
                    </a:lnTo>
                    <a:lnTo>
                      <a:pt x="40" y="50"/>
                    </a:lnTo>
                    <a:lnTo>
                      <a:pt x="36" y="50"/>
                    </a:lnTo>
                    <a:lnTo>
                      <a:pt x="22" y="48"/>
                    </a:lnTo>
                    <a:lnTo>
                      <a:pt x="12" y="48"/>
                    </a:lnTo>
                    <a:lnTo>
                      <a:pt x="8" y="48"/>
                    </a:lnTo>
                    <a:lnTo>
                      <a:pt x="4" y="40"/>
                    </a:lnTo>
                    <a:lnTo>
                      <a:pt x="2" y="3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86" name="Freeform 179">
                <a:extLst>
                  <a:ext uri="{FF2B5EF4-FFF2-40B4-BE49-F238E27FC236}">
                    <a16:creationId xmlns:a16="http://schemas.microsoft.com/office/drawing/2014/main" id="{83098635-33D4-4CD7-AD7F-4E457518FDAE}"/>
                  </a:ext>
                </a:extLst>
              </p:cNvPr>
              <p:cNvSpPr>
                <a:spLocks/>
              </p:cNvSpPr>
              <p:nvPr/>
            </p:nvSpPr>
            <p:spPr bwMode="gray">
              <a:xfrm>
                <a:off x="6614172" y="5380184"/>
                <a:ext cx="62740" cy="59754"/>
              </a:xfrm>
              <a:custGeom>
                <a:avLst/>
                <a:gdLst>
                  <a:gd name="T0" fmla="*/ 28 w 38"/>
                  <a:gd name="T1" fmla="*/ 0 h 36"/>
                  <a:gd name="T2" fmla="*/ 0 w 38"/>
                  <a:gd name="T3" fmla="*/ 10 h 36"/>
                  <a:gd name="T4" fmla="*/ 8 w 38"/>
                  <a:gd name="T5" fmla="*/ 36 h 36"/>
                  <a:gd name="T6" fmla="*/ 38 w 38"/>
                  <a:gd name="T7" fmla="*/ 26 h 36"/>
                  <a:gd name="T8" fmla="*/ 26 w 38"/>
                  <a:gd name="T9" fmla="*/ 18 h 36"/>
                  <a:gd name="T10" fmla="*/ 28 w 38"/>
                  <a:gd name="T11" fmla="*/ 0 h 36"/>
                </a:gdLst>
                <a:ahLst/>
                <a:cxnLst>
                  <a:cxn ang="0">
                    <a:pos x="T0" y="T1"/>
                  </a:cxn>
                  <a:cxn ang="0">
                    <a:pos x="T2" y="T3"/>
                  </a:cxn>
                  <a:cxn ang="0">
                    <a:pos x="T4" y="T5"/>
                  </a:cxn>
                  <a:cxn ang="0">
                    <a:pos x="T6" y="T7"/>
                  </a:cxn>
                  <a:cxn ang="0">
                    <a:pos x="T8" y="T9"/>
                  </a:cxn>
                  <a:cxn ang="0">
                    <a:pos x="T10" y="T11"/>
                  </a:cxn>
                </a:cxnLst>
                <a:rect l="0" t="0" r="r" b="b"/>
                <a:pathLst>
                  <a:path w="38" h="36">
                    <a:moveTo>
                      <a:pt x="28" y="0"/>
                    </a:moveTo>
                    <a:lnTo>
                      <a:pt x="0" y="10"/>
                    </a:lnTo>
                    <a:lnTo>
                      <a:pt x="8" y="36"/>
                    </a:lnTo>
                    <a:lnTo>
                      <a:pt x="38" y="26"/>
                    </a:lnTo>
                    <a:lnTo>
                      <a:pt x="26" y="18"/>
                    </a:lnTo>
                    <a:lnTo>
                      <a:pt x="28" y="0"/>
                    </a:lnTo>
                    <a:close/>
                  </a:path>
                </a:pathLst>
              </a:custGeom>
              <a:grpFill/>
              <a:ln w="3175" cap="flat">
                <a:solidFill>
                  <a:srgbClr val="1A1D24"/>
                </a:solidFill>
                <a:prstDash val="solid"/>
                <a:miter lim="800000"/>
                <a:headEnd/>
                <a:tailEnd/>
              </a:ln>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algn="ctr"/>
                <a:endParaRPr lang="en-GB" sz="1000" dirty="0"/>
              </a:p>
            </p:txBody>
          </p:sp>
          <p:sp>
            <p:nvSpPr>
              <p:cNvPr id="987" name="Freeform 180">
                <a:extLst>
                  <a:ext uri="{FF2B5EF4-FFF2-40B4-BE49-F238E27FC236}">
                    <a16:creationId xmlns:a16="http://schemas.microsoft.com/office/drawing/2014/main" id="{EB93D67E-B09D-43BE-B51A-8C6C3E9851B0}"/>
                  </a:ext>
                </a:extLst>
              </p:cNvPr>
              <p:cNvSpPr>
                <a:spLocks/>
              </p:cNvSpPr>
              <p:nvPr/>
            </p:nvSpPr>
            <p:spPr bwMode="gray">
              <a:xfrm>
                <a:off x="6528316" y="5439938"/>
                <a:ext cx="52834" cy="73033"/>
              </a:xfrm>
              <a:custGeom>
                <a:avLst/>
                <a:gdLst>
                  <a:gd name="T0" fmla="*/ 32 w 32"/>
                  <a:gd name="T1" fmla="*/ 28 h 44"/>
                  <a:gd name="T2" fmla="*/ 16 w 32"/>
                  <a:gd name="T3" fmla="*/ 0 h 44"/>
                  <a:gd name="T4" fmla="*/ 0 w 32"/>
                  <a:gd name="T5" fmla="*/ 22 h 44"/>
                  <a:gd name="T6" fmla="*/ 10 w 32"/>
                  <a:gd name="T7" fmla="*/ 44 h 44"/>
                  <a:gd name="T8" fmla="*/ 18 w 32"/>
                  <a:gd name="T9" fmla="*/ 32 h 44"/>
                  <a:gd name="T10" fmla="*/ 32 w 32"/>
                  <a:gd name="T11" fmla="*/ 28 h 44"/>
                </a:gdLst>
                <a:ahLst/>
                <a:cxnLst>
                  <a:cxn ang="0">
                    <a:pos x="T0" y="T1"/>
                  </a:cxn>
                  <a:cxn ang="0">
                    <a:pos x="T2" y="T3"/>
                  </a:cxn>
                  <a:cxn ang="0">
                    <a:pos x="T4" y="T5"/>
                  </a:cxn>
                  <a:cxn ang="0">
                    <a:pos x="T6" y="T7"/>
                  </a:cxn>
                  <a:cxn ang="0">
                    <a:pos x="T8" y="T9"/>
                  </a:cxn>
                  <a:cxn ang="0">
                    <a:pos x="T10" y="T11"/>
                  </a:cxn>
                </a:cxnLst>
                <a:rect l="0" t="0" r="r" b="b"/>
                <a:pathLst>
                  <a:path w="32" h="44">
                    <a:moveTo>
                      <a:pt x="32" y="28"/>
                    </a:moveTo>
                    <a:lnTo>
                      <a:pt x="16" y="0"/>
                    </a:lnTo>
                    <a:lnTo>
                      <a:pt x="0" y="22"/>
                    </a:lnTo>
                    <a:lnTo>
                      <a:pt x="10" y="44"/>
                    </a:lnTo>
                    <a:lnTo>
                      <a:pt x="18" y="32"/>
                    </a:lnTo>
                    <a:lnTo>
                      <a:pt x="32" y="28"/>
                    </a:lnTo>
                    <a:close/>
                  </a:path>
                </a:pathLst>
              </a:custGeom>
              <a:grpFill/>
              <a:ln w="3175" cap="flat">
                <a:solidFill>
                  <a:srgbClr val="1A1D24"/>
                </a:solidFill>
                <a:prstDash val="solid"/>
                <a:miter lim="800000"/>
                <a:headEnd/>
                <a:tailEnd/>
              </a:ln>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algn="ctr"/>
                <a:endParaRPr lang="en-GB" sz="1000" dirty="0"/>
              </a:p>
            </p:txBody>
          </p:sp>
        </p:grpSp>
        <p:sp>
          <p:nvSpPr>
            <p:cNvPr id="1032" name="Freeform 225">
              <a:extLst>
                <a:ext uri="{FF2B5EF4-FFF2-40B4-BE49-F238E27FC236}">
                  <a16:creationId xmlns:a16="http://schemas.microsoft.com/office/drawing/2014/main" id="{A8E262B9-721B-4822-A3FC-4D19F16DB33F}"/>
                </a:ext>
              </a:extLst>
            </p:cNvPr>
            <p:cNvSpPr>
              <a:spLocks/>
            </p:cNvSpPr>
            <p:nvPr/>
          </p:nvSpPr>
          <p:spPr bwMode="gray">
            <a:xfrm>
              <a:off x="8504649" y="4306275"/>
              <a:ext cx="132087" cy="112868"/>
            </a:xfrm>
            <a:custGeom>
              <a:avLst/>
              <a:gdLst>
                <a:gd name="T0" fmla="*/ 40 w 80"/>
                <a:gd name="T1" fmla="*/ 66 h 68"/>
                <a:gd name="T2" fmla="*/ 34 w 80"/>
                <a:gd name="T3" fmla="*/ 66 h 68"/>
                <a:gd name="T4" fmla="*/ 32 w 80"/>
                <a:gd name="T5" fmla="*/ 68 h 68"/>
                <a:gd name="T6" fmla="*/ 18 w 80"/>
                <a:gd name="T7" fmla="*/ 64 h 68"/>
                <a:gd name="T8" fmla="*/ 12 w 80"/>
                <a:gd name="T9" fmla="*/ 54 h 68"/>
                <a:gd name="T10" fmla="*/ 8 w 80"/>
                <a:gd name="T11" fmla="*/ 44 h 68"/>
                <a:gd name="T12" fmla="*/ 0 w 80"/>
                <a:gd name="T13" fmla="*/ 24 h 68"/>
                <a:gd name="T14" fmla="*/ 0 w 80"/>
                <a:gd name="T15" fmla="*/ 18 h 68"/>
                <a:gd name="T16" fmla="*/ 8 w 80"/>
                <a:gd name="T17" fmla="*/ 4 h 68"/>
                <a:gd name="T18" fmla="*/ 48 w 80"/>
                <a:gd name="T19" fmla="*/ 2 h 68"/>
                <a:gd name="T20" fmla="*/ 48 w 80"/>
                <a:gd name="T21" fmla="*/ 8 h 68"/>
                <a:gd name="T22" fmla="*/ 58 w 80"/>
                <a:gd name="T23" fmla="*/ 8 h 68"/>
                <a:gd name="T24" fmla="*/ 62 w 80"/>
                <a:gd name="T25" fmla="*/ 0 h 68"/>
                <a:gd name="T26" fmla="*/ 66 w 80"/>
                <a:gd name="T27" fmla="*/ 2 h 68"/>
                <a:gd name="T28" fmla="*/ 68 w 80"/>
                <a:gd name="T29" fmla="*/ 6 h 68"/>
                <a:gd name="T30" fmla="*/ 80 w 80"/>
                <a:gd name="T31" fmla="*/ 6 h 68"/>
                <a:gd name="T32" fmla="*/ 80 w 80"/>
                <a:gd name="T33" fmla="*/ 16 h 68"/>
                <a:gd name="T34" fmla="*/ 76 w 80"/>
                <a:gd name="T35" fmla="*/ 26 h 68"/>
                <a:gd name="T36" fmla="*/ 70 w 80"/>
                <a:gd name="T37" fmla="*/ 38 h 68"/>
                <a:gd name="T38" fmla="*/ 64 w 80"/>
                <a:gd name="T39" fmla="*/ 46 h 68"/>
                <a:gd name="T40" fmla="*/ 54 w 80"/>
                <a:gd name="T41" fmla="*/ 50 h 68"/>
                <a:gd name="T42" fmla="*/ 54 w 80"/>
                <a:gd name="T43" fmla="*/ 58 h 68"/>
                <a:gd name="T44" fmla="*/ 44 w 80"/>
                <a:gd name="T45" fmla="*/ 62 h 68"/>
                <a:gd name="T46" fmla="*/ 40 w 80"/>
                <a:gd name="T47" fmla="*/ 6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0" h="68">
                  <a:moveTo>
                    <a:pt x="40" y="66"/>
                  </a:moveTo>
                  <a:lnTo>
                    <a:pt x="34" y="66"/>
                  </a:lnTo>
                  <a:lnTo>
                    <a:pt x="32" y="68"/>
                  </a:lnTo>
                  <a:lnTo>
                    <a:pt x="18" y="64"/>
                  </a:lnTo>
                  <a:lnTo>
                    <a:pt x="12" y="54"/>
                  </a:lnTo>
                  <a:lnTo>
                    <a:pt x="8" y="44"/>
                  </a:lnTo>
                  <a:lnTo>
                    <a:pt x="0" y="24"/>
                  </a:lnTo>
                  <a:lnTo>
                    <a:pt x="0" y="18"/>
                  </a:lnTo>
                  <a:lnTo>
                    <a:pt x="8" y="4"/>
                  </a:lnTo>
                  <a:lnTo>
                    <a:pt x="48" y="2"/>
                  </a:lnTo>
                  <a:lnTo>
                    <a:pt x="48" y="8"/>
                  </a:lnTo>
                  <a:lnTo>
                    <a:pt x="58" y="8"/>
                  </a:lnTo>
                  <a:lnTo>
                    <a:pt x="62" y="0"/>
                  </a:lnTo>
                  <a:lnTo>
                    <a:pt x="66" y="2"/>
                  </a:lnTo>
                  <a:lnTo>
                    <a:pt x="68" y="6"/>
                  </a:lnTo>
                  <a:lnTo>
                    <a:pt x="80" y="6"/>
                  </a:lnTo>
                  <a:lnTo>
                    <a:pt x="80" y="16"/>
                  </a:lnTo>
                  <a:lnTo>
                    <a:pt x="76" y="26"/>
                  </a:lnTo>
                  <a:lnTo>
                    <a:pt x="70" y="38"/>
                  </a:lnTo>
                  <a:lnTo>
                    <a:pt x="64" y="46"/>
                  </a:lnTo>
                  <a:lnTo>
                    <a:pt x="54" y="50"/>
                  </a:lnTo>
                  <a:lnTo>
                    <a:pt x="54" y="58"/>
                  </a:lnTo>
                  <a:lnTo>
                    <a:pt x="44" y="62"/>
                  </a:lnTo>
                  <a:lnTo>
                    <a:pt x="40" y="6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33" name="Freeform 226">
              <a:extLst>
                <a:ext uri="{FF2B5EF4-FFF2-40B4-BE49-F238E27FC236}">
                  <a16:creationId xmlns:a16="http://schemas.microsoft.com/office/drawing/2014/main" id="{C07A756C-0307-4340-A3CC-81002FC3FD3E}"/>
                </a:ext>
              </a:extLst>
            </p:cNvPr>
            <p:cNvSpPr>
              <a:spLocks/>
            </p:cNvSpPr>
            <p:nvPr/>
          </p:nvSpPr>
          <p:spPr bwMode="gray">
            <a:xfrm>
              <a:off x="8501347" y="4077218"/>
              <a:ext cx="184920" cy="388400"/>
            </a:xfrm>
            <a:custGeom>
              <a:avLst/>
              <a:gdLst>
                <a:gd name="T0" fmla="*/ 42 w 112"/>
                <a:gd name="T1" fmla="*/ 204 h 234"/>
                <a:gd name="T2" fmla="*/ 44 w 112"/>
                <a:gd name="T3" fmla="*/ 206 h 234"/>
                <a:gd name="T4" fmla="*/ 44 w 112"/>
                <a:gd name="T5" fmla="*/ 208 h 234"/>
                <a:gd name="T6" fmla="*/ 44 w 112"/>
                <a:gd name="T7" fmla="*/ 214 h 234"/>
                <a:gd name="T8" fmla="*/ 42 w 112"/>
                <a:gd name="T9" fmla="*/ 214 h 234"/>
                <a:gd name="T10" fmla="*/ 40 w 112"/>
                <a:gd name="T11" fmla="*/ 234 h 234"/>
                <a:gd name="T12" fmla="*/ 52 w 112"/>
                <a:gd name="T13" fmla="*/ 226 h 234"/>
                <a:gd name="T14" fmla="*/ 66 w 112"/>
                <a:gd name="T15" fmla="*/ 218 h 234"/>
                <a:gd name="T16" fmla="*/ 66 w 112"/>
                <a:gd name="T17" fmla="*/ 210 h 234"/>
                <a:gd name="T18" fmla="*/ 70 w 112"/>
                <a:gd name="T19" fmla="*/ 204 h 234"/>
                <a:gd name="T20" fmla="*/ 82 w 112"/>
                <a:gd name="T21" fmla="*/ 206 h 234"/>
                <a:gd name="T22" fmla="*/ 94 w 112"/>
                <a:gd name="T23" fmla="*/ 202 h 234"/>
                <a:gd name="T24" fmla="*/ 108 w 112"/>
                <a:gd name="T25" fmla="*/ 190 h 234"/>
                <a:gd name="T26" fmla="*/ 112 w 112"/>
                <a:gd name="T27" fmla="*/ 172 h 234"/>
                <a:gd name="T28" fmla="*/ 108 w 112"/>
                <a:gd name="T29" fmla="*/ 152 h 234"/>
                <a:gd name="T30" fmla="*/ 104 w 112"/>
                <a:gd name="T31" fmla="*/ 138 h 234"/>
                <a:gd name="T32" fmla="*/ 100 w 112"/>
                <a:gd name="T33" fmla="*/ 122 h 234"/>
                <a:gd name="T34" fmla="*/ 60 w 112"/>
                <a:gd name="T35" fmla="*/ 78 h 234"/>
                <a:gd name="T36" fmla="*/ 54 w 112"/>
                <a:gd name="T37" fmla="*/ 70 h 234"/>
                <a:gd name="T38" fmla="*/ 62 w 112"/>
                <a:gd name="T39" fmla="*/ 50 h 234"/>
                <a:gd name="T40" fmla="*/ 74 w 112"/>
                <a:gd name="T41" fmla="*/ 34 h 234"/>
                <a:gd name="T42" fmla="*/ 82 w 112"/>
                <a:gd name="T43" fmla="*/ 32 h 234"/>
                <a:gd name="T44" fmla="*/ 80 w 112"/>
                <a:gd name="T45" fmla="*/ 24 h 234"/>
                <a:gd name="T46" fmla="*/ 70 w 112"/>
                <a:gd name="T47" fmla="*/ 20 h 234"/>
                <a:gd name="T48" fmla="*/ 68 w 112"/>
                <a:gd name="T49" fmla="*/ 6 h 234"/>
                <a:gd name="T50" fmla="*/ 58 w 112"/>
                <a:gd name="T51" fmla="*/ 4 h 234"/>
                <a:gd name="T52" fmla="*/ 50 w 112"/>
                <a:gd name="T53" fmla="*/ 0 h 234"/>
                <a:gd name="T54" fmla="*/ 44 w 112"/>
                <a:gd name="T55" fmla="*/ 0 h 234"/>
                <a:gd name="T56" fmla="*/ 34 w 112"/>
                <a:gd name="T57" fmla="*/ 6 h 234"/>
                <a:gd name="T58" fmla="*/ 2 w 112"/>
                <a:gd name="T59" fmla="*/ 8 h 234"/>
                <a:gd name="T60" fmla="*/ 0 w 112"/>
                <a:gd name="T61" fmla="*/ 14 h 234"/>
                <a:gd name="T62" fmla="*/ 10 w 112"/>
                <a:gd name="T63" fmla="*/ 24 h 234"/>
                <a:gd name="T64" fmla="*/ 12 w 112"/>
                <a:gd name="T65" fmla="*/ 38 h 234"/>
                <a:gd name="T66" fmla="*/ 34 w 112"/>
                <a:gd name="T67" fmla="*/ 36 h 234"/>
                <a:gd name="T68" fmla="*/ 40 w 112"/>
                <a:gd name="T69" fmla="*/ 46 h 234"/>
                <a:gd name="T70" fmla="*/ 42 w 112"/>
                <a:gd name="T71" fmla="*/ 56 h 234"/>
                <a:gd name="T72" fmla="*/ 28 w 112"/>
                <a:gd name="T73" fmla="*/ 56 h 234"/>
                <a:gd name="T74" fmla="*/ 26 w 112"/>
                <a:gd name="T75" fmla="*/ 66 h 234"/>
                <a:gd name="T76" fmla="*/ 34 w 112"/>
                <a:gd name="T77" fmla="*/ 70 h 234"/>
                <a:gd name="T78" fmla="*/ 62 w 112"/>
                <a:gd name="T79" fmla="*/ 96 h 234"/>
                <a:gd name="T80" fmla="*/ 80 w 112"/>
                <a:gd name="T81" fmla="*/ 116 h 234"/>
                <a:gd name="T82" fmla="*/ 84 w 112"/>
                <a:gd name="T83" fmla="*/ 130 h 234"/>
                <a:gd name="T84" fmla="*/ 82 w 112"/>
                <a:gd name="T85" fmla="*/ 144 h 234"/>
                <a:gd name="T86" fmla="*/ 82 w 112"/>
                <a:gd name="T87" fmla="*/ 152 h 234"/>
                <a:gd name="T88" fmla="*/ 78 w 112"/>
                <a:gd name="T89" fmla="*/ 164 h 234"/>
                <a:gd name="T90" fmla="*/ 72 w 112"/>
                <a:gd name="T91" fmla="*/ 176 h 234"/>
                <a:gd name="T92" fmla="*/ 66 w 112"/>
                <a:gd name="T93" fmla="*/ 184 h 234"/>
                <a:gd name="T94" fmla="*/ 56 w 112"/>
                <a:gd name="T95" fmla="*/ 188 h 234"/>
                <a:gd name="T96" fmla="*/ 56 w 112"/>
                <a:gd name="T97" fmla="*/ 196 h 234"/>
                <a:gd name="T98" fmla="*/ 46 w 112"/>
                <a:gd name="T99" fmla="*/ 200 h 234"/>
                <a:gd name="T100" fmla="*/ 42 w 112"/>
                <a:gd name="T101" fmla="*/ 20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12" h="234">
                  <a:moveTo>
                    <a:pt x="42" y="204"/>
                  </a:moveTo>
                  <a:lnTo>
                    <a:pt x="44" y="206"/>
                  </a:lnTo>
                  <a:lnTo>
                    <a:pt x="44" y="208"/>
                  </a:lnTo>
                  <a:lnTo>
                    <a:pt x="44" y="214"/>
                  </a:lnTo>
                  <a:lnTo>
                    <a:pt x="42" y="214"/>
                  </a:lnTo>
                  <a:lnTo>
                    <a:pt x="40" y="234"/>
                  </a:lnTo>
                  <a:lnTo>
                    <a:pt x="52" y="226"/>
                  </a:lnTo>
                  <a:lnTo>
                    <a:pt x="66" y="218"/>
                  </a:lnTo>
                  <a:lnTo>
                    <a:pt x="66" y="210"/>
                  </a:lnTo>
                  <a:lnTo>
                    <a:pt x="70" y="204"/>
                  </a:lnTo>
                  <a:lnTo>
                    <a:pt x="82" y="206"/>
                  </a:lnTo>
                  <a:lnTo>
                    <a:pt x="94" y="202"/>
                  </a:lnTo>
                  <a:lnTo>
                    <a:pt x="108" y="190"/>
                  </a:lnTo>
                  <a:lnTo>
                    <a:pt x="112" y="172"/>
                  </a:lnTo>
                  <a:lnTo>
                    <a:pt x="108" y="152"/>
                  </a:lnTo>
                  <a:lnTo>
                    <a:pt x="104" y="138"/>
                  </a:lnTo>
                  <a:lnTo>
                    <a:pt x="100" y="122"/>
                  </a:lnTo>
                  <a:lnTo>
                    <a:pt x="60" y="78"/>
                  </a:lnTo>
                  <a:lnTo>
                    <a:pt x="54" y="70"/>
                  </a:lnTo>
                  <a:lnTo>
                    <a:pt x="62" y="50"/>
                  </a:lnTo>
                  <a:lnTo>
                    <a:pt x="74" y="34"/>
                  </a:lnTo>
                  <a:lnTo>
                    <a:pt x="82" y="32"/>
                  </a:lnTo>
                  <a:lnTo>
                    <a:pt x="80" y="24"/>
                  </a:lnTo>
                  <a:lnTo>
                    <a:pt x="70" y="20"/>
                  </a:lnTo>
                  <a:lnTo>
                    <a:pt x="68" y="6"/>
                  </a:lnTo>
                  <a:lnTo>
                    <a:pt x="58" y="4"/>
                  </a:lnTo>
                  <a:lnTo>
                    <a:pt x="50" y="0"/>
                  </a:lnTo>
                  <a:lnTo>
                    <a:pt x="44" y="0"/>
                  </a:lnTo>
                  <a:lnTo>
                    <a:pt x="34" y="6"/>
                  </a:lnTo>
                  <a:lnTo>
                    <a:pt x="2" y="8"/>
                  </a:lnTo>
                  <a:lnTo>
                    <a:pt x="0" y="14"/>
                  </a:lnTo>
                  <a:lnTo>
                    <a:pt x="10" y="24"/>
                  </a:lnTo>
                  <a:lnTo>
                    <a:pt x="12" y="38"/>
                  </a:lnTo>
                  <a:lnTo>
                    <a:pt x="34" y="36"/>
                  </a:lnTo>
                  <a:lnTo>
                    <a:pt x="40" y="46"/>
                  </a:lnTo>
                  <a:lnTo>
                    <a:pt x="42" y="56"/>
                  </a:lnTo>
                  <a:lnTo>
                    <a:pt x="28" y="56"/>
                  </a:lnTo>
                  <a:lnTo>
                    <a:pt x="26" y="66"/>
                  </a:lnTo>
                  <a:lnTo>
                    <a:pt x="34" y="70"/>
                  </a:lnTo>
                  <a:lnTo>
                    <a:pt x="62" y="96"/>
                  </a:lnTo>
                  <a:lnTo>
                    <a:pt x="80" y="116"/>
                  </a:lnTo>
                  <a:lnTo>
                    <a:pt x="84" y="130"/>
                  </a:lnTo>
                  <a:lnTo>
                    <a:pt x="82" y="144"/>
                  </a:lnTo>
                  <a:lnTo>
                    <a:pt x="82" y="152"/>
                  </a:lnTo>
                  <a:lnTo>
                    <a:pt x="78" y="164"/>
                  </a:lnTo>
                  <a:lnTo>
                    <a:pt x="72" y="176"/>
                  </a:lnTo>
                  <a:lnTo>
                    <a:pt x="66" y="184"/>
                  </a:lnTo>
                  <a:lnTo>
                    <a:pt x="56" y="188"/>
                  </a:lnTo>
                  <a:lnTo>
                    <a:pt x="56" y="196"/>
                  </a:lnTo>
                  <a:lnTo>
                    <a:pt x="46" y="200"/>
                  </a:lnTo>
                  <a:lnTo>
                    <a:pt x="42" y="20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34" name="Freeform 229">
              <a:extLst>
                <a:ext uri="{FF2B5EF4-FFF2-40B4-BE49-F238E27FC236}">
                  <a16:creationId xmlns:a16="http://schemas.microsoft.com/office/drawing/2014/main" id="{5FBDE967-8D37-4C17-8FCE-0EC5EAD4BAC6}"/>
                </a:ext>
              </a:extLst>
            </p:cNvPr>
            <p:cNvSpPr>
              <a:spLocks/>
            </p:cNvSpPr>
            <p:nvPr/>
          </p:nvSpPr>
          <p:spPr bwMode="gray">
            <a:xfrm>
              <a:off x="8154621" y="3931153"/>
              <a:ext cx="82553" cy="43155"/>
            </a:xfrm>
            <a:custGeom>
              <a:avLst/>
              <a:gdLst>
                <a:gd name="T0" fmla="*/ 10 w 50"/>
                <a:gd name="T1" fmla="*/ 0 h 26"/>
                <a:gd name="T2" fmla="*/ 4 w 50"/>
                <a:gd name="T3" fmla="*/ 6 h 26"/>
                <a:gd name="T4" fmla="*/ 2 w 50"/>
                <a:gd name="T5" fmla="*/ 6 h 26"/>
                <a:gd name="T6" fmla="*/ 0 w 50"/>
                <a:gd name="T7" fmla="*/ 14 h 26"/>
                <a:gd name="T8" fmla="*/ 2 w 50"/>
                <a:gd name="T9" fmla="*/ 20 h 26"/>
                <a:gd name="T10" fmla="*/ 8 w 50"/>
                <a:gd name="T11" fmla="*/ 24 h 26"/>
                <a:gd name="T12" fmla="*/ 16 w 50"/>
                <a:gd name="T13" fmla="*/ 26 h 26"/>
                <a:gd name="T14" fmla="*/ 32 w 50"/>
                <a:gd name="T15" fmla="*/ 24 h 26"/>
                <a:gd name="T16" fmla="*/ 46 w 50"/>
                <a:gd name="T17" fmla="*/ 22 h 26"/>
                <a:gd name="T18" fmla="*/ 50 w 50"/>
                <a:gd name="T19" fmla="*/ 16 h 26"/>
                <a:gd name="T20" fmla="*/ 46 w 50"/>
                <a:gd name="T21" fmla="*/ 6 h 26"/>
                <a:gd name="T22" fmla="*/ 32 w 50"/>
                <a:gd name="T23" fmla="*/ 4 h 26"/>
                <a:gd name="T24" fmla="*/ 20 w 50"/>
                <a:gd name="T25" fmla="*/ 0 h 26"/>
                <a:gd name="T26" fmla="*/ 10 w 50"/>
                <a:gd name="T2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0" h="26">
                  <a:moveTo>
                    <a:pt x="10" y="0"/>
                  </a:moveTo>
                  <a:lnTo>
                    <a:pt x="4" y="6"/>
                  </a:lnTo>
                  <a:lnTo>
                    <a:pt x="2" y="6"/>
                  </a:lnTo>
                  <a:lnTo>
                    <a:pt x="0" y="14"/>
                  </a:lnTo>
                  <a:lnTo>
                    <a:pt x="2" y="20"/>
                  </a:lnTo>
                  <a:lnTo>
                    <a:pt x="8" y="24"/>
                  </a:lnTo>
                  <a:lnTo>
                    <a:pt x="16" y="26"/>
                  </a:lnTo>
                  <a:lnTo>
                    <a:pt x="32" y="24"/>
                  </a:lnTo>
                  <a:lnTo>
                    <a:pt x="46" y="22"/>
                  </a:lnTo>
                  <a:lnTo>
                    <a:pt x="50" y="16"/>
                  </a:lnTo>
                  <a:lnTo>
                    <a:pt x="46" y="6"/>
                  </a:lnTo>
                  <a:lnTo>
                    <a:pt x="32" y="4"/>
                  </a:lnTo>
                  <a:lnTo>
                    <a:pt x="20" y="0"/>
                  </a:lnTo>
                  <a:lnTo>
                    <a:pt x="1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35" name="Freeform 230">
              <a:extLst>
                <a:ext uri="{FF2B5EF4-FFF2-40B4-BE49-F238E27FC236}">
                  <a16:creationId xmlns:a16="http://schemas.microsoft.com/office/drawing/2014/main" id="{AA188D99-6CA9-4737-A45C-7F8B25A53E24}"/>
                </a:ext>
              </a:extLst>
            </p:cNvPr>
            <p:cNvSpPr>
              <a:spLocks/>
            </p:cNvSpPr>
            <p:nvPr/>
          </p:nvSpPr>
          <p:spPr bwMode="gray">
            <a:xfrm>
              <a:off x="8131507" y="3980949"/>
              <a:ext cx="115574" cy="149384"/>
            </a:xfrm>
            <a:custGeom>
              <a:avLst/>
              <a:gdLst>
                <a:gd name="T0" fmla="*/ 14 w 70"/>
                <a:gd name="T1" fmla="*/ 74 h 90"/>
                <a:gd name="T2" fmla="*/ 10 w 70"/>
                <a:gd name="T3" fmla="*/ 50 h 90"/>
                <a:gd name="T4" fmla="*/ 8 w 70"/>
                <a:gd name="T5" fmla="*/ 38 h 90"/>
                <a:gd name="T6" fmla="*/ 2 w 70"/>
                <a:gd name="T7" fmla="*/ 34 h 90"/>
                <a:gd name="T8" fmla="*/ 0 w 70"/>
                <a:gd name="T9" fmla="*/ 26 h 90"/>
                <a:gd name="T10" fmla="*/ 12 w 70"/>
                <a:gd name="T11" fmla="*/ 20 h 90"/>
                <a:gd name="T12" fmla="*/ 4 w 70"/>
                <a:gd name="T13" fmla="*/ 12 h 90"/>
                <a:gd name="T14" fmla="*/ 4 w 70"/>
                <a:gd name="T15" fmla="*/ 6 h 90"/>
                <a:gd name="T16" fmla="*/ 10 w 70"/>
                <a:gd name="T17" fmla="*/ 0 h 90"/>
                <a:gd name="T18" fmla="*/ 14 w 70"/>
                <a:gd name="T19" fmla="*/ 6 h 90"/>
                <a:gd name="T20" fmla="*/ 24 w 70"/>
                <a:gd name="T21" fmla="*/ 10 h 90"/>
                <a:gd name="T22" fmla="*/ 30 w 70"/>
                <a:gd name="T23" fmla="*/ 22 h 90"/>
                <a:gd name="T24" fmla="*/ 64 w 70"/>
                <a:gd name="T25" fmla="*/ 22 h 90"/>
                <a:gd name="T26" fmla="*/ 64 w 70"/>
                <a:gd name="T27" fmla="*/ 34 h 90"/>
                <a:gd name="T28" fmla="*/ 56 w 70"/>
                <a:gd name="T29" fmla="*/ 38 h 90"/>
                <a:gd name="T30" fmla="*/ 52 w 70"/>
                <a:gd name="T31" fmla="*/ 40 h 90"/>
                <a:gd name="T32" fmla="*/ 48 w 70"/>
                <a:gd name="T33" fmla="*/ 46 h 90"/>
                <a:gd name="T34" fmla="*/ 48 w 70"/>
                <a:gd name="T35" fmla="*/ 50 h 90"/>
                <a:gd name="T36" fmla="*/ 48 w 70"/>
                <a:gd name="T37" fmla="*/ 54 h 90"/>
                <a:gd name="T38" fmla="*/ 56 w 70"/>
                <a:gd name="T39" fmla="*/ 58 h 90"/>
                <a:gd name="T40" fmla="*/ 60 w 70"/>
                <a:gd name="T41" fmla="*/ 46 h 90"/>
                <a:gd name="T42" fmla="*/ 70 w 70"/>
                <a:gd name="T43" fmla="*/ 48 h 90"/>
                <a:gd name="T44" fmla="*/ 68 w 70"/>
                <a:gd name="T45" fmla="*/ 60 h 90"/>
                <a:gd name="T46" fmla="*/ 68 w 70"/>
                <a:gd name="T47" fmla="*/ 70 h 90"/>
                <a:gd name="T48" fmla="*/ 70 w 70"/>
                <a:gd name="T49" fmla="*/ 76 h 90"/>
                <a:gd name="T50" fmla="*/ 70 w 70"/>
                <a:gd name="T51" fmla="*/ 86 h 90"/>
                <a:gd name="T52" fmla="*/ 64 w 70"/>
                <a:gd name="T53" fmla="*/ 90 h 90"/>
                <a:gd name="T54" fmla="*/ 60 w 70"/>
                <a:gd name="T55" fmla="*/ 82 h 90"/>
                <a:gd name="T56" fmla="*/ 58 w 70"/>
                <a:gd name="T57" fmla="*/ 68 h 90"/>
                <a:gd name="T58" fmla="*/ 54 w 70"/>
                <a:gd name="T59" fmla="*/ 64 h 90"/>
                <a:gd name="T60" fmla="*/ 48 w 70"/>
                <a:gd name="T61" fmla="*/ 62 h 90"/>
                <a:gd name="T62" fmla="*/ 40 w 70"/>
                <a:gd name="T63" fmla="*/ 56 h 90"/>
                <a:gd name="T64" fmla="*/ 36 w 70"/>
                <a:gd name="T65" fmla="*/ 62 h 90"/>
                <a:gd name="T66" fmla="*/ 36 w 70"/>
                <a:gd name="T67" fmla="*/ 74 h 90"/>
                <a:gd name="T68" fmla="*/ 26 w 70"/>
                <a:gd name="T69" fmla="*/ 74 h 90"/>
                <a:gd name="T70" fmla="*/ 14 w 70"/>
                <a:gd name="T71" fmla="*/ 7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0" h="90">
                  <a:moveTo>
                    <a:pt x="14" y="74"/>
                  </a:moveTo>
                  <a:lnTo>
                    <a:pt x="10" y="50"/>
                  </a:lnTo>
                  <a:lnTo>
                    <a:pt x="8" y="38"/>
                  </a:lnTo>
                  <a:lnTo>
                    <a:pt x="2" y="34"/>
                  </a:lnTo>
                  <a:lnTo>
                    <a:pt x="0" y="26"/>
                  </a:lnTo>
                  <a:lnTo>
                    <a:pt x="12" y="20"/>
                  </a:lnTo>
                  <a:lnTo>
                    <a:pt x="4" y="12"/>
                  </a:lnTo>
                  <a:lnTo>
                    <a:pt x="4" y="6"/>
                  </a:lnTo>
                  <a:lnTo>
                    <a:pt x="10" y="0"/>
                  </a:lnTo>
                  <a:lnTo>
                    <a:pt x="14" y="6"/>
                  </a:lnTo>
                  <a:lnTo>
                    <a:pt x="24" y="10"/>
                  </a:lnTo>
                  <a:lnTo>
                    <a:pt x="30" y="22"/>
                  </a:lnTo>
                  <a:lnTo>
                    <a:pt x="64" y="22"/>
                  </a:lnTo>
                  <a:lnTo>
                    <a:pt x="64" y="34"/>
                  </a:lnTo>
                  <a:lnTo>
                    <a:pt x="56" y="38"/>
                  </a:lnTo>
                  <a:lnTo>
                    <a:pt x="52" y="40"/>
                  </a:lnTo>
                  <a:lnTo>
                    <a:pt x="48" y="46"/>
                  </a:lnTo>
                  <a:lnTo>
                    <a:pt x="48" y="50"/>
                  </a:lnTo>
                  <a:lnTo>
                    <a:pt x="48" y="54"/>
                  </a:lnTo>
                  <a:lnTo>
                    <a:pt x="56" y="58"/>
                  </a:lnTo>
                  <a:lnTo>
                    <a:pt x="60" y="46"/>
                  </a:lnTo>
                  <a:lnTo>
                    <a:pt x="70" y="48"/>
                  </a:lnTo>
                  <a:lnTo>
                    <a:pt x="68" y="60"/>
                  </a:lnTo>
                  <a:lnTo>
                    <a:pt x="68" y="70"/>
                  </a:lnTo>
                  <a:lnTo>
                    <a:pt x="70" y="76"/>
                  </a:lnTo>
                  <a:lnTo>
                    <a:pt x="70" y="86"/>
                  </a:lnTo>
                  <a:lnTo>
                    <a:pt x="64" y="90"/>
                  </a:lnTo>
                  <a:lnTo>
                    <a:pt x="60" y="82"/>
                  </a:lnTo>
                  <a:lnTo>
                    <a:pt x="58" y="68"/>
                  </a:lnTo>
                  <a:lnTo>
                    <a:pt x="54" y="64"/>
                  </a:lnTo>
                  <a:lnTo>
                    <a:pt x="48" y="62"/>
                  </a:lnTo>
                  <a:lnTo>
                    <a:pt x="40" y="56"/>
                  </a:lnTo>
                  <a:lnTo>
                    <a:pt x="36" y="62"/>
                  </a:lnTo>
                  <a:lnTo>
                    <a:pt x="36" y="74"/>
                  </a:lnTo>
                  <a:lnTo>
                    <a:pt x="26" y="74"/>
                  </a:lnTo>
                  <a:lnTo>
                    <a:pt x="14" y="7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36" name="Freeform 231">
              <a:extLst>
                <a:ext uri="{FF2B5EF4-FFF2-40B4-BE49-F238E27FC236}">
                  <a16:creationId xmlns:a16="http://schemas.microsoft.com/office/drawing/2014/main" id="{A377F30D-A27F-4FB4-A85C-5005611C5993}"/>
                </a:ext>
              </a:extLst>
            </p:cNvPr>
            <p:cNvSpPr>
              <a:spLocks/>
            </p:cNvSpPr>
            <p:nvPr/>
          </p:nvSpPr>
          <p:spPr bwMode="gray">
            <a:xfrm>
              <a:off x="7913564" y="4435741"/>
              <a:ext cx="52834" cy="96271"/>
            </a:xfrm>
            <a:custGeom>
              <a:avLst/>
              <a:gdLst>
                <a:gd name="T0" fmla="*/ 6 w 32"/>
                <a:gd name="T1" fmla="*/ 0 h 58"/>
                <a:gd name="T2" fmla="*/ 16 w 32"/>
                <a:gd name="T3" fmla="*/ 12 h 58"/>
                <a:gd name="T4" fmla="*/ 26 w 32"/>
                <a:gd name="T5" fmla="*/ 26 h 58"/>
                <a:gd name="T6" fmla="*/ 32 w 32"/>
                <a:gd name="T7" fmla="*/ 40 h 58"/>
                <a:gd name="T8" fmla="*/ 26 w 32"/>
                <a:gd name="T9" fmla="*/ 56 h 58"/>
                <a:gd name="T10" fmla="*/ 16 w 32"/>
                <a:gd name="T11" fmla="*/ 58 h 58"/>
                <a:gd name="T12" fmla="*/ 6 w 32"/>
                <a:gd name="T13" fmla="*/ 56 h 58"/>
                <a:gd name="T14" fmla="*/ 0 w 32"/>
                <a:gd name="T15" fmla="*/ 44 h 58"/>
                <a:gd name="T16" fmla="*/ 0 w 32"/>
                <a:gd name="T17" fmla="*/ 26 h 58"/>
                <a:gd name="T18" fmla="*/ 4 w 32"/>
                <a:gd name="T19" fmla="*/ 12 h 58"/>
                <a:gd name="T20" fmla="*/ 6 w 32"/>
                <a:gd name="T2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58">
                  <a:moveTo>
                    <a:pt x="6" y="0"/>
                  </a:moveTo>
                  <a:lnTo>
                    <a:pt x="16" y="12"/>
                  </a:lnTo>
                  <a:lnTo>
                    <a:pt x="26" y="26"/>
                  </a:lnTo>
                  <a:lnTo>
                    <a:pt x="32" y="40"/>
                  </a:lnTo>
                  <a:lnTo>
                    <a:pt x="26" y="56"/>
                  </a:lnTo>
                  <a:lnTo>
                    <a:pt x="16" y="58"/>
                  </a:lnTo>
                  <a:lnTo>
                    <a:pt x="6" y="56"/>
                  </a:lnTo>
                  <a:lnTo>
                    <a:pt x="0" y="44"/>
                  </a:lnTo>
                  <a:lnTo>
                    <a:pt x="0" y="26"/>
                  </a:lnTo>
                  <a:lnTo>
                    <a:pt x="4" y="12"/>
                  </a:lnTo>
                  <a:lnTo>
                    <a:pt x="6"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37" name="Freeform 233">
              <a:extLst>
                <a:ext uri="{FF2B5EF4-FFF2-40B4-BE49-F238E27FC236}">
                  <a16:creationId xmlns:a16="http://schemas.microsoft.com/office/drawing/2014/main" id="{44F20A16-2B77-41A8-B6F6-BED80F1DED36}"/>
                </a:ext>
              </a:extLst>
            </p:cNvPr>
            <p:cNvSpPr>
              <a:spLocks/>
            </p:cNvSpPr>
            <p:nvPr/>
          </p:nvSpPr>
          <p:spPr bwMode="gray">
            <a:xfrm>
              <a:off x="8237174" y="3924514"/>
              <a:ext cx="221243" cy="491309"/>
            </a:xfrm>
            <a:custGeom>
              <a:avLst/>
              <a:gdLst>
                <a:gd name="T0" fmla="*/ 6 w 134"/>
                <a:gd name="T1" fmla="*/ 120 h 296"/>
                <a:gd name="T2" fmla="*/ 12 w 134"/>
                <a:gd name="T3" fmla="*/ 104 h 296"/>
                <a:gd name="T4" fmla="*/ 32 w 134"/>
                <a:gd name="T5" fmla="*/ 74 h 296"/>
                <a:gd name="T6" fmla="*/ 44 w 134"/>
                <a:gd name="T7" fmla="*/ 46 h 296"/>
                <a:gd name="T8" fmla="*/ 62 w 134"/>
                <a:gd name="T9" fmla="*/ 20 h 296"/>
                <a:gd name="T10" fmla="*/ 76 w 134"/>
                <a:gd name="T11" fmla="*/ 10 h 296"/>
                <a:gd name="T12" fmla="*/ 90 w 134"/>
                <a:gd name="T13" fmla="*/ 2 h 296"/>
                <a:gd name="T14" fmla="*/ 104 w 134"/>
                <a:gd name="T15" fmla="*/ 18 h 296"/>
                <a:gd name="T16" fmla="*/ 94 w 134"/>
                <a:gd name="T17" fmla="*/ 52 h 296"/>
                <a:gd name="T18" fmla="*/ 86 w 134"/>
                <a:gd name="T19" fmla="*/ 68 h 296"/>
                <a:gd name="T20" fmla="*/ 106 w 134"/>
                <a:gd name="T21" fmla="*/ 88 h 296"/>
                <a:gd name="T22" fmla="*/ 116 w 134"/>
                <a:gd name="T23" fmla="*/ 108 h 296"/>
                <a:gd name="T24" fmla="*/ 124 w 134"/>
                <a:gd name="T25" fmla="*/ 116 h 296"/>
                <a:gd name="T26" fmla="*/ 134 w 134"/>
                <a:gd name="T27" fmla="*/ 126 h 296"/>
                <a:gd name="T28" fmla="*/ 106 w 134"/>
                <a:gd name="T29" fmla="*/ 144 h 296"/>
                <a:gd name="T30" fmla="*/ 88 w 134"/>
                <a:gd name="T31" fmla="*/ 158 h 296"/>
                <a:gd name="T32" fmla="*/ 84 w 134"/>
                <a:gd name="T33" fmla="*/ 168 h 296"/>
                <a:gd name="T34" fmla="*/ 88 w 134"/>
                <a:gd name="T35" fmla="*/ 184 h 296"/>
                <a:gd name="T36" fmla="*/ 104 w 134"/>
                <a:gd name="T37" fmla="*/ 208 h 296"/>
                <a:gd name="T38" fmla="*/ 96 w 134"/>
                <a:gd name="T39" fmla="*/ 228 h 296"/>
                <a:gd name="T40" fmla="*/ 110 w 134"/>
                <a:gd name="T41" fmla="*/ 248 h 296"/>
                <a:gd name="T42" fmla="*/ 116 w 134"/>
                <a:gd name="T43" fmla="*/ 274 h 296"/>
                <a:gd name="T44" fmla="*/ 100 w 134"/>
                <a:gd name="T45" fmla="*/ 296 h 296"/>
                <a:gd name="T46" fmla="*/ 100 w 134"/>
                <a:gd name="T47" fmla="*/ 280 h 296"/>
                <a:gd name="T48" fmla="*/ 100 w 134"/>
                <a:gd name="T49" fmla="*/ 256 h 296"/>
                <a:gd name="T50" fmla="*/ 90 w 134"/>
                <a:gd name="T51" fmla="*/ 230 h 296"/>
                <a:gd name="T52" fmla="*/ 84 w 134"/>
                <a:gd name="T53" fmla="*/ 200 h 296"/>
                <a:gd name="T54" fmla="*/ 68 w 134"/>
                <a:gd name="T55" fmla="*/ 200 h 296"/>
                <a:gd name="T56" fmla="*/ 54 w 134"/>
                <a:gd name="T57" fmla="*/ 212 h 296"/>
                <a:gd name="T58" fmla="*/ 36 w 134"/>
                <a:gd name="T59" fmla="*/ 204 h 296"/>
                <a:gd name="T60" fmla="*/ 38 w 134"/>
                <a:gd name="T61" fmla="*/ 176 h 296"/>
                <a:gd name="T62" fmla="*/ 26 w 134"/>
                <a:gd name="T63" fmla="*/ 158 h 296"/>
                <a:gd name="T64" fmla="*/ 0 w 134"/>
                <a:gd name="T65" fmla="*/ 124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4" h="296">
                  <a:moveTo>
                    <a:pt x="0" y="124"/>
                  </a:moveTo>
                  <a:lnTo>
                    <a:pt x="6" y="120"/>
                  </a:lnTo>
                  <a:lnTo>
                    <a:pt x="6" y="110"/>
                  </a:lnTo>
                  <a:lnTo>
                    <a:pt x="12" y="104"/>
                  </a:lnTo>
                  <a:lnTo>
                    <a:pt x="18" y="76"/>
                  </a:lnTo>
                  <a:lnTo>
                    <a:pt x="32" y="74"/>
                  </a:lnTo>
                  <a:lnTo>
                    <a:pt x="36" y="54"/>
                  </a:lnTo>
                  <a:lnTo>
                    <a:pt x="44" y="46"/>
                  </a:lnTo>
                  <a:lnTo>
                    <a:pt x="46" y="34"/>
                  </a:lnTo>
                  <a:lnTo>
                    <a:pt x="62" y="20"/>
                  </a:lnTo>
                  <a:lnTo>
                    <a:pt x="76" y="20"/>
                  </a:lnTo>
                  <a:lnTo>
                    <a:pt x="76" y="10"/>
                  </a:lnTo>
                  <a:lnTo>
                    <a:pt x="82" y="0"/>
                  </a:lnTo>
                  <a:lnTo>
                    <a:pt x="90" y="2"/>
                  </a:lnTo>
                  <a:lnTo>
                    <a:pt x="96" y="12"/>
                  </a:lnTo>
                  <a:lnTo>
                    <a:pt x="104" y="18"/>
                  </a:lnTo>
                  <a:lnTo>
                    <a:pt x="102" y="42"/>
                  </a:lnTo>
                  <a:lnTo>
                    <a:pt x="94" y="52"/>
                  </a:lnTo>
                  <a:lnTo>
                    <a:pt x="86" y="64"/>
                  </a:lnTo>
                  <a:lnTo>
                    <a:pt x="86" y="68"/>
                  </a:lnTo>
                  <a:lnTo>
                    <a:pt x="106" y="74"/>
                  </a:lnTo>
                  <a:lnTo>
                    <a:pt x="106" y="88"/>
                  </a:lnTo>
                  <a:lnTo>
                    <a:pt x="116" y="92"/>
                  </a:lnTo>
                  <a:lnTo>
                    <a:pt x="116" y="108"/>
                  </a:lnTo>
                  <a:lnTo>
                    <a:pt x="124" y="110"/>
                  </a:lnTo>
                  <a:lnTo>
                    <a:pt x="124" y="116"/>
                  </a:lnTo>
                  <a:lnTo>
                    <a:pt x="132" y="116"/>
                  </a:lnTo>
                  <a:lnTo>
                    <a:pt x="134" y="126"/>
                  </a:lnTo>
                  <a:lnTo>
                    <a:pt x="116" y="136"/>
                  </a:lnTo>
                  <a:lnTo>
                    <a:pt x="106" y="144"/>
                  </a:lnTo>
                  <a:lnTo>
                    <a:pt x="88" y="146"/>
                  </a:lnTo>
                  <a:lnTo>
                    <a:pt x="88" y="158"/>
                  </a:lnTo>
                  <a:lnTo>
                    <a:pt x="86" y="162"/>
                  </a:lnTo>
                  <a:lnTo>
                    <a:pt x="84" y="168"/>
                  </a:lnTo>
                  <a:lnTo>
                    <a:pt x="86" y="178"/>
                  </a:lnTo>
                  <a:lnTo>
                    <a:pt x="88" y="184"/>
                  </a:lnTo>
                  <a:lnTo>
                    <a:pt x="98" y="192"/>
                  </a:lnTo>
                  <a:lnTo>
                    <a:pt x="104" y="208"/>
                  </a:lnTo>
                  <a:lnTo>
                    <a:pt x="100" y="218"/>
                  </a:lnTo>
                  <a:lnTo>
                    <a:pt x="96" y="228"/>
                  </a:lnTo>
                  <a:lnTo>
                    <a:pt x="102" y="236"/>
                  </a:lnTo>
                  <a:lnTo>
                    <a:pt x="110" y="248"/>
                  </a:lnTo>
                  <a:lnTo>
                    <a:pt x="110" y="264"/>
                  </a:lnTo>
                  <a:lnTo>
                    <a:pt x="116" y="274"/>
                  </a:lnTo>
                  <a:lnTo>
                    <a:pt x="112" y="286"/>
                  </a:lnTo>
                  <a:lnTo>
                    <a:pt x="100" y="296"/>
                  </a:lnTo>
                  <a:lnTo>
                    <a:pt x="98" y="288"/>
                  </a:lnTo>
                  <a:lnTo>
                    <a:pt x="100" y="280"/>
                  </a:lnTo>
                  <a:lnTo>
                    <a:pt x="100" y="270"/>
                  </a:lnTo>
                  <a:lnTo>
                    <a:pt x="100" y="256"/>
                  </a:lnTo>
                  <a:lnTo>
                    <a:pt x="98" y="250"/>
                  </a:lnTo>
                  <a:lnTo>
                    <a:pt x="90" y="230"/>
                  </a:lnTo>
                  <a:lnTo>
                    <a:pt x="90" y="214"/>
                  </a:lnTo>
                  <a:lnTo>
                    <a:pt x="84" y="200"/>
                  </a:lnTo>
                  <a:lnTo>
                    <a:pt x="74" y="188"/>
                  </a:lnTo>
                  <a:lnTo>
                    <a:pt x="68" y="200"/>
                  </a:lnTo>
                  <a:lnTo>
                    <a:pt x="56" y="204"/>
                  </a:lnTo>
                  <a:lnTo>
                    <a:pt x="54" y="212"/>
                  </a:lnTo>
                  <a:lnTo>
                    <a:pt x="42" y="212"/>
                  </a:lnTo>
                  <a:lnTo>
                    <a:pt x="36" y="204"/>
                  </a:lnTo>
                  <a:lnTo>
                    <a:pt x="36" y="190"/>
                  </a:lnTo>
                  <a:lnTo>
                    <a:pt x="38" y="176"/>
                  </a:lnTo>
                  <a:lnTo>
                    <a:pt x="34" y="166"/>
                  </a:lnTo>
                  <a:lnTo>
                    <a:pt x="26" y="158"/>
                  </a:lnTo>
                  <a:lnTo>
                    <a:pt x="14" y="138"/>
                  </a:lnTo>
                  <a:lnTo>
                    <a:pt x="0" y="12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38" name="Freeform 234">
              <a:extLst>
                <a:ext uri="{FF2B5EF4-FFF2-40B4-BE49-F238E27FC236}">
                  <a16:creationId xmlns:a16="http://schemas.microsoft.com/office/drawing/2014/main" id="{D84B26F8-0180-4F99-B274-5CE3C7145ADF}"/>
                </a:ext>
              </a:extLst>
            </p:cNvPr>
            <p:cNvSpPr>
              <a:spLocks/>
            </p:cNvSpPr>
            <p:nvPr/>
          </p:nvSpPr>
          <p:spPr bwMode="gray">
            <a:xfrm>
              <a:off x="8375865" y="4146932"/>
              <a:ext cx="214639" cy="398359"/>
            </a:xfrm>
            <a:custGeom>
              <a:avLst/>
              <a:gdLst>
                <a:gd name="T0" fmla="*/ 20 w 130"/>
                <a:gd name="T1" fmla="*/ 198 h 240"/>
                <a:gd name="T2" fmla="*/ 14 w 130"/>
                <a:gd name="T3" fmla="*/ 174 h 240"/>
                <a:gd name="T4" fmla="*/ 28 w 130"/>
                <a:gd name="T5" fmla="*/ 152 h 240"/>
                <a:gd name="T6" fmla="*/ 26 w 130"/>
                <a:gd name="T7" fmla="*/ 130 h 240"/>
                <a:gd name="T8" fmla="*/ 18 w 130"/>
                <a:gd name="T9" fmla="*/ 102 h 240"/>
                <a:gd name="T10" fmla="*/ 20 w 130"/>
                <a:gd name="T11" fmla="*/ 74 h 240"/>
                <a:gd name="T12" fmla="*/ 4 w 130"/>
                <a:gd name="T13" fmla="*/ 50 h 240"/>
                <a:gd name="T14" fmla="*/ 4 w 130"/>
                <a:gd name="T15" fmla="*/ 24 h 240"/>
                <a:gd name="T16" fmla="*/ 22 w 130"/>
                <a:gd name="T17" fmla="*/ 10 h 240"/>
                <a:gd name="T18" fmla="*/ 48 w 130"/>
                <a:gd name="T19" fmla="*/ 6 h 240"/>
                <a:gd name="T20" fmla="*/ 56 w 130"/>
                <a:gd name="T21" fmla="*/ 16 h 240"/>
                <a:gd name="T22" fmla="*/ 56 w 130"/>
                <a:gd name="T23" fmla="*/ 34 h 240"/>
                <a:gd name="T24" fmla="*/ 68 w 130"/>
                <a:gd name="T25" fmla="*/ 42 h 240"/>
                <a:gd name="T26" fmla="*/ 88 w 130"/>
                <a:gd name="T27" fmla="*/ 40 h 240"/>
                <a:gd name="T28" fmla="*/ 116 w 130"/>
                <a:gd name="T29" fmla="*/ 50 h 240"/>
                <a:gd name="T30" fmla="*/ 130 w 130"/>
                <a:gd name="T31" fmla="*/ 76 h 240"/>
                <a:gd name="T32" fmla="*/ 126 w 130"/>
                <a:gd name="T33" fmla="*/ 98 h 240"/>
                <a:gd name="T34" fmla="*/ 78 w 130"/>
                <a:gd name="T35" fmla="*/ 112 h 240"/>
                <a:gd name="T36" fmla="*/ 82 w 130"/>
                <a:gd name="T37" fmla="*/ 130 h 240"/>
                <a:gd name="T38" fmla="*/ 84 w 130"/>
                <a:gd name="T39" fmla="*/ 144 h 240"/>
                <a:gd name="T40" fmla="*/ 56 w 130"/>
                <a:gd name="T41" fmla="*/ 126 h 240"/>
                <a:gd name="T42" fmla="*/ 44 w 130"/>
                <a:gd name="T43" fmla="*/ 116 h 240"/>
                <a:gd name="T44" fmla="*/ 40 w 130"/>
                <a:gd name="T45" fmla="*/ 132 h 240"/>
                <a:gd name="T46" fmla="*/ 32 w 130"/>
                <a:gd name="T47" fmla="*/ 154 h 240"/>
                <a:gd name="T48" fmla="*/ 24 w 130"/>
                <a:gd name="T49" fmla="*/ 178 h 240"/>
                <a:gd name="T50" fmla="*/ 40 w 130"/>
                <a:gd name="T51" fmla="*/ 186 h 240"/>
                <a:gd name="T52" fmla="*/ 46 w 130"/>
                <a:gd name="T53" fmla="*/ 210 h 240"/>
                <a:gd name="T54" fmla="*/ 64 w 130"/>
                <a:gd name="T55" fmla="*/ 222 h 240"/>
                <a:gd name="T56" fmla="*/ 68 w 130"/>
                <a:gd name="T57" fmla="*/ 234 h 240"/>
                <a:gd name="T58" fmla="*/ 56 w 130"/>
                <a:gd name="T59" fmla="*/ 238 h 240"/>
                <a:gd name="T60" fmla="*/ 52 w 130"/>
                <a:gd name="T61" fmla="*/ 226 h 240"/>
                <a:gd name="T62" fmla="*/ 34 w 130"/>
                <a:gd name="T63" fmla="*/ 214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0" h="240">
                  <a:moveTo>
                    <a:pt x="34" y="214"/>
                  </a:moveTo>
                  <a:lnTo>
                    <a:pt x="20" y="198"/>
                  </a:lnTo>
                  <a:lnTo>
                    <a:pt x="12" y="194"/>
                  </a:lnTo>
                  <a:lnTo>
                    <a:pt x="14" y="174"/>
                  </a:lnTo>
                  <a:lnTo>
                    <a:pt x="16" y="162"/>
                  </a:lnTo>
                  <a:lnTo>
                    <a:pt x="28" y="152"/>
                  </a:lnTo>
                  <a:lnTo>
                    <a:pt x="32" y="140"/>
                  </a:lnTo>
                  <a:lnTo>
                    <a:pt x="26" y="130"/>
                  </a:lnTo>
                  <a:lnTo>
                    <a:pt x="26" y="114"/>
                  </a:lnTo>
                  <a:lnTo>
                    <a:pt x="18" y="102"/>
                  </a:lnTo>
                  <a:lnTo>
                    <a:pt x="12" y="94"/>
                  </a:lnTo>
                  <a:lnTo>
                    <a:pt x="20" y="74"/>
                  </a:lnTo>
                  <a:lnTo>
                    <a:pt x="14" y="58"/>
                  </a:lnTo>
                  <a:lnTo>
                    <a:pt x="4" y="50"/>
                  </a:lnTo>
                  <a:lnTo>
                    <a:pt x="0" y="30"/>
                  </a:lnTo>
                  <a:lnTo>
                    <a:pt x="4" y="24"/>
                  </a:lnTo>
                  <a:lnTo>
                    <a:pt x="4" y="12"/>
                  </a:lnTo>
                  <a:lnTo>
                    <a:pt x="22" y="10"/>
                  </a:lnTo>
                  <a:lnTo>
                    <a:pt x="36" y="0"/>
                  </a:lnTo>
                  <a:lnTo>
                    <a:pt x="48" y="6"/>
                  </a:lnTo>
                  <a:lnTo>
                    <a:pt x="48" y="14"/>
                  </a:lnTo>
                  <a:lnTo>
                    <a:pt x="56" y="16"/>
                  </a:lnTo>
                  <a:lnTo>
                    <a:pt x="60" y="30"/>
                  </a:lnTo>
                  <a:lnTo>
                    <a:pt x="56" y="34"/>
                  </a:lnTo>
                  <a:lnTo>
                    <a:pt x="56" y="48"/>
                  </a:lnTo>
                  <a:lnTo>
                    <a:pt x="68" y="42"/>
                  </a:lnTo>
                  <a:lnTo>
                    <a:pt x="76" y="36"/>
                  </a:lnTo>
                  <a:lnTo>
                    <a:pt x="88" y="40"/>
                  </a:lnTo>
                  <a:lnTo>
                    <a:pt x="100" y="32"/>
                  </a:lnTo>
                  <a:lnTo>
                    <a:pt x="116" y="50"/>
                  </a:lnTo>
                  <a:lnTo>
                    <a:pt x="120" y="66"/>
                  </a:lnTo>
                  <a:lnTo>
                    <a:pt x="130" y="76"/>
                  </a:lnTo>
                  <a:lnTo>
                    <a:pt x="130" y="86"/>
                  </a:lnTo>
                  <a:lnTo>
                    <a:pt x="126" y="98"/>
                  </a:lnTo>
                  <a:lnTo>
                    <a:pt x="86" y="100"/>
                  </a:lnTo>
                  <a:lnTo>
                    <a:pt x="78" y="112"/>
                  </a:lnTo>
                  <a:lnTo>
                    <a:pt x="78" y="120"/>
                  </a:lnTo>
                  <a:lnTo>
                    <a:pt x="82" y="130"/>
                  </a:lnTo>
                  <a:lnTo>
                    <a:pt x="86" y="140"/>
                  </a:lnTo>
                  <a:lnTo>
                    <a:pt x="84" y="144"/>
                  </a:lnTo>
                  <a:lnTo>
                    <a:pt x="72" y="128"/>
                  </a:lnTo>
                  <a:lnTo>
                    <a:pt x="56" y="126"/>
                  </a:lnTo>
                  <a:lnTo>
                    <a:pt x="56" y="116"/>
                  </a:lnTo>
                  <a:lnTo>
                    <a:pt x="44" y="116"/>
                  </a:lnTo>
                  <a:lnTo>
                    <a:pt x="40" y="120"/>
                  </a:lnTo>
                  <a:lnTo>
                    <a:pt x="40" y="132"/>
                  </a:lnTo>
                  <a:lnTo>
                    <a:pt x="38" y="140"/>
                  </a:lnTo>
                  <a:lnTo>
                    <a:pt x="32" y="154"/>
                  </a:lnTo>
                  <a:lnTo>
                    <a:pt x="28" y="162"/>
                  </a:lnTo>
                  <a:lnTo>
                    <a:pt x="24" y="178"/>
                  </a:lnTo>
                  <a:lnTo>
                    <a:pt x="30" y="182"/>
                  </a:lnTo>
                  <a:lnTo>
                    <a:pt x="40" y="186"/>
                  </a:lnTo>
                  <a:lnTo>
                    <a:pt x="42" y="192"/>
                  </a:lnTo>
                  <a:lnTo>
                    <a:pt x="46" y="210"/>
                  </a:lnTo>
                  <a:lnTo>
                    <a:pt x="52" y="218"/>
                  </a:lnTo>
                  <a:lnTo>
                    <a:pt x="64" y="222"/>
                  </a:lnTo>
                  <a:lnTo>
                    <a:pt x="72" y="230"/>
                  </a:lnTo>
                  <a:lnTo>
                    <a:pt x="68" y="234"/>
                  </a:lnTo>
                  <a:lnTo>
                    <a:pt x="66" y="240"/>
                  </a:lnTo>
                  <a:lnTo>
                    <a:pt x="56" y="238"/>
                  </a:lnTo>
                  <a:lnTo>
                    <a:pt x="58" y="230"/>
                  </a:lnTo>
                  <a:lnTo>
                    <a:pt x="52" y="226"/>
                  </a:lnTo>
                  <a:lnTo>
                    <a:pt x="42" y="224"/>
                  </a:lnTo>
                  <a:lnTo>
                    <a:pt x="34" y="21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39" name="Freeform 235">
              <a:extLst>
                <a:ext uri="{FF2B5EF4-FFF2-40B4-BE49-F238E27FC236}">
                  <a16:creationId xmlns:a16="http://schemas.microsoft.com/office/drawing/2014/main" id="{795A2B88-C08F-4E4B-B343-EC51D597C977}"/>
                </a:ext>
              </a:extLst>
            </p:cNvPr>
            <p:cNvSpPr>
              <a:spLocks/>
            </p:cNvSpPr>
            <p:nvPr/>
          </p:nvSpPr>
          <p:spPr bwMode="gray">
            <a:xfrm>
              <a:off x="8445210" y="4518733"/>
              <a:ext cx="105669" cy="136106"/>
            </a:xfrm>
            <a:custGeom>
              <a:avLst/>
              <a:gdLst>
                <a:gd name="T0" fmla="*/ 0 w 64"/>
                <a:gd name="T1" fmla="*/ 0 h 82"/>
                <a:gd name="T2" fmla="*/ 10 w 64"/>
                <a:gd name="T3" fmla="*/ 2 h 82"/>
                <a:gd name="T4" fmla="*/ 16 w 64"/>
                <a:gd name="T5" fmla="*/ 6 h 82"/>
                <a:gd name="T6" fmla="*/ 14 w 64"/>
                <a:gd name="T7" fmla="*/ 14 h 82"/>
                <a:gd name="T8" fmla="*/ 24 w 64"/>
                <a:gd name="T9" fmla="*/ 16 h 82"/>
                <a:gd name="T10" fmla="*/ 26 w 64"/>
                <a:gd name="T11" fmla="*/ 10 h 82"/>
                <a:gd name="T12" fmla="*/ 30 w 64"/>
                <a:gd name="T13" fmla="*/ 6 h 82"/>
                <a:gd name="T14" fmla="*/ 40 w 64"/>
                <a:gd name="T15" fmla="*/ 14 h 82"/>
                <a:gd name="T16" fmla="*/ 52 w 64"/>
                <a:gd name="T17" fmla="*/ 30 h 82"/>
                <a:gd name="T18" fmla="*/ 52 w 64"/>
                <a:gd name="T19" fmla="*/ 40 h 82"/>
                <a:gd name="T20" fmla="*/ 54 w 64"/>
                <a:gd name="T21" fmla="*/ 62 h 82"/>
                <a:gd name="T22" fmla="*/ 60 w 64"/>
                <a:gd name="T23" fmla="*/ 70 h 82"/>
                <a:gd name="T24" fmla="*/ 64 w 64"/>
                <a:gd name="T25" fmla="*/ 78 h 82"/>
                <a:gd name="T26" fmla="*/ 64 w 64"/>
                <a:gd name="T27" fmla="*/ 82 h 82"/>
                <a:gd name="T28" fmla="*/ 54 w 64"/>
                <a:gd name="T29" fmla="*/ 82 h 82"/>
                <a:gd name="T30" fmla="*/ 36 w 64"/>
                <a:gd name="T31" fmla="*/ 72 h 82"/>
                <a:gd name="T32" fmla="*/ 16 w 64"/>
                <a:gd name="T33" fmla="*/ 60 h 82"/>
                <a:gd name="T34" fmla="*/ 18 w 64"/>
                <a:gd name="T35" fmla="*/ 52 h 82"/>
                <a:gd name="T36" fmla="*/ 10 w 64"/>
                <a:gd name="T37" fmla="*/ 42 h 82"/>
                <a:gd name="T38" fmla="*/ 4 w 64"/>
                <a:gd name="T39" fmla="*/ 26 h 82"/>
                <a:gd name="T40" fmla="*/ 4 w 64"/>
                <a:gd name="T41" fmla="*/ 10 h 82"/>
                <a:gd name="T42" fmla="*/ 0 w 64"/>
                <a:gd name="T43"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4" h="82">
                  <a:moveTo>
                    <a:pt x="0" y="0"/>
                  </a:moveTo>
                  <a:lnTo>
                    <a:pt x="10" y="2"/>
                  </a:lnTo>
                  <a:lnTo>
                    <a:pt x="16" y="6"/>
                  </a:lnTo>
                  <a:lnTo>
                    <a:pt x="14" y="14"/>
                  </a:lnTo>
                  <a:lnTo>
                    <a:pt x="24" y="16"/>
                  </a:lnTo>
                  <a:lnTo>
                    <a:pt x="26" y="10"/>
                  </a:lnTo>
                  <a:lnTo>
                    <a:pt x="30" y="6"/>
                  </a:lnTo>
                  <a:lnTo>
                    <a:pt x="40" y="14"/>
                  </a:lnTo>
                  <a:lnTo>
                    <a:pt x="52" y="30"/>
                  </a:lnTo>
                  <a:lnTo>
                    <a:pt x="52" y="40"/>
                  </a:lnTo>
                  <a:lnTo>
                    <a:pt x="54" y="62"/>
                  </a:lnTo>
                  <a:lnTo>
                    <a:pt x="60" y="70"/>
                  </a:lnTo>
                  <a:lnTo>
                    <a:pt x="64" y="78"/>
                  </a:lnTo>
                  <a:lnTo>
                    <a:pt x="64" y="82"/>
                  </a:lnTo>
                  <a:lnTo>
                    <a:pt x="54" y="82"/>
                  </a:lnTo>
                  <a:lnTo>
                    <a:pt x="36" y="72"/>
                  </a:lnTo>
                  <a:lnTo>
                    <a:pt x="16" y="60"/>
                  </a:lnTo>
                  <a:lnTo>
                    <a:pt x="18" y="52"/>
                  </a:lnTo>
                  <a:lnTo>
                    <a:pt x="10" y="42"/>
                  </a:lnTo>
                  <a:lnTo>
                    <a:pt x="4" y="26"/>
                  </a:lnTo>
                  <a:lnTo>
                    <a:pt x="4" y="10"/>
                  </a:lnTo>
                  <a:lnTo>
                    <a:pt x="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40" name="Freeform 236">
              <a:extLst>
                <a:ext uri="{FF2B5EF4-FFF2-40B4-BE49-F238E27FC236}">
                  <a16:creationId xmlns:a16="http://schemas.microsoft.com/office/drawing/2014/main" id="{09ED6093-94B8-4462-93DC-C3715D36D057}"/>
                </a:ext>
              </a:extLst>
            </p:cNvPr>
            <p:cNvSpPr>
              <a:spLocks/>
            </p:cNvSpPr>
            <p:nvPr/>
          </p:nvSpPr>
          <p:spPr bwMode="gray">
            <a:xfrm>
              <a:off x="8696173" y="4512094"/>
              <a:ext cx="254266" cy="156024"/>
            </a:xfrm>
            <a:custGeom>
              <a:avLst/>
              <a:gdLst>
                <a:gd name="T0" fmla="*/ 0 w 154"/>
                <a:gd name="T1" fmla="*/ 84 h 94"/>
                <a:gd name="T2" fmla="*/ 10 w 154"/>
                <a:gd name="T3" fmla="*/ 94 h 94"/>
                <a:gd name="T4" fmla="*/ 22 w 154"/>
                <a:gd name="T5" fmla="*/ 94 h 94"/>
                <a:gd name="T6" fmla="*/ 30 w 154"/>
                <a:gd name="T7" fmla="*/ 92 h 94"/>
                <a:gd name="T8" fmla="*/ 44 w 154"/>
                <a:gd name="T9" fmla="*/ 86 h 94"/>
                <a:gd name="T10" fmla="*/ 52 w 154"/>
                <a:gd name="T11" fmla="*/ 84 h 94"/>
                <a:gd name="T12" fmla="*/ 60 w 154"/>
                <a:gd name="T13" fmla="*/ 92 h 94"/>
                <a:gd name="T14" fmla="*/ 72 w 154"/>
                <a:gd name="T15" fmla="*/ 86 h 94"/>
                <a:gd name="T16" fmla="*/ 84 w 154"/>
                <a:gd name="T17" fmla="*/ 74 h 94"/>
                <a:gd name="T18" fmla="*/ 94 w 154"/>
                <a:gd name="T19" fmla="*/ 56 h 94"/>
                <a:gd name="T20" fmla="*/ 96 w 154"/>
                <a:gd name="T21" fmla="*/ 44 h 94"/>
                <a:gd name="T22" fmla="*/ 102 w 154"/>
                <a:gd name="T23" fmla="*/ 40 h 94"/>
                <a:gd name="T24" fmla="*/ 118 w 154"/>
                <a:gd name="T25" fmla="*/ 38 h 94"/>
                <a:gd name="T26" fmla="*/ 126 w 154"/>
                <a:gd name="T27" fmla="*/ 44 h 94"/>
                <a:gd name="T28" fmla="*/ 138 w 154"/>
                <a:gd name="T29" fmla="*/ 44 h 94"/>
                <a:gd name="T30" fmla="*/ 142 w 154"/>
                <a:gd name="T31" fmla="*/ 40 h 94"/>
                <a:gd name="T32" fmla="*/ 134 w 154"/>
                <a:gd name="T33" fmla="*/ 34 h 94"/>
                <a:gd name="T34" fmla="*/ 140 w 154"/>
                <a:gd name="T35" fmla="*/ 30 h 94"/>
                <a:gd name="T36" fmla="*/ 148 w 154"/>
                <a:gd name="T37" fmla="*/ 30 h 94"/>
                <a:gd name="T38" fmla="*/ 154 w 154"/>
                <a:gd name="T39" fmla="*/ 28 h 94"/>
                <a:gd name="T40" fmla="*/ 140 w 154"/>
                <a:gd name="T41" fmla="*/ 20 h 94"/>
                <a:gd name="T42" fmla="*/ 132 w 154"/>
                <a:gd name="T43" fmla="*/ 16 h 94"/>
                <a:gd name="T44" fmla="*/ 124 w 154"/>
                <a:gd name="T45" fmla="*/ 8 h 94"/>
                <a:gd name="T46" fmla="*/ 120 w 154"/>
                <a:gd name="T47" fmla="*/ 2 h 94"/>
                <a:gd name="T48" fmla="*/ 110 w 154"/>
                <a:gd name="T49" fmla="*/ 0 h 94"/>
                <a:gd name="T50" fmla="*/ 102 w 154"/>
                <a:gd name="T51" fmla="*/ 10 h 94"/>
                <a:gd name="T52" fmla="*/ 96 w 154"/>
                <a:gd name="T53" fmla="*/ 18 h 94"/>
                <a:gd name="T54" fmla="*/ 92 w 154"/>
                <a:gd name="T55" fmla="*/ 22 h 94"/>
                <a:gd name="T56" fmla="*/ 88 w 154"/>
                <a:gd name="T57" fmla="*/ 28 h 94"/>
                <a:gd name="T58" fmla="*/ 98 w 154"/>
                <a:gd name="T59" fmla="*/ 36 h 94"/>
                <a:gd name="T60" fmla="*/ 94 w 154"/>
                <a:gd name="T61" fmla="*/ 40 h 94"/>
                <a:gd name="T62" fmla="*/ 88 w 154"/>
                <a:gd name="T63" fmla="*/ 36 h 94"/>
                <a:gd name="T64" fmla="*/ 84 w 154"/>
                <a:gd name="T65" fmla="*/ 38 h 94"/>
                <a:gd name="T66" fmla="*/ 82 w 154"/>
                <a:gd name="T67" fmla="*/ 46 h 94"/>
                <a:gd name="T68" fmla="*/ 76 w 154"/>
                <a:gd name="T69" fmla="*/ 46 h 94"/>
                <a:gd name="T70" fmla="*/ 68 w 154"/>
                <a:gd name="T71" fmla="*/ 40 h 94"/>
                <a:gd name="T72" fmla="*/ 60 w 154"/>
                <a:gd name="T73" fmla="*/ 54 h 94"/>
                <a:gd name="T74" fmla="*/ 52 w 154"/>
                <a:gd name="T75" fmla="*/ 64 h 94"/>
                <a:gd name="T76" fmla="*/ 40 w 154"/>
                <a:gd name="T77" fmla="*/ 62 h 94"/>
                <a:gd name="T78" fmla="*/ 28 w 154"/>
                <a:gd name="T79" fmla="*/ 66 h 94"/>
                <a:gd name="T80" fmla="*/ 22 w 154"/>
                <a:gd name="T81" fmla="*/ 78 h 94"/>
                <a:gd name="T82" fmla="*/ 26 w 154"/>
                <a:gd name="T83" fmla="*/ 84 h 94"/>
                <a:gd name="T84" fmla="*/ 28 w 154"/>
                <a:gd name="T85" fmla="*/ 88 h 94"/>
                <a:gd name="T86" fmla="*/ 20 w 154"/>
                <a:gd name="T87" fmla="*/ 92 h 94"/>
                <a:gd name="T88" fmla="*/ 14 w 154"/>
                <a:gd name="T89" fmla="*/ 84 h 94"/>
                <a:gd name="T90" fmla="*/ 10 w 154"/>
                <a:gd name="T91" fmla="*/ 80 h 94"/>
                <a:gd name="T92" fmla="*/ 0 w 154"/>
                <a:gd name="T93" fmla="*/ 8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4" h="94">
                  <a:moveTo>
                    <a:pt x="0" y="84"/>
                  </a:moveTo>
                  <a:lnTo>
                    <a:pt x="10" y="94"/>
                  </a:lnTo>
                  <a:lnTo>
                    <a:pt x="22" y="94"/>
                  </a:lnTo>
                  <a:lnTo>
                    <a:pt x="30" y="92"/>
                  </a:lnTo>
                  <a:lnTo>
                    <a:pt x="44" y="86"/>
                  </a:lnTo>
                  <a:lnTo>
                    <a:pt x="52" y="84"/>
                  </a:lnTo>
                  <a:lnTo>
                    <a:pt x="60" y="92"/>
                  </a:lnTo>
                  <a:lnTo>
                    <a:pt x="72" y="86"/>
                  </a:lnTo>
                  <a:lnTo>
                    <a:pt x="84" y="74"/>
                  </a:lnTo>
                  <a:lnTo>
                    <a:pt x="94" y="56"/>
                  </a:lnTo>
                  <a:lnTo>
                    <a:pt x="96" y="44"/>
                  </a:lnTo>
                  <a:lnTo>
                    <a:pt x="102" y="40"/>
                  </a:lnTo>
                  <a:lnTo>
                    <a:pt x="118" y="38"/>
                  </a:lnTo>
                  <a:lnTo>
                    <a:pt x="126" y="44"/>
                  </a:lnTo>
                  <a:lnTo>
                    <a:pt x="138" y="44"/>
                  </a:lnTo>
                  <a:lnTo>
                    <a:pt x="142" y="40"/>
                  </a:lnTo>
                  <a:lnTo>
                    <a:pt x="134" y="34"/>
                  </a:lnTo>
                  <a:lnTo>
                    <a:pt x="140" y="30"/>
                  </a:lnTo>
                  <a:lnTo>
                    <a:pt x="148" y="30"/>
                  </a:lnTo>
                  <a:lnTo>
                    <a:pt x="154" y="28"/>
                  </a:lnTo>
                  <a:lnTo>
                    <a:pt x="140" y="20"/>
                  </a:lnTo>
                  <a:lnTo>
                    <a:pt x="132" y="16"/>
                  </a:lnTo>
                  <a:lnTo>
                    <a:pt x="124" y="8"/>
                  </a:lnTo>
                  <a:lnTo>
                    <a:pt x="120" y="2"/>
                  </a:lnTo>
                  <a:lnTo>
                    <a:pt x="110" y="0"/>
                  </a:lnTo>
                  <a:lnTo>
                    <a:pt x="102" y="10"/>
                  </a:lnTo>
                  <a:lnTo>
                    <a:pt x="96" y="18"/>
                  </a:lnTo>
                  <a:lnTo>
                    <a:pt x="92" y="22"/>
                  </a:lnTo>
                  <a:lnTo>
                    <a:pt x="88" y="28"/>
                  </a:lnTo>
                  <a:lnTo>
                    <a:pt x="98" y="36"/>
                  </a:lnTo>
                  <a:lnTo>
                    <a:pt x="94" y="40"/>
                  </a:lnTo>
                  <a:lnTo>
                    <a:pt x="88" y="36"/>
                  </a:lnTo>
                  <a:lnTo>
                    <a:pt x="84" y="38"/>
                  </a:lnTo>
                  <a:lnTo>
                    <a:pt x="82" y="46"/>
                  </a:lnTo>
                  <a:lnTo>
                    <a:pt x="76" y="46"/>
                  </a:lnTo>
                  <a:lnTo>
                    <a:pt x="68" y="40"/>
                  </a:lnTo>
                  <a:lnTo>
                    <a:pt x="60" y="54"/>
                  </a:lnTo>
                  <a:lnTo>
                    <a:pt x="52" y="64"/>
                  </a:lnTo>
                  <a:lnTo>
                    <a:pt x="40" y="62"/>
                  </a:lnTo>
                  <a:lnTo>
                    <a:pt x="28" y="66"/>
                  </a:lnTo>
                  <a:lnTo>
                    <a:pt x="22" y="78"/>
                  </a:lnTo>
                  <a:lnTo>
                    <a:pt x="26" y="84"/>
                  </a:lnTo>
                  <a:lnTo>
                    <a:pt x="28" y="88"/>
                  </a:lnTo>
                  <a:lnTo>
                    <a:pt x="20" y="92"/>
                  </a:lnTo>
                  <a:lnTo>
                    <a:pt x="14" y="84"/>
                  </a:lnTo>
                  <a:lnTo>
                    <a:pt x="10" y="80"/>
                  </a:lnTo>
                  <a:lnTo>
                    <a:pt x="0" y="8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41" name="Freeform 237">
              <a:extLst>
                <a:ext uri="{FF2B5EF4-FFF2-40B4-BE49-F238E27FC236}">
                  <a16:creationId xmlns:a16="http://schemas.microsoft.com/office/drawing/2014/main" id="{B767C1F7-7DAB-42B2-AD34-21D25075128B}"/>
                </a:ext>
              </a:extLst>
            </p:cNvPr>
            <p:cNvSpPr>
              <a:spLocks/>
            </p:cNvSpPr>
            <p:nvPr/>
          </p:nvSpPr>
          <p:spPr bwMode="gray">
            <a:xfrm>
              <a:off x="8673058" y="4575168"/>
              <a:ext cx="264171" cy="222418"/>
            </a:xfrm>
            <a:custGeom>
              <a:avLst/>
              <a:gdLst>
                <a:gd name="T0" fmla="*/ 14 w 160"/>
                <a:gd name="T1" fmla="*/ 46 h 134"/>
                <a:gd name="T2" fmla="*/ 24 w 160"/>
                <a:gd name="T3" fmla="*/ 56 h 134"/>
                <a:gd name="T4" fmla="*/ 36 w 160"/>
                <a:gd name="T5" fmla="*/ 56 h 134"/>
                <a:gd name="T6" fmla="*/ 44 w 160"/>
                <a:gd name="T7" fmla="*/ 54 h 134"/>
                <a:gd name="T8" fmla="*/ 66 w 160"/>
                <a:gd name="T9" fmla="*/ 46 h 134"/>
                <a:gd name="T10" fmla="*/ 74 w 160"/>
                <a:gd name="T11" fmla="*/ 54 h 134"/>
                <a:gd name="T12" fmla="*/ 86 w 160"/>
                <a:gd name="T13" fmla="*/ 48 h 134"/>
                <a:gd name="T14" fmla="*/ 98 w 160"/>
                <a:gd name="T15" fmla="*/ 36 h 134"/>
                <a:gd name="T16" fmla="*/ 108 w 160"/>
                <a:gd name="T17" fmla="*/ 18 h 134"/>
                <a:gd name="T18" fmla="*/ 110 w 160"/>
                <a:gd name="T19" fmla="*/ 6 h 134"/>
                <a:gd name="T20" fmla="*/ 116 w 160"/>
                <a:gd name="T21" fmla="*/ 2 h 134"/>
                <a:gd name="T22" fmla="*/ 132 w 160"/>
                <a:gd name="T23" fmla="*/ 0 h 134"/>
                <a:gd name="T24" fmla="*/ 140 w 160"/>
                <a:gd name="T25" fmla="*/ 6 h 134"/>
                <a:gd name="T26" fmla="*/ 138 w 160"/>
                <a:gd name="T27" fmla="*/ 14 h 134"/>
                <a:gd name="T28" fmla="*/ 132 w 160"/>
                <a:gd name="T29" fmla="*/ 16 h 134"/>
                <a:gd name="T30" fmla="*/ 140 w 160"/>
                <a:gd name="T31" fmla="*/ 26 h 134"/>
                <a:gd name="T32" fmla="*/ 146 w 160"/>
                <a:gd name="T33" fmla="*/ 42 h 134"/>
                <a:gd name="T34" fmla="*/ 150 w 160"/>
                <a:gd name="T35" fmla="*/ 48 h 134"/>
                <a:gd name="T36" fmla="*/ 160 w 160"/>
                <a:gd name="T37" fmla="*/ 56 h 134"/>
                <a:gd name="T38" fmla="*/ 156 w 160"/>
                <a:gd name="T39" fmla="*/ 60 h 134"/>
                <a:gd name="T40" fmla="*/ 144 w 160"/>
                <a:gd name="T41" fmla="*/ 58 h 134"/>
                <a:gd name="T42" fmla="*/ 138 w 160"/>
                <a:gd name="T43" fmla="*/ 64 h 134"/>
                <a:gd name="T44" fmla="*/ 136 w 160"/>
                <a:gd name="T45" fmla="*/ 84 h 134"/>
                <a:gd name="T46" fmla="*/ 120 w 160"/>
                <a:gd name="T47" fmla="*/ 96 h 134"/>
                <a:gd name="T48" fmla="*/ 122 w 160"/>
                <a:gd name="T49" fmla="*/ 112 h 134"/>
                <a:gd name="T50" fmla="*/ 120 w 160"/>
                <a:gd name="T51" fmla="*/ 118 h 134"/>
                <a:gd name="T52" fmla="*/ 118 w 160"/>
                <a:gd name="T53" fmla="*/ 134 h 134"/>
                <a:gd name="T54" fmla="*/ 94 w 160"/>
                <a:gd name="T55" fmla="*/ 132 h 134"/>
                <a:gd name="T56" fmla="*/ 92 w 160"/>
                <a:gd name="T57" fmla="*/ 124 h 134"/>
                <a:gd name="T58" fmla="*/ 64 w 160"/>
                <a:gd name="T59" fmla="*/ 120 h 134"/>
                <a:gd name="T60" fmla="*/ 60 w 160"/>
                <a:gd name="T61" fmla="*/ 126 h 134"/>
                <a:gd name="T62" fmla="*/ 46 w 160"/>
                <a:gd name="T63" fmla="*/ 124 h 134"/>
                <a:gd name="T64" fmla="*/ 44 w 160"/>
                <a:gd name="T65" fmla="*/ 116 h 134"/>
                <a:gd name="T66" fmla="*/ 24 w 160"/>
                <a:gd name="T67" fmla="*/ 116 h 134"/>
                <a:gd name="T68" fmla="*/ 20 w 160"/>
                <a:gd name="T69" fmla="*/ 96 h 134"/>
                <a:gd name="T70" fmla="*/ 12 w 160"/>
                <a:gd name="T71" fmla="*/ 86 h 134"/>
                <a:gd name="T72" fmla="*/ 2 w 160"/>
                <a:gd name="T73" fmla="*/ 66 h 134"/>
                <a:gd name="T74" fmla="*/ 0 w 160"/>
                <a:gd name="T75" fmla="*/ 54 h 134"/>
                <a:gd name="T76" fmla="*/ 6 w 160"/>
                <a:gd name="T77" fmla="*/ 46 h 134"/>
                <a:gd name="T78" fmla="*/ 14 w 160"/>
                <a:gd name="T79" fmla="*/ 46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0" h="134">
                  <a:moveTo>
                    <a:pt x="14" y="46"/>
                  </a:moveTo>
                  <a:lnTo>
                    <a:pt x="24" y="56"/>
                  </a:lnTo>
                  <a:lnTo>
                    <a:pt x="36" y="56"/>
                  </a:lnTo>
                  <a:lnTo>
                    <a:pt x="44" y="54"/>
                  </a:lnTo>
                  <a:lnTo>
                    <a:pt x="66" y="46"/>
                  </a:lnTo>
                  <a:lnTo>
                    <a:pt x="74" y="54"/>
                  </a:lnTo>
                  <a:lnTo>
                    <a:pt x="86" y="48"/>
                  </a:lnTo>
                  <a:lnTo>
                    <a:pt x="98" y="36"/>
                  </a:lnTo>
                  <a:lnTo>
                    <a:pt x="108" y="18"/>
                  </a:lnTo>
                  <a:lnTo>
                    <a:pt x="110" y="6"/>
                  </a:lnTo>
                  <a:lnTo>
                    <a:pt x="116" y="2"/>
                  </a:lnTo>
                  <a:lnTo>
                    <a:pt x="132" y="0"/>
                  </a:lnTo>
                  <a:lnTo>
                    <a:pt x="140" y="6"/>
                  </a:lnTo>
                  <a:lnTo>
                    <a:pt x="138" y="14"/>
                  </a:lnTo>
                  <a:lnTo>
                    <a:pt x="132" y="16"/>
                  </a:lnTo>
                  <a:lnTo>
                    <a:pt x="140" y="26"/>
                  </a:lnTo>
                  <a:lnTo>
                    <a:pt x="146" y="42"/>
                  </a:lnTo>
                  <a:lnTo>
                    <a:pt x="150" y="48"/>
                  </a:lnTo>
                  <a:lnTo>
                    <a:pt x="160" y="56"/>
                  </a:lnTo>
                  <a:lnTo>
                    <a:pt x="156" y="60"/>
                  </a:lnTo>
                  <a:lnTo>
                    <a:pt x="144" y="58"/>
                  </a:lnTo>
                  <a:lnTo>
                    <a:pt x="138" y="64"/>
                  </a:lnTo>
                  <a:lnTo>
                    <a:pt x="136" y="84"/>
                  </a:lnTo>
                  <a:lnTo>
                    <a:pt x="120" y="96"/>
                  </a:lnTo>
                  <a:lnTo>
                    <a:pt x="122" y="112"/>
                  </a:lnTo>
                  <a:lnTo>
                    <a:pt x="120" y="118"/>
                  </a:lnTo>
                  <a:lnTo>
                    <a:pt x="118" y="134"/>
                  </a:lnTo>
                  <a:lnTo>
                    <a:pt x="94" y="132"/>
                  </a:lnTo>
                  <a:lnTo>
                    <a:pt x="92" y="124"/>
                  </a:lnTo>
                  <a:lnTo>
                    <a:pt x="64" y="120"/>
                  </a:lnTo>
                  <a:lnTo>
                    <a:pt x="60" y="126"/>
                  </a:lnTo>
                  <a:lnTo>
                    <a:pt x="46" y="124"/>
                  </a:lnTo>
                  <a:lnTo>
                    <a:pt x="44" y="116"/>
                  </a:lnTo>
                  <a:lnTo>
                    <a:pt x="24" y="116"/>
                  </a:lnTo>
                  <a:lnTo>
                    <a:pt x="20" y="96"/>
                  </a:lnTo>
                  <a:lnTo>
                    <a:pt x="12" y="86"/>
                  </a:lnTo>
                  <a:lnTo>
                    <a:pt x="2" y="66"/>
                  </a:lnTo>
                  <a:lnTo>
                    <a:pt x="0" y="54"/>
                  </a:lnTo>
                  <a:lnTo>
                    <a:pt x="6" y="46"/>
                  </a:lnTo>
                  <a:lnTo>
                    <a:pt x="14" y="4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42" name="Freeform 238">
              <a:extLst>
                <a:ext uri="{FF2B5EF4-FFF2-40B4-BE49-F238E27FC236}">
                  <a16:creationId xmlns:a16="http://schemas.microsoft.com/office/drawing/2014/main" id="{A7B9CD52-04B8-4B82-A5CE-8424A453AAB3}"/>
                </a:ext>
              </a:extLst>
            </p:cNvPr>
            <p:cNvSpPr>
              <a:spLocks/>
            </p:cNvSpPr>
            <p:nvPr/>
          </p:nvSpPr>
          <p:spPr bwMode="gray">
            <a:xfrm>
              <a:off x="8313124" y="4551930"/>
              <a:ext cx="283984" cy="292130"/>
            </a:xfrm>
            <a:custGeom>
              <a:avLst/>
              <a:gdLst>
                <a:gd name="T0" fmla="*/ 0 w 172"/>
                <a:gd name="T1" fmla="*/ 0 h 176"/>
                <a:gd name="T2" fmla="*/ 20 w 172"/>
                <a:gd name="T3" fmla="*/ 2 h 176"/>
                <a:gd name="T4" fmla="*/ 38 w 172"/>
                <a:gd name="T5" fmla="*/ 4 h 176"/>
                <a:gd name="T6" fmla="*/ 48 w 172"/>
                <a:gd name="T7" fmla="*/ 18 h 176"/>
                <a:gd name="T8" fmla="*/ 60 w 172"/>
                <a:gd name="T9" fmla="*/ 28 h 176"/>
                <a:gd name="T10" fmla="*/ 72 w 172"/>
                <a:gd name="T11" fmla="*/ 36 h 176"/>
                <a:gd name="T12" fmla="*/ 84 w 172"/>
                <a:gd name="T13" fmla="*/ 50 h 176"/>
                <a:gd name="T14" fmla="*/ 96 w 172"/>
                <a:gd name="T15" fmla="*/ 54 h 176"/>
                <a:gd name="T16" fmla="*/ 108 w 172"/>
                <a:gd name="T17" fmla="*/ 64 h 176"/>
                <a:gd name="T18" fmla="*/ 122 w 172"/>
                <a:gd name="T19" fmla="*/ 78 h 176"/>
                <a:gd name="T20" fmla="*/ 134 w 172"/>
                <a:gd name="T21" fmla="*/ 84 h 176"/>
                <a:gd name="T22" fmla="*/ 134 w 172"/>
                <a:gd name="T23" fmla="*/ 96 h 176"/>
                <a:gd name="T24" fmla="*/ 136 w 172"/>
                <a:gd name="T25" fmla="*/ 102 h 176"/>
                <a:gd name="T26" fmla="*/ 144 w 172"/>
                <a:gd name="T27" fmla="*/ 104 h 176"/>
                <a:gd name="T28" fmla="*/ 152 w 172"/>
                <a:gd name="T29" fmla="*/ 116 h 176"/>
                <a:gd name="T30" fmla="*/ 152 w 172"/>
                <a:gd name="T31" fmla="*/ 124 h 176"/>
                <a:gd name="T32" fmla="*/ 150 w 172"/>
                <a:gd name="T33" fmla="*/ 130 h 176"/>
                <a:gd name="T34" fmla="*/ 160 w 172"/>
                <a:gd name="T35" fmla="*/ 124 h 176"/>
                <a:gd name="T36" fmla="*/ 172 w 172"/>
                <a:gd name="T37" fmla="*/ 130 h 176"/>
                <a:gd name="T38" fmla="*/ 172 w 172"/>
                <a:gd name="T39" fmla="*/ 156 h 176"/>
                <a:gd name="T40" fmla="*/ 170 w 172"/>
                <a:gd name="T41" fmla="*/ 176 h 176"/>
                <a:gd name="T42" fmla="*/ 160 w 172"/>
                <a:gd name="T43" fmla="*/ 174 h 176"/>
                <a:gd name="T44" fmla="*/ 152 w 172"/>
                <a:gd name="T45" fmla="*/ 176 h 176"/>
                <a:gd name="T46" fmla="*/ 142 w 172"/>
                <a:gd name="T47" fmla="*/ 174 h 176"/>
                <a:gd name="T48" fmla="*/ 96 w 172"/>
                <a:gd name="T49" fmla="*/ 128 h 176"/>
                <a:gd name="T50" fmla="*/ 90 w 172"/>
                <a:gd name="T51" fmla="*/ 120 h 176"/>
                <a:gd name="T52" fmla="*/ 86 w 172"/>
                <a:gd name="T53" fmla="*/ 106 h 176"/>
                <a:gd name="T54" fmla="*/ 64 w 172"/>
                <a:gd name="T55" fmla="*/ 80 h 176"/>
                <a:gd name="T56" fmla="*/ 60 w 172"/>
                <a:gd name="T57" fmla="*/ 70 h 176"/>
                <a:gd name="T58" fmla="*/ 60 w 172"/>
                <a:gd name="T59" fmla="*/ 62 h 176"/>
                <a:gd name="T60" fmla="*/ 46 w 172"/>
                <a:gd name="T61" fmla="*/ 50 h 176"/>
                <a:gd name="T62" fmla="*/ 38 w 172"/>
                <a:gd name="T63" fmla="*/ 50 h 176"/>
                <a:gd name="T64" fmla="*/ 38 w 172"/>
                <a:gd name="T65" fmla="*/ 42 h 176"/>
                <a:gd name="T66" fmla="*/ 20 w 172"/>
                <a:gd name="T67" fmla="*/ 22 h 176"/>
                <a:gd name="T68" fmla="*/ 4 w 172"/>
                <a:gd name="T69" fmla="*/ 10 h 176"/>
                <a:gd name="T70" fmla="*/ 0 w 172"/>
                <a:gd name="T71" fmla="*/ 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2" h="176">
                  <a:moveTo>
                    <a:pt x="0" y="0"/>
                  </a:moveTo>
                  <a:lnTo>
                    <a:pt x="20" y="2"/>
                  </a:lnTo>
                  <a:lnTo>
                    <a:pt x="38" y="4"/>
                  </a:lnTo>
                  <a:lnTo>
                    <a:pt x="48" y="18"/>
                  </a:lnTo>
                  <a:lnTo>
                    <a:pt x="60" y="28"/>
                  </a:lnTo>
                  <a:lnTo>
                    <a:pt x="72" y="36"/>
                  </a:lnTo>
                  <a:lnTo>
                    <a:pt x="84" y="50"/>
                  </a:lnTo>
                  <a:lnTo>
                    <a:pt x="96" y="54"/>
                  </a:lnTo>
                  <a:lnTo>
                    <a:pt x="108" y="64"/>
                  </a:lnTo>
                  <a:lnTo>
                    <a:pt x="122" y="78"/>
                  </a:lnTo>
                  <a:lnTo>
                    <a:pt x="134" y="84"/>
                  </a:lnTo>
                  <a:lnTo>
                    <a:pt x="134" y="96"/>
                  </a:lnTo>
                  <a:lnTo>
                    <a:pt x="136" y="102"/>
                  </a:lnTo>
                  <a:lnTo>
                    <a:pt x="144" y="104"/>
                  </a:lnTo>
                  <a:lnTo>
                    <a:pt x="152" y="116"/>
                  </a:lnTo>
                  <a:lnTo>
                    <a:pt x="152" y="124"/>
                  </a:lnTo>
                  <a:lnTo>
                    <a:pt x="150" y="130"/>
                  </a:lnTo>
                  <a:lnTo>
                    <a:pt x="160" y="124"/>
                  </a:lnTo>
                  <a:lnTo>
                    <a:pt x="172" y="130"/>
                  </a:lnTo>
                  <a:lnTo>
                    <a:pt x="172" y="156"/>
                  </a:lnTo>
                  <a:lnTo>
                    <a:pt x="170" y="176"/>
                  </a:lnTo>
                  <a:lnTo>
                    <a:pt x="160" y="174"/>
                  </a:lnTo>
                  <a:lnTo>
                    <a:pt x="152" y="176"/>
                  </a:lnTo>
                  <a:lnTo>
                    <a:pt x="142" y="174"/>
                  </a:lnTo>
                  <a:lnTo>
                    <a:pt x="96" y="128"/>
                  </a:lnTo>
                  <a:lnTo>
                    <a:pt x="90" y="120"/>
                  </a:lnTo>
                  <a:lnTo>
                    <a:pt x="86" y="106"/>
                  </a:lnTo>
                  <a:lnTo>
                    <a:pt x="64" y="80"/>
                  </a:lnTo>
                  <a:lnTo>
                    <a:pt x="60" y="70"/>
                  </a:lnTo>
                  <a:lnTo>
                    <a:pt x="60" y="62"/>
                  </a:lnTo>
                  <a:lnTo>
                    <a:pt x="46" y="50"/>
                  </a:lnTo>
                  <a:lnTo>
                    <a:pt x="38" y="50"/>
                  </a:lnTo>
                  <a:lnTo>
                    <a:pt x="38" y="42"/>
                  </a:lnTo>
                  <a:lnTo>
                    <a:pt x="20" y="22"/>
                  </a:lnTo>
                  <a:lnTo>
                    <a:pt x="4" y="10"/>
                  </a:lnTo>
                  <a:lnTo>
                    <a:pt x="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43" name="Freeform 239">
              <a:extLst>
                <a:ext uri="{FF2B5EF4-FFF2-40B4-BE49-F238E27FC236}">
                  <a16:creationId xmlns:a16="http://schemas.microsoft.com/office/drawing/2014/main" id="{A761F2E8-2BE5-420C-ADF5-1437C1764801}"/>
                </a:ext>
              </a:extLst>
            </p:cNvPr>
            <p:cNvSpPr>
              <a:spLocks/>
            </p:cNvSpPr>
            <p:nvPr/>
          </p:nvSpPr>
          <p:spPr bwMode="gray">
            <a:xfrm>
              <a:off x="8636734" y="4761069"/>
              <a:ext cx="26417" cy="23237"/>
            </a:xfrm>
            <a:custGeom>
              <a:avLst/>
              <a:gdLst>
                <a:gd name="T0" fmla="*/ 0 w 16"/>
                <a:gd name="T1" fmla="*/ 6 h 14"/>
                <a:gd name="T2" fmla="*/ 6 w 16"/>
                <a:gd name="T3" fmla="*/ 0 h 14"/>
                <a:gd name="T4" fmla="*/ 16 w 16"/>
                <a:gd name="T5" fmla="*/ 4 h 14"/>
                <a:gd name="T6" fmla="*/ 14 w 16"/>
                <a:gd name="T7" fmla="*/ 12 h 14"/>
                <a:gd name="T8" fmla="*/ 6 w 16"/>
                <a:gd name="T9" fmla="*/ 14 h 14"/>
                <a:gd name="T10" fmla="*/ 0 w 16"/>
                <a:gd name="T11" fmla="*/ 6 h 14"/>
              </a:gdLst>
              <a:ahLst/>
              <a:cxnLst>
                <a:cxn ang="0">
                  <a:pos x="T0" y="T1"/>
                </a:cxn>
                <a:cxn ang="0">
                  <a:pos x="T2" y="T3"/>
                </a:cxn>
                <a:cxn ang="0">
                  <a:pos x="T4" y="T5"/>
                </a:cxn>
                <a:cxn ang="0">
                  <a:pos x="T6" y="T7"/>
                </a:cxn>
                <a:cxn ang="0">
                  <a:pos x="T8" y="T9"/>
                </a:cxn>
                <a:cxn ang="0">
                  <a:pos x="T10" y="T11"/>
                </a:cxn>
              </a:cxnLst>
              <a:rect l="0" t="0" r="r" b="b"/>
              <a:pathLst>
                <a:path w="16" h="14">
                  <a:moveTo>
                    <a:pt x="0" y="6"/>
                  </a:moveTo>
                  <a:lnTo>
                    <a:pt x="6" y="0"/>
                  </a:lnTo>
                  <a:lnTo>
                    <a:pt x="16" y="4"/>
                  </a:lnTo>
                  <a:lnTo>
                    <a:pt x="14" y="12"/>
                  </a:lnTo>
                  <a:lnTo>
                    <a:pt x="6" y="14"/>
                  </a:lnTo>
                  <a:lnTo>
                    <a:pt x="0" y="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44" name="Freeform 240">
              <a:extLst>
                <a:ext uri="{FF2B5EF4-FFF2-40B4-BE49-F238E27FC236}">
                  <a16:creationId xmlns:a16="http://schemas.microsoft.com/office/drawing/2014/main" id="{5BE99C42-6EA5-4867-806E-C576B6BBEEC8}"/>
                </a:ext>
              </a:extLst>
            </p:cNvPr>
            <p:cNvSpPr>
              <a:spLocks/>
            </p:cNvSpPr>
            <p:nvPr/>
          </p:nvSpPr>
          <p:spPr bwMode="gray">
            <a:xfrm>
              <a:off x="8580598" y="4734510"/>
              <a:ext cx="42928" cy="46475"/>
            </a:xfrm>
            <a:custGeom>
              <a:avLst/>
              <a:gdLst>
                <a:gd name="T0" fmla="*/ 0 w 26"/>
                <a:gd name="T1" fmla="*/ 0 h 28"/>
                <a:gd name="T2" fmla="*/ 12 w 26"/>
                <a:gd name="T3" fmla="*/ 0 h 28"/>
                <a:gd name="T4" fmla="*/ 14 w 26"/>
                <a:gd name="T5" fmla="*/ 10 h 28"/>
                <a:gd name="T6" fmla="*/ 18 w 26"/>
                <a:gd name="T7" fmla="*/ 16 h 28"/>
                <a:gd name="T8" fmla="*/ 24 w 26"/>
                <a:gd name="T9" fmla="*/ 18 h 28"/>
                <a:gd name="T10" fmla="*/ 26 w 26"/>
                <a:gd name="T11" fmla="*/ 26 h 28"/>
                <a:gd name="T12" fmla="*/ 20 w 26"/>
                <a:gd name="T13" fmla="*/ 28 h 28"/>
                <a:gd name="T14" fmla="*/ 14 w 26"/>
                <a:gd name="T15" fmla="*/ 24 h 28"/>
                <a:gd name="T16" fmla="*/ 12 w 26"/>
                <a:gd name="T17" fmla="*/ 16 h 28"/>
                <a:gd name="T18" fmla="*/ 6 w 26"/>
                <a:gd name="T19" fmla="*/ 10 h 28"/>
                <a:gd name="T20" fmla="*/ 0 w 26"/>
                <a:gd name="T21" fmla="*/ 8 h 28"/>
                <a:gd name="T22" fmla="*/ 0 w 26"/>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28">
                  <a:moveTo>
                    <a:pt x="0" y="0"/>
                  </a:moveTo>
                  <a:lnTo>
                    <a:pt x="12" y="0"/>
                  </a:lnTo>
                  <a:lnTo>
                    <a:pt x="14" y="10"/>
                  </a:lnTo>
                  <a:lnTo>
                    <a:pt x="18" y="16"/>
                  </a:lnTo>
                  <a:lnTo>
                    <a:pt x="24" y="18"/>
                  </a:lnTo>
                  <a:lnTo>
                    <a:pt x="26" y="26"/>
                  </a:lnTo>
                  <a:lnTo>
                    <a:pt x="20" y="28"/>
                  </a:lnTo>
                  <a:lnTo>
                    <a:pt x="14" y="24"/>
                  </a:lnTo>
                  <a:lnTo>
                    <a:pt x="12" y="16"/>
                  </a:lnTo>
                  <a:lnTo>
                    <a:pt x="6" y="10"/>
                  </a:lnTo>
                  <a:lnTo>
                    <a:pt x="0" y="8"/>
                  </a:lnTo>
                  <a:lnTo>
                    <a:pt x="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45" name="Freeform 241">
              <a:extLst>
                <a:ext uri="{FF2B5EF4-FFF2-40B4-BE49-F238E27FC236}">
                  <a16:creationId xmlns:a16="http://schemas.microsoft.com/office/drawing/2014/main" id="{8961FA04-1EFC-46B1-A4F8-49CD117B45EF}"/>
                </a:ext>
              </a:extLst>
            </p:cNvPr>
            <p:cNvSpPr>
              <a:spLocks/>
            </p:cNvSpPr>
            <p:nvPr/>
          </p:nvSpPr>
          <p:spPr bwMode="gray">
            <a:xfrm>
              <a:off x="8587202" y="4854018"/>
              <a:ext cx="260870" cy="73033"/>
            </a:xfrm>
            <a:custGeom>
              <a:avLst/>
              <a:gdLst>
                <a:gd name="T0" fmla="*/ 8 w 158"/>
                <a:gd name="T1" fmla="*/ 2 h 44"/>
                <a:gd name="T2" fmla="*/ 28 w 158"/>
                <a:gd name="T3" fmla="*/ 0 h 44"/>
                <a:gd name="T4" fmla="*/ 46 w 158"/>
                <a:gd name="T5" fmla="*/ 10 h 44"/>
                <a:gd name="T6" fmla="*/ 56 w 158"/>
                <a:gd name="T7" fmla="*/ 14 h 44"/>
                <a:gd name="T8" fmla="*/ 74 w 158"/>
                <a:gd name="T9" fmla="*/ 14 h 44"/>
                <a:gd name="T10" fmla="*/ 84 w 158"/>
                <a:gd name="T11" fmla="*/ 10 h 44"/>
                <a:gd name="T12" fmla="*/ 100 w 158"/>
                <a:gd name="T13" fmla="*/ 10 h 44"/>
                <a:gd name="T14" fmla="*/ 112 w 158"/>
                <a:gd name="T15" fmla="*/ 18 h 44"/>
                <a:gd name="T16" fmla="*/ 114 w 158"/>
                <a:gd name="T17" fmla="*/ 24 h 44"/>
                <a:gd name="T18" fmla="*/ 134 w 158"/>
                <a:gd name="T19" fmla="*/ 26 h 44"/>
                <a:gd name="T20" fmla="*/ 142 w 158"/>
                <a:gd name="T21" fmla="*/ 26 h 44"/>
                <a:gd name="T22" fmla="*/ 144 w 158"/>
                <a:gd name="T23" fmla="*/ 32 h 44"/>
                <a:gd name="T24" fmla="*/ 154 w 158"/>
                <a:gd name="T25" fmla="*/ 36 h 44"/>
                <a:gd name="T26" fmla="*/ 158 w 158"/>
                <a:gd name="T27" fmla="*/ 42 h 44"/>
                <a:gd name="T28" fmla="*/ 144 w 158"/>
                <a:gd name="T29" fmla="*/ 44 h 44"/>
                <a:gd name="T30" fmla="*/ 126 w 158"/>
                <a:gd name="T31" fmla="*/ 40 h 44"/>
                <a:gd name="T32" fmla="*/ 116 w 158"/>
                <a:gd name="T33" fmla="*/ 38 h 44"/>
                <a:gd name="T34" fmla="*/ 108 w 158"/>
                <a:gd name="T35" fmla="*/ 38 h 44"/>
                <a:gd name="T36" fmla="*/ 78 w 158"/>
                <a:gd name="T37" fmla="*/ 36 h 44"/>
                <a:gd name="T38" fmla="*/ 68 w 158"/>
                <a:gd name="T39" fmla="*/ 28 h 44"/>
                <a:gd name="T40" fmla="*/ 36 w 158"/>
                <a:gd name="T41" fmla="*/ 28 h 44"/>
                <a:gd name="T42" fmla="*/ 26 w 158"/>
                <a:gd name="T43" fmla="*/ 24 h 44"/>
                <a:gd name="T44" fmla="*/ 14 w 158"/>
                <a:gd name="T45" fmla="*/ 20 h 44"/>
                <a:gd name="T46" fmla="*/ 10 w 158"/>
                <a:gd name="T47" fmla="*/ 16 h 44"/>
                <a:gd name="T48" fmla="*/ 0 w 158"/>
                <a:gd name="T49" fmla="*/ 10 h 44"/>
                <a:gd name="T50" fmla="*/ 8 w 158"/>
                <a:gd name="T51" fmla="*/ 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8" h="44">
                  <a:moveTo>
                    <a:pt x="8" y="2"/>
                  </a:moveTo>
                  <a:lnTo>
                    <a:pt x="28" y="0"/>
                  </a:lnTo>
                  <a:lnTo>
                    <a:pt x="46" y="10"/>
                  </a:lnTo>
                  <a:lnTo>
                    <a:pt x="56" y="14"/>
                  </a:lnTo>
                  <a:lnTo>
                    <a:pt x="74" y="14"/>
                  </a:lnTo>
                  <a:lnTo>
                    <a:pt x="84" y="10"/>
                  </a:lnTo>
                  <a:lnTo>
                    <a:pt x="100" y="10"/>
                  </a:lnTo>
                  <a:lnTo>
                    <a:pt x="112" y="18"/>
                  </a:lnTo>
                  <a:lnTo>
                    <a:pt x="114" y="24"/>
                  </a:lnTo>
                  <a:lnTo>
                    <a:pt x="134" y="26"/>
                  </a:lnTo>
                  <a:lnTo>
                    <a:pt x="142" y="26"/>
                  </a:lnTo>
                  <a:lnTo>
                    <a:pt x="144" y="32"/>
                  </a:lnTo>
                  <a:lnTo>
                    <a:pt x="154" y="36"/>
                  </a:lnTo>
                  <a:lnTo>
                    <a:pt x="158" y="42"/>
                  </a:lnTo>
                  <a:lnTo>
                    <a:pt x="144" y="44"/>
                  </a:lnTo>
                  <a:lnTo>
                    <a:pt x="126" y="40"/>
                  </a:lnTo>
                  <a:lnTo>
                    <a:pt x="116" y="38"/>
                  </a:lnTo>
                  <a:lnTo>
                    <a:pt x="108" y="38"/>
                  </a:lnTo>
                  <a:lnTo>
                    <a:pt x="78" y="36"/>
                  </a:lnTo>
                  <a:lnTo>
                    <a:pt x="68" y="28"/>
                  </a:lnTo>
                  <a:lnTo>
                    <a:pt x="36" y="28"/>
                  </a:lnTo>
                  <a:lnTo>
                    <a:pt x="26" y="24"/>
                  </a:lnTo>
                  <a:lnTo>
                    <a:pt x="14" y="20"/>
                  </a:lnTo>
                  <a:lnTo>
                    <a:pt x="10" y="16"/>
                  </a:lnTo>
                  <a:lnTo>
                    <a:pt x="0" y="10"/>
                  </a:lnTo>
                  <a:lnTo>
                    <a:pt x="8" y="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46" name="Freeform 242">
              <a:extLst>
                <a:ext uri="{FF2B5EF4-FFF2-40B4-BE49-F238E27FC236}">
                  <a16:creationId xmlns:a16="http://schemas.microsoft.com/office/drawing/2014/main" id="{B4A2F19A-32C8-4EEE-9701-A583C1DF2D34}"/>
                </a:ext>
              </a:extLst>
            </p:cNvPr>
            <p:cNvSpPr>
              <a:spLocks/>
            </p:cNvSpPr>
            <p:nvPr/>
          </p:nvSpPr>
          <p:spPr bwMode="gray">
            <a:xfrm>
              <a:off x="9062711" y="4910453"/>
              <a:ext cx="92460" cy="59754"/>
            </a:xfrm>
            <a:custGeom>
              <a:avLst/>
              <a:gdLst>
                <a:gd name="T0" fmla="*/ 0 w 56"/>
                <a:gd name="T1" fmla="*/ 36 h 36"/>
                <a:gd name="T2" fmla="*/ 18 w 56"/>
                <a:gd name="T3" fmla="*/ 28 h 36"/>
                <a:gd name="T4" fmla="*/ 30 w 56"/>
                <a:gd name="T5" fmla="*/ 18 h 36"/>
                <a:gd name="T6" fmla="*/ 54 w 56"/>
                <a:gd name="T7" fmla="*/ 8 h 36"/>
                <a:gd name="T8" fmla="*/ 56 w 56"/>
                <a:gd name="T9" fmla="*/ 2 h 36"/>
                <a:gd name="T10" fmla="*/ 38 w 56"/>
                <a:gd name="T11" fmla="*/ 0 h 36"/>
                <a:gd name="T12" fmla="*/ 24 w 56"/>
                <a:gd name="T13" fmla="*/ 8 h 36"/>
                <a:gd name="T14" fmla="*/ 14 w 56"/>
                <a:gd name="T15" fmla="*/ 16 h 36"/>
                <a:gd name="T16" fmla="*/ 8 w 56"/>
                <a:gd name="T17" fmla="*/ 18 h 36"/>
                <a:gd name="T18" fmla="*/ 2 w 56"/>
                <a:gd name="T19" fmla="*/ 22 h 36"/>
                <a:gd name="T20" fmla="*/ 0 w 56"/>
                <a:gd name="T2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36">
                  <a:moveTo>
                    <a:pt x="0" y="36"/>
                  </a:moveTo>
                  <a:lnTo>
                    <a:pt x="18" y="28"/>
                  </a:lnTo>
                  <a:lnTo>
                    <a:pt x="30" y="18"/>
                  </a:lnTo>
                  <a:lnTo>
                    <a:pt x="54" y="8"/>
                  </a:lnTo>
                  <a:lnTo>
                    <a:pt x="56" y="2"/>
                  </a:lnTo>
                  <a:lnTo>
                    <a:pt x="38" y="0"/>
                  </a:lnTo>
                  <a:lnTo>
                    <a:pt x="24" y="8"/>
                  </a:lnTo>
                  <a:lnTo>
                    <a:pt x="14" y="16"/>
                  </a:lnTo>
                  <a:lnTo>
                    <a:pt x="8" y="18"/>
                  </a:lnTo>
                  <a:lnTo>
                    <a:pt x="2" y="22"/>
                  </a:lnTo>
                  <a:lnTo>
                    <a:pt x="0" y="3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47" name="Freeform 243">
              <a:extLst>
                <a:ext uri="{FF2B5EF4-FFF2-40B4-BE49-F238E27FC236}">
                  <a16:creationId xmlns:a16="http://schemas.microsoft.com/office/drawing/2014/main" id="{56E587D7-D453-4BB6-BC8A-75D34EF9904B}"/>
                </a:ext>
              </a:extLst>
            </p:cNvPr>
            <p:cNvSpPr>
              <a:spLocks/>
            </p:cNvSpPr>
            <p:nvPr/>
          </p:nvSpPr>
          <p:spPr bwMode="gray">
            <a:xfrm>
              <a:off x="8940532" y="4940329"/>
              <a:ext cx="49532" cy="26557"/>
            </a:xfrm>
            <a:custGeom>
              <a:avLst/>
              <a:gdLst>
                <a:gd name="T0" fmla="*/ 2 w 30"/>
                <a:gd name="T1" fmla="*/ 0 h 16"/>
                <a:gd name="T2" fmla="*/ 14 w 30"/>
                <a:gd name="T3" fmla="*/ 0 h 16"/>
                <a:gd name="T4" fmla="*/ 24 w 30"/>
                <a:gd name="T5" fmla="*/ 6 h 16"/>
                <a:gd name="T6" fmla="*/ 30 w 30"/>
                <a:gd name="T7" fmla="*/ 12 h 16"/>
                <a:gd name="T8" fmla="*/ 26 w 30"/>
                <a:gd name="T9" fmla="*/ 16 h 16"/>
                <a:gd name="T10" fmla="*/ 14 w 30"/>
                <a:gd name="T11" fmla="*/ 14 h 16"/>
                <a:gd name="T12" fmla="*/ 4 w 30"/>
                <a:gd name="T13" fmla="*/ 8 h 16"/>
                <a:gd name="T14" fmla="*/ 0 w 30"/>
                <a:gd name="T15" fmla="*/ 4 h 16"/>
                <a:gd name="T16" fmla="*/ 2 w 30"/>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16">
                  <a:moveTo>
                    <a:pt x="2" y="0"/>
                  </a:moveTo>
                  <a:lnTo>
                    <a:pt x="14" y="0"/>
                  </a:lnTo>
                  <a:lnTo>
                    <a:pt x="24" y="6"/>
                  </a:lnTo>
                  <a:lnTo>
                    <a:pt x="30" y="12"/>
                  </a:lnTo>
                  <a:lnTo>
                    <a:pt x="26" y="16"/>
                  </a:lnTo>
                  <a:lnTo>
                    <a:pt x="14" y="14"/>
                  </a:lnTo>
                  <a:lnTo>
                    <a:pt x="4" y="8"/>
                  </a:lnTo>
                  <a:lnTo>
                    <a:pt x="0" y="4"/>
                  </a:lnTo>
                  <a:lnTo>
                    <a:pt x="2"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48" name="Freeform 244">
              <a:extLst>
                <a:ext uri="{FF2B5EF4-FFF2-40B4-BE49-F238E27FC236}">
                  <a16:creationId xmlns:a16="http://schemas.microsoft.com/office/drawing/2014/main" id="{94F42C81-9674-47DC-BC92-C4D0E53D9E96}"/>
                </a:ext>
              </a:extLst>
            </p:cNvPr>
            <p:cNvSpPr>
              <a:spLocks/>
            </p:cNvSpPr>
            <p:nvPr/>
          </p:nvSpPr>
          <p:spPr bwMode="gray">
            <a:xfrm>
              <a:off x="8963647" y="4910453"/>
              <a:ext cx="62740" cy="16599"/>
            </a:xfrm>
            <a:custGeom>
              <a:avLst/>
              <a:gdLst>
                <a:gd name="T0" fmla="*/ 0 w 38"/>
                <a:gd name="T1" fmla="*/ 10 h 10"/>
                <a:gd name="T2" fmla="*/ 18 w 38"/>
                <a:gd name="T3" fmla="*/ 10 h 10"/>
                <a:gd name="T4" fmla="*/ 38 w 38"/>
                <a:gd name="T5" fmla="*/ 10 h 10"/>
                <a:gd name="T6" fmla="*/ 38 w 38"/>
                <a:gd name="T7" fmla="*/ 4 h 10"/>
                <a:gd name="T8" fmla="*/ 24 w 38"/>
                <a:gd name="T9" fmla="*/ 4 h 10"/>
                <a:gd name="T10" fmla="*/ 18 w 38"/>
                <a:gd name="T11" fmla="*/ 2 h 10"/>
                <a:gd name="T12" fmla="*/ 8 w 38"/>
                <a:gd name="T13" fmla="*/ 0 h 10"/>
                <a:gd name="T14" fmla="*/ 4 w 38"/>
                <a:gd name="T15" fmla="*/ 2 h 10"/>
                <a:gd name="T16" fmla="*/ 0 w 38"/>
                <a:gd name="T1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10">
                  <a:moveTo>
                    <a:pt x="0" y="10"/>
                  </a:moveTo>
                  <a:lnTo>
                    <a:pt x="18" y="10"/>
                  </a:lnTo>
                  <a:lnTo>
                    <a:pt x="38" y="10"/>
                  </a:lnTo>
                  <a:lnTo>
                    <a:pt x="38" y="4"/>
                  </a:lnTo>
                  <a:lnTo>
                    <a:pt x="24" y="4"/>
                  </a:lnTo>
                  <a:lnTo>
                    <a:pt x="18" y="2"/>
                  </a:lnTo>
                  <a:lnTo>
                    <a:pt x="8" y="0"/>
                  </a:lnTo>
                  <a:lnTo>
                    <a:pt x="4" y="2"/>
                  </a:lnTo>
                  <a:lnTo>
                    <a:pt x="0" y="1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49" name="Freeform 245">
              <a:extLst>
                <a:ext uri="{FF2B5EF4-FFF2-40B4-BE49-F238E27FC236}">
                  <a16:creationId xmlns:a16="http://schemas.microsoft.com/office/drawing/2014/main" id="{9BC2F4BA-BA16-41EF-92F6-A3617A27805A}"/>
                </a:ext>
              </a:extLst>
            </p:cNvPr>
            <p:cNvSpPr>
              <a:spLocks/>
            </p:cNvSpPr>
            <p:nvPr/>
          </p:nvSpPr>
          <p:spPr bwMode="gray">
            <a:xfrm>
              <a:off x="8914114" y="4910453"/>
              <a:ext cx="33021" cy="16599"/>
            </a:xfrm>
            <a:custGeom>
              <a:avLst/>
              <a:gdLst>
                <a:gd name="T0" fmla="*/ 0 w 20"/>
                <a:gd name="T1" fmla="*/ 2 h 10"/>
                <a:gd name="T2" fmla="*/ 0 w 20"/>
                <a:gd name="T3" fmla="*/ 10 h 10"/>
                <a:gd name="T4" fmla="*/ 20 w 20"/>
                <a:gd name="T5" fmla="*/ 10 h 10"/>
                <a:gd name="T6" fmla="*/ 18 w 20"/>
                <a:gd name="T7" fmla="*/ 2 h 10"/>
                <a:gd name="T8" fmla="*/ 8 w 20"/>
                <a:gd name="T9" fmla="*/ 0 h 10"/>
                <a:gd name="T10" fmla="*/ 0 w 20"/>
                <a:gd name="T11" fmla="*/ 2 h 10"/>
              </a:gdLst>
              <a:ahLst/>
              <a:cxnLst>
                <a:cxn ang="0">
                  <a:pos x="T0" y="T1"/>
                </a:cxn>
                <a:cxn ang="0">
                  <a:pos x="T2" y="T3"/>
                </a:cxn>
                <a:cxn ang="0">
                  <a:pos x="T4" y="T5"/>
                </a:cxn>
                <a:cxn ang="0">
                  <a:pos x="T6" y="T7"/>
                </a:cxn>
                <a:cxn ang="0">
                  <a:pos x="T8" y="T9"/>
                </a:cxn>
                <a:cxn ang="0">
                  <a:pos x="T10" y="T11"/>
                </a:cxn>
              </a:cxnLst>
              <a:rect l="0" t="0" r="r" b="b"/>
              <a:pathLst>
                <a:path w="20" h="10">
                  <a:moveTo>
                    <a:pt x="0" y="2"/>
                  </a:moveTo>
                  <a:lnTo>
                    <a:pt x="0" y="10"/>
                  </a:lnTo>
                  <a:lnTo>
                    <a:pt x="20" y="10"/>
                  </a:lnTo>
                  <a:lnTo>
                    <a:pt x="18" y="2"/>
                  </a:lnTo>
                  <a:lnTo>
                    <a:pt x="8" y="0"/>
                  </a:lnTo>
                  <a:lnTo>
                    <a:pt x="0" y="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50" name="Freeform 246">
              <a:extLst>
                <a:ext uri="{FF2B5EF4-FFF2-40B4-BE49-F238E27FC236}">
                  <a16:creationId xmlns:a16="http://schemas.microsoft.com/office/drawing/2014/main" id="{0F0ACA33-EC51-4165-9504-37BA4BD46B12}"/>
                </a:ext>
              </a:extLst>
            </p:cNvPr>
            <p:cNvSpPr>
              <a:spLocks/>
            </p:cNvSpPr>
            <p:nvPr/>
          </p:nvSpPr>
          <p:spPr bwMode="gray">
            <a:xfrm>
              <a:off x="8861280" y="4910453"/>
              <a:ext cx="42928" cy="29876"/>
            </a:xfrm>
            <a:custGeom>
              <a:avLst/>
              <a:gdLst>
                <a:gd name="T0" fmla="*/ 2 w 26"/>
                <a:gd name="T1" fmla="*/ 0 h 18"/>
                <a:gd name="T2" fmla="*/ 14 w 26"/>
                <a:gd name="T3" fmla="*/ 2 h 18"/>
                <a:gd name="T4" fmla="*/ 26 w 26"/>
                <a:gd name="T5" fmla="*/ 4 h 18"/>
                <a:gd name="T6" fmla="*/ 26 w 26"/>
                <a:gd name="T7" fmla="*/ 10 h 18"/>
                <a:gd name="T8" fmla="*/ 24 w 26"/>
                <a:gd name="T9" fmla="*/ 18 h 18"/>
                <a:gd name="T10" fmla="*/ 12 w 26"/>
                <a:gd name="T11" fmla="*/ 14 h 18"/>
                <a:gd name="T12" fmla="*/ 0 w 26"/>
                <a:gd name="T13" fmla="*/ 10 h 18"/>
                <a:gd name="T14" fmla="*/ 2 w 26"/>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18">
                  <a:moveTo>
                    <a:pt x="2" y="0"/>
                  </a:moveTo>
                  <a:lnTo>
                    <a:pt x="14" y="2"/>
                  </a:lnTo>
                  <a:lnTo>
                    <a:pt x="26" y="4"/>
                  </a:lnTo>
                  <a:lnTo>
                    <a:pt x="26" y="10"/>
                  </a:lnTo>
                  <a:lnTo>
                    <a:pt x="24" y="18"/>
                  </a:lnTo>
                  <a:lnTo>
                    <a:pt x="12" y="14"/>
                  </a:lnTo>
                  <a:lnTo>
                    <a:pt x="0" y="10"/>
                  </a:lnTo>
                  <a:lnTo>
                    <a:pt x="2"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51" name="Freeform 247">
              <a:extLst>
                <a:ext uri="{FF2B5EF4-FFF2-40B4-BE49-F238E27FC236}">
                  <a16:creationId xmlns:a16="http://schemas.microsoft.com/office/drawing/2014/main" id="{8C8D9CB4-EFB9-4F87-9C76-8390E747C335}"/>
                </a:ext>
              </a:extLst>
            </p:cNvPr>
            <p:cNvSpPr>
              <a:spLocks/>
            </p:cNvSpPr>
            <p:nvPr/>
          </p:nvSpPr>
          <p:spPr bwMode="gray">
            <a:xfrm>
              <a:off x="8937229" y="4648199"/>
              <a:ext cx="161805" cy="195860"/>
            </a:xfrm>
            <a:custGeom>
              <a:avLst/>
              <a:gdLst>
                <a:gd name="T0" fmla="*/ 12 w 98"/>
                <a:gd name="T1" fmla="*/ 36 h 118"/>
                <a:gd name="T2" fmla="*/ 12 w 98"/>
                <a:gd name="T3" fmla="*/ 26 h 118"/>
                <a:gd name="T4" fmla="*/ 20 w 98"/>
                <a:gd name="T5" fmla="*/ 14 h 118"/>
                <a:gd name="T6" fmla="*/ 32 w 98"/>
                <a:gd name="T7" fmla="*/ 8 h 118"/>
                <a:gd name="T8" fmla="*/ 48 w 98"/>
                <a:gd name="T9" fmla="*/ 10 h 118"/>
                <a:gd name="T10" fmla="*/ 58 w 98"/>
                <a:gd name="T11" fmla="*/ 14 h 118"/>
                <a:gd name="T12" fmla="*/ 74 w 98"/>
                <a:gd name="T13" fmla="*/ 14 h 118"/>
                <a:gd name="T14" fmla="*/ 84 w 98"/>
                <a:gd name="T15" fmla="*/ 12 h 118"/>
                <a:gd name="T16" fmla="*/ 90 w 98"/>
                <a:gd name="T17" fmla="*/ 8 h 118"/>
                <a:gd name="T18" fmla="*/ 98 w 98"/>
                <a:gd name="T19" fmla="*/ 0 h 118"/>
                <a:gd name="T20" fmla="*/ 98 w 98"/>
                <a:gd name="T21" fmla="*/ 8 h 118"/>
                <a:gd name="T22" fmla="*/ 88 w 98"/>
                <a:gd name="T23" fmla="*/ 20 h 118"/>
                <a:gd name="T24" fmla="*/ 80 w 98"/>
                <a:gd name="T25" fmla="*/ 26 h 118"/>
                <a:gd name="T26" fmla="*/ 56 w 98"/>
                <a:gd name="T27" fmla="*/ 22 h 118"/>
                <a:gd name="T28" fmla="*/ 42 w 98"/>
                <a:gd name="T29" fmla="*/ 20 h 118"/>
                <a:gd name="T30" fmla="*/ 30 w 98"/>
                <a:gd name="T31" fmla="*/ 20 h 118"/>
                <a:gd name="T32" fmla="*/ 24 w 98"/>
                <a:gd name="T33" fmla="*/ 20 h 118"/>
                <a:gd name="T34" fmla="*/ 18 w 98"/>
                <a:gd name="T35" fmla="*/ 26 h 118"/>
                <a:gd name="T36" fmla="*/ 18 w 98"/>
                <a:gd name="T37" fmla="*/ 36 h 118"/>
                <a:gd name="T38" fmla="*/ 22 w 98"/>
                <a:gd name="T39" fmla="*/ 42 h 118"/>
                <a:gd name="T40" fmla="*/ 26 w 98"/>
                <a:gd name="T41" fmla="*/ 46 h 118"/>
                <a:gd name="T42" fmla="*/ 28 w 98"/>
                <a:gd name="T43" fmla="*/ 50 h 118"/>
                <a:gd name="T44" fmla="*/ 32 w 98"/>
                <a:gd name="T45" fmla="*/ 52 h 118"/>
                <a:gd name="T46" fmla="*/ 38 w 98"/>
                <a:gd name="T47" fmla="*/ 44 h 118"/>
                <a:gd name="T48" fmla="*/ 42 w 98"/>
                <a:gd name="T49" fmla="*/ 42 h 118"/>
                <a:gd name="T50" fmla="*/ 52 w 98"/>
                <a:gd name="T51" fmla="*/ 44 h 118"/>
                <a:gd name="T52" fmla="*/ 60 w 98"/>
                <a:gd name="T53" fmla="*/ 40 h 118"/>
                <a:gd name="T54" fmla="*/ 70 w 98"/>
                <a:gd name="T55" fmla="*/ 40 h 118"/>
                <a:gd name="T56" fmla="*/ 68 w 98"/>
                <a:gd name="T57" fmla="*/ 46 h 118"/>
                <a:gd name="T58" fmla="*/ 56 w 98"/>
                <a:gd name="T59" fmla="*/ 48 h 118"/>
                <a:gd name="T60" fmla="*/ 50 w 98"/>
                <a:gd name="T61" fmla="*/ 54 h 118"/>
                <a:gd name="T62" fmla="*/ 44 w 98"/>
                <a:gd name="T63" fmla="*/ 60 h 118"/>
                <a:gd name="T64" fmla="*/ 44 w 98"/>
                <a:gd name="T65" fmla="*/ 62 h 118"/>
                <a:gd name="T66" fmla="*/ 48 w 98"/>
                <a:gd name="T67" fmla="*/ 68 h 118"/>
                <a:gd name="T68" fmla="*/ 54 w 98"/>
                <a:gd name="T69" fmla="*/ 80 h 118"/>
                <a:gd name="T70" fmla="*/ 54 w 98"/>
                <a:gd name="T71" fmla="*/ 84 h 118"/>
                <a:gd name="T72" fmla="*/ 56 w 98"/>
                <a:gd name="T73" fmla="*/ 92 h 118"/>
                <a:gd name="T74" fmla="*/ 62 w 98"/>
                <a:gd name="T75" fmla="*/ 96 h 118"/>
                <a:gd name="T76" fmla="*/ 54 w 98"/>
                <a:gd name="T77" fmla="*/ 100 h 118"/>
                <a:gd name="T78" fmla="*/ 46 w 98"/>
                <a:gd name="T79" fmla="*/ 98 h 118"/>
                <a:gd name="T80" fmla="*/ 44 w 98"/>
                <a:gd name="T81" fmla="*/ 104 h 118"/>
                <a:gd name="T82" fmla="*/ 38 w 98"/>
                <a:gd name="T83" fmla="*/ 94 h 118"/>
                <a:gd name="T84" fmla="*/ 34 w 98"/>
                <a:gd name="T85" fmla="*/ 84 h 118"/>
                <a:gd name="T86" fmla="*/ 32 w 98"/>
                <a:gd name="T87" fmla="*/ 70 h 118"/>
                <a:gd name="T88" fmla="*/ 24 w 98"/>
                <a:gd name="T89" fmla="*/ 70 h 118"/>
                <a:gd name="T90" fmla="*/ 22 w 98"/>
                <a:gd name="T91" fmla="*/ 76 h 118"/>
                <a:gd name="T92" fmla="*/ 24 w 98"/>
                <a:gd name="T93" fmla="*/ 92 h 118"/>
                <a:gd name="T94" fmla="*/ 24 w 98"/>
                <a:gd name="T95" fmla="*/ 98 h 118"/>
                <a:gd name="T96" fmla="*/ 24 w 98"/>
                <a:gd name="T97" fmla="*/ 112 h 118"/>
                <a:gd name="T98" fmla="*/ 22 w 98"/>
                <a:gd name="T99" fmla="*/ 118 h 118"/>
                <a:gd name="T100" fmla="*/ 10 w 98"/>
                <a:gd name="T101" fmla="*/ 116 h 118"/>
                <a:gd name="T102" fmla="*/ 10 w 98"/>
                <a:gd name="T103" fmla="*/ 102 h 118"/>
                <a:gd name="T104" fmla="*/ 12 w 98"/>
                <a:gd name="T105" fmla="*/ 90 h 118"/>
                <a:gd name="T106" fmla="*/ 10 w 98"/>
                <a:gd name="T107" fmla="*/ 84 h 118"/>
                <a:gd name="T108" fmla="*/ 0 w 98"/>
                <a:gd name="T109" fmla="*/ 80 h 118"/>
                <a:gd name="T110" fmla="*/ 0 w 98"/>
                <a:gd name="T111" fmla="*/ 68 h 118"/>
                <a:gd name="T112" fmla="*/ 4 w 98"/>
                <a:gd name="T113" fmla="*/ 58 h 118"/>
                <a:gd name="T114" fmla="*/ 8 w 98"/>
                <a:gd name="T115" fmla="*/ 42 h 118"/>
                <a:gd name="T116" fmla="*/ 12 w 98"/>
                <a:gd name="T117" fmla="*/ 36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8" h="118">
                  <a:moveTo>
                    <a:pt x="12" y="36"/>
                  </a:moveTo>
                  <a:lnTo>
                    <a:pt x="12" y="26"/>
                  </a:lnTo>
                  <a:lnTo>
                    <a:pt x="20" y="14"/>
                  </a:lnTo>
                  <a:lnTo>
                    <a:pt x="32" y="8"/>
                  </a:lnTo>
                  <a:lnTo>
                    <a:pt x="48" y="10"/>
                  </a:lnTo>
                  <a:lnTo>
                    <a:pt x="58" y="14"/>
                  </a:lnTo>
                  <a:lnTo>
                    <a:pt x="74" y="14"/>
                  </a:lnTo>
                  <a:lnTo>
                    <a:pt x="84" y="12"/>
                  </a:lnTo>
                  <a:lnTo>
                    <a:pt x="90" y="8"/>
                  </a:lnTo>
                  <a:lnTo>
                    <a:pt x="98" y="0"/>
                  </a:lnTo>
                  <a:lnTo>
                    <a:pt x="98" y="8"/>
                  </a:lnTo>
                  <a:lnTo>
                    <a:pt x="88" y="20"/>
                  </a:lnTo>
                  <a:lnTo>
                    <a:pt x="80" y="26"/>
                  </a:lnTo>
                  <a:lnTo>
                    <a:pt x="56" y="22"/>
                  </a:lnTo>
                  <a:lnTo>
                    <a:pt x="42" y="20"/>
                  </a:lnTo>
                  <a:lnTo>
                    <a:pt x="30" y="20"/>
                  </a:lnTo>
                  <a:lnTo>
                    <a:pt x="24" y="20"/>
                  </a:lnTo>
                  <a:lnTo>
                    <a:pt x="18" y="26"/>
                  </a:lnTo>
                  <a:lnTo>
                    <a:pt x="18" y="36"/>
                  </a:lnTo>
                  <a:lnTo>
                    <a:pt x="22" y="42"/>
                  </a:lnTo>
                  <a:lnTo>
                    <a:pt x="26" y="46"/>
                  </a:lnTo>
                  <a:lnTo>
                    <a:pt x="28" y="50"/>
                  </a:lnTo>
                  <a:lnTo>
                    <a:pt x="32" y="52"/>
                  </a:lnTo>
                  <a:lnTo>
                    <a:pt x="38" y="44"/>
                  </a:lnTo>
                  <a:lnTo>
                    <a:pt x="42" y="42"/>
                  </a:lnTo>
                  <a:lnTo>
                    <a:pt x="52" y="44"/>
                  </a:lnTo>
                  <a:lnTo>
                    <a:pt x="60" y="40"/>
                  </a:lnTo>
                  <a:lnTo>
                    <a:pt x="70" y="40"/>
                  </a:lnTo>
                  <a:lnTo>
                    <a:pt x="68" y="46"/>
                  </a:lnTo>
                  <a:lnTo>
                    <a:pt x="56" y="48"/>
                  </a:lnTo>
                  <a:lnTo>
                    <a:pt x="50" y="54"/>
                  </a:lnTo>
                  <a:lnTo>
                    <a:pt x="44" y="60"/>
                  </a:lnTo>
                  <a:lnTo>
                    <a:pt x="44" y="62"/>
                  </a:lnTo>
                  <a:lnTo>
                    <a:pt x="48" y="68"/>
                  </a:lnTo>
                  <a:lnTo>
                    <a:pt x="54" y="80"/>
                  </a:lnTo>
                  <a:lnTo>
                    <a:pt x="54" y="84"/>
                  </a:lnTo>
                  <a:lnTo>
                    <a:pt x="56" y="92"/>
                  </a:lnTo>
                  <a:lnTo>
                    <a:pt x="62" y="96"/>
                  </a:lnTo>
                  <a:lnTo>
                    <a:pt x="54" y="100"/>
                  </a:lnTo>
                  <a:lnTo>
                    <a:pt x="46" y="98"/>
                  </a:lnTo>
                  <a:lnTo>
                    <a:pt x="44" y="104"/>
                  </a:lnTo>
                  <a:lnTo>
                    <a:pt x="38" y="94"/>
                  </a:lnTo>
                  <a:lnTo>
                    <a:pt x="34" y="84"/>
                  </a:lnTo>
                  <a:lnTo>
                    <a:pt x="32" y="70"/>
                  </a:lnTo>
                  <a:lnTo>
                    <a:pt x="24" y="70"/>
                  </a:lnTo>
                  <a:lnTo>
                    <a:pt x="22" y="76"/>
                  </a:lnTo>
                  <a:lnTo>
                    <a:pt x="24" y="92"/>
                  </a:lnTo>
                  <a:lnTo>
                    <a:pt x="24" y="98"/>
                  </a:lnTo>
                  <a:lnTo>
                    <a:pt x="24" y="112"/>
                  </a:lnTo>
                  <a:lnTo>
                    <a:pt x="22" y="118"/>
                  </a:lnTo>
                  <a:lnTo>
                    <a:pt x="10" y="116"/>
                  </a:lnTo>
                  <a:lnTo>
                    <a:pt x="10" y="102"/>
                  </a:lnTo>
                  <a:lnTo>
                    <a:pt x="12" y="90"/>
                  </a:lnTo>
                  <a:lnTo>
                    <a:pt x="10" y="84"/>
                  </a:lnTo>
                  <a:lnTo>
                    <a:pt x="0" y="80"/>
                  </a:lnTo>
                  <a:lnTo>
                    <a:pt x="0" y="68"/>
                  </a:lnTo>
                  <a:lnTo>
                    <a:pt x="4" y="58"/>
                  </a:lnTo>
                  <a:lnTo>
                    <a:pt x="8" y="42"/>
                  </a:lnTo>
                  <a:lnTo>
                    <a:pt x="12" y="3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52" name="Freeform 248">
              <a:extLst>
                <a:ext uri="{FF2B5EF4-FFF2-40B4-BE49-F238E27FC236}">
                  <a16:creationId xmlns:a16="http://schemas.microsoft.com/office/drawing/2014/main" id="{DE6EA49B-1B94-46E7-870D-54A292B4AED0}"/>
                </a:ext>
              </a:extLst>
            </p:cNvPr>
            <p:cNvSpPr>
              <a:spLocks/>
            </p:cNvSpPr>
            <p:nvPr/>
          </p:nvSpPr>
          <p:spPr bwMode="gray">
            <a:xfrm>
              <a:off x="9247631" y="4707953"/>
              <a:ext cx="267473" cy="225737"/>
            </a:xfrm>
            <a:custGeom>
              <a:avLst/>
              <a:gdLst>
                <a:gd name="T0" fmla="*/ 2 w 162"/>
                <a:gd name="T1" fmla="*/ 8 h 136"/>
                <a:gd name="T2" fmla="*/ 20 w 162"/>
                <a:gd name="T3" fmla="*/ 2 h 136"/>
                <a:gd name="T4" fmla="*/ 30 w 162"/>
                <a:gd name="T5" fmla="*/ 0 h 136"/>
                <a:gd name="T6" fmla="*/ 48 w 162"/>
                <a:gd name="T7" fmla="*/ 2 h 136"/>
                <a:gd name="T8" fmla="*/ 56 w 162"/>
                <a:gd name="T9" fmla="*/ 10 h 136"/>
                <a:gd name="T10" fmla="*/ 54 w 162"/>
                <a:gd name="T11" fmla="*/ 22 h 136"/>
                <a:gd name="T12" fmla="*/ 54 w 162"/>
                <a:gd name="T13" fmla="*/ 30 h 136"/>
                <a:gd name="T14" fmla="*/ 60 w 162"/>
                <a:gd name="T15" fmla="*/ 34 h 136"/>
                <a:gd name="T16" fmla="*/ 62 w 162"/>
                <a:gd name="T17" fmla="*/ 42 h 136"/>
                <a:gd name="T18" fmla="*/ 70 w 162"/>
                <a:gd name="T19" fmla="*/ 44 h 136"/>
                <a:gd name="T20" fmla="*/ 80 w 162"/>
                <a:gd name="T21" fmla="*/ 42 h 136"/>
                <a:gd name="T22" fmla="*/ 86 w 162"/>
                <a:gd name="T23" fmla="*/ 32 h 136"/>
                <a:gd name="T24" fmla="*/ 94 w 162"/>
                <a:gd name="T25" fmla="*/ 26 h 136"/>
                <a:gd name="T26" fmla="*/ 104 w 162"/>
                <a:gd name="T27" fmla="*/ 22 h 136"/>
                <a:gd name="T28" fmla="*/ 110 w 162"/>
                <a:gd name="T29" fmla="*/ 16 h 136"/>
                <a:gd name="T30" fmla="*/ 128 w 162"/>
                <a:gd name="T31" fmla="*/ 22 h 136"/>
                <a:gd name="T32" fmla="*/ 142 w 162"/>
                <a:gd name="T33" fmla="*/ 26 h 136"/>
                <a:gd name="T34" fmla="*/ 158 w 162"/>
                <a:gd name="T35" fmla="*/ 32 h 136"/>
                <a:gd name="T36" fmla="*/ 162 w 162"/>
                <a:gd name="T37" fmla="*/ 34 h 136"/>
                <a:gd name="T38" fmla="*/ 162 w 162"/>
                <a:gd name="T39" fmla="*/ 136 h 136"/>
                <a:gd name="T40" fmla="*/ 148 w 162"/>
                <a:gd name="T41" fmla="*/ 124 h 136"/>
                <a:gd name="T42" fmla="*/ 138 w 162"/>
                <a:gd name="T43" fmla="*/ 120 h 136"/>
                <a:gd name="T44" fmla="*/ 130 w 162"/>
                <a:gd name="T45" fmla="*/ 120 h 136"/>
                <a:gd name="T46" fmla="*/ 124 w 162"/>
                <a:gd name="T47" fmla="*/ 124 h 136"/>
                <a:gd name="T48" fmla="*/ 110 w 162"/>
                <a:gd name="T49" fmla="*/ 126 h 136"/>
                <a:gd name="T50" fmla="*/ 108 w 162"/>
                <a:gd name="T51" fmla="*/ 118 h 136"/>
                <a:gd name="T52" fmla="*/ 110 w 162"/>
                <a:gd name="T53" fmla="*/ 114 h 136"/>
                <a:gd name="T54" fmla="*/ 116 w 162"/>
                <a:gd name="T55" fmla="*/ 112 h 136"/>
                <a:gd name="T56" fmla="*/ 124 w 162"/>
                <a:gd name="T57" fmla="*/ 110 h 136"/>
                <a:gd name="T58" fmla="*/ 126 w 162"/>
                <a:gd name="T59" fmla="*/ 98 h 136"/>
                <a:gd name="T60" fmla="*/ 122 w 162"/>
                <a:gd name="T61" fmla="*/ 90 h 136"/>
                <a:gd name="T62" fmla="*/ 112 w 162"/>
                <a:gd name="T63" fmla="*/ 80 h 136"/>
                <a:gd name="T64" fmla="*/ 90 w 162"/>
                <a:gd name="T65" fmla="*/ 68 h 136"/>
                <a:gd name="T66" fmla="*/ 66 w 162"/>
                <a:gd name="T67" fmla="*/ 62 h 136"/>
                <a:gd name="T68" fmla="*/ 60 w 162"/>
                <a:gd name="T69" fmla="*/ 56 h 136"/>
                <a:gd name="T70" fmla="*/ 54 w 162"/>
                <a:gd name="T71" fmla="*/ 54 h 136"/>
                <a:gd name="T72" fmla="*/ 48 w 162"/>
                <a:gd name="T73" fmla="*/ 40 h 136"/>
                <a:gd name="T74" fmla="*/ 42 w 162"/>
                <a:gd name="T75" fmla="*/ 42 h 136"/>
                <a:gd name="T76" fmla="*/ 42 w 162"/>
                <a:gd name="T77" fmla="*/ 48 h 136"/>
                <a:gd name="T78" fmla="*/ 42 w 162"/>
                <a:gd name="T79" fmla="*/ 58 h 136"/>
                <a:gd name="T80" fmla="*/ 32 w 162"/>
                <a:gd name="T81" fmla="*/ 56 h 136"/>
                <a:gd name="T82" fmla="*/ 32 w 162"/>
                <a:gd name="T83" fmla="*/ 46 h 136"/>
                <a:gd name="T84" fmla="*/ 30 w 162"/>
                <a:gd name="T85" fmla="*/ 40 h 136"/>
                <a:gd name="T86" fmla="*/ 20 w 162"/>
                <a:gd name="T87" fmla="*/ 38 h 136"/>
                <a:gd name="T88" fmla="*/ 30 w 162"/>
                <a:gd name="T89" fmla="*/ 32 h 136"/>
                <a:gd name="T90" fmla="*/ 42 w 162"/>
                <a:gd name="T91" fmla="*/ 34 h 136"/>
                <a:gd name="T92" fmla="*/ 50 w 162"/>
                <a:gd name="T93" fmla="*/ 32 h 136"/>
                <a:gd name="T94" fmla="*/ 46 w 162"/>
                <a:gd name="T95" fmla="*/ 24 h 136"/>
                <a:gd name="T96" fmla="*/ 30 w 162"/>
                <a:gd name="T97" fmla="*/ 24 h 136"/>
                <a:gd name="T98" fmla="*/ 20 w 162"/>
                <a:gd name="T99" fmla="*/ 26 h 136"/>
                <a:gd name="T100" fmla="*/ 16 w 162"/>
                <a:gd name="T101" fmla="*/ 16 h 136"/>
                <a:gd name="T102" fmla="*/ 6 w 162"/>
                <a:gd name="T103" fmla="*/ 16 h 136"/>
                <a:gd name="T104" fmla="*/ 0 w 162"/>
                <a:gd name="T105" fmla="*/ 14 h 136"/>
                <a:gd name="T106" fmla="*/ 2 w 162"/>
                <a:gd name="T107" fmla="*/ 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2" h="136">
                  <a:moveTo>
                    <a:pt x="2" y="8"/>
                  </a:moveTo>
                  <a:lnTo>
                    <a:pt x="20" y="2"/>
                  </a:lnTo>
                  <a:lnTo>
                    <a:pt x="30" y="0"/>
                  </a:lnTo>
                  <a:lnTo>
                    <a:pt x="48" y="2"/>
                  </a:lnTo>
                  <a:lnTo>
                    <a:pt x="56" y="10"/>
                  </a:lnTo>
                  <a:lnTo>
                    <a:pt x="54" y="22"/>
                  </a:lnTo>
                  <a:lnTo>
                    <a:pt x="54" y="30"/>
                  </a:lnTo>
                  <a:lnTo>
                    <a:pt x="60" y="34"/>
                  </a:lnTo>
                  <a:lnTo>
                    <a:pt x="62" y="42"/>
                  </a:lnTo>
                  <a:lnTo>
                    <a:pt x="70" y="44"/>
                  </a:lnTo>
                  <a:lnTo>
                    <a:pt x="80" y="42"/>
                  </a:lnTo>
                  <a:lnTo>
                    <a:pt x="86" y="32"/>
                  </a:lnTo>
                  <a:lnTo>
                    <a:pt x="94" y="26"/>
                  </a:lnTo>
                  <a:lnTo>
                    <a:pt x="104" y="22"/>
                  </a:lnTo>
                  <a:lnTo>
                    <a:pt x="110" y="16"/>
                  </a:lnTo>
                  <a:lnTo>
                    <a:pt x="128" y="22"/>
                  </a:lnTo>
                  <a:lnTo>
                    <a:pt x="142" y="26"/>
                  </a:lnTo>
                  <a:lnTo>
                    <a:pt x="158" y="32"/>
                  </a:lnTo>
                  <a:lnTo>
                    <a:pt x="162" y="34"/>
                  </a:lnTo>
                  <a:lnTo>
                    <a:pt x="162" y="136"/>
                  </a:lnTo>
                  <a:lnTo>
                    <a:pt x="148" y="124"/>
                  </a:lnTo>
                  <a:lnTo>
                    <a:pt x="138" y="120"/>
                  </a:lnTo>
                  <a:lnTo>
                    <a:pt x="130" y="120"/>
                  </a:lnTo>
                  <a:lnTo>
                    <a:pt x="124" y="124"/>
                  </a:lnTo>
                  <a:lnTo>
                    <a:pt x="110" y="126"/>
                  </a:lnTo>
                  <a:lnTo>
                    <a:pt x="108" y="118"/>
                  </a:lnTo>
                  <a:lnTo>
                    <a:pt x="110" y="114"/>
                  </a:lnTo>
                  <a:lnTo>
                    <a:pt x="116" y="112"/>
                  </a:lnTo>
                  <a:lnTo>
                    <a:pt x="124" y="110"/>
                  </a:lnTo>
                  <a:lnTo>
                    <a:pt x="126" y="98"/>
                  </a:lnTo>
                  <a:lnTo>
                    <a:pt x="122" y="90"/>
                  </a:lnTo>
                  <a:lnTo>
                    <a:pt x="112" y="80"/>
                  </a:lnTo>
                  <a:lnTo>
                    <a:pt x="90" y="68"/>
                  </a:lnTo>
                  <a:lnTo>
                    <a:pt x="66" y="62"/>
                  </a:lnTo>
                  <a:lnTo>
                    <a:pt x="60" y="56"/>
                  </a:lnTo>
                  <a:lnTo>
                    <a:pt x="54" y="54"/>
                  </a:lnTo>
                  <a:lnTo>
                    <a:pt x="48" y="40"/>
                  </a:lnTo>
                  <a:lnTo>
                    <a:pt x="42" y="42"/>
                  </a:lnTo>
                  <a:lnTo>
                    <a:pt x="42" y="48"/>
                  </a:lnTo>
                  <a:lnTo>
                    <a:pt x="42" y="58"/>
                  </a:lnTo>
                  <a:lnTo>
                    <a:pt x="32" y="56"/>
                  </a:lnTo>
                  <a:lnTo>
                    <a:pt x="32" y="46"/>
                  </a:lnTo>
                  <a:lnTo>
                    <a:pt x="30" y="40"/>
                  </a:lnTo>
                  <a:lnTo>
                    <a:pt x="20" y="38"/>
                  </a:lnTo>
                  <a:lnTo>
                    <a:pt x="30" y="32"/>
                  </a:lnTo>
                  <a:lnTo>
                    <a:pt x="42" y="34"/>
                  </a:lnTo>
                  <a:lnTo>
                    <a:pt x="50" y="32"/>
                  </a:lnTo>
                  <a:lnTo>
                    <a:pt x="46" y="24"/>
                  </a:lnTo>
                  <a:lnTo>
                    <a:pt x="30" y="24"/>
                  </a:lnTo>
                  <a:lnTo>
                    <a:pt x="20" y="26"/>
                  </a:lnTo>
                  <a:lnTo>
                    <a:pt x="16" y="16"/>
                  </a:lnTo>
                  <a:lnTo>
                    <a:pt x="6" y="16"/>
                  </a:lnTo>
                  <a:lnTo>
                    <a:pt x="0" y="14"/>
                  </a:lnTo>
                  <a:lnTo>
                    <a:pt x="2" y="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53" name="Freeform 249">
              <a:extLst>
                <a:ext uri="{FF2B5EF4-FFF2-40B4-BE49-F238E27FC236}">
                  <a16:creationId xmlns:a16="http://schemas.microsoft.com/office/drawing/2014/main" id="{1554F59E-8DA8-4190-A25F-BAA514A73400}"/>
                </a:ext>
              </a:extLst>
            </p:cNvPr>
            <p:cNvSpPr>
              <a:spLocks/>
            </p:cNvSpPr>
            <p:nvPr/>
          </p:nvSpPr>
          <p:spPr bwMode="gray">
            <a:xfrm>
              <a:off x="9171681" y="4767707"/>
              <a:ext cx="79252" cy="26557"/>
            </a:xfrm>
            <a:custGeom>
              <a:avLst/>
              <a:gdLst>
                <a:gd name="T0" fmla="*/ 4 w 48"/>
                <a:gd name="T1" fmla="*/ 2 h 16"/>
                <a:gd name="T2" fmla="*/ 20 w 48"/>
                <a:gd name="T3" fmla="*/ 0 h 16"/>
                <a:gd name="T4" fmla="*/ 38 w 48"/>
                <a:gd name="T5" fmla="*/ 2 h 16"/>
                <a:gd name="T6" fmla="*/ 48 w 48"/>
                <a:gd name="T7" fmla="*/ 10 h 16"/>
                <a:gd name="T8" fmla="*/ 46 w 48"/>
                <a:gd name="T9" fmla="*/ 16 h 16"/>
                <a:gd name="T10" fmla="*/ 34 w 48"/>
                <a:gd name="T11" fmla="*/ 12 h 16"/>
                <a:gd name="T12" fmla="*/ 24 w 48"/>
                <a:gd name="T13" fmla="*/ 10 h 16"/>
                <a:gd name="T14" fmla="*/ 12 w 48"/>
                <a:gd name="T15" fmla="*/ 10 h 16"/>
                <a:gd name="T16" fmla="*/ 8 w 48"/>
                <a:gd name="T17" fmla="*/ 14 h 16"/>
                <a:gd name="T18" fmla="*/ 2 w 48"/>
                <a:gd name="T19" fmla="*/ 14 h 16"/>
                <a:gd name="T20" fmla="*/ 0 w 48"/>
                <a:gd name="T21" fmla="*/ 6 h 16"/>
                <a:gd name="T22" fmla="*/ 4 w 48"/>
                <a:gd name="T2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16">
                  <a:moveTo>
                    <a:pt x="4" y="2"/>
                  </a:moveTo>
                  <a:lnTo>
                    <a:pt x="20" y="0"/>
                  </a:lnTo>
                  <a:lnTo>
                    <a:pt x="38" y="2"/>
                  </a:lnTo>
                  <a:lnTo>
                    <a:pt x="48" y="10"/>
                  </a:lnTo>
                  <a:lnTo>
                    <a:pt x="46" y="16"/>
                  </a:lnTo>
                  <a:lnTo>
                    <a:pt x="34" y="12"/>
                  </a:lnTo>
                  <a:lnTo>
                    <a:pt x="24" y="10"/>
                  </a:lnTo>
                  <a:lnTo>
                    <a:pt x="12" y="10"/>
                  </a:lnTo>
                  <a:lnTo>
                    <a:pt x="8" y="14"/>
                  </a:lnTo>
                  <a:lnTo>
                    <a:pt x="2" y="14"/>
                  </a:lnTo>
                  <a:lnTo>
                    <a:pt x="0" y="6"/>
                  </a:lnTo>
                  <a:lnTo>
                    <a:pt x="4" y="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54" name="Freeform 250">
              <a:extLst>
                <a:ext uri="{FF2B5EF4-FFF2-40B4-BE49-F238E27FC236}">
                  <a16:creationId xmlns:a16="http://schemas.microsoft.com/office/drawing/2014/main" id="{BC94B13A-C8BC-414B-93E1-CA376B68D165}"/>
                </a:ext>
              </a:extLst>
            </p:cNvPr>
            <p:cNvSpPr>
              <a:spLocks/>
            </p:cNvSpPr>
            <p:nvPr/>
          </p:nvSpPr>
          <p:spPr bwMode="gray">
            <a:xfrm>
              <a:off x="9128754" y="4777667"/>
              <a:ext cx="29719" cy="16599"/>
            </a:xfrm>
            <a:custGeom>
              <a:avLst/>
              <a:gdLst>
                <a:gd name="T0" fmla="*/ 2 w 18"/>
                <a:gd name="T1" fmla="*/ 0 h 10"/>
                <a:gd name="T2" fmla="*/ 12 w 18"/>
                <a:gd name="T3" fmla="*/ 0 h 10"/>
                <a:gd name="T4" fmla="*/ 18 w 18"/>
                <a:gd name="T5" fmla="*/ 4 h 10"/>
                <a:gd name="T6" fmla="*/ 14 w 18"/>
                <a:gd name="T7" fmla="*/ 10 h 10"/>
                <a:gd name="T8" fmla="*/ 4 w 18"/>
                <a:gd name="T9" fmla="*/ 10 h 10"/>
                <a:gd name="T10" fmla="*/ 0 w 18"/>
                <a:gd name="T11" fmla="*/ 6 h 10"/>
                <a:gd name="T12" fmla="*/ 2 w 18"/>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8" h="10">
                  <a:moveTo>
                    <a:pt x="2" y="0"/>
                  </a:moveTo>
                  <a:lnTo>
                    <a:pt x="12" y="0"/>
                  </a:lnTo>
                  <a:lnTo>
                    <a:pt x="18" y="4"/>
                  </a:lnTo>
                  <a:lnTo>
                    <a:pt x="14" y="10"/>
                  </a:lnTo>
                  <a:lnTo>
                    <a:pt x="4" y="10"/>
                  </a:lnTo>
                  <a:lnTo>
                    <a:pt x="0" y="6"/>
                  </a:lnTo>
                  <a:lnTo>
                    <a:pt x="2"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55" name="Freeform 251">
              <a:extLst>
                <a:ext uri="{FF2B5EF4-FFF2-40B4-BE49-F238E27FC236}">
                  <a16:creationId xmlns:a16="http://schemas.microsoft.com/office/drawing/2014/main" id="{6A1F6E0B-24A8-4FDB-A55D-4F2745AE1EA9}"/>
                </a:ext>
              </a:extLst>
            </p:cNvPr>
            <p:cNvSpPr>
              <a:spLocks/>
            </p:cNvSpPr>
            <p:nvPr/>
          </p:nvSpPr>
          <p:spPr bwMode="gray">
            <a:xfrm>
              <a:off x="9161776" y="4641560"/>
              <a:ext cx="36323" cy="82991"/>
            </a:xfrm>
            <a:custGeom>
              <a:avLst/>
              <a:gdLst>
                <a:gd name="T0" fmla="*/ 0 w 22"/>
                <a:gd name="T1" fmla="*/ 0 h 50"/>
                <a:gd name="T2" fmla="*/ 6 w 22"/>
                <a:gd name="T3" fmla="*/ 2 h 50"/>
                <a:gd name="T4" fmla="*/ 8 w 22"/>
                <a:gd name="T5" fmla="*/ 10 h 50"/>
                <a:gd name="T6" fmla="*/ 8 w 22"/>
                <a:gd name="T7" fmla="*/ 14 h 50"/>
                <a:gd name="T8" fmla="*/ 14 w 22"/>
                <a:gd name="T9" fmla="*/ 6 h 50"/>
                <a:gd name="T10" fmla="*/ 20 w 22"/>
                <a:gd name="T11" fmla="*/ 4 h 50"/>
                <a:gd name="T12" fmla="*/ 22 w 22"/>
                <a:gd name="T13" fmla="*/ 14 h 50"/>
                <a:gd name="T14" fmla="*/ 16 w 22"/>
                <a:gd name="T15" fmla="*/ 16 h 50"/>
                <a:gd name="T16" fmla="*/ 14 w 22"/>
                <a:gd name="T17" fmla="*/ 20 h 50"/>
                <a:gd name="T18" fmla="*/ 18 w 22"/>
                <a:gd name="T19" fmla="*/ 22 h 50"/>
                <a:gd name="T20" fmla="*/ 20 w 22"/>
                <a:gd name="T21" fmla="*/ 26 h 50"/>
                <a:gd name="T22" fmla="*/ 8 w 22"/>
                <a:gd name="T23" fmla="*/ 26 h 50"/>
                <a:gd name="T24" fmla="*/ 8 w 22"/>
                <a:gd name="T25" fmla="*/ 30 h 50"/>
                <a:gd name="T26" fmla="*/ 10 w 22"/>
                <a:gd name="T27" fmla="*/ 38 h 50"/>
                <a:gd name="T28" fmla="*/ 16 w 22"/>
                <a:gd name="T29" fmla="*/ 44 h 50"/>
                <a:gd name="T30" fmla="*/ 18 w 22"/>
                <a:gd name="T31" fmla="*/ 46 h 50"/>
                <a:gd name="T32" fmla="*/ 18 w 22"/>
                <a:gd name="T33" fmla="*/ 48 h 50"/>
                <a:gd name="T34" fmla="*/ 16 w 22"/>
                <a:gd name="T35" fmla="*/ 50 h 50"/>
                <a:gd name="T36" fmla="*/ 12 w 22"/>
                <a:gd name="T37" fmla="*/ 50 h 50"/>
                <a:gd name="T38" fmla="*/ 8 w 22"/>
                <a:gd name="T39" fmla="*/ 48 h 50"/>
                <a:gd name="T40" fmla="*/ 6 w 22"/>
                <a:gd name="T41" fmla="*/ 46 h 50"/>
                <a:gd name="T42" fmla="*/ 2 w 22"/>
                <a:gd name="T43" fmla="*/ 32 h 50"/>
                <a:gd name="T44" fmla="*/ 0 w 22"/>
                <a:gd name="T45" fmla="*/ 22 h 50"/>
                <a:gd name="T46" fmla="*/ 2 w 22"/>
                <a:gd name="T47" fmla="*/ 12 h 50"/>
                <a:gd name="T48" fmla="*/ 0 w 22"/>
                <a:gd name="T4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0">
                  <a:moveTo>
                    <a:pt x="0" y="0"/>
                  </a:moveTo>
                  <a:lnTo>
                    <a:pt x="6" y="2"/>
                  </a:lnTo>
                  <a:lnTo>
                    <a:pt x="8" y="10"/>
                  </a:lnTo>
                  <a:lnTo>
                    <a:pt x="8" y="14"/>
                  </a:lnTo>
                  <a:lnTo>
                    <a:pt x="14" y="6"/>
                  </a:lnTo>
                  <a:lnTo>
                    <a:pt x="20" y="4"/>
                  </a:lnTo>
                  <a:lnTo>
                    <a:pt x="22" y="14"/>
                  </a:lnTo>
                  <a:lnTo>
                    <a:pt x="16" y="16"/>
                  </a:lnTo>
                  <a:lnTo>
                    <a:pt x="14" y="20"/>
                  </a:lnTo>
                  <a:lnTo>
                    <a:pt x="18" y="22"/>
                  </a:lnTo>
                  <a:lnTo>
                    <a:pt x="20" y="26"/>
                  </a:lnTo>
                  <a:lnTo>
                    <a:pt x="8" y="26"/>
                  </a:lnTo>
                  <a:lnTo>
                    <a:pt x="8" y="30"/>
                  </a:lnTo>
                  <a:lnTo>
                    <a:pt x="10" y="38"/>
                  </a:lnTo>
                  <a:lnTo>
                    <a:pt x="16" y="44"/>
                  </a:lnTo>
                  <a:lnTo>
                    <a:pt x="18" y="46"/>
                  </a:lnTo>
                  <a:lnTo>
                    <a:pt x="18" y="48"/>
                  </a:lnTo>
                  <a:lnTo>
                    <a:pt x="16" y="50"/>
                  </a:lnTo>
                  <a:lnTo>
                    <a:pt x="12" y="50"/>
                  </a:lnTo>
                  <a:lnTo>
                    <a:pt x="8" y="48"/>
                  </a:lnTo>
                  <a:lnTo>
                    <a:pt x="6" y="46"/>
                  </a:lnTo>
                  <a:lnTo>
                    <a:pt x="2" y="32"/>
                  </a:lnTo>
                  <a:lnTo>
                    <a:pt x="0" y="22"/>
                  </a:lnTo>
                  <a:lnTo>
                    <a:pt x="2" y="12"/>
                  </a:lnTo>
                  <a:lnTo>
                    <a:pt x="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56" name="Freeform 252">
              <a:extLst>
                <a:ext uri="{FF2B5EF4-FFF2-40B4-BE49-F238E27FC236}">
                  <a16:creationId xmlns:a16="http://schemas.microsoft.com/office/drawing/2014/main" id="{2F90B3A9-638C-4879-8F4A-A84E22B03522}"/>
                </a:ext>
              </a:extLst>
            </p:cNvPr>
            <p:cNvSpPr>
              <a:spLocks/>
            </p:cNvSpPr>
            <p:nvPr/>
          </p:nvSpPr>
          <p:spPr bwMode="gray">
            <a:xfrm>
              <a:off x="9515104" y="4764388"/>
              <a:ext cx="254266" cy="215777"/>
            </a:xfrm>
            <a:custGeom>
              <a:avLst/>
              <a:gdLst>
                <a:gd name="T0" fmla="*/ 0 w 154"/>
                <a:gd name="T1" fmla="*/ 0 h 130"/>
                <a:gd name="T2" fmla="*/ 14 w 154"/>
                <a:gd name="T3" fmla="*/ 4 h 130"/>
                <a:gd name="T4" fmla="*/ 32 w 154"/>
                <a:gd name="T5" fmla="*/ 10 h 130"/>
                <a:gd name="T6" fmla="*/ 50 w 154"/>
                <a:gd name="T7" fmla="*/ 18 h 130"/>
                <a:gd name="T8" fmla="*/ 66 w 154"/>
                <a:gd name="T9" fmla="*/ 28 h 130"/>
                <a:gd name="T10" fmla="*/ 74 w 154"/>
                <a:gd name="T11" fmla="*/ 38 h 130"/>
                <a:gd name="T12" fmla="*/ 84 w 154"/>
                <a:gd name="T13" fmla="*/ 44 h 130"/>
                <a:gd name="T14" fmla="*/ 100 w 154"/>
                <a:gd name="T15" fmla="*/ 52 h 130"/>
                <a:gd name="T16" fmla="*/ 108 w 154"/>
                <a:gd name="T17" fmla="*/ 58 h 130"/>
                <a:gd name="T18" fmla="*/ 108 w 154"/>
                <a:gd name="T19" fmla="*/ 62 h 130"/>
                <a:gd name="T20" fmla="*/ 110 w 154"/>
                <a:gd name="T21" fmla="*/ 64 h 130"/>
                <a:gd name="T22" fmla="*/ 108 w 154"/>
                <a:gd name="T23" fmla="*/ 66 h 130"/>
                <a:gd name="T24" fmla="*/ 94 w 154"/>
                <a:gd name="T25" fmla="*/ 66 h 130"/>
                <a:gd name="T26" fmla="*/ 100 w 154"/>
                <a:gd name="T27" fmla="*/ 72 h 130"/>
                <a:gd name="T28" fmla="*/ 110 w 154"/>
                <a:gd name="T29" fmla="*/ 86 h 130"/>
                <a:gd name="T30" fmla="*/ 124 w 154"/>
                <a:gd name="T31" fmla="*/ 102 h 130"/>
                <a:gd name="T32" fmla="*/ 130 w 154"/>
                <a:gd name="T33" fmla="*/ 106 h 130"/>
                <a:gd name="T34" fmla="*/ 138 w 154"/>
                <a:gd name="T35" fmla="*/ 114 h 130"/>
                <a:gd name="T36" fmla="*/ 154 w 154"/>
                <a:gd name="T37" fmla="*/ 124 h 130"/>
                <a:gd name="T38" fmla="*/ 152 w 154"/>
                <a:gd name="T39" fmla="*/ 130 h 130"/>
                <a:gd name="T40" fmla="*/ 136 w 154"/>
                <a:gd name="T41" fmla="*/ 122 h 130"/>
                <a:gd name="T42" fmla="*/ 124 w 154"/>
                <a:gd name="T43" fmla="*/ 120 h 130"/>
                <a:gd name="T44" fmla="*/ 104 w 154"/>
                <a:gd name="T45" fmla="*/ 118 h 130"/>
                <a:gd name="T46" fmla="*/ 94 w 154"/>
                <a:gd name="T47" fmla="*/ 106 h 130"/>
                <a:gd name="T48" fmla="*/ 84 w 154"/>
                <a:gd name="T49" fmla="*/ 92 h 130"/>
                <a:gd name="T50" fmla="*/ 72 w 154"/>
                <a:gd name="T51" fmla="*/ 84 h 130"/>
                <a:gd name="T52" fmla="*/ 60 w 154"/>
                <a:gd name="T53" fmla="*/ 76 h 130"/>
                <a:gd name="T54" fmla="*/ 46 w 154"/>
                <a:gd name="T55" fmla="*/ 70 h 130"/>
                <a:gd name="T56" fmla="*/ 46 w 154"/>
                <a:gd name="T57" fmla="*/ 80 h 130"/>
                <a:gd name="T58" fmla="*/ 42 w 154"/>
                <a:gd name="T59" fmla="*/ 86 h 130"/>
                <a:gd name="T60" fmla="*/ 28 w 154"/>
                <a:gd name="T61" fmla="*/ 88 h 130"/>
                <a:gd name="T62" fmla="*/ 30 w 154"/>
                <a:gd name="T63" fmla="*/ 96 h 130"/>
                <a:gd name="T64" fmla="*/ 38 w 154"/>
                <a:gd name="T65" fmla="*/ 100 h 130"/>
                <a:gd name="T66" fmla="*/ 32 w 154"/>
                <a:gd name="T67" fmla="*/ 106 h 130"/>
                <a:gd name="T68" fmla="*/ 18 w 154"/>
                <a:gd name="T69" fmla="*/ 102 h 130"/>
                <a:gd name="T70" fmla="*/ 8 w 154"/>
                <a:gd name="T71" fmla="*/ 102 h 130"/>
                <a:gd name="T72" fmla="*/ 0 w 154"/>
                <a:gd name="T73" fmla="*/ 102 h 130"/>
                <a:gd name="T74" fmla="*/ 0 w 154"/>
                <a:gd name="T75"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4" h="130">
                  <a:moveTo>
                    <a:pt x="0" y="0"/>
                  </a:moveTo>
                  <a:lnTo>
                    <a:pt x="14" y="4"/>
                  </a:lnTo>
                  <a:lnTo>
                    <a:pt x="32" y="10"/>
                  </a:lnTo>
                  <a:lnTo>
                    <a:pt x="50" y="18"/>
                  </a:lnTo>
                  <a:lnTo>
                    <a:pt x="66" y="28"/>
                  </a:lnTo>
                  <a:lnTo>
                    <a:pt x="74" y="38"/>
                  </a:lnTo>
                  <a:lnTo>
                    <a:pt x="84" y="44"/>
                  </a:lnTo>
                  <a:lnTo>
                    <a:pt x="100" y="52"/>
                  </a:lnTo>
                  <a:lnTo>
                    <a:pt x="108" y="58"/>
                  </a:lnTo>
                  <a:lnTo>
                    <a:pt x="108" y="62"/>
                  </a:lnTo>
                  <a:lnTo>
                    <a:pt x="110" y="64"/>
                  </a:lnTo>
                  <a:lnTo>
                    <a:pt x="108" y="66"/>
                  </a:lnTo>
                  <a:lnTo>
                    <a:pt x="94" y="66"/>
                  </a:lnTo>
                  <a:lnTo>
                    <a:pt x="100" y="72"/>
                  </a:lnTo>
                  <a:lnTo>
                    <a:pt x="110" y="86"/>
                  </a:lnTo>
                  <a:lnTo>
                    <a:pt x="124" y="102"/>
                  </a:lnTo>
                  <a:lnTo>
                    <a:pt x="130" y="106"/>
                  </a:lnTo>
                  <a:lnTo>
                    <a:pt x="138" y="114"/>
                  </a:lnTo>
                  <a:lnTo>
                    <a:pt x="154" y="124"/>
                  </a:lnTo>
                  <a:lnTo>
                    <a:pt x="152" y="130"/>
                  </a:lnTo>
                  <a:lnTo>
                    <a:pt x="136" y="122"/>
                  </a:lnTo>
                  <a:lnTo>
                    <a:pt x="124" y="120"/>
                  </a:lnTo>
                  <a:lnTo>
                    <a:pt x="104" y="118"/>
                  </a:lnTo>
                  <a:lnTo>
                    <a:pt x="94" y="106"/>
                  </a:lnTo>
                  <a:lnTo>
                    <a:pt x="84" y="92"/>
                  </a:lnTo>
                  <a:lnTo>
                    <a:pt x="72" y="84"/>
                  </a:lnTo>
                  <a:lnTo>
                    <a:pt x="60" y="76"/>
                  </a:lnTo>
                  <a:lnTo>
                    <a:pt x="46" y="70"/>
                  </a:lnTo>
                  <a:lnTo>
                    <a:pt x="46" y="80"/>
                  </a:lnTo>
                  <a:lnTo>
                    <a:pt x="42" y="86"/>
                  </a:lnTo>
                  <a:lnTo>
                    <a:pt x="28" y="88"/>
                  </a:lnTo>
                  <a:lnTo>
                    <a:pt x="30" y="96"/>
                  </a:lnTo>
                  <a:lnTo>
                    <a:pt x="38" y="100"/>
                  </a:lnTo>
                  <a:lnTo>
                    <a:pt x="32" y="106"/>
                  </a:lnTo>
                  <a:lnTo>
                    <a:pt x="18" y="102"/>
                  </a:lnTo>
                  <a:lnTo>
                    <a:pt x="8" y="102"/>
                  </a:lnTo>
                  <a:lnTo>
                    <a:pt x="0" y="102"/>
                  </a:lnTo>
                  <a:lnTo>
                    <a:pt x="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57" name="Freeform 253">
              <a:extLst>
                <a:ext uri="{FF2B5EF4-FFF2-40B4-BE49-F238E27FC236}">
                  <a16:creationId xmlns:a16="http://schemas.microsoft.com/office/drawing/2014/main" id="{E0410A98-C4FB-418B-B08E-114922B5C475}"/>
                </a:ext>
              </a:extLst>
            </p:cNvPr>
            <p:cNvSpPr>
              <a:spLocks/>
            </p:cNvSpPr>
            <p:nvPr/>
          </p:nvSpPr>
          <p:spPr bwMode="gray">
            <a:xfrm>
              <a:off x="9719838" y="4804224"/>
              <a:ext cx="95762" cy="59754"/>
            </a:xfrm>
            <a:custGeom>
              <a:avLst/>
              <a:gdLst>
                <a:gd name="T0" fmla="*/ 0 w 58"/>
                <a:gd name="T1" fmla="*/ 22 h 36"/>
                <a:gd name="T2" fmla="*/ 14 w 58"/>
                <a:gd name="T3" fmla="*/ 22 h 36"/>
                <a:gd name="T4" fmla="*/ 34 w 58"/>
                <a:gd name="T5" fmla="*/ 22 h 36"/>
                <a:gd name="T6" fmla="*/ 40 w 58"/>
                <a:gd name="T7" fmla="*/ 16 h 36"/>
                <a:gd name="T8" fmla="*/ 50 w 58"/>
                <a:gd name="T9" fmla="*/ 6 h 36"/>
                <a:gd name="T10" fmla="*/ 56 w 58"/>
                <a:gd name="T11" fmla="*/ 0 h 36"/>
                <a:gd name="T12" fmla="*/ 58 w 58"/>
                <a:gd name="T13" fmla="*/ 10 h 36"/>
                <a:gd name="T14" fmla="*/ 54 w 58"/>
                <a:gd name="T15" fmla="*/ 18 h 36"/>
                <a:gd name="T16" fmla="*/ 46 w 58"/>
                <a:gd name="T17" fmla="*/ 22 h 36"/>
                <a:gd name="T18" fmla="*/ 38 w 58"/>
                <a:gd name="T19" fmla="*/ 28 h 36"/>
                <a:gd name="T20" fmla="*/ 32 w 58"/>
                <a:gd name="T21" fmla="*/ 34 h 36"/>
                <a:gd name="T22" fmla="*/ 20 w 58"/>
                <a:gd name="T23" fmla="*/ 36 h 36"/>
                <a:gd name="T24" fmla="*/ 6 w 58"/>
                <a:gd name="T25" fmla="*/ 32 h 36"/>
                <a:gd name="T26" fmla="*/ 0 w 58"/>
                <a:gd name="T27" fmla="*/ 28 h 36"/>
                <a:gd name="T28" fmla="*/ 0 w 58"/>
                <a:gd name="T29" fmla="*/ 2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8" h="36">
                  <a:moveTo>
                    <a:pt x="0" y="22"/>
                  </a:moveTo>
                  <a:lnTo>
                    <a:pt x="14" y="22"/>
                  </a:lnTo>
                  <a:lnTo>
                    <a:pt x="34" y="22"/>
                  </a:lnTo>
                  <a:lnTo>
                    <a:pt x="40" y="16"/>
                  </a:lnTo>
                  <a:lnTo>
                    <a:pt x="50" y="6"/>
                  </a:lnTo>
                  <a:lnTo>
                    <a:pt x="56" y="0"/>
                  </a:lnTo>
                  <a:lnTo>
                    <a:pt x="58" y="10"/>
                  </a:lnTo>
                  <a:lnTo>
                    <a:pt x="54" y="18"/>
                  </a:lnTo>
                  <a:lnTo>
                    <a:pt x="46" y="22"/>
                  </a:lnTo>
                  <a:lnTo>
                    <a:pt x="38" y="28"/>
                  </a:lnTo>
                  <a:lnTo>
                    <a:pt x="32" y="34"/>
                  </a:lnTo>
                  <a:lnTo>
                    <a:pt x="20" y="36"/>
                  </a:lnTo>
                  <a:lnTo>
                    <a:pt x="6" y="32"/>
                  </a:lnTo>
                  <a:lnTo>
                    <a:pt x="0" y="28"/>
                  </a:lnTo>
                  <a:lnTo>
                    <a:pt x="0" y="2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58" name="Freeform 254">
              <a:extLst>
                <a:ext uri="{FF2B5EF4-FFF2-40B4-BE49-F238E27FC236}">
                  <a16:creationId xmlns:a16="http://schemas.microsoft.com/office/drawing/2014/main" id="{F1A840CC-8702-46DC-8A27-F4805B7D7FFE}"/>
                </a:ext>
              </a:extLst>
            </p:cNvPr>
            <p:cNvSpPr>
              <a:spLocks/>
            </p:cNvSpPr>
            <p:nvPr/>
          </p:nvSpPr>
          <p:spPr bwMode="gray">
            <a:xfrm>
              <a:off x="9871736" y="4834100"/>
              <a:ext cx="36323" cy="46475"/>
            </a:xfrm>
            <a:custGeom>
              <a:avLst/>
              <a:gdLst>
                <a:gd name="T0" fmla="*/ 0 w 22"/>
                <a:gd name="T1" fmla="*/ 0 h 28"/>
                <a:gd name="T2" fmla="*/ 10 w 22"/>
                <a:gd name="T3" fmla="*/ 6 h 28"/>
                <a:gd name="T4" fmla="*/ 20 w 22"/>
                <a:gd name="T5" fmla="*/ 16 h 28"/>
                <a:gd name="T6" fmla="*/ 22 w 22"/>
                <a:gd name="T7" fmla="*/ 28 h 28"/>
                <a:gd name="T8" fmla="*/ 12 w 22"/>
                <a:gd name="T9" fmla="*/ 22 h 28"/>
                <a:gd name="T10" fmla="*/ 8 w 22"/>
                <a:gd name="T11" fmla="*/ 14 h 28"/>
                <a:gd name="T12" fmla="*/ 2 w 22"/>
                <a:gd name="T13" fmla="*/ 8 h 28"/>
                <a:gd name="T14" fmla="*/ 0 w 22"/>
                <a:gd name="T15" fmla="*/ 0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8">
                  <a:moveTo>
                    <a:pt x="0" y="0"/>
                  </a:moveTo>
                  <a:lnTo>
                    <a:pt x="10" y="6"/>
                  </a:lnTo>
                  <a:lnTo>
                    <a:pt x="20" y="16"/>
                  </a:lnTo>
                  <a:lnTo>
                    <a:pt x="22" y="28"/>
                  </a:lnTo>
                  <a:lnTo>
                    <a:pt x="12" y="22"/>
                  </a:lnTo>
                  <a:lnTo>
                    <a:pt x="8" y="14"/>
                  </a:lnTo>
                  <a:lnTo>
                    <a:pt x="2" y="8"/>
                  </a:lnTo>
                  <a:lnTo>
                    <a:pt x="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59" name="Freeform 255">
              <a:extLst>
                <a:ext uri="{FF2B5EF4-FFF2-40B4-BE49-F238E27FC236}">
                  <a16:creationId xmlns:a16="http://schemas.microsoft.com/office/drawing/2014/main" id="{52CB19D8-E065-4313-9C90-D18370C6B71E}"/>
                </a:ext>
              </a:extLst>
            </p:cNvPr>
            <p:cNvSpPr>
              <a:spLocks/>
            </p:cNvSpPr>
            <p:nvPr/>
          </p:nvSpPr>
          <p:spPr bwMode="gray">
            <a:xfrm>
              <a:off x="10000519" y="4940329"/>
              <a:ext cx="33021" cy="19918"/>
            </a:xfrm>
            <a:custGeom>
              <a:avLst/>
              <a:gdLst>
                <a:gd name="T0" fmla="*/ 4 w 20"/>
                <a:gd name="T1" fmla="*/ 0 h 12"/>
                <a:gd name="T2" fmla="*/ 10 w 20"/>
                <a:gd name="T3" fmla="*/ 0 h 12"/>
                <a:gd name="T4" fmla="*/ 20 w 20"/>
                <a:gd name="T5" fmla="*/ 8 h 12"/>
                <a:gd name="T6" fmla="*/ 20 w 20"/>
                <a:gd name="T7" fmla="*/ 10 h 12"/>
                <a:gd name="T8" fmla="*/ 20 w 20"/>
                <a:gd name="T9" fmla="*/ 12 h 12"/>
                <a:gd name="T10" fmla="*/ 18 w 20"/>
                <a:gd name="T11" fmla="*/ 12 h 12"/>
                <a:gd name="T12" fmla="*/ 4 w 20"/>
                <a:gd name="T13" fmla="*/ 10 h 12"/>
                <a:gd name="T14" fmla="*/ 0 w 20"/>
                <a:gd name="T15" fmla="*/ 4 h 12"/>
                <a:gd name="T16" fmla="*/ 4 w 20"/>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12">
                  <a:moveTo>
                    <a:pt x="4" y="0"/>
                  </a:moveTo>
                  <a:lnTo>
                    <a:pt x="10" y="0"/>
                  </a:lnTo>
                  <a:lnTo>
                    <a:pt x="20" y="8"/>
                  </a:lnTo>
                  <a:lnTo>
                    <a:pt x="20" y="10"/>
                  </a:lnTo>
                  <a:lnTo>
                    <a:pt x="20" y="12"/>
                  </a:lnTo>
                  <a:lnTo>
                    <a:pt x="18" y="12"/>
                  </a:lnTo>
                  <a:lnTo>
                    <a:pt x="4" y="10"/>
                  </a:lnTo>
                  <a:lnTo>
                    <a:pt x="0" y="4"/>
                  </a:lnTo>
                  <a:lnTo>
                    <a:pt x="4"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60" name="Freeform 256">
              <a:extLst>
                <a:ext uri="{FF2B5EF4-FFF2-40B4-BE49-F238E27FC236}">
                  <a16:creationId xmlns:a16="http://schemas.microsoft.com/office/drawing/2014/main" id="{F57E21A9-3F15-4499-8AC4-70F0F2DA0441}"/>
                </a:ext>
              </a:extLst>
            </p:cNvPr>
            <p:cNvSpPr>
              <a:spLocks/>
            </p:cNvSpPr>
            <p:nvPr/>
          </p:nvSpPr>
          <p:spPr bwMode="gray">
            <a:xfrm>
              <a:off x="10026937" y="4913772"/>
              <a:ext cx="26417" cy="33197"/>
            </a:xfrm>
            <a:custGeom>
              <a:avLst/>
              <a:gdLst>
                <a:gd name="T0" fmla="*/ 0 w 16"/>
                <a:gd name="T1" fmla="*/ 0 h 20"/>
                <a:gd name="T2" fmla="*/ 2 w 16"/>
                <a:gd name="T3" fmla="*/ 8 h 20"/>
                <a:gd name="T4" fmla="*/ 6 w 16"/>
                <a:gd name="T5" fmla="*/ 18 h 20"/>
                <a:gd name="T6" fmla="*/ 16 w 16"/>
                <a:gd name="T7" fmla="*/ 20 h 20"/>
                <a:gd name="T8" fmla="*/ 14 w 16"/>
                <a:gd name="T9" fmla="*/ 8 h 20"/>
                <a:gd name="T10" fmla="*/ 8 w 16"/>
                <a:gd name="T11" fmla="*/ 4 h 20"/>
                <a:gd name="T12" fmla="*/ 0 w 16"/>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6" h="20">
                  <a:moveTo>
                    <a:pt x="0" y="0"/>
                  </a:moveTo>
                  <a:lnTo>
                    <a:pt x="2" y="8"/>
                  </a:lnTo>
                  <a:lnTo>
                    <a:pt x="6" y="18"/>
                  </a:lnTo>
                  <a:lnTo>
                    <a:pt x="16" y="20"/>
                  </a:lnTo>
                  <a:lnTo>
                    <a:pt x="14" y="8"/>
                  </a:lnTo>
                  <a:lnTo>
                    <a:pt x="8" y="4"/>
                  </a:lnTo>
                  <a:lnTo>
                    <a:pt x="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61" name="Freeform 257">
              <a:extLst>
                <a:ext uri="{FF2B5EF4-FFF2-40B4-BE49-F238E27FC236}">
                  <a16:creationId xmlns:a16="http://schemas.microsoft.com/office/drawing/2014/main" id="{97A717C9-52AC-4116-B546-EFD2669D8B98}"/>
                </a:ext>
              </a:extLst>
            </p:cNvPr>
            <p:cNvSpPr>
              <a:spLocks/>
            </p:cNvSpPr>
            <p:nvPr/>
          </p:nvSpPr>
          <p:spPr bwMode="gray">
            <a:xfrm>
              <a:off x="10050052" y="4966888"/>
              <a:ext cx="23114" cy="16599"/>
            </a:xfrm>
            <a:custGeom>
              <a:avLst/>
              <a:gdLst>
                <a:gd name="T0" fmla="*/ 0 w 14"/>
                <a:gd name="T1" fmla="*/ 2 h 10"/>
                <a:gd name="T2" fmla="*/ 6 w 14"/>
                <a:gd name="T3" fmla="*/ 0 h 10"/>
                <a:gd name="T4" fmla="*/ 14 w 14"/>
                <a:gd name="T5" fmla="*/ 4 h 10"/>
                <a:gd name="T6" fmla="*/ 14 w 14"/>
                <a:gd name="T7" fmla="*/ 10 h 10"/>
                <a:gd name="T8" fmla="*/ 6 w 14"/>
                <a:gd name="T9" fmla="*/ 8 h 10"/>
                <a:gd name="T10" fmla="*/ 0 w 14"/>
                <a:gd name="T11" fmla="*/ 2 h 10"/>
              </a:gdLst>
              <a:ahLst/>
              <a:cxnLst>
                <a:cxn ang="0">
                  <a:pos x="T0" y="T1"/>
                </a:cxn>
                <a:cxn ang="0">
                  <a:pos x="T2" y="T3"/>
                </a:cxn>
                <a:cxn ang="0">
                  <a:pos x="T4" y="T5"/>
                </a:cxn>
                <a:cxn ang="0">
                  <a:pos x="T6" y="T7"/>
                </a:cxn>
                <a:cxn ang="0">
                  <a:pos x="T8" y="T9"/>
                </a:cxn>
                <a:cxn ang="0">
                  <a:pos x="T10" y="T11"/>
                </a:cxn>
              </a:cxnLst>
              <a:rect l="0" t="0" r="r" b="b"/>
              <a:pathLst>
                <a:path w="14" h="10">
                  <a:moveTo>
                    <a:pt x="0" y="2"/>
                  </a:moveTo>
                  <a:lnTo>
                    <a:pt x="6" y="0"/>
                  </a:lnTo>
                  <a:lnTo>
                    <a:pt x="14" y="4"/>
                  </a:lnTo>
                  <a:lnTo>
                    <a:pt x="14" y="10"/>
                  </a:lnTo>
                  <a:lnTo>
                    <a:pt x="6" y="8"/>
                  </a:lnTo>
                  <a:lnTo>
                    <a:pt x="0" y="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62" name="Freeform 258">
              <a:extLst>
                <a:ext uri="{FF2B5EF4-FFF2-40B4-BE49-F238E27FC236}">
                  <a16:creationId xmlns:a16="http://schemas.microsoft.com/office/drawing/2014/main" id="{BBCAA4E1-3A88-4EF5-8497-CF7DF9DC42BD}"/>
                </a:ext>
              </a:extLst>
            </p:cNvPr>
            <p:cNvSpPr>
              <a:spLocks/>
            </p:cNvSpPr>
            <p:nvPr/>
          </p:nvSpPr>
          <p:spPr bwMode="gray">
            <a:xfrm>
              <a:off x="10122698" y="5235779"/>
              <a:ext cx="72648" cy="59754"/>
            </a:xfrm>
            <a:custGeom>
              <a:avLst/>
              <a:gdLst>
                <a:gd name="T0" fmla="*/ 0 w 44"/>
                <a:gd name="T1" fmla="*/ 0 h 36"/>
                <a:gd name="T2" fmla="*/ 14 w 44"/>
                <a:gd name="T3" fmla="*/ 6 h 36"/>
                <a:gd name="T4" fmla="*/ 24 w 44"/>
                <a:gd name="T5" fmla="*/ 18 h 36"/>
                <a:gd name="T6" fmla="*/ 34 w 44"/>
                <a:gd name="T7" fmla="*/ 24 h 36"/>
                <a:gd name="T8" fmla="*/ 44 w 44"/>
                <a:gd name="T9" fmla="*/ 32 h 36"/>
                <a:gd name="T10" fmla="*/ 42 w 44"/>
                <a:gd name="T11" fmla="*/ 36 h 36"/>
                <a:gd name="T12" fmla="*/ 30 w 44"/>
                <a:gd name="T13" fmla="*/ 28 h 36"/>
                <a:gd name="T14" fmla="*/ 20 w 44"/>
                <a:gd name="T15" fmla="*/ 20 h 36"/>
                <a:gd name="T16" fmla="*/ 10 w 44"/>
                <a:gd name="T17" fmla="*/ 12 h 36"/>
                <a:gd name="T18" fmla="*/ 2 w 44"/>
                <a:gd name="T19" fmla="*/ 8 h 36"/>
                <a:gd name="T20" fmla="*/ 0 w 44"/>
                <a:gd name="T2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36">
                  <a:moveTo>
                    <a:pt x="0" y="0"/>
                  </a:moveTo>
                  <a:lnTo>
                    <a:pt x="14" y="6"/>
                  </a:lnTo>
                  <a:lnTo>
                    <a:pt x="24" y="18"/>
                  </a:lnTo>
                  <a:lnTo>
                    <a:pt x="34" y="24"/>
                  </a:lnTo>
                  <a:lnTo>
                    <a:pt x="44" y="32"/>
                  </a:lnTo>
                  <a:lnTo>
                    <a:pt x="42" y="36"/>
                  </a:lnTo>
                  <a:lnTo>
                    <a:pt x="30" y="28"/>
                  </a:lnTo>
                  <a:lnTo>
                    <a:pt x="20" y="20"/>
                  </a:lnTo>
                  <a:lnTo>
                    <a:pt x="10" y="12"/>
                  </a:lnTo>
                  <a:lnTo>
                    <a:pt x="2" y="8"/>
                  </a:lnTo>
                  <a:lnTo>
                    <a:pt x="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63" name="Freeform 259">
              <a:extLst>
                <a:ext uri="{FF2B5EF4-FFF2-40B4-BE49-F238E27FC236}">
                  <a16:creationId xmlns:a16="http://schemas.microsoft.com/office/drawing/2014/main" id="{ED958DC3-8FEE-436D-ACFB-1D4910777340}"/>
                </a:ext>
              </a:extLst>
            </p:cNvPr>
            <p:cNvSpPr>
              <a:spLocks/>
            </p:cNvSpPr>
            <p:nvPr/>
          </p:nvSpPr>
          <p:spPr bwMode="gray">
            <a:xfrm>
              <a:off x="10350546" y="5634138"/>
              <a:ext cx="145294" cy="225737"/>
            </a:xfrm>
            <a:custGeom>
              <a:avLst/>
              <a:gdLst>
                <a:gd name="T0" fmla="*/ 20 w 88"/>
                <a:gd name="T1" fmla="*/ 98 h 136"/>
                <a:gd name="T2" fmla="*/ 14 w 88"/>
                <a:gd name="T3" fmla="*/ 90 h 136"/>
                <a:gd name="T4" fmla="*/ 22 w 88"/>
                <a:gd name="T5" fmla="*/ 84 h 136"/>
                <a:gd name="T6" fmla="*/ 28 w 88"/>
                <a:gd name="T7" fmla="*/ 80 h 136"/>
                <a:gd name="T8" fmla="*/ 28 w 88"/>
                <a:gd name="T9" fmla="*/ 62 h 136"/>
                <a:gd name="T10" fmla="*/ 30 w 88"/>
                <a:gd name="T11" fmla="*/ 46 h 136"/>
                <a:gd name="T12" fmla="*/ 20 w 88"/>
                <a:gd name="T13" fmla="*/ 34 h 136"/>
                <a:gd name="T14" fmla="*/ 8 w 88"/>
                <a:gd name="T15" fmla="*/ 26 h 136"/>
                <a:gd name="T16" fmla="*/ 2 w 88"/>
                <a:gd name="T17" fmla="*/ 10 h 136"/>
                <a:gd name="T18" fmla="*/ 0 w 88"/>
                <a:gd name="T19" fmla="*/ 0 h 136"/>
                <a:gd name="T20" fmla="*/ 10 w 88"/>
                <a:gd name="T21" fmla="*/ 10 h 136"/>
                <a:gd name="T22" fmla="*/ 22 w 88"/>
                <a:gd name="T23" fmla="*/ 18 h 136"/>
                <a:gd name="T24" fmla="*/ 30 w 88"/>
                <a:gd name="T25" fmla="*/ 26 h 136"/>
                <a:gd name="T26" fmla="*/ 28 w 88"/>
                <a:gd name="T27" fmla="*/ 34 h 136"/>
                <a:gd name="T28" fmla="*/ 34 w 88"/>
                <a:gd name="T29" fmla="*/ 44 h 136"/>
                <a:gd name="T30" fmla="*/ 38 w 88"/>
                <a:gd name="T31" fmla="*/ 52 h 136"/>
                <a:gd name="T32" fmla="*/ 44 w 88"/>
                <a:gd name="T33" fmla="*/ 46 h 136"/>
                <a:gd name="T34" fmla="*/ 46 w 88"/>
                <a:gd name="T35" fmla="*/ 52 h 136"/>
                <a:gd name="T36" fmla="*/ 52 w 88"/>
                <a:gd name="T37" fmla="*/ 60 h 136"/>
                <a:gd name="T38" fmla="*/ 64 w 88"/>
                <a:gd name="T39" fmla="*/ 68 h 136"/>
                <a:gd name="T40" fmla="*/ 76 w 88"/>
                <a:gd name="T41" fmla="*/ 66 h 136"/>
                <a:gd name="T42" fmla="*/ 82 w 88"/>
                <a:gd name="T43" fmla="*/ 60 h 136"/>
                <a:gd name="T44" fmla="*/ 88 w 88"/>
                <a:gd name="T45" fmla="*/ 62 h 136"/>
                <a:gd name="T46" fmla="*/ 88 w 88"/>
                <a:gd name="T47" fmla="*/ 74 h 136"/>
                <a:gd name="T48" fmla="*/ 80 w 88"/>
                <a:gd name="T49" fmla="*/ 80 h 136"/>
                <a:gd name="T50" fmla="*/ 80 w 88"/>
                <a:gd name="T51" fmla="*/ 88 h 136"/>
                <a:gd name="T52" fmla="*/ 64 w 88"/>
                <a:gd name="T53" fmla="*/ 90 h 136"/>
                <a:gd name="T54" fmla="*/ 64 w 88"/>
                <a:gd name="T55" fmla="*/ 98 h 136"/>
                <a:gd name="T56" fmla="*/ 64 w 88"/>
                <a:gd name="T57" fmla="*/ 106 h 136"/>
                <a:gd name="T58" fmla="*/ 58 w 88"/>
                <a:gd name="T59" fmla="*/ 114 h 136"/>
                <a:gd name="T60" fmla="*/ 50 w 88"/>
                <a:gd name="T61" fmla="*/ 126 h 136"/>
                <a:gd name="T62" fmla="*/ 40 w 88"/>
                <a:gd name="T63" fmla="*/ 136 h 136"/>
                <a:gd name="T64" fmla="*/ 32 w 88"/>
                <a:gd name="T65" fmla="*/ 134 h 136"/>
                <a:gd name="T66" fmla="*/ 30 w 88"/>
                <a:gd name="T67" fmla="*/ 122 h 136"/>
                <a:gd name="T68" fmla="*/ 36 w 88"/>
                <a:gd name="T69" fmla="*/ 116 h 136"/>
                <a:gd name="T70" fmla="*/ 36 w 88"/>
                <a:gd name="T71" fmla="*/ 108 h 136"/>
                <a:gd name="T72" fmla="*/ 30 w 88"/>
                <a:gd name="T73" fmla="*/ 100 h 136"/>
                <a:gd name="T74" fmla="*/ 20 w 88"/>
                <a:gd name="T75" fmla="*/ 9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8" h="136">
                  <a:moveTo>
                    <a:pt x="20" y="98"/>
                  </a:moveTo>
                  <a:lnTo>
                    <a:pt x="14" y="90"/>
                  </a:lnTo>
                  <a:lnTo>
                    <a:pt x="22" y="84"/>
                  </a:lnTo>
                  <a:lnTo>
                    <a:pt x="28" y="80"/>
                  </a:lnTo>
                  <a:lnTo>
                    <a:pt x="28" y="62"/>
                  </a:lnTo>
                  <a:lnTo>
                    <a:pt x="30" y="46"/>
                  </a:lnTo>
                  <a:lnTo>
                    <a:pt x="20" y="34"/>
                  </a:lnTo>
                  <a:lnTo>
                    <a:pt x="8" y="26"/>
                  </a:lnTo>
                  <a:lnTo>
                    <a:pt x="2" y="10"/>
                  </a:lnTo>
                  <a:lnTo>
                    <a:pt x="0" y="0"/>
                  </a:lnTo>
                  <a:lnTo>
                    <a:pt x="10" y="10"/>
                  </a:lnTo>
                  <a:lnTo>
                    <a:pt x="22" y="18"/>
                  </a:lnTo>
                  <a:lnTo>
                    <a:pt x="30" y="26"/>
                  </a:lnTo>
                  <a:lnTo>
                    <a:pt x="28" y="34"/>
                  </a:lnTo>
                  <a:lnTo>
                    <a:pt x="34" y="44"/>
                  </a:lnTo>
                  <a:lnTo>
                    <a:pt x="38" y="52"/>
                  </a:lnTo>
                  <a:lnTo>
                    <a:pt x="44" y="46"/>
                  </a:lnTo>
                  <a:lnTo>
                    <a:pt x="46" y="52"/>
                  </a:lnTo>
                  <a:lnTo>
                    <a:pt x="52" y="60"/>
                  </a:lnTo>
                  <a:lnTo>
                    <a:pt x="64" y="68"/>
                  </a:lnTo>
                  <a:lnTo>
                    <a:pt x="76" y="66"/>
                  </a:lnTo>
                  <a:lnTo>
                    <a:pt x="82" y="60"/>
                  </a:lnTo>
                  <a:lnTo>
                    <a:pt x="88" y="62"/>
                  </a:lnTo>
                  <a:lnTo>
                    <a:pt x="88" y="74"/>
                  </a:lnTo>
                  <a:lnTo>
                    <a:pt x="80" y="80"/>
                  </a:lnTo>
                  <a:lnTo>
                    <a:pt x="80" y="88"/>
                  </a:lnTo>
                  <a:lnTo>
                    <a:pt x="64" y="90"/>
                  </a:lnTo>
                  <a:lnTo>
                    <a:pt x="64" y="98"/>
                  </a:lnTo>
                  <a:lnTo>
                    <a:pt x="64" y="106"/>
                  </a:lnTo>
                  <a:lnTo>
                    <a:pt x="58" y="114"/>
                  </a:lnTo>
                  <a:lnTo>
                    <a:pt x="50" y="126"/>
                  </a:lnTo>
                  <a:lnTo>
                    <a:pt x="40" y="136"/>
                  </a:lnTo>
                  <a:lnTo>
                    <a:pt x="32" y="134"/>
                  </a:lnTo>
                  <a:lnTo>
                    <a:pt x="30" y="122"/>
                  </a:lnTo>
                  <a:lnTo>
                    <a:pt x="36" y="116"/>
                  </a:lnTo>
                  <a:lnTo>
                    <a:pt x="36" y="108"/>
                  </a:lnTo>
                  <a:lnTo>
                    <a:pt x="30" y="100"/>
                  </a:lnTo>
                  <a:lnTo>
                    <a:pt x="20" y="9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64" name="Freeform 260">
              <a:extLst>
                <a:ext uri="{FF2B5EF4-FFF2-40B4-BE49-F238E27FC236}">
                  <a16:creationId xmlns:a16="http://schemas.microsoft.com/office/drawing/2014/main" id="{479C8C8B-F836-445B-9768-81304840FCE2}"/>
                </a:ext>
              </a:extLst>
            </p:cNvPr>
            <p:cNvSpPr>
              <a:spLocks/>
            </p:cNvSpPr>
            <p:nvPr/>
          </p:nvSpPr>
          <p:spPr bwMode="gray">
            <a:xfrm>
              <a:off x="10185440" y="5826677"/>
              <a:ext cx="201431" cy="192540"/>
            </a:xfrm>
            <a:custGeom>
              <a:avLst/>
              <a:gdLst>
                <a:gd name="T0" fmla="*/ 92 w 122"/>
                <a:gd name="T1" fmla="*/ 0 h 116"/>
                <a:gd name="T2" fmla="*/ 100 w 122"/>
                <a:gd name="T3" fmla="*/ 2 h 116"/>
                <a:gd name="T4" fmla="*/ 106 w 122"/>
                <a:gd name="T5" fmla="*/ 10 h 116"/>
                <a:gd name="T6" fmla="*/ 116 w 122"/>
                <a:gd name="T7" fmla="*/ 10 h 116"/>
                <a:gd name="T8" fmla="*/ 122 w 122"/>
                <a:gd name="T9" fmla="*/ 10 h 116"/>
                <a:gd name="T10" fmla="*/ 122 w 122"/>
                <a:gd name="T11" fmla="*/ 20 h 116"/>
                <a:gd name="T12" fmla="*/ 116 w 122"/>
                <a:gd name="T13" fmla="*/ 30 h 116"/>
                <a:gd name="T14" fmla="*/ 110 w 122"/>
                <a:gd name="T15" fmla="*/ 38 h 116"/>
                <a:gd name="T16" fmla="*/ 100 w 122"/>
                <a:gd name="T17" fmla="*/ 46 h 116"/>
                <a:gd name="T18" fmla="*/ 100 w 122"/>
                <a:gd name="T19" fmla="*/ 60 h 116"/>
                <a:gd name="T20" fmla="*/ 90 w 122"/>
                <a:gd name="T21" fmla="*/ 62 h 116"/>
                <a:gd name="T22" fmla="*/ 80 w 122"/>
                <a:gd name="T23" fmla="*/ 66 h 116"/>
                <a:gd name="T24" fmla="*/ 74 w 122"/>
                <a:gd name="T25" fmla="*/ 74 h 116"/>
                <a:gd name="T26" fmla="*/ 70 w 122"/>
                <a:gd name="T27" fmla="*/ 90 h 116"/>
                <a:gd name="T28" fmla="*/ 58 w 122"/>
                <a:gd name="T29" fmla="*/ 104 h 116"/>
                <a:gd name="T30" fmla="*/ 48 w 122"/>
                <a:gd name="T31" fmla="*/ 114 h 116"/>
                <a:gd name="T32" fmla="*/ 30 w 122"/>
                <a:gd name="T33" fmla="*/ 116 h 116"/>
                <a:gd name="T34" fmla="*/ 22 w 122"/>
                <a:gd name="T35" fmla="*/ 110 h 116"/>
                <a:gd name="T36" fmla="*/ 16 w 122"/>
                <a:gd name="T37" fmla="*/ 108 h 116"/>
                <a:gd name="T38" fmla="*/ 0 w 122"/>
                <a:gd name="T39" fmla="*/ 106 h 116"/>
                <a:gd name="T40" fmla="*/ 4 w 122"/>
                <a:gd name="T41" fmla="*/ 92 h 116"/>
                <a:gd name="T42" fmla="*/ 14 w 122"/>
                <a:gd name="T43" fmla="*/ 80 h 116"/>
                <a:gd name="T44" fmla="*/ 30 w 122"/>
                <a:gd name="T45" fmla="*/ 64 h 116"/>
                <a:gd name="T46" fmla="*/ 38 w 122"/>
                <a:gd name="T47" fmla="*/ 64 h 116"/>
                <a:gd name="T48" fmla="*/ 48 w 122"/>
                <a:gd name="T49" fmla="*/ 52 h 116"/>
                <a:gd name="T50" fmla="*/ 60 w 122"/>
                <a:gd name="T51" fmla="*/ 52 h 116"/>
                <a:gd name="T52" fmla="*/ 72 w 122"/>
                <a:gd name="T53" fmla="*/ 36 h 116"/>
                <a:gd name="T54" fmla="*/ 78 w 122"/>
                <a:gd name="T55" fmla="*/ 26 h 116"/>
                <a:gd name="T56" fmla="*/ 88 w 122"/>
                <a:gd name="T57" fmla="*/ 20 h 116"/>
                <a:gd name="T58" fmla="*/ 88 w 122"/>
                <a:gd name="T59" fmla="*/ 10 h 116"/>
                <a:gd name="T60" fmla="*/ 92 w 122"/>
                <a:gd name="T6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2" h="116">
                  <a:moveTo>
                    <a:pt x="92" y="0"/>
                  </a:moveTo>
                  <a:lnTo>
                    <a:pt x="100" y="2"/>
                  </a:lnTo>
                  <a:lnTo>
                    <a:pt x="106" y="10"/>
                  </a:lnTo>
                  <a:lnTo>
                    <a:pt x="116" y="10"/>
                  </a:lnTo>
                  <a:lnTo>
                    <a:pt x="122" y="10"/>
                  </a:lnTo>
                  <a:lnTo>
                    <a:pt x="122" y="20"/>
                  </a:lnTo>
                  <a:lnTo>
                    <a:pt x="116" y="30"/>
                  </a:lnTo>
                  <a:lnTo>
                    <a:pt x="110" y="38"/>
                  </a:lnTo>
                  <a:lnTo>
                    <a:pt x="100" y="46"/>
                  </a:lnTo>
                  <a:lnTo>
                    <a:pt x="100" y="60"/>
                  </a:lnTo>
                  <a:lnTo>
                    <a:pt x="90" y="62"/>
                  </a:lnTo>
                  <a:lnTo>
                    <a:pt x="80" y="66"/>
                  </a:lnTo>
                  <a:lnTo>
                    <a:pt x="74" y="74"/>
                  </a:lnTo>
                  <a:lnTo>
                    <a:pt x="70" y="90"/>
                  </a:lnTo>
                  <a:lnTo>
                    <a:pt x="58" y="104"/>
                  </a:lnTo>
                  <a:lnTo>
                    <a:pt x="48" y="114"/>
                  </a:lnTo>
                  <a:lnTo>
                    <a:pt x="30" y="116"/>
                  </a:lnTo>
                  <a:lnTo>
                    <a:pt x="22" y="110"/>
                  </a:lnTo>
                  <a:lnTo>
                    <a:pt x="16" y="108"/>
                  </a:lnTo>
                  <a:lnTo>
                    <a:pt x="0" y="106"/>
                  </a:lnTo>
                  <a:lnTo>
                    <a:pt x="4" y="92"/>
                  </a:lnTo>
                  <a:lnTo>
                    <a:pt x="14" y="80"/>
                  </a:lnTo>
                  <a:lnTo>
                    <a:pt x="30" y="64"/>
                  </a:lnTo>
                  <a:lnTo>
                    <a:pt x="38" y="64"/>
                  </a:lnTo>
                  <a:lnTo>
                    <a:pt x="48" y="52"/>
                  </a:lnTo>
                  <a:lnTo>
                    <a:pt x="60" y="52"/>
                  </a:lnTo>
                  <a:lnTo>
                    <a:pt x="72" y="36"/>
                  </a:lnTo>
                  <a:lnTo>
                    <a:pt x="78" y="26"/>
                  </a:lnTo>
                  <a:lnTo>
                    <a:pt x="88" y="20"/>
                  </a:lnTo>
                  <a:lnTo>
                    <a:pt x="88" y="10"/>
                  </a:lnTo>
                  <a:lnTo>
                    <a:pt x="92"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65" name="Freeform 261">
              <a:extLst>
                <a:ext uri="{FF2B5EF4-FFF2-40B4-BE49-F238E27FC236}">
                  <a16:creationId xmlns:a16="http://schemas.microsoft.com/office/drawing/2014/main" id="{25FC5D20-3CB4-4CF8-8F87-E3305836130A}"/>
                </a:ext>
              </a:extLst>
            </p:cNvPr>
            <p:cNvSpPr>
              <a:spLocks/>
            </p:cNvSpPr>
            <p:nvPr/>
          </p:nvSpPr>
          <p:spPr bwMode="gray">
            <a:xfrm>
              <a:off x="9610866" y="5826677"/>
              <a:ext cx="95762" cy="96271"/>
            </a:xfrm>
            <a:custGeom>
              <a:avLst/>
              <a:gdLst>
                <a:gd name="T0" fmla="*/ 2 w 58"/>
                <a:gd name="T1" fmla="*/ 0 h 58"/>
                <a:gd name="T2" fmla="*/ 12 w 58"/>
                <a:gd name="T3" fmla="*/ 6 h 58"/>
                <a:gd name="T4" fmla="*/ 26 w 58"/>
                <a:gd name="T5" fmla="*/ 12 h 58"/>
                <a:gd name="T6" fmla="*/ 40 w 58"/>
                <a:gd name="T7" fmla="*/ 10 h 58"/>
                <a:gd name="T8" fmla="*/ 52 w 58"/>
                <a:gd name="T9" fmla="*/ 8 h 58"/>
                <a:gd name="T10" fmla="*/ 58 w 58"/>
                <a:gd name="T11" fmla="*/ 10 h 58"/>
                <a:gd name="T12" fmla="*/ 58 w 58"/>
                <a:gd name="T13" fmla="*/ 26 h 58"/>
                <a:gd name="T14" fmla="*/ 54 w 58"/>
                <a:gd name="T15" fmla="*/ 34 h 58"/>
                <a:gd name="T16" fmla="*/ 52 w 58"/>
                <a:gd name="T17" fmla="*/ 42 h 58"/>
                <a:gd name="T18" fmla="*/ 48 w 58"/>
                <a:gd name="T19" fmla="*/ 46 h 58"/>
                <a:gd name="T20" fmla="*/ 42 w 58"/>
                <a:gd name="T21" fmla="*/ 46 h 58"/>
                <a:gd name="T22" fmla="*/ 40 w 58"/>
                <a:gd name="T23" fmla="*/ 50 h 58"/>
                <a:gd name="T24" fmla="*/ 32 w 58"/>
                <a:gd name="T25" fmla="*/ 58 h 58"/>
                <a:gd name="T26" fmla="*/ 24 w 58"/>
                <a:gd name="T27" fmla="*/ 56 h 58"/>
                <a:gd name="T28" fmla="*/ 16 w 58"/>
                <a:gd name="T29" fmla="*/ 48 h 58"/>
                <a:gd name="T30" fmla="*/ 10 w 58"/>
                <a:gd name="T31" fmla="*/ 40 h 58"/>
                <a:gd name="T32" fmla="*/ 12 w 58"/>
                <a:gd name="T33" fmla="*/ 26 h 58"/>
                <a:gd name="T34" fmla="*/ 8 w 58"/>
                <a:gd name="T35" fmla="*/ 18 h 58"/>
                <a:gd name="T36" fmla="*/ 0 w 58"/>
                <a:gd name="T37" fmla="*/ 12 h 58"/>
                <a:gd name="T38" fmla="*/ 2 w 58"/>
                <a:gd name="T3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8" h="58">
                  <a:moveTo>
                    <a:pt x="2" y="0"/>
                  </a:moveTo>
                  <a:lnTo>
                    <a:pt x="12" y="6"/>
                  </a:lnTo>
                  <a:lnTo>
                    <a:pt x="26" y="12"/>
                  </a:lnTo>
                  <a:lnTo>
                    <a:pt x="40" y="10"/>
                  </a:lnTo>
                  <a:lnTo>
                    <a:pt x="52" y="8"/>
                  </a:lnTo>
                  <a:lnTo>
                    <a:pt x="58" y="10"/>
                  </a:lnTo>
                  <a:lnTo>
                    <a:pt x="58" y="26"/>
                  </a:lnTo>
                  <a:lnTo>
                    <a:pt x="54" y="34"/>
                  </a:lnTo>
                  <a:lnTo>
                    <a:pt x="52" y="42"/>
                  </a:lnTo>
                  <a:lnTo>
                    <a:pt x="48" y="46"/>
                  </a:lnTo>
                  <a:lnTo>
                    <a:pt x="42" y="46"/>
                  </a:lnTo>
                  <a:lnTo>
                    <a:pt x="40" y="50"/>
                  </a:lnTo>
                  <a:lnTo>
                    <a:pt x="32" y="58"/>
                  </a:lnTo>
                  <a:lnTo>
                    <a:pt x="24" y="56"/>
                  </a:lnTo>
                  <a:lnTo>
                    <a:pt x="16" y="48"/>
                  </a:lnTo>
                  <a:lnTo>
                    <a:pt x="10" y="40"/>
                  </a:lnTo>
                  <a:lnTo>
                    <a:pt x="12" y="26"/>
                  </a:lnTo>
                  <a:lnTo>
                    <a:pt x="8" y="18"/>
                  </a:lnTo>
                  <a:lnTo>
                    <a:pt x="0" y="12"/>
                  </a:lnTo>
                  <a:lnTo>
                    <a:pt x="2"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66" name="Freeform 262">
              <a:extLst>
                <a:ext uri="{FF2B5EF4-FFF2-40B4-BE49-F238E27FC236}">
                  <a16:creationId xmlns:a16="http://schemas.microsoft.com/office/drawing/2014/main" id="{9A5F8F53-E341-41F6-A222-DEA152F88DDF}"/>
                </a:ext>
              </a:extLst>
            </p:cNvPr>
            <p:cNvSpPr>
              <a:spLocks/>
            </p:cNvSpPr>
            <p:nvPr/>
          </p:nvSpPr>
          <p:spPr bwMode="gray">
            <a:xfrm>
              <a:off x="8785331" y="4983485"/>
              <a:ext cx="1056686" cy="790078"/>
            </a:xfrm>
            <a:custGeom>
              <a:avLst/>
              <a:gdLst>
                <a:gd name="T0" fmla="*/ 308 w 640"/>
                <a:gd name="T1" fmla="*/ 18 h 476"/>
                <a:gd name="T2" fmla="*/ 308 w 640"/>
                <a:gd name="T3" fmla="*/ 4 h 476"/>
                <a:gd name="T4" fmla="*/ 340 w 640"/>
                <a:gd name="T5" fmla="*/ 18 h 476"/>
                <a:gd name="T6" fmla="*/ 362 w 640"/>
                <a:gd name="T7" fmla="*/ 22 h 476"/>
                <a:gd name="T8" fmla="*/ 372 w 640"/>
                <a:gd name="T9" fmla="*/ 30 h 476"/>
                <a:gd name="T10" fmla="*/ 352 w 640"/>
                <a:gd name="T11" fmla="*/ 54 h 476"/>
                <a:gd name="T12" fmla="*/ 372 w 640"/>
                <a:gd name="T13" fmla="*/ 78 h 476"/>
                <a:gd name="T14" fmla="*/ 416 w 640"/>
                <a:gd name="T15" fmla="*/ 102 h 476"/>
                <a:gd name="T16" fmla="*/ 450 w 640"/>
                <a:gd name="T17" fmla="*/ 84 h 476"/>
                <a:gd name="T18" fmla="*/ 456 w 640"/>
                <a:gd name="T19" fmla="*/ 22 h 476"/>
                <a:gd name="T20" fmla="*/ 470 w 640"/>
                <a:gd name="T21" fmla="*/ 6 h 476"/>
                <a:gd name="T22" fmla="*/ 484 w 640"/>
                <a:gd name="T23" fmla="*/ 54 h 476"/>
                <a:gd name="T24" fmla="*/ 510 w 640"/>
                <a:gd name="T25" fmla="*/ 72 h 476"/>
                <a:gd name="T26" fmla="*/ 522 w 640"/>
                <a:gd name="T27" fmla="*/ 102 h 476"/>
                <a:gd name="T28" fmla="*/ 532 w 640"/>
                <a:gd name="T29" fmla="*/ 134 h 476"/>
                <a:gd name="T30" fmla="*/ 568 w 640"/>
                <a:gd name="T31" fmla="*/ 162 h 476"/>
                <a:gd name="T32" fmla="*/ 582 w 640"/>
                <a:gd name="T33" fmla="*/ 188 h 476"/>
                <a:gd name="T34" fmla="*/ 612 w 640"/>
                <a:gd name="T35" fmla="*/ 214 h 476"/>
                <a:gd name="T36" fmla="*/ 634 w 640"/>
                <a:gd name="T37" fmla="*/ 254 h 476"/>
                <a:gd name="T38" fmla="*/ 640 w 640"/>
                <a:gd name="T39" fmla="*/ 300 h 476"/>
                <a:gd name="T40" fmla="*/ 624 w 640"/>
                <a:gd name="T41" fmla="*/ 358 h 476"/>
                <a:gd name="T42" fmla="*/ 596 w 640"/>
                <a:gd name="T43" fmla="*/ 402 h 476"/>
                <a:gd name="T44" fmla="*/ 582 w 640"/>
                <a:gd name="T45" fmla="*/ 450 h 476"/>
                <a:gd name="T46" fmla="*/ 550 w 640"/>
                <a:gd name="T47" fmla="*/ 452 h 476"/>
                <a:gd name="T48" fmla="*/ 532 w 640"/>
                <a:gd name="T49" fmla="*/ 474 h 476"/>
                <a:gd name="T50" fmla="*/ 516 w 640"/>
                <a:gd name="T51" fmla="*/ 468 h 476"/>
                <a:gd name="T52" fmla="*/ 500 w 640"/>
                <a:gd name="T53" fmla="*/ 460 h 476"/>
                <a:gd name="T54" fmla="*/ 462 w 640"/>
                <a:gd name="T55" fmla="*/ 464 h 476"/>
                <a:gd name="T56" fmla="*/ 430 w 640"/>
                <a:gd name="T57" fmla="*/ 452 h 476"/>
                <a:gd name="T58" fmla="*/ 418 w 640"/>
                <a:gd name="T59" fmla="*/ 424 h 476"/>
                <a:gd name="T60" fmla="*/ 400 w 640"/>
                <a:gd name="T61" fmla="*/ 408 h 476"/>
                <a:gd name="T62" fmla="*/ 390 w 640"/>
                <a:gd name="T63" fmla="*/ 402 h 476"/>
                <a:gd name="T64" fmla="*/ 392 w 640"/>
                <a:gd name="T65" fmla="*/ 382 h 476"/>
                <a:gd name="T66" fmla="*/ 382 w 640"/>
                <a:gd name="T67" fmla="*/ 376 h 476"/>
                <a:gd name="T68" fmla="*/ 360 w 640"/>
                <a:gd name="T69" fmla="*/ 402 h 476"/>
                <a:gd name="T70" fmla="*/ 340 w 640"/>
                <a:gd name="T71" fmla="*/ 372 h 476"/>
                <a:gd name="T72" fmla="*/ 298 w 640"/>
                <a:gd name="T73" fmla="*/ 350 h 476"/>
                <a:gd name="T74" fmla="*/ 228 w 640"/>
                <a:gd name="T75" fmla="*/ 356 h 476"/>
                <a:gd name="T76" fmla="*/ 172 w 640"/>
                <a:gd name="T77" fmla="*/ 372 h 476"/>
                <a:gd name="T78" fmla="*/ 108 w 640"/>
                <a:gd name="T79" fmla="*/ 386 h 476"/>
                <a:gd name="T80" fmla="*/ 80 w 640"/>
                <a:gd name="T81" fmla="*/ 406 h 476"/>
                <a:gd name="T82" fmla="*/ 30 w 640"/>
                <a:gd name="T83" fmla="*/ 394 h 476"/>
                <a:gd name="T84" fmla="*/ 40 w 640"/>
                <a:gd name="T85" fmla="*/ 356 h 476"/>
                <a:gd name="T86" fmla="*/ 30 w 640"/>
                <a:gd name="T87" fmla="*/ 310 h 476"/>
                <a:gd name="T88" fmla="*/ 4 w 640"/>
                <a:gd name="T89" fmla="*/ 254 h 476"/>
                <a:gd name="T90" fmla="*/ 10 w 640"/>
                <a:gd name="T91" fmla="*/ 254 h 476"/>
                <a:gd name="T92" fmla="*/ 12 w 640"/>
                <a:gd name="T93" fmla="*/ 238 h 476"/>
                <a:gd name="T94" fmla="*/ 12 w 640"/>
                <a:gd name="T95" fmla="*/ 188 h 476"/>
                <a:gd name="T96" fmla="*/ 24 w 640"/>
                <a:gd name="T97" fmla="*/ 178 h 476"/>
                <a:gd name="T98" fmla="*/ 62 w 640"/>
                <a:gd name="T99" fmla="*/ 158 h 476"/>
                <a:gd name="T100" fmla="*/ 122 w 640"/>
                <a:gd name="T101" fmla="*/ 144 h 476"/>
                <a:gd name="T102" fmla="*/ 146 w 640"/>
                <a:gd name="T103" fmla="*/ 98 h 476"/>
                <a:gd name="T104" fmla="*/ 164 w 640"/>
                <a:gd name="T105" fmla="*/ 102 h 476"/>
                <a:gd name="T106" fmla="*/ 176 w 640"/>
                <a:gd name="T107" fmla="*/ 88 h 476"/>
                <a:gd name="T108" fmla="*/ 192 w 640"/>
                <a:gd name="T109" fmla="*/ 66 h 476"/>
                <a:gd name="T110" fmla="*/ 220 w 640"/>
                <a:gd name="T111" fmla="*/ 48 h 476"/>
                <a:gd name="T112" fmla="*/ 242 w 640"/>
                <a:gd name="T113" fmla="*/ 66 h 476"/>
                <a:gd name="T114" fmla="*/ 256 w 640"/>
                <a:gd name="T115" fmla="*/ 52 h 476"/>
                <a:gd name="T116" fmla="*/ 282 w 640"/>
                <a:gd name="T117" fmla="*/ 24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40" h="476">
                  <a:moveTo>
                    <a:pt x="286" y="20"/>
                  </a:moveTo>
                  <a:lnTo>
                    <a:pt x="296" y="22"/>
                  </a:lnTo>
                  <a:lnTo>
                    <a:pt x="308" y="18"/>
                  </a:lnTo>
                  <a:lnTo>
                    <a:pt x="310" y="12"/>
                  </a:lnTo>
                  <a:lnTo>
                    <a:pt x="302" y="6"/>
                  </a:lnTo>
                  <a:lnTo>
                    <a:pt x="308" y="4"/>
                  </a:lnTo>
                  <a:lnTo>
                    <a:pt x="322" y="10"/>
                  </a:lnTo>
                  <a:lnTo>
                    <a:pt x="330" y="14"/>
                  </a:lnTo>
                  <a:lnTo>
                    <a:pt x="340" y="18"/>
                  </a:lnTo>
                  <a:lnTo>
                    <a:pt x="348" y="20"/>
                  </a:lnTo>
                  <a:lnTo>
                    <a:pt x="354" y="22"/>
                  </a:lnTo>
                  <a:lnTo>
                    <a:pt x="362" y="22"/>
                  </a:lnTo>
                  <a:lnTo>
                    <a:pt x="372" y="18"/>
                  </a:lnTo>
                  <a:lnTo>
                    <a:pt x="380" y="22"/>
                  </a:lnTo>
                  <a:lnTo>
                    <a:pt x="372" y="30"/>
                  </a:lnTo>
                  <a:lnTo>
                    <a:pt x="366" y="40"/>
                  </a:lnTo>
                  <a:lnTo>
                    <a:pt x="360" y="48"/>
                  </a:lnTo>
                  <a:lnTo>
                    <a:pt x="352" y="54"/>
                  </a:lnTo>
                  <a:lnTo>
                    <a:pt x="352" y="62"/>
                  </a:lnTo>
                  <a:lnTo>
                    <a:pt x="358" y="68"/>
                  </a:lnTo>
                  <a:lnTo>
                    <a:pt x="372" y="78"/>
                  </a:lnTo>
                  <a:lnTo>
                    <a:pt x="388" y="84"/>
                  </a:lnTo>
                  <a:lnTo>
                    <a:pt x="404" y="96"/>
                  </a:lnTo>
                  <a:lnTo>
                    <a:pt x="416" y="102"/>
                  </a:lnTo>
                  <a:lnTo>
                    <a:pt x="432" y="112"/>
                  </a:lnTo>
                  <a:lnTo>
                    <a:pt x="442" y="100"/>
                  </a:lnTo>
                  <a:lnTo>
                    <a:pt x="450" y="84"/>
                  </a:lnTo>
                  <a:lnTo>
                    <a:pt x="452" y="66"/>
                  </a:lnTo>
                  <a:lnTo>
                    <a:pt x="450" y="40"/>
                  </a:lnTo>
                  <a:lnTo>
                    <a:pt x="456" y="22"/>
                  </a:lnTo>
                  <a:lnTo>
                    <a:pt x="460" y="10"/>
                  </a:lnTo>
                  <a:lnTo>
                    <a:pt x="464" y="0"/>
                  </a:lnTo>
                  <a:lnTo>
                    <a:pt x="470" y="6"/>
                  </a:lnTo>
                  <a:lnTo>
                    <a:pt x="478" y="20"/>
                  </a:lnTo>
                  <a:lnTo>
                    <a:pt x="482" y="32"/>
                  </a:lnTo>
                  <a:lnTo>
                    <a:pt x="484" y="54"/>
                  </a:lnTo>
                  <a:lnTo>
                    <a:pt x="494" y="58"/>
                  </a:lnTo>
                  <a:lnTo>
                    <a:pt x="506" y="62"/>
                  </a:lnTo>
                  <a:lnTo>
                    <a:pt x="510" y="72"/>
                  </a:lnTo>
                  <a:lnTo>
                    <a:pt x="512" y="82"/>
                  </a:lnTo>
                  <a:lnTo>
                    <a:pt x="512" y="96"/>
                  </a:lnTo>
                  <a:lnTo>
                    <a:pt x="522" y="102"/>
                  </a:lnTo>
                  <a:lnTo>
                    <a:pt x="526" y="112"/>
                  </a:lnTo>
                  <a:lnTo>
                    <a:pt x="526" y="124"/>
                  </a:lnTo>
                  <a:lnTo>
                    <a:pt x="532" y="134"/>
                  </a:lnTo>
                  <a:lnTo>
                    <a:pt x="544" y="138"/>
                  </a:lnTo>
                  <a:lnTo>
                    <a:pt x="558" y="148"/>
                  </a:lnTo>
                  <a:lnTo>
                    <a:pt x="568" y="162"/>
                  </a:lnTo>
                  <a:lnTo>
                    <a:pt x="578" y="172"/>
                  </a:lnTo>
                  <a:lnTo>
                    <a:pt x="578" y="182"/>
                  </a:lnTo>
                  <a:lnTo>
                    <a:pt x="582" y="188"/>
                  </a:lnTo>
                  <a:lnTo>
                    <a:pt x="594" y="188"/>
                  </a:lnTo>
                  <a:lnTo>
                    <a:pt x="598" y="204"/>
                  </a:lnTo>
                  <a:lnTo>
                    <a:pt x="612" y="214"/>
                  </a:lnTo>
                  <a:lnTo>
                    <a:pt x="624" y="228"/>
                  </a:lnTo>
                  <a:lnTo>
                    <a:pt x="630" y="242"/>
                  </a:lnTo>
                  <a:lnTo>
                    <a:pt x="634" y="254"/>
                  </a:lnTo>
                  <a:lnTo>
                    <a:pt x="636" y="270"/>
                  </a:lnTo>
                  <a:lnTo>
                    <a:pt x="638" y="282"/>
                  </a:lnTo>
                  <a:lnTo>
                    <a:pt x="640" y="300"/>
                  </a:lnTo>
                  <a:lnTo>
                    <a:pt x="634" y="322"/>
                  </a:lnTo>
                  <a:lnTo>
                    <a:pt x="632" y="340"/>
                  </a:lnTo>
                  <a:lnTo>
                    <a:pt x="624" y="358"/>
                  </a:lnTo>
                  <a:lnTo>
                    <a:pt x="612" y="368"/>
                  </a:lnTo>
                  <a:lnTo>
                    <a:pt x="606" y="380"/>
                  </a:lnTo>
                  <a:lnTo>
                    <a:pt x="596" y="402"/>
                  </a:lnTo>
                  <a:lnTo>
                    <a:pt x="590" y="418"/>
                  </a:lnTo>
                  <a:lnTo>
                    <a:pt x="582" y="432"/>
                  </a:lnTo>
                  <a:lnTo>
                    <a:pt x="582" y="450"/>
                  </a:lnTo>
                  <a:lnTo>
                    <a:pt x="576" y="454"/>
                  </a:lnTo>
                  <a:lnTo>
                    <a:pt x="566" y="454"/>
                  </a:lnTo>
                  <a:lnTo>
                    <a:pt x="550" y="452"/>
                  </a:lnTo>
                  <a:lnTo>
                    <a:pt x="546" y="464"/>
                  </a:lnTo>
                  <a:lnTo>
                    <a:pt x="534" y="472"/>
                  </a:lnTo>
                  <a:lnTo>
                    <a:pt x="532" y="474"/>
                  </a:lnTo>
                  <a:lnTo>
                    <a:pt x="526" y="476"/>
                  </a:lnTo>
                  <a:lnTo>
                    <a:pt x="520" y="472"/>
                  </a:lnTo>
                  <a:lnTo>
                    <a:pt x="516" y="468"/>
                  </a:lnTo>
                  <a:lnTo>
                    <a:pt x="510" y="462"/>
                  </a:lnTo>
                  <a:lnTo>
                    <a:pt x="506" y="458"/>
                  </a:lnTo>
                  <a:lnTo>
                    <a:pt x="500" y="460"/>
                  </a:lnTo>
                  <a:lnTo>
                    <a:pt x="486" y="474"/>
                  </a:lnTo>
                  <a:lnTo>
                    <a:pt x="474" y="470"/>
                  </a:lnTo>
                  <a:lnTo>
                    <a:pt x="462" y="464"/>
                  </a:lnTo>
                  <a:lnTo>
                    <a:pt x="450" y="464"/>
                  </a:lnTo>
                  <a:lnTo>
                    <a:pt x="438" y="462"/>
                  </a:lnTo>
                  <a:lnTo>
                    <a:pt x="430" y="452"/>
                  </a:lnTo>
                  <a:lnTo>
                    <a:pt x="424" y="444"/>
                  </a:lnTo>
                  <a:lnTo>
                    <a:pt x="426" y="434"/>
                  </a:lnTo>
                  <a:lnTo>
                    <a:pt x="418" y="424"/>
                  </a:lnTo>
                  <a:lnTo>
                    <a:pt x="410" y="416"/>
                  </a:lnTo>
                  <a:lnTo>
                    <a:pt x="402" y="416"/>
                  </a:lnTo>
                  <a:lnTo>
                    <a:pt x="400" y="408"/>
                  </a:lnTo>
                  <a:lnTo>
                    <a:pt x="406" y="398"/>
                  </a:lnTo>
                  <a:lnTo>
                    <a:pt x="398" y="394"/>
                  </a:lnTo>
                  <a:lnTo>
                    <a:pt x="390" y="402"/>
                  </a:lnTo>
                  <a:lnTo>
                    <a:pt x="380" y="408"/>
                  </a:lnTo>
                  <a:lnTo>
                    <a:pt x="386" y="388"/>
                  </a:lnTo>
                  <a:lnTo>
                    <a:pt x="392" y="382"/>
                  </a:lnTo>
                  <a:lnTo>
                    <a:pt x="394" y="376"/>
                  </a:lnTo>
                  <a:lnTo>
                    <a:pt x="390" y="366"/>
                  </a:lnTo>
                  <a:lnTo>
                    <a:pt x="382" y="376"/>
                  </a:lnTo>
                  <a:lnTo>
                    <a:pt x="376" y="386"/>
                  </a:lnTo>
                  <a:lnTo>
                    <a:pt x="366" y="394"/>
                  </a:lnTo>
                  <a:lnTo>
                    <a:pt x="360" y="402"/>
                  </a:lnTo>
                  <a:lnTo>
                    <a:pt x="352" y="398"/>
                  </a:lnTo>
                  <a:lnTo>
                    <a:pt x="350" y="386"/>
                  </a:lnTo>
                  <a:lnTo>
                    <a:pt x="340" y="372"/>
                  </a:lnTo>
                  <a:lnTo>
                    <a:pt x="334" y="364"/>
                  </a:lnTo>
                  <a:lnTo>
                    <a:pt x="328" y="358"/>
                  </a:lnTo>
                  <a:lnTo>
                    <a:pt x="298" y="350"/>
                  </a:lnTo>
                  <a:lnTo>
                    <a:pt x="258" y="344"/>
                  </a:lnTo>
                  <a:lnTo>
                    <a:pt x="246" y="348"/>
                  </a:lnTo>
                  <a:lnTo>
                    <a:pt x="228" y="356"/>
                  </a:lnTo>
                  <a:lnTo>
                    <a:pt x="200" y="358"/>
                  </a:lnTo>
                  <a:lnTo>
                    <a:pt x="184" y="368"/>
                  </a:lnTo>
                  <a:lnTo>
                    <a:pt x="172" y="372"/>
                  </a:lnTo>
                  <a:lnTo>
                    <a:pt x="170" y="380"/>
                  </a:lnTo>
                  <a:lnTo>
                    <a:pt x="164" y="386"/>
                  </a:lnTo>
                  <a:lnTo>
                    <a:pt x="108" y="386"/>
                  </a:lnTo>
                  <a:lnTo>
                    <a:pt x="100" y="394"/>
                  </a:lnTo>
                  <a:lnTo>
                    <a:pt x="90" y="394"/>
                  </a:lnTo>
                  <a:lnTo>
                    <a:pt x="80" y="406"/>
                  </a:lnTo>
                  <a:lnTo>
                    <a:pt x="54" y="408"/>
                  </a:lnTo>
                  <a:lnTo>
                    <a:pt x="42" y="400"/>
                  </a:lnTo>
                  <a:lnTo>
                    <a:pt x="30" y="394"/>
                  </a:lnTo>
                  <a:lnTo>
                    <a:pt x="28" y="384"/>
                  </a:lnTo>
                  <a:lnTo>
                    <a:pt x="40" y="378"/>
                  </a:lnTo>
                  <a:lnTo>
                    <a:pt x="40" y="356"/>
                  </a:lnTo>
                  <a:lnTo>
                    <a:pt x="40" y="342"/>
                  </a:lnTo>
                  <a:lnTo>
                    <a:pt x="30" y="328"/>
                  </a:lnTo>
                  <a:lnTo>
                    <a:pt x="30" y="310"/>
                  </a:lnTo>
                  <a:lnTo>
                    <a:pt x="18" y="280"/>
                  </a:lnTo>
                  <a:lnTo>
                    <a:pt x="10" y="264"/>
                  </a:lnTo>
                  <a:lnTo>
                    <a:pt x="4" y="254"/>
                  </a:lnTo>
                  <a:lnTo>
                    <a:pt x="0" y="246"/>
                  </a:lnTo>
                  <a:lnTo>
                    <a:pt x="6" y="248"/>
                  </a:lnTo>
                  <a:lnTo>
                    <a:pt x="10" y="254"/>
                  </a:lnTo>
                  <a:lnTo>
                    <a:pt x="18" y="254"/>
                  </a:lnTo>
                  <a:lnTo>
                    <a:pt x="20" y="244"/>
                  </a:lnTo>
                  <a:lnTo>
                    <a:pt x="12" y="238"/>
                  </a:lnTo>
                  <a:lnTo>
                    <a:pt x="6" y="218"/>
                  </a:lnTo>
                  <a:lnTo>
                    <a:pt x="6" y="204"/>
                  </a:lnTo>
                  <a:lnTo>
                    <a:pt x="12" y="188"/>
                  </a:lnTo>
                  <a:lnTo>
                    <a:pt x="14" y="180"/>
                  </a:lnTo>
                  <a:lnTo>
                    <a:pt x="20" y="186"/>
                  </a:lnTo>
                  <a:lnTo>
                    <a:pt x="24" y="178"/>
                  </a:lnTo>
                  <a:lnTo>
                    <a:pt x="34" y="178"/>
                  </a:lnTo>
                  <a:lnTo>
                    <a:pt x="48" y="162"/>
                  </a:lnTo>
                  <a:lnTo>
                    <a:pt x="62" y="158"/>
                  </a:lnTo>
                  <a:lnTo>
                    <a:pt x="86" y="154"/>
                  </a:lnTo>
                  <a:lnTo>
                    <a:pt x="110" y="146"/>
                  </a:lnTo>
                  <a:lnTo>
                    <a:pt x="122" y="144"/>
                  </a:lnTo>
                  <a:lnTo>
                    <a:pt x="144" y="118"/>
                  </a:lnTo>
                  <a:lnTo>
                    <a:pt x="142" y="106"/>
                  </a:lnTo>
                  <a:lnTo>
                    <a:pt x="146" y="98"/>
                  </a:lnTo>
                  <a:lnTo>
                    <a:pt x="156" y="92"/>
                  </a:lnTo>
                  <a:lnTo>
                    <a:pt x="160" y="98"/>
                  </a:lnTo>
                  <a:lnTo>
                    <a:pt x="164" y="102"/>
                  </a:lnTo>
                  <a:lnTo>
                    <a:pt x="168" y="96"/>
                  </a:lnTo>
                  <a:lnTo>
                    <a:pt x="168" y="84"/>
                  </a:lnTo>
                  <a:lnTo>
                    <a:pt x="176" y="88"/>
                  </a:lnTo>
                  <a:lnTo>
                    <a:pt x="180" y="84"/>
                  </a:lnTo>
                  <a:lnTo>
                    <a:pt x="182" y="72"/>
                  </a:lnTo>
                  <a:lnTo>
                    <a:pt x="192" y="66"/>
                  </a:lnTo>
                  <a:lnTo>
                    <a:pt x="198" y="60"/>
                  </a:lnTo>
                  <a:lnTo>
                    <a:pt x="204" y="60"/>
                  </a:lnTo>
                  <a:lnTo>
                    <a:pt x="220" y="48"/>
                  </a:lnTo>
                  <a:lnTo>
                    <a:pt x="230" y="54"/>
                  </a:lnTo>
                  <a:lnTo>
                    <a:pt x="236" y="60"/>
                  </a:lnTo>
                  <a:lnTo>
                    <a:pt x="242" y="66"/>
                  </a:lnTo>
                  <a:lnTo>
                    <a:pt x="254" y="64"/>
                  </a:lnTo>
                  <a:lnTo>
                    <a:pt x="262" y="62"/>
                  </a:lnTo>
                  <a:lnTo>
                    <a:pt x="256" y="52"/>
                  </a:lnTo>
                  <a:lnTo>
                    <a:pt x="268" y="40"/>
                  </a:lnTo>
                  <a:lnTo>
                    <a:pt x="274" y="28"/>
                  </a:lnTo>
                  <a:lnTo>
                    <a:pt x="282" y="24"/>
                  </a:lnTo>
                  <a:lnTo>
                    <a:pt x="286" y="2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67" name="Freeform 263">
              <a:extLst>
                <a:ext uri="{FF2B5EF4-FFF2-40B4-BE49-F238E27FC236}">
                  <a16:creationId xmlns:a16="http://schemas.microsoft.com/office/drawing/2014/main" id="{3A9CBD27-833F-48A2-8DAB-C1E960AC9CE0}"/>
                </a:ext>
              </a:extLst>
            </p:cNvPr>
            <p:cNvSpPr>
              <a:spLocks/>
            </p:cNvSpPr>
            <p:nvPr/>
          </p:nvSpPr>
          <p:spPr bwMode="gray">
            <a:xfrm>
              <a:off x="8960344" y="4203366"/>
              <a:ext cx="115574" cy="159344"/>
            </a:xfrm>
            <a:custGeom>
              <a:avLst/>
              <a:gdLst>
                <a:gd name="T0" fmla="*/ 4 w 70"/>
                <a:gd name="T1" fmla="*/ 58 h 96"/>
                <a:gd name="T2" fmla="*/ 14 w 70"/>
                <a:gd name="T3" fmla="*/ 64 h 96"/>
                <a:gd name="T4" fmla="*/ 16 w 70"/>
                <a:gd name="T5" fmla="*/ 76 h 96"/>
                <a:gd name="T6" fmla="*/ 24 w 70"/>
                <a:gd name="T7" fmla="*/ 78 h 96"/>
                <a:gd name="T8" fmla="*/ 30 w 70"/>
                <a:gd name="T9" fmla="*/ 72 h 96"/>
                <a:gd name="T10" fmla="*/ 38 w 70"/>
                <a:gd name="T11" fmla="*/ 74 h 96"/>
                <a:gd name="T12" fmla="*/ 40 w 70"/>
                <a:gd name="T13" fmla="*/ 82 h 96"/>
                <a:gd name="T14" fmla="*/ 48 w 70"/>
                <a:gd name="T15" fmla="*/ 80 h 96"/>
                <a:gd name="T16" fmla="*/ 52 w 70"/>
                <a:gd name="T17" fmla="*/ 84 h 96"/>
                <a:gd name="T18" fmla="*/ 62 w 70"/>
                <a:gd name="T19" fmla="*/ 90 h 96"/>
                <a:gd name="T20" fmla="*/ 66 w 70"/>
                <a:gd name="T21" fmla="*/ 96 h 96"/>
                <a:gd name="T22" fmla="*/ 70 w 70"/>
                <a:gd name="T23" fmla="*/ 90 h 96"/>
                <a:gd name="T24" fmla="*/ 62 w 70"/>
                <a:gd name="T25" fmla="*/ 84 h 96"/>
                <a:gd name="T26" fmla="*/ 62 w 70"/>
                <a:gd name="T27" fmla="*/ 78 h 96"/>
                <a:gd name="T28" fmla="*/ 58 w 70"/>
                <a:gd name="T29" fmla="*/ 72 h 96"/>
                <a:gd name="T30" fmla="*/ 50 w 70"/>
                <a:gd name="T31" fmla="*/ 72 h 96"/>
                <a:gd name="T32" fmla="*/ 46 w 70"/>
                <a:gd name="T33" fmla="*/ 68 h 96"/>
                <a:gd name="T34" fmla="*/ 40 w 70"/>
                <a:gd name="T35" fmla="*/ 70 h 96"/>
                <a:gd name="T36" fmla="*/ 32 w 70"/>
                <a:gd name="T37" fmla="*/ 66 h 96"/>
                <a:gd name="T38" fmla="*/ 28 w 70"/>
                <a:gd name="T39" fmla="*/ 62 h 96"/>
                <a:gd name="T40" fmla="*/ 26 w 70"/>
                <a:gd name="T41" fmla="*/ 54 h 96"/>
                <a:gd name="T42" fmla="*/ 28 w 70"/>
                <a:gd name="T43" fmla="*/ 42 h 96"/>
                <a:gd name="T44" fmla="*/ 34 w 70"/>
                <a:gd name="T45" fmla="*/ 40 h 96"/>
                <a:gd name="T46" fmla="*/ 40 w 70"/>
                <a:gd name="T47" fmla="*/ 26 h 96"/>
                <a:gd name="T48" fmla="*/ 38 w 70"/>
                <a:gd name="T49" fmla="*/ 14 h 96"/>
                <a:gd name="T50" fmla="*/ 38 w 70"/>
                <a:gd name="T51" fmla="*/ 4 h 96"/>
                <a:gd name="T52" fmla="*/ 28 w 70"/>
                <a:gd name="T53" fmla="*/ 2 h 96"/>
                <a:gd name="T54" fmla="*/ 12 w 70"/>
                <a:gd name="T55" fmla="*/ 0 h 96"/>
                <a:gd name="T56" fmla="*/ 10 w 70"/>
                <a:gd name="T57" fmla="*/ 16 h 96"/>
                <a:gd name="T58" fmla="*/ 10 w 70"/>
                <a:gd name="T59" fmla="*/ 28 h 96"/>
                <a:gd name="T60" fmla="*/ 12 w 70"/>
                <a:gd name="T61" fmla="*/ 36 h 96"/>
                <a:gd name="T62" fmla="*/ 0 w 70"/>
                <a:gd name="T63" fmla="*/ 38 h 96"/>
                <a:gd name="T64" fmla="*/ 2 w 70"/>
                <a:gd name="T65" fmla="*/ 44 h 96"/>
                <a:gd name="T66" fmla="*/ 4 w 70"/>
                <a:gd name="T67" fmla="*/ 48 h 96"/>
                <a:gd name="T68" fmla="*/ 4 w 70"/>
                <a:gd name="T69"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 h="96">
                  <a:moveTo>
                    <a:pt x="4" y="58"/>
                  </a:moveTo>
                  <a:lnTo>
                    <a:pt x="14" y="64"/>
                  </a:lnTo>
                  <a:lnTo>
                    <a:pt x="16" y="76"/>
                  </a:lnTo>
                  <a:lnTo>
                    <a:pt x="24" y="78"/>
                  </a:lnTo>
                  <a:lnTo>
                    <a:pt x="30" y="72"/>
                  </a:lnTo>
                  <a:lnTo>
                    <a:pt x="38" y="74"/>
                  </a:lnTo>
                  <a:lnTo>
                    <a:pt x="40" y="82"/>
                  </a:lnTo>
                  <a:lnTo>
                    <a:pt x="48" y="80"/>
                  </a:lnTo>
                  <a:lnTo>
                    <a:pt x="52" y="84"/>
                  </a:lnTo>
                  <a:lnTo>
                    <a:pt x="62" y="90"/>
                  </a:lnTo>
                  <a:lnTo>
                    <a:pt x="66" y="96"/>
                  </a:lnTo>
                  <a:lnTo>
                    <a:pt x="70" y="90"/>
                  </a:lnTo>
                  <a:lnTo>
                    <a:pt x="62" y="84"/>
                  </a:lnTo>
                  <a:lnTo>
                    <a:pt x="62" y="78"/>
                  </a:lnTo>
                  <a:lnTo>
                    <a:pt x="58" y="72"/>
                  </a:lnTo>
                  <a:lnTo>
                    <a:pt x="50" y="72"/>
                  </a:lnTo>
                  <a:lnTo>
                    <a:pt x="46" y="68"/>
                  </a:lnTo>
                  <a:lnTo>
                    <a:pt x="40" y="70"/>
                  </a:lnTo>
                  <a:lnTo>
                    <a:pt x="32" y="66"/>
                  </a:lnTo>
                  <a:lnTo>
                    <a:pt x="28" y="62"/>
                  </a:lnTo>
                  <a:lnTo>
                    <a:pt x="26" y="54"/>
                  </a:lnTo>
                  <a:lnTo>
                    <a:pt x="28" y="42"/>
                  </a:lnTo>
                  <a:lnTo>
                    <a:pt x="34" y="40"/>
                  </a:lnTo>
                  <a:lnTo>
                    <a:pt x="40" y="26"/>
                  </a:lnTo>
                  <a:lnTo>
                    <a:pt x="38" y="14"/>
                  </a:lnTo>
                  <a:lnTo>
                    <a:pt x="38" y="4"/>
                  </a:lnTo>
                  <a:lnTo>
                    <a:pt x="28" y="2"/>
                  </a:lnTo>
                  <a:lnTo>
                    <a:pt x="12" y="0"/>
                  </a:lnTo>
                  <a:lnTo>
                    <a:pt x="10" y="16"/>
                  </a:lnTo>
                  <a:lnTo>
                    <a:pt x="10" y="28"/>
                  </a:lnTo>
                  <a:lnTo>
                    <a:pt x="12" y="36"/>
                  </a:lnTo>
                  <a:lnTo>
                    <a:pt x="0" y="38"/>
                  </a:lnTo>
                  <a:lnTo>
                    <a:pt x="2" y="44"/>
                  </a:lnTo>
                  <a:lnTo>
                    <a:pt x="4" y="48"/>
                  </a:lnTo>
                  <a:lnTo>
                    <a:pt x="4" y="5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68" name="Freeform 264">
              <a:extLst>
                <a:ext uri="{FF2B5EF4-FFF2-40B4-BE49-F238E27FC236}">
                  <a16:creationId xmlns:a16="http://schemas.microsoft.com/office/drawing/2014/main" id="{3C508CF2-6D86-46B4-9496-458E89C8A651}"/>
                </a:ext>
              </a:extLst>
            </p:cNvPr>
            <p:cNvSpPr>
              <a:spLocks/>
            </p:cNvSpPr>
            <p:nvPr/>
          </p:nvSpPr>
          <p:spPr bwMode="gray">
            <a:xfrm>
              <a:off x="8891000" y="4399226"/>
              <a:ext cx="69344" cy="76353"/>
            </a:xfrm>
            <a:custGeom>
              <a:avLst/>
              <a:gdLst>
                <a:gd name="T0" fmla="*/ 0 w 42"/>
                <a:gd name="T1" fmla="*/ 46 h 46"/>
                <a:gd name="T2" fmla="*/ 8 w 42"/>
                <a:gd name="T3" fmla="*/ 34 h 46"/>
                <a:gd name="T4" fmla="*/ 20 w 42"/>
                <a:gd name="T5" fmla="*/ 20 h 46"/>
                <a:gd name="T6" fmla="*/ 32 w 42"/>
                <a:gd name="T7" fmla="*/ 10 h 46"/>
                <a:gd name="T8" fmla="*/ 36 w 42"/>
                <a:gd name="T9" fmla="*/ 0 h 46"/>
                <a:gd name="T10" fmla="*/ 38 w 42"/>
                <a:gd name="T11" fmla="*/ 6 h 46"/>
                <a:gd name="T12" fmla="*/ 42 w 42"/>
                <a:gd name="T13" fmla="*/ 12 h 46"/>
                <a:gd name="T14" fmla="*/ 32 w 42"/>
                <a:gd name="T15" fmla="*/ 16 h 46"/>
                <a:gd name="T16" fmla="*/ 20 w 42"/>
                <a:gd name="T17" fmla="*/ 30 h 46"/>
                <a:gd name="T18" fmla="*/ 14 w 42"/>
                <a:gd name="T19" fmla="*/ 38 h 46"/>
                <a:gd name="T20" fmla="*/ 0 w 42"/>
                <a:gd name="T21"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 h="46">
                  <a:moveTo>
                    <a:pt x="0" y="46"/>
                  </a:moveTo>
                  <a:lnTo>
                    <a:pt x="8" y="34"/>
                  </a:lnTo>
                  <a:lnTo>
                    <a:pt x="20" y="20"/>
                  </a:lnTo>
                  <a:lnTo>
                    <a:pt x="32" y="10"/>
                  </a:lnTo>
                  <a:lnTo>
                    <a:pt x="36" y="0"/>
                  </a:lnTo>
                  <a:lnTo>
                    <a:pt x="38" y="6"/>
                  </a:lnTo>
                  <a:lnTo>
                    <a:pt x="42" y="12"/>
                  </a:lnTo>
                  <a:lnTo>
                    <a:pt x="32" y="16"/>
                  </a:lnTo>
                  <a:lnTo>
                    <a:pt x="20" y="30"/>
                  </a:lnTo>
                  <a:lnTo>
                    <a:pt x="14" y="38"/>
                  </a:lnTo>
                  <a:lnTo>
                    <a:pt x="0" y="4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69" name="Freeform 265">
              <a:extLst>
                <a:ext uri="{FF2B5EF4-FFF2-40B4-BE49-F238E27FC236}">
                  <a16:creationId xmlns:a16="http://schemas.microsoft.com/office/drawing/2014/main" id="{9E54D144-E973-43CC-971E-3BBEA67B02ED}"/>
                </a:ext>
              </a:extLst>
            </p:cNvPr>
            <p:cNvSpPr>
              <a:spLocks/>
            </p:cNvSpPr>
            <p:nvPr/>
          </p:nvSpPr>
          <p:spPr bwMode="gray">
            <a:xfrm>
              <a:off x="9013179" y="4439062"/>
              <a:ext cx="122179" cy="99590"/>
            </a:xfrm>
            <a:custGeom>
              <a:avLst/>
              <a:gdLst>
                <a:gd name="T0" fmla="*/ 58 w 74"/>
                <a:gd name="T1" fmla="*/ 58 h 60"/>
                <a:gd name="T2" fmla="*/ 40 w 74"/>
                <a:gd name="T3" fmla="*/ 60 h 60"/>
                <a:gd name="T4" fmla="*/ 34 w 74"/>
                <a:gd name="T5" fmla="*/ 48 h 60"/>
                <a:gd name="T6" fmla="*/ 34 w 74"/>
                <a:gd name="T7" fmla="*/ 38 h 60"/>
                <a:gd name="T8" fmla="*/ 40 w 74"/>
                <a:gd name="T9" fmla="*/ 36 h 60"/>
                <a:gd name="T10" fmla="*/ 32 w 74"/>
                <a:gd name="T11" fmla="*/ 30 h 60"/>
                <a:gd name="T12" fmla="*/ 24 w 74"/>
                <a:gd name="T13" fmla="*/ 32 h 60"/>
                <a:gd name="T14" fmla="*/ 18 w 74"/>
                <a:gd name="T15" fmla="*/ 34 h 60"/>
                <a:gd name="T16" fmla="*/ 12 w 74"/>
                <a:gd name="T17" fmla="*/ 36 h 60"/>
                <a:gd name="T18" fmla="*/ 8 w 74"/>
                <a:gd name="T19" fmla="*/ 44 h 60"/>
                <a:gd name="T20" fmla="*/ 4 w 74"/>
                <a:gd name="T21" fmla="*/ 50 h 60"/>
                <a:gd name="T22" fmla="*/ 0 w 74"/>
                <a:gd name="T23" fmla="*/ 38 h 60"/>
                <a:gd name="T24" fmla="*/ 4 w 74"/>
                <a:gd name="T25" fmla="*/ 28 h 60"/>
                <a:gd name="T26" fmla="*/ 14 w 74"/>
                <a:gd name="T27" fmla="*/ 24 h 60"/>
                <a:gd name="T28" fmla="*/ 22 w 74"/>
                <a:gd name="T29" fmla="*/ 20 h 60"/>
                <a:gd name="T30" fmla="*/ 26 w 74"/>
                <a:gd name="T31" fmla="*/ 14 h 60"/>
                <a:gd name="T32" fmla="*/ 32 w 74"/>
                <a:gd name="T33" fmla="*/ 22 h 60"/>
                <a:gd name="T34" fmla="*/ 36 w 74"/>
                <a:gd name="T35" fmla="*/ 24 h 60"/>
                <a:gd name="T36" fmla="*/ 42 w 74"/>
                <a:gd name="T37" fmla="*/ 18 h 60"/>
                <a:gd name="T38" fmla="*/ 50 w 74"/>
                <a:gd name="T39" fmla="*/ 8 h 60"/>
                <a:gd name="T40" fmla="*/ 54 w 74"/>
                <a:gd name="T41" fmla="*/ 10 h 60"/>
                <a:gd name="T42" fmla="*/ 58 w 74"/>
                <a:gd name="T43" fmla="*/ 10 h 60"/>
                <a:gd name="T44" fmla="*/ 58 w 74"/>
                <a:gd name="T45" fmla="*/ 4 h 60"/>
                <a:gd name="T46" fmla="*/ 62 w 74"/>
                <a:gd name="T47" fmla="*/ 0 h 60"/>
                <a:gd name="T48" fmla="*/ 68 w 74"/>
                <a:gd name="T49" fmla="*/ 6 h 60"/>
                <a:gd name="T50" fmla="*/ 72 w 74"/>
                <a:gd name="T51" fmla="*/ 14 h 60"/>
                <a:gd name="T52" fmla="*/ 74 w 74"/>
                <a:gd name="T53" fmla="*/ 28 h 60"/>
                <a:gd name="T54" fmla="*/ 74 w 74"/>
                <a:gd name="T55" fmla="*/ 42 h 60"/>
                <a:gd name="T56" fmla="*/ 66 w 74"/>
                <a:gd name="T57" fmla="*/ 44 h 60"/>
                <a:gd name="T58" fmla="*/ 64 w 74"/>
                <a:gd name="T59" fmla="*/ 36 h 60"/>
                <a:gd name="T60" fmla="*/ 58 w 74"/>
                <a:gd name="T61" fmla="*/ 42 h 60"/>
                <a:gd name="T62" fmla="*/ 54 w 74"/>
                <a:gd name="T63" fmla="*/ 46 h 60"/>
                <a:gd name="T64" fmla="*/ 58 w 74"/>
                <a:gd name="T65" fmla="*/ 5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4" h="60">
                  <a:moveTo>
                    <a:pt x="58" y="58"/>
                  </a:moveTo>
                  <a:lnTo>
                    <a:pt x="40" y="60"/>
                  </a:lnTo>
                  <a:lnTo>
                    <a:pt x="34" y="48"/>
                  </a:lnTo>
                  <a:lnTo>
                    <a:pt x="34" y="38"/>
                  </a:lnTo>
                  <a:lnTo>
                    <a:pt x="40" y="36"/>
                  </a:lnTo>
                  <a:lnTo>
                    <a:pt x="32" y="30"/>
                  </a:lnTo>
                  <a:lnTo>
                    <a:pt x="24" y="32"/>
                  </a:lnTo>
                  <a:lnTo>
                    <a:pt x="18" y="34"/>
                  </a:lnTo>
                  <a:lnTo>
                    <a:pt x="12" y="36"/>
                  </a:lnTo>
                  <a:lnTo>
                    <a:pt x="8" y="44"/>
                  </a:lnTo>
                  <a:lnTo>
                    <a:pt x="4" y="50"/>
                  </a:lnTo>
                  <a:lnTo>
                    <a:pt x="0" y="38"/>
                  </a:lnTo>
                  <a:lnTo>
                    <a:pt x="4" y="28"/>
                  </a:lnTo>
                  <a:lnTo>
                    <a:pt x="14" y="24"/>
                  </a:lnTo>
                  <a:lnTo>
                    <a:pt x="22" y="20"/>
                  </a:lnTo>
                  <a:lnTo>
                    <a:pt x="26" y="14"/>
                  </a:lnTo>
                  <a:lnTo>
                    <a:pt x="32" y="22"/>
                  </a:lnTo>
                  <a:lnTo>
                    <a:pt x="36" y="24"/>
                  </a:lnTo>
                  <a:lnTo>
                    <a:pt x="42" y="18"/>
                  </a:lnTo>
                  <a:lnTo>
                    <a:pt x="50" y="8"/>
                  </a:lnTo>
                  <a:lnTo>
                    <a:pt x="54" y="10"/>
                  </a:lnTo>
                  <a:lnTo>
                    <a:pt x="58" y="10"/>
                  </a:lnTo>
                  <a:lnTo>
                    <a:pt x="58" y="4"/>
                  </a:lnTo>
                  <a:lnTo>
                    <a:pt x="62" y="0"/>
                  </a:lnTo>
                  <a:lnTo>
                    <a:pt x="68" y="6"/>
                  </a:lnTo>
                  <a:lnTo>
                    <a:pt x="72" y="14"/>
                  </a:lnTo>
                  <a:lnTo>
                    <a:pt x="74" y="28"/>
                  </a:lnTo>
                  <a:lnTo>
                    <a:pt x="74" y="42"/>
                  </a:lnTo>
                  <a:lnTo>
                    <a:pt x="66" y="44"/>
                  </a:lnTo>
                  <a:lnTo>
                    <a:pt x="64" y="36"/>
                  </a:lnTo>
                  <a:lnTo>
                    <a:pt x="58" y="42"/>
                  </a:lnTo>
                  <a:lnTo>
                    <a:pt x="54" y="46"/>
                  </a:lnTo>
                  <a:lnTo>
                    <a:pt x="58" y="5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70" name="Freeform 266">
              <a:extLst>
                <a:ext uri="{FF2B5EF4-FFF2-40B4-BE49-F238E27FC236}">
                  <a16:creationId xmlns:a16="http://schemas.microsoft.com/office/drawing/2014/main" id="{00E2E0B0-1CEF-4A97-BC0F-D2E1476C4051}"/>
                </a:ext>
              </a:extLst>
            </p:cNvPr>
            <p:cNvSpPr>
              <a:spLocks/>
            </p:cNvSpPr>
            <p:nvPr/>
          </p:nvSpPr>
          <p:spPr bwMode="gray">
            <a:xfrm>
              <a:off x="9079222" y="4362709"/>
              <a:ext cx="29719" cy="36517"/>
            </a:xfrm>
            <a:custGeom>
              <a:avLst/>
              <a:gdLst>
                <a:gd name="T0" fmla="*/ 0 w 18"/>
                <a:gd name="T1" fmla="*/ 4 h 22"/>
                <a:gd name="T2" fmla="*/ 12 w 18"/>
                <a:gd name="T3" fmla="*/ 0 h 22"/>
                <a:gd name="T4" fmla="*/ 18 w 18"/>
                <a:gd name="T5" fmla="*/ 2 h 22"/>
                <a:gd name="T6" fmla="*/ 18 w 18"/>
                <a:gd name="T7" fmla="*/ 16 h 22"/>
                <a:gd name="T8" fmla="*/ 18 w 18"/>
                <a:gd name="T9" fmla="*/ 22 h 22"/>
                <a:gd name="T10" fmla="*/ 10 w 18"/>
                <a:gd name="T11" fmla="*/ 18 h 22"/>
                <a:gd name="T12" fmla="*/ 4 w 18"/>
                <a:gd name="T13" fmla="*/ 12 h 22"/>
                <a:gd name="T14" fmla="*/ 0 w 18"/>
                <a:gd name="T15" fmla="*/ 4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22">
                  <a:moveTo>
                    <a:pt x="0" y="4"/>
                  </a:moveTo>
                  <a:lnTo>
                    <a:pt x="12" y="0"/>
                  </a:lnTo>
                  <a:lnTo>
                    <a:pt x="18" y="2"/>
                  </a:lnTo>
                  <a:lnTo>
                    <a:pt x="18" y="16"/>
                  </a:lnTo>
                  <a:lnTo>
                    <a:pt x="18" y="22"/>
                  </a:lnTo>
                  <a:lnTo>
                    <a:pt x="10" y="18"/>
                  </a:lnTo>
                  <a:lnTo>
                    <a:pt x="4" y="12"/>
                  </a:lnTo>
                  <a:lnTo>
                    <a:pt x="0" y="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71" name="Freeform 267">
              <a:extLst>
                <a:ext uri="{FF2B5EF4-FFF2-40B4-BE49-F238E27FC236}">
                  <a16:creationId xmlns:a16="http://schemas.microsoft.com/office/drawing/2014/main" id="{1B9A24AF-23D2-4C71-A534-DD94E7AA384D}"/>
                </a:ext>
              </a:extLst>
            </p:cNvPr>
            <p:cNvSpPr>
              <a:spLocks/>
            </p:cNvSpPr>
            <p:nvPr/>
          </p:nvSpPr>
          <p:spPr bwMode="gray">
            <a:xfrm>
              <a:off x="8973553" y="4336152"/>
              <a:ext cx="33021" cy="39836"/>
            </a:xfrm>
            <a:custGeom>
              <a:avLst/>
              <a:gdLst>
                <a:gd name="T0" fmla="*/ 0 w 20"/>
                <a:gd name="T1" fmla="*/ 0 h 24"/>
                <a:gd name="T2" fmla="*/ 10 w 20"/>
                <a:gd name="T3" fmla="*/ 2 h 24"/>
                <a:gd name="T4" fmla="*/ 20 w 20"/>
                <a:gd name="T5" fmla="*/ 10 h 24"/>
                <a:gd name="T6" fmla="*/ 18 w 20"/>
                <a:gd name="T7" fmla="*/ 22 h 24"/>
                <a:gd name="T8" fmla="*/ 12 w 20"/>
                <a:gd name="T9" fmla="*/ 24 h 24"/>
                <a:gd name="T10" fmla="*/ 6 w 20"/>
                <a:gd name="T11" fmla="*/ 10 h 24"/>
                <a:gd name="T12" fmla="*/ 2 w 20"/>
                <a:gd name="T13" fmla="*/ 6 h 24"/>
                <a:gd name="T14" fmla="*/ 0 w 20"/>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24">
                  <a:moveTo>
                    <a:pt x="0" y="0"/>
                  </a:moveTo>
                  <a:lnTo>
                    <a:pt x="10" y="2"/>
                  </a:lnTo>
                  <a:lnTo>
                    <a:pt x="20" y="10"/>
                  </a:lnTo>
                  <a:lnTo>
                    <a:pt x="18" y="22"/>
                  </a:lnTo>
                  <a:lnTo>
                    <a:pt x="12" y="24"/>
                  </a:lnTo>
                  <a:lnTo>
                    <a:pt x="6" y="10"/>
                  </a:lnTo>
                  <a:lnTo>
                    <a:pt x="2" y="6"/>
                  </a:lnTo>
                  <a:lnTo>
                    <a:pt x="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72" name="Freeform 268">
              <a:extLst>
                <a:ext uri="{FF2B5EF4-FFF2-40B4-BE49-F238E27FC236}">
                  <a16:creationId xmlns:a16="http://schemas.microsoft.com/office/drawing/2014/main" id="{7825ADB8-FDDB-4E5D-A356-7F0CA05B6318}"/>
                </a:ext>
              </a:extLst>
            </p:cNvPr>
            <p:cNvSpPr>
              <a:spLocks/>
            </p:cNvSpPr>
            <p:nvPr/>
          </p:nvSpPr>
          <p:spPr bwMode="gray">
            <a:xfrm>
              <a:off x="9016481" y="4385946"/>
              <a:ext cx="36323" cy="33197"/>
            </a:xfrm>
            <a:custGeom>
              <a:avLst/>
              <a:gdLst>
                <a:gd name="T0" fmla="*/ 0 w 22"/>
                <a:gd name="T1" fmla="*/ 0 h 20"/>
                <a:gd name="T2" fmla="*/ 0 w 22"/>
                <a:gd name="T3" fmla="*/ 10 h 20"/>
                <a:gd name="T4" fmla="*/ 0 w 22"/>
                <a:gd name="T5" fmla="*/ 20 h 20"/>
                <a:gd name="T6" fmla="*/ 6 w 22"/>
                <a:gd name="T7" fmla="*/ 16 h 20"/>
                <a:gd name="T8" fmla="*/ 18 w 22"/>
                <a:gd name="T9" fmla="*/ 8 h 20"/>
                <a:gd name="T10" fmla="*/ 22 w 22"/>
                <a:gd name="T11" fmla="*/ 2 h 20"/>
                <a:gd name="T12" fmla="*/ 14 w 22"/>
                <a:gd name="T13" fmla="*/ 0 h 20"/>
                <a:gd name="T14" fmla="*/ 8 w 22"/>
                <a:gd name="T15" fmla="*/ 2 h 20"/>
                <a:gd name="T16" fmla="*/ 0 w 22"/>
                <a:gd name="T1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20">
                  <a:moveTo>
                    <a:pt x="0" y="0"/>
                  </a:moveTo>
                  <a:lnTo>
                    <a:pt x="0" y="10"/>
                  </a:lnTo>
                  <a:lnTo>
                    <a:pt x="0" y="20"/>
                  </a:lnTo>
                  <a:lnTo>
                    <a:pt x="6" y="16"/>
                  </a:lnTo>
                  <a:lnTo>
                    <a:pt x="18" y="8"/>
                  </a:lnTo>
                  <a:lnTo>
                    <a:pt x="22" y="2"/>
                  </a:lnTo>
                  <a:lnTo>
                    <a:pt x="14" y="0"/>
                  </a:lnTo>
                  <a:lnTo>
                    <a:pt x="8" y="2"/>
                  </a:lnTo>
                  <a:lnTo>
                    <a:pt x="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73" name="Freeform 269">
              <a:extLst>
                <a:ext uri="{FF2B5EF4-FFF2-40B4-BE49-F238E27FC236}">
                  <a16:creationId xmlns:a16="http://schemas.microsoft.com/office/drawing/2014/main" id="{0BA46C19-70B7-4172-8864-980A400F63AF}"/>
                </a:ext>
              </a:extLst>
            </p:cNvPr>
            <p:cNvSpPr>
              <a:spLocks/>
            </p:cNvSpPr>
            <p:nvPr/>
          </p:nvSpPr>
          <p:spPr bwMode="gray">
            <a:xfrm>
              <a:off x="9026388" y="4405864"/>
              <a:ext cx="39626" cy="46475"/>
            </a:xfrm>
            <a:custGeom>
              <a:avLst/>
              <a:gdLst>
                <a:gd name="T0" fmla="*/ 0 w 24"/>
                <a:gd name="T1" fmla="*/ 18 h 28"/>
                <a:gd name="T2" fmla="*/ 6 w 24"/>
                <a:gd name="T3" fmla="*/ 26 h 28"/>
                <a:gd name="T4" fmla="*/ 14 w 24"/>
                <a:gd name="T5" fmla="*/ 28 h 28"/>
                <a:gd name="T6" fmla="*/ 14 w 24"/>
                <a:gd name="T7" fmla="*/ 16 h 28"/>
                <a:gd name="T8" fmla="*/ 18 w 24"/>
                <a:gd name="T9" fmla="*/ 12 h 28"/>
                <a:gd name="T10" fmla="*/ 24 w 24"/>
                <a:gd name="T11" fmla="*/ 8 h 28"/>
                <a:gd name="T12" fmla="*/ 22 w 24"/>
                <a:gd name="T13" fmla="*/ 4 h 28"/>
                <a:gd name="T14" fmla="*/ 16 w 24"/>
                <a:gd name="T15" fmla="*/ 0 h 28"/>
                <a:gd name="T16" fmla="*/ 10 w 24"/>
                <a:gd name="T17" fmla="*/ 2 h 28"/>
                <a:gd name="T18" fmla="*/ 8 w 24"/>
                <a:gd name="T19" fmla="*/ 10 h 28"/>
                <a:gd name="T20" fmla="*/ 4 w 24"/>
                <a:gd name="T21" fmla="*/ 16 h 28"/>
                <a:gd name="T22" fmla="*/ 0 w 24"/>
                <a:gd name="T23"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28">
                  <a:moveTo>
                    <a:pt x="0" y="18"/>
                  </a:moveTo>
                  <a:lnTo>
                    <a:pt x="6" y="26"/>
                  </a:lnTo>
                  <a:lnTo>
                    <a:pt x="14" y="28"/>
                  </a:lnTo>
                  <a:lnTo>
                    <a:pt x="14" y="16"/>
                  </a:lnTo>
                  <a:lnTo>
                    <a:pt x="18" y="12"/>
                  </a:lnTo>
                  <a:lnTo>
                    <a:pt x="24" y="8"/>
                  </a:lnTo>
                  <a:lnTo>
                    <a:pt x="22" y="4"/>
                  </a:lnTo>
                  <a:lnTo>
                    <a:pt x="16" y="0"/>
                  </a:lnTo>
                  <a:lnTo>
                    <a:pt x="10" y="2"/>
                  </a:lnTo>
                  <a:lnTo>
                    <a:pt x="8" y="10"/>
                  </a:lnTo>
                  <a:lnTo>
                    <a:pt x="4" y="16"/>
                  </a:lnTo>
                  <a:lnTo>
                    <a:pt x="0" y="1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74" name="Freeform 270">
              <a:extLst>
                <a:ext uri="{FF2B5EF4-FFF2-40B4-BE49-F238E27FC236}">
                  <a16:creationId xmlns:a16="http://schemas.microsoft.com/office/drawing/2014/main" id="{9FEF3060-3C44-42A5-B4E9-AFFCA6884AD2}"/>
                </a:ext>
              </a:extLst>
            </p:cNvPr>
            <p:cNvSpPr>
              <a:spLocks/>
            </p:cNvSpPr>
            <p:nvPr/>
          </p:nvSpPr>
          <p:spPr bwMode="gray">
            <a:xfrm>
              <a:off x="8966949" y="4017466"/>
              <a:ext cx="49532" cy="89630"/>
            </a:xfrm>
            <a:custGeom>
              <a:avLst/>
              <a:gdLst>
                <a:gd name="T0" fmla="*/ 30 w 30"/>
                <a:gd name="T1" fmla="*/ 4 h 54"/>
                <a:gd name="T2" fmla="*/ 26 w 30"/>
                <a:gd name="T3" fmla="*/ 18 h 54"/>
                <a:gd name="T4" fmla="*/ 22 w 30"/>
                <a:gd name="T5" fmla="*/ 28 h 54"/>
                <a:gd name="T6" fmla="*/ 20 w 30"/>
                <a:gd name="T7" fmla="*/ 36 h 54"/>
                <a:gd name="T8" fmla="*/ 16 w 30"/>
                <a:gd name="T9" fmla="*/ 48 h 54"/>
                <a:gd name="T10" fmla="*/ 10 w 30"/>
                <a:gd name="T11" fmla="*/ 54 h 54"/>
                <a:gd name="T12" fmla="*/ 4 w 30"/>
                <a:gd name="T13" fmla="*/ 42 h 54"/>
                <a:gd name="T14" fmla="*/ 0 w 30"/>
                <a:gd name="T15" fmla="*/ 26 h 54"/>
                <a:gd name="T16" fmla="*/ 8 w 30"/>
                <a:gd name="T17" fmla="*/ 12 h 54"/>
                <a:gd name="T18" fmla="*/ 18 w 30"/>
                <a:gd name="T19" fmla="*/ 4 h 54"/>
                <a:gd name="T20" fmla="*/ 22 w 30"/>
                <a:gd name="T21" fmla="*/ 0 h 54"/>
                <a:gd name="T22" fmla="*/ 30 w 30"/>
                <a:gd name="T23" fmla="*/ 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0" h="54">
                  <a:moveTo>
                    <a:pt x="30" y="4"/>
                  </a:moveTo>
                  <a:lnTo>
                    <a:pt x="26" y="18"/>
                  </a:lnTo>
                  <a:lnTo>
                    <a:pt x="22" y="28"/>
                  </a:lnTo>
                  <a:lnTo>
                    <a:pt x="20" y="36"/>
                  </a:lnTo>
                  <a:lnTo>
                    <a:pt x="16" y="48"/>
                  </a:lnTo>
                  <a:lnTo>
                    <a:pt x="10" y="54"/>
                  </a:lnTo>
                  <a:lnTo>
                    <a:pt x="4" y="42"/>
                  </a:lnTo>
                  <a:lnTo>
                    <a:pt x="0" y="26"/>
                  </a:lnTo>
                  <a:lnTo>
                    <a:pt x="8" y="12"/>
                  </a:lnTo>
                  <a:lnTo>
                    <a:pt x="18" y="4"/>
                  </a:lnTo>
                  <a:lnTo>
                    <a:pt x="22" y="0"/>
                  </a:lnTo>
                  <a:lnTo>
                    <a:pt x="30" y="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75" name="Freeform 271">
              <a:extLst>
                <a:ext uri="{FF2B5EF4-FFF2-40B4-BE49-F238E27FC236}">
                  <a16:creationId xmlns:a16="http://schemas.microsoft.com/office/drawing/2014/main" id="{4AC7AA7F-0A29-4B6B-8CEE-B359B52333F1}"/>
                </a:ext>
              </a:extLst>
            </p:cNvPr>
            <p:cNvSpPr>
              <a:spLocks/>
            </p:cNvSpPr>
            <p:nvPr/>
          </p:nvSpPr>
          <p:spPr bwMode="gray">
            <a:xfrm>
              <a:off x="8666453" y="4160210"/>
              <a:ext cx="62740" cy="49794"/>
            </a:xfrm>
            <a:custGeom>
              <a:avLst/>
              <a:gdLst>
                <a:gd name="T0" fmla="*/ 10 w 38"/>
                <a:gd name="T1" fmla="*/ 6 h 30"/>
                <a:gd name="T2" fmla="*/ 20 w 38"/>
                <a:gd name="T3" fmla="*/ 0 h 30"/>
                <a:gd name="T4" fmla="*/ 30 w 38"/>
                <a:gd name="T5" fmla="*/ 0 h 30"/>
                <a:gd name="T6" fmla="*/ 38 w 38"/>
                <a:gd name="T7" fmla="*/ 2 h 30"/>
                <a:gd name="T8" fmla="*/ 34 w 38"/>
                <a:gd name="T9" fmla="*/ 8 h 30"/>
                <a:gd name="T10" fmla="*/ 30 w 38"/>
                <a:gd name="T11" fmla="*/ 14 h 30"/>
                <a:gd name="T12" fmla="*/ 30 w 38"/>
                <a:gd name="T13" fmla="*/ 24 h 30"/>
                <a:gd name="T14" fmla="*/ 22 w 38"/>
                <a:gd name="T15" fmla="*/ 26 h 30"/>
                <a:gd name="T16" fmla="*/ 16 w 38"/>
                <a:gd name="T17" fmla="*/ 30 h 30"/>
                <a:gd name="T18" fmla="*/ 6 w 38"/>
                <a:gd name="T19" fmla="*/ 28 h 30"/>
                <a:gd name="T20" fmla="*/ 0 w 38"/>
                <a:gd name="T21" fmla="*/ 20 h 30"/>
                <a:gd name="T22" fmla="*/ 0 w 38"/>
                <a:gd name="T23" fmla="*/ 10 h 30"/>
                <a:gd name="T24" fmla="*/ 10 w 38"/>
                <a:gd name="T25"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30">
                  <a:moveTo>
                    <a:pt x="10" y="6"/>
                  </a:moveTo>
                  <a:lnTo>
                    <a:pt x="20" y="0"/>
                  </a:lnTo>
                  <a:lnTo>
                    <a:pt x="30" y="0"/>
                  </a:lnTo>
                  <a:lnTo>
                    <a:pt x="38" y="2"/>
                  </a:lnTo>
                  <a:lnTo>
                    <a:pt x="34" y="8"/>
                  </a:lnTo>
                  <a:lnTo>
                    <a:pt x="30" y="14"/>
                  </a:lnTo>
                  <a:lnTo>
                    <a:pt x="30" y="24"/>
                  </a:lnTo>
                  <a:lnTo>
                    <a:pt x="22" y="26"/>
                  </a:lnTo>
                  <a:lnTo>
                    <a:pt x="16" y="30"/>
                  </a:lnTo>
                  <a:lnTo>
                    <a:pt x="6" y="28"/>
                  </a:lnTo>
                  <a:lnTo>
                    <a:pt x="0" y="20"/>
                  </a:lnTo>
                  <a:lnTo>
                    <a:pt x="0" y="10"/>
                  </a:lnTo>
                  <a:lnTo>
                    <a:pt x="10" y="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76" name="Freeform 272">
              <a:extLst>
                <a:ext uri="{FF2B5EF4-FFF2-40B4-BE49-F238E27FC236}">
                  <a16:creationId xmlns:a16="http://schemas.microsoft.com/office/drawing/2014/main" id="{5F40695D-93CA-4CA5-9BDF-E3407E19C233}"/>
                </a:ext>
              </a:extLst>
            </p:cNvPr>
            <p:cNvSpPr>
              <a:spLocks/>
            </p:cNvSpPr>
            <p:nvPr/>
          </p:nvSpPr>
          <p:spPr bwMode="gray">
            <a:xfrm>
              <a:off x="9485386" y="3409968"/>
              <a:ext cx="151899" cy="129466"/>
            </a:xfrm>
            <a:custGeom>
              <a:avLst/>
              <a:gdLst>
                <a:gd name="T0" fmla="*/ 30 w 92"/>
                <a:gd name="T1" fmla="*/ 0 h 78"/>
                <a:gd name="T2" fmla="*/ 38 w 92"/>
                <a:gd name="T3" fmla="*/ 6 h 78"/>
                <a:gd name="T4" fmla="*/ 48 w 92"/>
                <a:gd name="T5" fmla="*/ 16 h 78"/>
                <a:gd name="T6" fmla="*/ 66 w 92"/>
                <a:gd name="T7" fmla="*/ 26 h 78"/>
                <a:gd name="T8" fmla="*/ 76 w 92"/>
                <a:gd name="T9" fmla="*/ 30 h 78"/>
                <a:gd name="T10" fmla="*/ 84 w 92"/>
                <a:gd name="T11" fmla="*/ 24 h 78"/>
                <a:gd name="T12" fmla="*/ 90 w 92"/>
                <a:gd name="T13" fmla="*/ 24 h 78"/>
                <a:gd name="T14" fmla="*/ 84 w 92"/>
                <a:gd name="T15" fmla="*/ 30 h 78"/>
                <a:gd name="T16" fmla="*/ 88 w 92"/>
                <a:gd name="T17" fmla="*/ 36 h 78"/>
                <a:gd name="T18" fmla="*/ 92 w 92"/>
                <a:gd name="T19" fmla="*/ 40 h 78"/>
                <a:gd name="T20" fmla="*/ 84 w 92"/>
                <a:gd name="T21" fmla="*/ 46 h 78"/>
                <a:gd name="T22" fmla="*/ 80 w 92"/>
                <a:gd name="T23" fmla="*/ 48 h 78"/>
                <a:gd name="T24" fmla="*/ 74 w 92"/>
                <a:gd name="T25" fmla="*/ 46 h 78"/>
                <a:gd name="T26" fmla="*/ 68 w 92"/>
                <a:gd name="T27" fmla="*/ 48 h 78"/>
                <a:gd name="T28" fmla="*/ 58 w 92"/>
                <a:gd name="T29" fmla="*/ 52 h 78"/>
                <a:gd name="T30" fmla="*/ 52 w 92"/>
                <a:gd name="T31" fmla="*/ 60 h 78"/>
                <a:gd name="T32" fmla="*/ 52 w 92"/>
                <a:gd name="T33" fmla="*/ 66 h 78"/>
                <a:gd name="T34" fmla="*/ 44 w 92"/>
                <a:gd name="T35" fmla="*/ 62 h 78"/>
                <a:gd name="T36" fmla="*/ 36 w 92"/>
                <a:gd name="T37" fmla="*/ 56 h 78"/>
                <a:gd name="T38" fmla="*/ 28 w 92"/>
                <a:gd name="T39" fmla="*/ 54 h 78"/>
                <a:gd name="T40" fmla="*/ 24 w 92"/>
                <a:gd name="T41" fmla="*/ 56 h 78"/>
                <a:gd name="T42" fmla="*/ 22 w 92"/>
                <a:gd name="T43" fmla="*/ 60 h 78"/>
                <a:gd name="T44" fmla="*/ 16 w 92"/>
                <a:gd name="T45" fmla="*/ 56 h 78"/>
                <a:gd name="T46" fmla="*/ 10 w 92"/>
                <a:gd name="T47" fmla="*/ 54 h 78"/>
                <a:gd name="T48" fmla="*/ 8 w 92"/>
                <a:gd name="T49" fmla="*/ 58 h 78"/>
                <a:gd name="T50" fmla="*/ 10 w 92"/>
                <a:gd name="T51" fmla="*/ 64 h 78"/>
                <a:gd name="T52" fmla="*/ 16 w 92"/>
                <a:gd name="T53" fmla="*/ 66 h 78"/>
                <a:gd name="T54" fmla="*/ 14 w 92"/>
                <a:gd name="T55" fmla="*/ 72 h 78"/>
                <a:gd name="T56" fmla="*/ 8 w 92"/>
                <a:gd name="T57" fmla="*/ 74 h 78"/>
                <a:gd name="T58" fmla="*/ 2 w 92"/>
                <a:gd name="T59" fmla="*/ 78 h 78"/>
                <a:gd name="T60" fmla="*/ 2 w 92"/>
                <a:gd name="T61" fmla="*/ 68 h 78"/>
                <a:gd name="T62" fmla="*/ 0 w 92"/>
                <a:gd name="T63" fmla="*/ 60 h 78"/>
                <a:gd name="T64" fmla="*/ 0 w 92"/>
                <a:gd name="T65" fmla="*/ 52 h 78"/>
                <a:gd name="T66" fmla="*/ 6 w 92"/>
                <a:gd name="T67" fmla="*/ 50 h 78"/>
                <a:gd name="T68" fmla="*/ 10 w 92"/>
                <a:gd name="T69" fmla="*/ 44 h 78"/>
                <a:gd name="T70" fmla="*/ 10 w 92"/>
                <a:gd name="T71" fmla="*/ 38 h 78"/>
                <a:gd name="T72" fmla="*/ 16 w 92"/>
                <a:gd name="T73" fmla="*/ 38 h 78"/>
                <a:gd name="T74" fmla="*/ 22 w 92"/>
                <a:gd name="T75" fmla="*/ 42 h 78"/>
                <a:gd name="T76" fmla="*/ 28 w 92"/>
                <a:gd name="T77" fmla="*/ 40 h 78"/>
                <a:gd name="T78" fmla="*/ 30 w 92"/>
                <a:gd name="T79" fmla="*/ 16 h 78"/>
                <a:gd name="T80" fmla="*/ 30 w 92"/>
                <a:gd name="T81"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2" h="78">
                  <a:moveTo>
                    <a:pt x="30" y="0"/>
                  </a:moveTo>
                  <a:lnTo>
                    <a:pt x="38" y="6"/>
                  </a:lnTo>
                  <a:lnTo>
                    <a:pt x="48" y="16"/>
                  </a:lnTo>
                  <a:lnTo>
                    <a:pt x="66" y="26"/>
                  </a:lnTo>
                  <a:lnTo>
                    <a:pt x="76" y="30"/>
                  </a:lnTo>
                  <a:lnTo>
                    <a:pt x="84" y="24"/>
                  </a:lnTo>
                  <a:lnTo>
                    <a:pt x="90" y="24"/>
                  </a:lnTo>
                  <a:lnTo>
                    <a:pt x="84" y="30"/>
                  </a:lnTo>
                  <a:lnTo>
                    <a:pt x="88" y="36"/>
                  </a:lnTo>
                  <a:lnTo>
                    <a:pt x="92" y="40"/>
                  </a:lnTo>
                  <a:lnTo>
                    <a:pt x="84" y="46"/>
                  </a:lnTo>
                  <a:lnTo>
                    <a:pt x="80" y="48"/>
                  </a:lnTo>
                  <a:lnTo>
                    <a:pt x="74" y="46"/>
                  </a:lnTo>
                  <a:lnTo>
                    <a:pt x="68" y="48"/>
                  </a:lnTo>
                  <a:lnTo>
                    <a:pt x="58" y="52"/>
                  </a:lnTo>
                  <a:lnTo>
                    <a:pt x="52" y="60"/>
                  </a:lnTo>
                  <a:lnTo>
                    <a:pt x="52" y="66"/>
                  </a:lnTo>
                  <a:lnTo>
                    <a:pt x="44" y="62"/>
                  </a:lnTo>
                  <a:lnTo>
                    <a:pt x="36" y="56"/>
                  </a:lnTo>
                  <a:lnTo>
                    <a:pt x="28" y="54"/>
                  </a:lnTo>
                  <a:lnTo>
                    <a:pt x="24" y="56"/>
                  </a:lnTo>
                  <a:lnTo>
                    <a:pt x="22" y="60"/>
                  </a:lnTo>
                  <a:lnTo>
                    <a:pt x="16" y="56"/>
                  </a:lnTo>
                  <a:lnTo>
                    <a:pt x="10" y="54"/>
                  </a:lnTo>
                  <a:lnTo>
                    <a:pt x="8" y="58"/>
                  </a:lnTo>
                  <a:lnTo>
                    <a:pt x="10" y="64"/>
                  </a:lnTo>
                  <a:lnTo>
                    <a:pt x="16" y="66"/>
                  </a:lnTo>
                  <a:lnTo>
                    <a:pt x="14" y="72"/>
                  </a:lnTo>
                  <a:lnTo>
                    <a:pt x="8" y="74"/>
                  </a:lnTo>
                  <a:lnTo>
                    <a:pt x="2" y="78"/>
                  </a:lnTo>
                  <a:lnTo>
                    <a:pt x="2" y="68"/>
                  </a:lnTo>
                  <a:lnTo>
                    <a:pt x="0" y="60"/>
                  </a:lnTo>
                  <a:lnTo>
                    <a:pt x="0" y="52"/>
                  </a:lnTo>
                  <a:lnTo>
                    <a:pt x="6" y="50"/>
                  </a:lnTo>
                  <a:lnTo>
                    <a:pt x="10" y="44"/>
                  </a:lnTo>
                  <a:lnTo>
                    <a:pt x="10" y="38"/>
                  </a:lnTo>
                  <a:lnTo>
                    <a:pt x="16" y="38"/>
                  </a:lnTo>
                  <a:lnTo>
                    <a:pt x="22" y="42"/>
                  </a:lnTo>
                  <a:lnTo>
                    <a:pt x="28" y="40"/>
                  </a:lnTo>
                  <a:lnTo>
                    <a:pt x="30" y="16"/>
                  </a:lnTo>
                  <a:lnTo>
                    <a:pt x="3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77" name="Freeform 273">
              <a:extLst>
                <a:ext uri="{FF2B5EF4-FFF2-40B4-BE49-F238E27FC236}">
                  <a16:creationId xmlns:a16="http://schemas.microsoft.com/office/drawing/2014/main" id="{26DBAA84-17F3-4E07-9F61-013C92F32322}"/>
                </a:ext>
              </a:extLst>
            </p:cNvPr>
            <p:cNvSpPr>
              <a:spLocks/>
            </p:cNvSpPr>
            <p:nvPr/>
          </p:nvSpPr>
          <p:spPr bwMode="gray">
            <a:xfrm>
              <a:off x="9283954" y="3755212"/>
              <a:ext cx="66043" cy="43155"/>
            </a:xfrm>
            <a:custGeom>
              <a:avLst/>
              <a:gdLst>
                <a:gd name="T0" fmla="*/ 30 w 40"/>
                <a:gd name="T1" fmla="*/ 16 h 26"/>
                <a:gd name="T2" fmla="*/ 24 w 40"/>
                <a:gd name="T3" fmla="*/ 14 h 26"/>
                <a:gd name="T4" fmla="*/ 18 w 40"/>
                <a:gd name="T5" fmla="*/ 18 h 26"/>
                <a:gd name="T6" fmla="*/ 14 w 40"/>
                <a:gd name="T7" fmla="*/ 26 h 26"/>
                <a:gd name="T8" fmla="*/ 6 w 40"/>
                <a:gd name="T9" fmla="*/ 24 h 26"/>
                <a:gd name="T10" fmla="*/ 6 w 40"/>
                <a:gd name="T11" fmla="*/ 18 h 26"/>
                <a:gd name="T12" fmla="*/ 0 w 40"/>
                <a:gd name="T13" fmla="*/ 14 h 26"/>
                <a:gd name="T14" fmla="*/ 8 w 40"/>
                <a:gd name="T15" fmla="*/ 8 h 26"/>
                <a:gd name="T16" fmla="*/ 16 w 40"/>
                <a:gd name="T17" fmla="*/ 8 h 26"/>
                <a:gd name="T18" fmla="*/ 24 w 40"/>
                <a:gd name="T19" fmla="*/ 6 h 26"/>
                <a:gd name="T20" fmla="*/ 28 w 40"/>
                <a:gd name="T21" fmla="*/ 0 h 26"/>
                <a:gd name="T22" fmla="*/ 36 w 40"/>
                <a:gd name="T23" fmla="*/ 0 h 26"/>
                <a:gd name="T24" fmla="*/ 40 w 40"/>
                <a:gd name="T25" fmla="*/ 6 h 26"/>
                <a:gd name="T26" fmla="*/ 38 w 40"/>
                <a:gd name="T27" fmla="*/ 8 h 26"/>
                <a:gd name="T28" fmla="*/ 34 w 40"/>
                <a:gd name="T29" fmla="*/ 14 h 26"/>
                <a:gd name="T30" fmla="*/ 30 w 40"/>
                <a:gd name="T31" fmla="*/ 1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 h="26">
                  <a:moveTo>
                    <a:pt x="30" y="16"/>
                  </a:moveTo>
                  <a:lnTo>
                    <a:pt x="24" y="14"/>
                  </a:lnTo>
                  <a:lnTo>
                    <a:pt x="18" y="18"/>
                  </a:lnTo>
                  <a:lnTo>
                    <a:pt x="14" y="26"/>
                  </a:lnTo>
                  <a:lnTo>
                    <a:pt x="6" y="24"/>
                  </a:lnTo>
                  <a:lnTo>
                    <a:pt x="6" y="18"/>
                  </a:lnTo>
                  <a:lnTo>
                    <a:pt x="0" y="14"/>
                  </a:lnTo>
                  <a:lnTo>
                    <a:pt x="8" y="8"/>
                  </a:lnTo>
                  <a:lnTo>
                    <a:pt x="16" y="8"/>
                  </a:lnTo>
                  <a:lnTo>
                    <a:pt x="24" y="6"/>
                  </a:lnTo>
                  <a:lnTo>
                    <a:pt x="28" y="0"/>
                  </a:lnTo>
                  <a:lnTo>
                    <a:pt x="36" y="0"/>
                  </a:lnTo>
                  <a:lnTo>
                    <a:pt x="40" y="6"/>
                  </a:lnTo>
                  <a:lnTo>
                    <a:pt x="38" y="8"/>
                  </a:lnTo>
                  <a:lnTo>
                    <a:pt x="34" y="14"/>
                  </a:lnTo>
                  <a:lnTo>
                    <a:pt x="30" y="1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78" name="Freeform 274">
              <a:extLst>
                <a:ext uri="{FF2B5EF4-FFF2-40B4-BE49-F238E27FC236}">
                  <a16:creationId xmlns:a16="http://schemas.microsoft.com/office/drawing/2014/main" id="{61DCF822-5651-46F5-BE99-9EA75FCB5CCC}"/>
                </a:ext>
              </a:extLst>
            </p:cNvPr>
            <p:cNvSpPr>
              <a:spLocks/>
            </p:cNvSpPr>
            <p:nvPr/>
          </p:nvSpPr>
          <p:spPr bwMode="gray">
            <a:xfrm>
              <a:off x="9214610" y="3765171"/>
              <a:ext cx="62740" cy="82991"/>
            </a:xfrm>
            <a:custGeom>
              <a:avLst/>
              <a:gdLst>
                <a:gd name="T0" fmla="*/ 4 w 38"/>
                <a:gd name="T1" fmla="*/ 12 h 50"/>
                <a:gd name="T2" fmla="*/ 10 w 38"/>
                <a:gd name="T3" fmla="*/ 8 h 50"/>
                <a:gd name="T4" fmla="*/ 16 w 38"/>
                <a:gd name="T5" fmla="*/ 0 h 50"/>
                <a:gd name="T6" fmla="*/ 24 w 38"/>
                <a:gd name="T7" fmla="*/ 0 h 50"/>
                <a:gd name="T8" fmla="*/ 28 w 38"/>
                <a:gd name="T9" fmla="*/ 6 h 50"/>
                <a:gd name="T10" fmla="*/ 34 w 38"/>
                <a:gd name="T11" fmla="*/ 10 h 50"/>
                <a:gd name="T12" fmla="*/ 38 w 38"/>
                <a:gd name="T13" fmla="*/ 16 h 50"/>
                <a:gd name="T14" fmla="*/ 36 w 38"/>
                <a:gd name="T15" fmla="*/ 24 h 50"/>
                <a:gd name="T16" fmla="*/ 32 w 38"/>
                <a:gd name="T17" fmla="*/ 26 h 50"/>
                <a:gd name="T18" fmla="*/ 30 w 38"/>
                <a:gd name="T19" fmla="*/ 32 h 50"/>
                <a:gd name="T20" fmla="*/ 30 w 38"/>
                <a:gd name="T21" fmla="*/ 40 h 50"/>
                <a:gd name="T22" fmla="*/ 26 w 38"/>
                <a:gd name="T23" fmla="*/ 50 h 50"/>
                <a:gd name="T24" fmla="*/ 18 w 38"/>
                <a:gd name="T25" fmla="*/ 48 h 50"/>
                <a:gd name="T26" fmla="*/ 18 w 38"/>
                <a:gd name="T27" fmla="*/ 44 h 50"/>
                <a:gd name="T28" fmla="*/ 20 w 38"/>
                <a:gd name="T29" fmla="*/ 36 h 50"/>
                <a:gd name="T30" fmla="*/ 12 w 38"/>
                <a:gd name="T31" fmla="*/ 36 h 50"/>
                <a:gd name="T32" fmla="*/ 14 w 38"/>
                <a:gd name="T33" fmla="*/ 30 h 50"/>
                <a:gd name="T34" fmla="*/ 18 w 38"/>
                <a:gd name="T35" fmla="*/ 24 h 50"/>
                <a:gd name="T36" fmla="*/ 18 w 38"/>
                <a:gd name="T37" fmla="*/ 20 h 50"/>
                <a:gd name="T38" fmla="*/ 16 w 38"/>
                <a:gd name="T39" fmla="*/ 14 h 50"/>
                <a:gd name="T40" fmla="*/ 8 w 38"/>
                <a:gd name="T41" fmla="*/ 16 h 50"/>
                <a:gd name="T42" fmla="*/ 0 w 38"/>
                <a:gd name="T43" fmla="*/ 18 h 50"/>
                <a:gd name="T44" fmla="*/ 4 w 38"/>
                <a:gd name="T45"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8" h="50">
                  <a:moveTo>
                    <a:pt x="4" y="12"/>
                  </a:moveTo>
                  <a:lnTo>
                    <a:pt x="10" y="8"/>
                  </a:lnTo>
                  <a:lnTo>
                    <a:pt x="16" y="0"/>
                  </a:lnTo>
                  <a:lnTo>
                    <a:pt x="24" y="0"/>
                  </a:lnTo>
                  <a:lnTo>
                    <a:pt x="28" y="6"/>
                  </a:lnTo>
                  <a:lnTo>
                    <a:pt x="34" y="10"/>
                  </a:lnTo>
                  <a:lnTo>
                    <a:pt x="38" y="16"/>
                  </a:lnTo>
                  <a:lnTo>
                    <a:pt x="36" y="24"/>
                  </a:lnTo>
                  <a:lnTo>
                    <a:pt x="32" y="26"/>
                  </a:lnTo>
                  <a:lnTo>
                    <a:pt x="30" y="32"/>
                  </a:lnTo>
                  <a:lnTo>
                    <a:pt x="30" y="40"/>
                  </a:lnTo>
                  <a:lnTo>
                    <a:pt x="26" y="50"/>
                  </a:lnTo>
                  <a:lnTo>
                    <a:pt x="18" y="48"/>
                  </a:lnTo>
                  <a:lnTo>
                    <a:pt x="18" y="44"/>
                  </a:lnTo>
                  <a:lnTo>
                    <a:pt x="20" y="36"/>
                  </a:lnTo>
                  <a:lnTo>
                    <a:pt x="12" y="36"/>
                  </a:lnTo>
                  <a:lnTo>
                    <a:pt x="14" y="30"/>
                  </a:lnTo>
                  <a:lnTo>
                    <a:pt x="18" y="24"/>
                  </a:lnTo>
                  <a:lnTo>
                    <a:pt x="18" y="20"/>
                  </a:lnTo>
                  <a:lnTo>
                    <a:pt x="16" y="14"/>
                  </a:lnTo>
                  <a:lnTo>
                    <a:pt x="8" y="16"/>
                  </a:lnTo>
                  <a:lnTo>
                    <a:pt x="0" y="18"/>
                  </a:lnTo>
                  <a:lnTo>
                    <a:pt x="4" y="1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79" name="Freeform 275">
              <a:extLst>
                <a:ext uri="{FF2B5EF4-FFF2-40B4-BE49-F238E27FC236}">
                  <a16:creationId xmlns:a16="http://schemas.microsoft.com/office/drawing/2014/main" id="{8BAFB575-C98E-4D40-8A00-3CF2B1F63C48}"/>
                </a:ext>
              </a:extLst>
            </p:cNvPr>
            <p:cNvSpPr>
              <a:spLocks/>
            </p:cNvSpPr>
            <p:nvPr/>
          </p:nvSpPr>
          <p:spPr bwMode="gray">
            <a:xfrm>
              <a:off x="9254234" y="3532795"/>
              <a:ext cx="287287" cy="245655"/>
            </a:xfrm>
            <a:custGeom>
              <a:avLst/>
              <a:gdLst>
                <a:gd name="T0" fmla="*/ 12 w 174"/>
                <a:gd name="T1" fmla="*/ 128 h 148"/>
                <a:gd name="T2" fmla="*/ 32 w 174"/>
                <a:gd name="T3" fmla="*/ 112 h 148"/>
                <a:gd name="T4" fmla="*/ 60 w 174"/>
                <a:gd name="T5" fmla="*/ 110 h 148"/>
                <a:gd name="T6" fmla="*/ 80 w 174"/>
                <a:gd name="T7" fmla="*/ 100 h 148"/>
                <a:gd name="T8" fmla="*/ 92 w 174"/>
                <a:gd name="T9" fmla="*/ 82 h 148"/>
                <a:gd name="T10" fmla="*/ 100 w 174"/>
                <a:gd name="T11" fmla="*/ 80 h 148"/>
                <a:gd name="T12" fmla="*/ 110 w 174"/>
                <a:gd name="T13" fmla="*/ 82 h 148"/>
                <a:gd name="T14" fmla="*/ 140 w 174"/>
                <a:gd name="T15" fmla="*/ 52 h 148"/>
                <a:gd name="T16" fmla="*/ 144 w 174"/>
                <a:gd name="T17" fmla="*/ 30 h 148"/>
                <a:gd name="T18" fmla="*/ 146 w 174"/>
                <a:gd name="T19" fmla="*/ 10 h 148"/>
                <a:gd name="T20" fmla="*/ 160 w 174"/>
                <a:gd name="T21" fmla="*/ 12 h 148"/>
                <a:gd name="T22" fmla="*/ 158 w 174"/>
                <a:gd name="T23" fmla="*/ 2 h 148"/>
                <a:gd name="T24" fmla="*/ 166 w 174"/>
                <a:gd name="T25" fmla="*/ 10 h 148"/>
                <a:gd name="T26" fmla="*/ 172 w 174"/>
                <a:gd name="T27" fmla="*/ 28 h 148"/>
                <a:gd name="T28" fmla="*/ 168 w 174"/>
                <a:gd name="T29" fmla="*/ 48 h 148"/>
                <a:gd name="T30" fmla="*/ 158 w 174"/>
                <a:gd name="T31" fmla="*/ 66 h 148"/>
                <a:gd name="T32" fmla="*/ 154 w 174"/>
                <a:gd name="T33" fmla="*/ 86 h 148"/>
                <a:gd name="T34" fmla="*/ 152 w 174"/>
                <a:gd name="T35" fmla="*/ 98 h 148"/>
                <a:gd name="T36" fmla="*/ 152 w 174"/>
                <a:gd name="T37" fmla="*/ 108 h 148"/>
                <a:gd name="T38" fmla="*/ 148 w 174"/>
                <a:gd name="T39" fmla="*/ 118 h 148"/>
                <a:gd name="T40" fmla="*/ 138 w 174"/>
                <a:gd name="T41" fmla="*/ 116 h 148"/>
                <a:gd name="T42" fmla="*/ 126 w 174"/>
                <a:gd name="T43" fmla="*/ 116 h 148"/>
                <a:gd name="T44" fmla="*/ 126 w 174"/>
                <a:gd name="T45" fmla="*/ 128 h 148"/>
                <a:gd name="T46" fmla="*/ 116 w 174"/>
                <a:gd name="T47" fmla="*/ 126 h 148"/>
                <a:gd name="T48" fmla="*/ 102 w 174"/>
                <a:gd name="T49" fmla="*/ 126 h 148"/>
                <a:gd name="T50" fmla="*/ 90 w 174"/>
                <a:gd name="T51" fmla="*/ 122 h 148"/>
                <a:gd name="T52" fmla="*/ 92 w 174"/>
                <a:gd name="T53" fmla="*/ 132 h 148"/>
                <a:gd name="T54" fmla="*/ 80 w 174"/>
                <a:gd name="T55" fmla="*/ 144 h 148"/>
                <a:gd name="T56" fmla="*/ 68 w 174"/>
                <a:gd name="T57" fmla="*/ 140 h 148"/>
                <a:gd name="T58" fmla="*/ 70 w 174"/>
                <a:gd name="T59" fmla="*/ 130 h 148"/>
                <a:gd name="T60" fmla="*/ 56 w 174"/>
                <a:gd name="T61" fmla="*/ 124 h 148"/>
                <a:gd name="T62" fmla="*/ 38 w 174"/>
                <a:gd name="T63" fmla="*/ 130 h 148"/>
                <a:gd name="T64" fmla="*/ 18 w 174"/>
                <a:gd name="T65" fmla="*/ 134 h 148"/>
                <a:gd name="T66" fmla="*/ 2 w 174"/>
                <a:gd name="T67" fmla="*/ 13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4" h="148">
                  <a:moveTo>
                    <a:pt x="0" y="134"/>
                  </a:moveTo>
                  <a:lnTo>
                    <a:pt x="12" y="128"/>
                  </a:lnTo>
                  <a:lnTo>
                    <a:pt x="26" y="118"/>
                  </a:lnTo>
                  <a:lnTo>
                    <a:pt x="32" y="112"/>
                  </a:lnTo>
                  <a:lnTo>
                    <a:pt x="44" y="110"/>
                  </a:lnTo>
                  <a:lnTo>
                    <a:pt x="60" y="110"/>
                  </a:lnTo>
                  <a:lnTo>
                    <a:pt x="76" y="110"/>
                  </a:lnTo>
                  <a:lnTo>
                    <a:pt x="80" y="100"/>
                  </a:lnTo>
                  <a:lnTo>
                    <a:pt x="88" y="90"/>
                  </a:lnTo>
                  <a:lnTo>
                    <a:pt x="92" y="82"/>
                  </a:lnTo>
                  <a:lnTo>
                    <a:pt x="98" y="74"/>
                  </a:lnTo>
                  <a:lnTo>
                    <a:pt x="100" y="80"/>
                  </a:lnTo>
                  <a:lnTo>
                    <a:pt x="100" y="86"/>
                  </a:lnTo>
                  <a:lnTo>
                    <a:pt x="110" y="82"/>
                  </a:lnTo>
                  <a:lnTo>
                    <a:pt x="126" y="72"/>
                  </a:lnTo>
                  <a:lnTo>
                    <a:pt x="140" y="52"/>
                  </a:lnTo>
                  <a:lnTo>
                    <a:pt x="146" y="36"/>
                  </a:lnTo>
                  <a:lnTo>
                    <a:pt x="144" y="30"/>
                  </a:lnTo>
                  <a:lnTo>
                    <a:pt x="142" y="18"/>
                  </a:lnTo>
                  <a:lnTo>
                    <a:pt x="146" y="10"/>
                  </a:lnTo>
                  <a:lnTo>
                    <a:pt x="150" y="8"/>
                  </a:lnTo>
                  <a:lnTo>
                    <a:pt x="160" y="12"/>
                  </a:lnTo>
                  <a:lnTo>
                    <a:pt x="162" y="6"/>
                  </a:lnTo>
                  <a:lnTo>
                    <a:pt x="158" y="2"/>
                  </a:lnTo>
                  <a:lnTo>
                    <a:pt x="164" y="0"/>
                  </a:lnTo>
                  <a:lnTo>
                    <a:pt x="166" y="10"/>
                  </a:lnTo>
                  <a:lnTo>
                    <a:pt x="166" y="18"/>
                  </a:lnTo>
                  <a:lnTo>
                    <a:pt x="172" y="28"/>
                  </a:lnTo>
                  <a:lnTo>
                    <a:pt x="174" y="36"/>
                  </a:lnTo>
                  <a:lnTo>
                    <a:pt x="168" y="48"/>
                  </a:lnTo>
                  <a:lnTo>
                    <a:pt x="160" y="58"/>
                  </a:lnTo>
                  <a:lnTo>
                    <a:pt x="158" y="66"/>
                  </a:lnTo>
                  <a:lnTo>
                    <a:pt x="158" y="80"/>
                  </a:lnTo>
                  <a:lnTo>
                    <a:pt x="154" y="86"/>
                  </a:lnTo>
                  <a:lnTo>
                    <a:pt x="152" y="96"/>
                  </a:lnTo>
                  <a:lnTo>
                    <a:pt x="152" y="98"/>
                  </a:lnTo>
                  <a:lnTo>
                    <a:pt x="152" y="102"/>
                  </a:lnTo>
                  <a:lnTo>
                    <a:pt x="152" y="108"/>
                  </a:lnTo>
                  <a:lnTo>
                    <a:pt x="152" y="110"/>
                  </a:lnTo>
                  <a:lnTo>
                    <a:pt x="148" y="118"/>
                  </a:lnTo>
                  <a:lnTo>
                    <a:pt x="142" y="122"/>
                  </a:lnTo>
                  <a:lnTo>
                    <a:pt x="138" y="116"/>
                  </a:lnTo>
                  <a:lnTo>
                    <a:pt x="132" y="114"/>
                  </a:lnTo>
                  <a:lnTo>
                    <a:pt x="126" y="116"/>
                  </a:lnTo>
                  <a:lnTo>
                    <a:pt x="128" y="124"/>
                  </a:lnTo>
                  <a:lnTo>
                    <a:pt x="126" y="128"/>
                  </a:lnTo>
                  <a:lnTo>
                    <a:pt x="118" y="122"/>
                  </a:lnTo>
                  <a:lnTo>
                    <a:pt x="116" y="126"/>
                  </a:lnTo>
                  <a:lnTo>
                    <a:pt x="110" y="126"/>
                  </a:lnTo>
                  <a:lnTo>
                    <a:pt x="102" y="126"/>
                  </a:lnTo>
                  <a:lnTo>
                    <a:pt x="92" y="126"/>
                  </a:lnTo>
                  <a:lnTo>
                    <a:pt x="90" y="122"/>
                  </a:lnTo>
                  <a:lnTo>
                    <a:pt x="88" y="126"/>
                  </a:lnTo>
                  <a:lnTo>
                    <a:pt x="92" y="132"/>
                  </a:lnTo>
                  <a:lnTo>
                    <a:pt x="84" y="136"/>
                  </a:lnTo>
                  <a:lnTo>
                    <a:pt x="80" y="144"/>
                  </a:lnTo>
                  <a:lnTo>
                    <a:pt x="74" y="148"/>
                  </a:lnTo>
                  <a:lnTo>
                    <a:pt x="68" y="140"/>
                  </a:lnTo>
                  <a:lnTo>
                    <a:pt x="62" y="136"/>
                  </a:lnTo>
                  <a:lnTo>
                    <a:pt x="70" y="130"/>
                  </a:lnTo>
                  <a:lnTo>
                    <a:pt x="72" y="124"/>
                  </a:lnTo>
                  <a:lnTo>
                    <a:pt x="56" y="124"/>
                  </a:lnTo>
                  <a:lnTo>
                    <a:pt x="50" y="128"/>
                  </a:lnTo>
                  <a:lnTo>
                    <a:pt x="38" y="130"/>
                  </a:lnTo>
                  <a:lnTo>
                    <a:pt x="28" y="134"/>
                  </a:lnTo>
                  <a:lnTo>
                    <a:pt x="18" y="134"/>
                  </a:lnTo>
                  <a:lnTo>
                    <a:pt x="10" y="140"/>
                  </a:lnTo>
                  <a:lnTo>
                    <a:pt x="2" y="138"/>
                  </a:lnTo>
                  <a:lnTo>
                    <a:pt x="0" y="13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80" name="Freeform 276">
              <a:extLst>
                <a:ext uri="{FF2B5EF4-FFF2-40B4-BE49-F238E27FC236}">
                  <a16:creationId xmlns:a16="http://schemas.microsoft.com/office/drawing/2014/main" id="{7E4B6F32-8913-42E1-8939-A9FE2CE89F5C}"/>
                </a:ext>
              </a:extLst>
            </p:cNvPr>
            <p:cNvSpPr>
              <a:spLocks/>
            </p:cNvSpPr>
            <p:nvPr/>
          </p:nvSpPr>
          <p:spPr bwMode="gray">
            <a:xfrm>
              <a:off x="9132056" y="3629065"/>
              <a:ext cx="82553" cy="119508"/>
            </a:xfrm>
            <a:custGeom>
              <a:avLst/>
              <a:gdLst>
                <a:gd name="T0" fmla="*/ 2 w 50"/>
                <a:gd name="T1" fmla="*/ 32 h 72"/>
                <a:gd name="T2" fmla="*/ 2 w 50"/>
                <a:gd name="T3" fmla="*/ 28 h 72"/>
                <a:gd name="T4" fmla="*/ 8 w 50"/>
                <a:gd name="T5" fmla="*/ 30 h 72"/>
                <a:gd name="T6" fmla="*/ 12 w 50"/>
                <a:gd name="T7" fmla="*/ 28 h 72"/>
                <a:gd name="T8" fmla="*/ 10 w 50"/>
                <a:gd name="T9" fmla="*/ 22 h 72"/>
                <a:gd name="T10" fmla="*/ 6 w 50"/>
                <a:gd name="T11" fmla="*/ 20 h 72"/>
                <a:gd name="T12" fmla="*/ 10 w 50"/>
                <a:gd name="T13" fmla="*/ 6 h 72"/>
                <a:gd name="T14" fmla="*/ 20 w 50"/>
                <a:gd name="T15" fmla="*/ 2 h 72"/>
                <a:gd name="T16" fmla="*/ 30 w 50"/>
                <a:gd name="T17" fmla="*/ 0 h 72"/>
                <a:gd name="T18" fmla="*/ 38 w 50"/>
                <a:gd name="T19" fmla="*/ 8 h 72"/>
                <a:gd name="T20" fmla="*/ 44 w 50"/>
                <a:gd name="T21" fmla="*/ 18 h 72"/>
                <a:gd name="T22" fmla="*/ 48 w 50"/>
                <a:gd name="T23" fmla="*/ 30 h 72"/>
                <a:gd name="T24" fmla="*/ 50 w 50"/>
                <a:gd name="T25" fmla="*/ 40 h 72"/>
                <a:gd name="T26" fmla="*/ 48 w 50"/>
                <a:gd name="T27" fmla="*/ 54 h 72"/>
                <a:gd name="T28" fmla="*/ 50 w 50"/>
                <a:gd name="T29" fmla="*/ 54 h 72"/>
                <a:gd name="T30" fmla="*/ 50 w 50"/>
                <a:gd name="T31" fmla="*/ 56 h 72"/>
                <a:gd name="T32" fmla="*/ 46 w 50"/>
                <a:gd name="T33" fmla="*/ 58 h 72"/>
                <a:gd name="T34" fmla="*/ 38 w 50"/>
                <a:gd name="T35" fmla="*/ 62 h 72"/>
                <a:gd name="T36" fmla="*/ 34 w 50"/>
                <a:gd name="T37" fmla="*/ 64 h 72"/>
                <a:gd name="T38" fmla="*/ 28 w 50"/>
                <a:gd name="T39" fmla="*/ 60 h 72"/>
                <a:gd name="T40" fmla="*/ 24 w 50"/>
                <a:gd name="T41" fmla="*/ 64 h 72"/>
                <a:gd name="T42" fmla="*/ 16 w 50"/>
                <a:gd name="T43" fmla="*/ 70 h 72"/>
                <a:gd name="T44" fmla="*/ 12 w 50"/>
                <a:gd name="T45" fmla="*/ 68 h 72"/>
                <a:gd name="T46" fmla="*/ 2 w 50"/>
                <a:gd name="T47" fmla="*/ 72 h 72"/>
                <a:gd name="T48" fmla="*/ 0 w 50"/>
                <a:gd name="T49" fmla="*/ 66 h 72"/>
                <a:gd name="T50" fmla="*/ 2 w 50"/>
                <a:gd name="T51" fmla="*/ 58 h 72"/>
                <a:gd name="T52" fmla="*/ 2 w 50"/>
                <a:gd name="T53" fmla="*/ 48 h 72"/>
                <a:gd name="T54" fmla="*/ 6 w 50"/>
                <a:gd name="T55" fmla="*/ 46 h 72"/>
                <a:gd name="T56" fmla="*/ 6 w 50"/>
                <a:gd name="T57" fmla="*/ 38 h 72"/>
                <a:gd name="T58" fmla="*/ 2 w 50"/>
                <a:gd name="T59" fmla="*/ 3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0" h="72">
                  <a:moveTo>
                    <a:pt x="2" y="32"/>
                  </a:moveTo>
                  <a:lnTo>
                    <a:pt x="2" y="28"/>
                  </a:lnTo>
                  <a:lnTo>
                    <a:pt x="8" y="30"/>
                  </a:lnTo>
                  <a:lnTo>
                    <a:pt x="12" y="28"/>
                  </a:lnTo>
                  <a:lnTo>
                    <a:pt x="10" y="22"/>
                  </a:lnTo>
                  <a:lnTo>
                    <a:pt x="6" y="20"/>
                  </a:lnTo>
                  <a:lnTo>
                    <a:pt x="10" y="6"/>
                  </a:lnTo>
                  <a:lnTo>
                    <a:pt x="20" y="2"/>
                  </a:lnTo>
                  <a:lnTo>
                    <a:pt x="30" y="0"/>
                  </a:lnTo>
                  <a:lnTo>
                    <a:pt x="38" y="8"/>
                  </a:lnTo>
                  <a:lnTo>
                    <a:pt x="44" y="18"/>
                  </a:lnTo>
                  <a:lnTo>
                    <a:pt x="48" y="30"/>
                  </a:lnTo>
                  <a:lnTo>
                    <a:pt x="50" y="40"/>
                  </a:lnTo>
                  <a:lnTo>
                    <a:pt x="48" y="54"/>
                  </a:lnTo>
                  <a:lnTo>
                    <a:pt x="50" y="54"/>
                  </a:lnTo>
                  <a:lnTo>
                    <a:pt x="50" y="56"/>
                  </a:lnTo>
                  <a:lnTo>
                    <a:pt x="46" y="58"/>
                  </a:lnTo>
                  <a:lnTo>
                    <a:pt x="38" y="62"/>
                  </a:lnTo>
                  <a:lnTo>
                    <a:pt x="34" y="64"/>
                  </a:lnTo>
                  <a:lnTo>
                    <a:pt x="28" y="60"/>
                  </a:lnTo>
                  <a:lnTo>
                    <a:pt x="24" y="64"/>
                  </a:lnTo>
                  <a:lnTo>
                    <a:pt x="16" y="70"/>
                  </a:lnTo>
                  <a:lnTo>
                    <a:pt x="12" y="68"/>
                  </a:lnTo>
                  <a:lnTo>
                    <a:pt x="2" y="72"/>
                  </a:lnTo>
                  <a:lnTo>
                    <a:pt x="0" y="66"/>
                  </a:lnTo>
                  <a:lnTo>
                    <a:pt x="2" y="58"/>
                  </a:lnTo>
                  <a:lnTo>
                    <a:pt x="2" y="48"/>
                  </a:lnTo>
                  <a:lnTo>
                    <a:pt x="6" y="46"/>
                  </a:lnTo>
                  <a:lnTo>
                    <a:pt x="6" y="38"/>
                  </a:lnTo>
                  <a:lnTo>
                    <a:pt x="2" y="3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81" name="Freeform 277">
              <a:extLst>
                <a:ext uri="{FF2B5EF4-FFF2-40B4-BE49-F238E27FC236}">
                  <a16:creationId xmlns:a16="http://schemas.microsoft.com/office/drawing/2014/main" id="{C9CFEB17-BC38-43F4-9413-2FFFF43DF6E7}"/>
                </a:ext>
              </a:extLst>
            </p:cNvPr>
            <p:cNvSpPr>
              <a:spLocks/>
            </p:cNvSpPr>
            <p:nvPr/>
          </p:nvSpPr>
          <p:spPr bwMode="gray">
            <a:xfrm>
              <a:off x="9082523" y="3489640"/>
              <a:ext cx="161805" cy="159344"/>
            </a:xfrm>
            <a:custGeom>
              <a:avLst/>
              <a:gdLst>
                <a:gd name="T0" fmla="*/ 24 w 98"/>
                <a:gd name="T1" fmla="*/ 92 h 96"/>
                <a:gd name="T2" fmla="*/ 12 w 98"/>
                <a:gd name="T3" fmla="*/ 94 h 96"/>
                <a:gd name="T4" fmla="*/ 8 w 98"/>
                <a:gd name="T5" fmla="*/ 88 h 96"/>
                <a:gd name="T6" fmla="*/ 12 w 98"/>
                <a:gd name="T7" fmla="*/ 80 h 96"/>
                <a:gd name="T8" fmla="*/ 12 w 98"/>
                <a:gd name="T9" fmla="*/ 70 h 96"/>
                <a:gd name="T10" fmla="*/ 16 w 98"/>
                <a:gd name="T11" fmla="*/ 60 h 96"/>
                <a:gd name="T12" fmla="*/ 6 w 98"/>
                <a:gd name="T13" fmla="*/ 60 h 96"/>
                <a:gd name="T14" fmla="*/ 0 w 98"/>
                <a:gd name="T15" fmla="*/ 56 h 96"/>
                <a:gd name="T16" fmla="*/ 6 w 98"/>
                <a:gd name="T17" fmla="*/ 48 h 96"/>
                <a:gd name="T18" fmla="*/ 22 w 98"/>
                <a:gd name="T19" fmla="*/ 38 h 96"/>
                <a:gd name="T20" fmla="*/ 28 w 98"/>
                <a:gd name="T21" fmla="*/ 32 h 96"/>
                <a:gd name="T22" fmla="*/ 36 w 98"/>
                <a:gd name="T23" fmla="*/ 24 h 96"/>
                <a:gd name="T24" fmla="*/ 40 w 98"/>
                <a:gd name="T25" fmla="*/ 22 h 96"/>
                <a:gd name="T26" fmla="*/ 50 w 98"/>
                <a:gd name="T27" fmla="*/ 26 h 96"/>
                <a:gd name="T28" fmla="*/ 60 w 98"/>
                <a:gd name="T29" fmla="*/ 24 h 96"/>
                <a:gd name="T30" fmla="*/ 62 w 98"/>
                <a:gd name="T31" fmla="*/ 16 h 96"/>
                <a:gd name="T32" fmla="*/ 72 w 98"/>
                <a:gd name="T33" fmla="*/ 16 h 96"/>
                <a:gd name="T34" fmla="*/ 80 w 98"/>
                <a:gd name="T35" fmla="*/ 10 h 96"/>
                <a:gd name="T36" fmla="*/ 82 w 98"/>
                <a:gd name="T37" fmla="*/ 4 h 96"/>
                <a:gd name="T38" fmla="*/ 88 w 98"/>
                <a:gd name="T39" fmla="*/ 0 h 96"/>
                <a:gd name="T40" fmla="*/ 98 w 98"/>
                <a:gd name="T41" fmla="*/ 8 h 96"/>
                <a:gd name="T42" fmla="*/ 92 w 98"/>
                <a:gd name="T43" fmla="*/ 12 h 96"/>
                <a:gd name="T44" fmla="*/ 84 w 98"/>
                <a:gd name="T45" fmla="*/ 18 h 96"/>
                <a:gd name="T46" fmla="*/ 80 w 98"/>
                <a:gd name="T47" fmla="*/ 28 h 96"/>
                <a:gd name="T48" fmla="*/ 78 w 98"/>
                <a:gd name="T49" fmla="*/ 38 h 96"/>
                <a:gd name="T50" fmla="*/ 76 w 98"/>
                <a:gd name="T51" fmla="*/ 42 h 96"/>
                <a:gd name="T52" fmla="*/ 68 w 98"/>
                <a:gd name="T53" fmla="*/ 46 h 96"/>
                <a:gd name="T54" fmla="*/ 52 w 98"/>
                <a:gd name="T55" fmla="*/ 52 h 96"/>
                <a:gd name="T56" fmla="*/ 48 w 98"/>
                <a:gd name="T57" fmla="*/ 58 h 96"/>
                <a:gd name="T58" fmla="*/ 48 w 98"/>
                <a:gd name="T59" fmla="*/ 66 h 96"/>
                <a:gd name="T60" fmla="*/ 52 w 98"/>
                <a:gd name="T61" fmla="*/ 76 h 96"/>
                <a:gd name="T62" fmla="*/ 56 w 98"/>
                <a:gd name="T63" fmla="*/ 80 h 96"/>
                <a:gd name="T64" fmla="*/ 60 w 98"/>
                <a:gd name="T65" fmla="*/ 84 h 96"/>
                <a:gd name="T66" fmla="*/ 50 w 98"/>
                <a:gd name="T67" fmla="*/ 86 h 96"/>
                <a:gd name="T68" fmla="*/ 40 w 98"/>
                <a:gd name="T69" fmla="*/ 90 h 96"/>
                <a:gd name="T70" fmla="*/ 36 w 98"/>
                <a:gd name="T71" fmla="*/ 96 h 96"/>
                <a:gd name="T72" fmla="*/ 24 w 98"/>
                <a:gd name="T73" fmla="*/ 9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96">
                  <a:moveTo>
                    <a:pt x="24" y="92"/>
                  </a:moveTo>
                  <a:lnTo>
                    <a:pt x="12" y="94"/>
                  </a:lnTo>
                  <a:lnTo>
                    <a:pt x="8" y="88"/>
                  </a:lnTo>
                  <a:lnTo>
                    <a:pt x="12" y="80"/>
                  </a:lnTo>
                  <a:lnTo>
                    <a:pt x="12" y="70"/>
                  </a:lnTo>
                  <a:lnTo>
                    <a:pt x="16" y="60"/>
                  </a:lnTo>
                  <a:lnTo>
                    <a:pt x="6" y="60"/>
                  </a:lnTo>
                  <a:lnTo>
                    <a:pt x="0" y="56"/>
                  </a:lnTo>
                  <a:lnTo>
                    <a:pt x="6" y="48"/>
                  </a:lnTo>
                  <a:lnTo>
                    <a:pt x="22" y="38"/>
                  </a:lnTo>
                  <a:lnTo>
                    <a:pt x="28" y="32"/>
                  </a:lnTo>
                  <a:lnTo>
                    <a:pt x="36" y="24"/>
                  </a:lnTo>
                  <a:lnTo>
                    <a:pt x="40" y="22"/>
                  </a:lnTo>
                  <a:lnTo>
                    <a:pt x="50" y="26"/>
                  </a:lnTo>
                  <a:lnTo>
                    <a:pt x="60" y="24"/>
                  </a:lnTo>
                  <a:lnTo>
                    <a:pt x="62" y="16"/>
                  </a:lnTo>
                  <a:lnTo>
                    <a:pt x="72" y="16"/>
                  </a:lnTo>
                  <a:lnTo>
                    <a:pt x="80" y="10"/>
                  </a:lnTo>
                  <a:lnTo>
                    <a:pt x="82" y="4"/>
                  </a:lnTo>
                  <a:lnTo>
                    <a:pt x="88" y="0"/>
                  </a:lnTo>
                  <a:lnTo>
                    <a:pt x="98" y="8"/>
                  </a:lnTo>
                  <a:lnTo>
                    <a:pt x="92" y="12"/>
                  </a:lnTo>
                  <a:lnTo>
                    <a:pt x="84" y="18"/>
                  </a:lnTo>
                  <a:lnTo>
                    <a:pt x="80" y="28"/>
                  </a:lnTo>
                  <a:lnTo>
                    <a:pt x="78" y="38"/>
                  </a:lnTo>
                  <a:lnTo>
                    <a:pt x="76" y="42"/>
                  </a:lnTo>
                  <a:lnTo>
                    <a:pt x="68" y="46"/>
                  </a:lnTo>
                  <a:lnTo>
                    <a:pt x="52" y="52"/>
                  </a:lnTo>
                  <a:lnTo>
                    <a:pt x="48" y="58"/>
                  </a:lnTo>
                  <a:lnTo>
                    <a:pt x="48" y="66"/>
                  </a:lnTo>
                  <a:lnTo>
                    <a:pt x="52" y="76"/>
                  </a:lnTo>
                  <a:lnTo>
                    <a:pt x="56" y="80"/>
                  </a:lnTo>
                  <a:lnTo>
                    <a:pt x="60" y="84"/>
                  </a:lnTo>
                  <a:lnTo>
                    <a:pt x="50" y="86"/>
                  </a:lnTo>
                  <a:lnTo>
                    <a:pt x="40" y="90"/>
                  </a:lnTo>
                  <a:lnTo>
                    <a:pt x="36" y="96"/>
                  </a:lnTo>
                  <a:lnTo>
                    <a:pt x="24" y="9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82" name="Freeform 278">
              <a:extLst>
                <a:ext uri="{FF2B5EF4-FFF2-40B4-BE49-F238E27FC236}">
                  <a16:creationId xmlns:a16="http://schemas.microsoft.com/office/drawing/2014/main" id="{D8C262C0-2452-40C1-B72F-DF70760347C7}"/>
                </a:ext>
              </a:extLst>
            </p:cNvPr>
            <p:cNvSpPr>
              <a:spLocks/>
            </p:cNvSpPr>
            <p:nvPr/>
          </p:nvSpPr>
          <p:spPr bwMode="gray">
            <a:xfrm>
              <a:off x="7748459" y="3131117"/>
              <a:ext cx="1604841" cy="1015815"/>
            </a:xfrm>
            <a:custGeom>
              <a:avLst/>
              <a:gdLst>
                <a:gd name="T0" fmla="*/ 108 w 972"/>
                <a:gd name="T1" fmla="*/ 176 h 612"/>
                <a:gd name="T2" fmla="*/ 170 w 972"/>
                <a:gd name="T3" fmla="*/ 134 h 612"/>
                <a:gd name="T4" fmla="*/ 210 w 972"/>
                <a:gd name="T5" fmla="*/ 104 h 612"/>
                <a:gd name="T6" fmla="*/ 258 w 972"/>
                <a:gd name="T7" fmla="*/ 116 h 612"/>
                <a:gd name="T8" fmla="*/ 278 w 972"/>
                <a:gd name="T9" fmla="*/ 170 h 612"/>
                <a:gd name="T10" fmla="*/ 358 w 972"/>
                <a:gd name="T11" fmla="*/ 212 h 612"/>
                <a:gd name="T12" fmla="*/ 506 w 972"/>
                <a:gd name="T13" fmla="*/ 240 h 612"/>
                <a:gd name="T14" fmla="*/ 608 w 972"/>
                <a:gd name="T15" fmla="*/ 200 h 612"/>
                <a:gd name="T16" fmla="*/ 654 w 972"/>
                <a:gd name="T17" fmla="*/ 164 h 612"/>
                <a:gd name="T18" fmla="*/ 736 w 972"/>
                <a:gd name="T19" fmla="*/ 144 h 612"/>
                <a:gd name="T20" fmla="*/ 668 w 972"/>
                <a:gd name="T21" fmla="*/ 116 h 612"/>
                <a:gd name="T22" fmla="*/ 714 w 972"/>
                <a:gd name="T23" fmla="*/ 76 h 612"/>
                <a:gd name="T24" fmla="*/ 750 w 972"/>
                <a:gd name="T25" fmla="*/ 20 h 612"/>
                <a:gd name="T26" fmla="*/ 798 w 972"/>
                <a:gd name="T27" fmla="*/ 0 h 612"/>
                <a:gd name="T28" fmla="*/ 856 w 972"/>
                <a:gd name="T29" fmla="*/ 68 h 612"/>
                <a:gd name="T30" fmla="*/ 908 w 972"/>
                <a:gd name="T31" fmla="*/ 100 h 612"/>
                <a:gd name="T32" fmla="*/ 970 w 972"/>
                <a:gd name="T33" fmla="*/ 110 h 612"/>
                <a:gd name="T34" fmla="*/ 934 w 972"/>
                <a:gd name="T35" fmla="*/ 174 h 612"/>
                <a:gd name="T36" fmla="*/ 896 w 972"/>
                <a:gd name="T37" fmla="*/ 216 h 612"/>
                <a:gd name="T38" fmla="*/ 848 w 972"/>
                <a:gd name="T39" fmla="*/ 238 h 612"/>
                <a:gd name="T40" fmla="*/ 798 w 972"/>
                <a:gd name="T41" fmla="*/ 274 h 612"/>
                <a:gd name="T42" fmla="*/ 772 w 972"/>
                <a:gd name="T43" fmla="*/ 266 h 612"/>
                <a:gd name="T44" fmla="*/ 724 w 972"/>
                <a:gd name="T45" fmla="*/ 286 h 612"/>
                <a:gd name="T46" fmla="*/ 720 w 972"/>
                <a:gd name="T47" fmla="*/ 316 h 612"/>
                <a:gd name="T48" fmla="*/ 758 w 972"/>
                <a:gd name="T49" fmla="*/ 316 h 612"/>
                <a:gd name="T50" fmla="*/ 752 w 972"/>
                <a:gd name="T51" fmla="*/ 334 h 612"/>
                <a:gd name="T52" fmla="*/ 736 w 972"/>
                <a:gd name="T53" fmla="*/ 372 h 612"/>
                <a:gd name="T54" fmla="*/ 766 w 972"/>
                <a:gd name="T55" fmla="*/ 422 h 612"/>
                <a:gd name="T56" fmla="*/ 760 w 972"/>
                <a:gd name="T57" fmla="*/ 438 h 612"/>
                <a:gd name="T58" fmla="*/ 766 w 972"/>
                <a:gd name="T59" fmla="*/ 450 h 612"/>
                <a:gd name="T60" fmla="*/ 714 w 972"/>
                <a:gd name="T61" fmla="*/ 542 h 612"/>
                <a:gd name="T62" fmla="*/ 638 w 972"/>
                <a:gd name="T63" fmla="*/ 568 h 612"/>
                <a:gd name="T64" fmla="*/ 586 w 972"/>
                <a:gd name="T65" fmla="*/ 596 h 612"/>
                <a:gd name="T66" fmla="*/ 576 w 972"/>
                <a:gd name="T67" fmla="*/ 594 h 612"/>
                <a:gd name="T68" fmla="*/ 528 w 972"/>
                <a:gd name="T69" fmla="*/ 590 h 612"/>
                <a:gd name="T70" fmla="*/ 492 w 972"/>
                <a:gd name="T71" fmla="*/ 576 h 612"/>
                <a:gd name="T72" fmla="*/ 450 w 972"/>
                <a:gd name="T73" fmla="*/ 590 h 612"/>
                <a:gd name="T74" fmla="*/ 420 w 972"/>
                <a:gd name="T75" fmla="*/ 594 h 612"/>
                <a:gd name="T76" fmla="*/ 402 w 972"/>
                <a:gd name="T77" fmla="*/ 552 h 612"/>
                <a:gd name="T78" fmla="*/ 392 w 972"/>
                <a:gd name="T79" fmla="*/ 490 h 612"/>
                <a:gd name="T80" fmla="*/ 352 w 972"/>
                <a:gd name="T81" fmla="*/ 464 h 612"/>
                <a:gd name="T82" fmla="*/ 292 w 972"/>
                <a:gd name="T83" fmla="*/ 488 h 612"/>
                <a:gd name="T84" fmla="*/ 230 w 972"/>
                <a:gd name="T85" fmla="*/ 488 h 612"/>
                <a:gd name="T86" fmla="*/ 146 w 972"/>
                <a:gd name="T87" fmla="*/ 456 h 612"/>
                <a:gd name="T88" fmla="*/ 80 w 972"/>
                <a:gd name="T89" fmla="*/ 418 h 612"/>
                <a:gd name="T90" fmla="*/ 84 w 972"/>
                <a:gd name="T91" fmla="*/ 380 h 612"/>
                <a:gd name="T92" fmla="*/ 70 w 972"/>
                <a:gd name="T93" fmla="*/ 352 h 612"/>
                <a:gd name="T94" fmla="*/ 20 w 972"/>
                <a:gd name="T95" fmla="*/ 318 h 612"/>
                <a:gd name="T96" fmla="*/ 2 w 972"/>
                <a:gd name="T97" fmla="*/ 284 h 612"/>
                <a:gd name="T98" fmla="*/ 32 w 972"/>
                <a:gd name="T99" fmla="*/ 266 h 612"/>
                <a:gd name="T100" fmla="*/ 102 w 972"/>
                <a:gd name="T101" fmla="*/ 232 h 612"/>
                <a:gd name="connsiteX0" fmla="*/ 1111 w 10000"/>
                <a:gd name="connsiteY0" fmla="*/ 3725 h 10000"/>
                <a:gd name="connsiteX1" fmla="*/ 1111 w 10000"/>
                <a:gd name="connsiteY1" fmla="*/ 3562 h 10000"/>
                <a:gd name="connsiteX2" fmla="*/ 1193 w 10000"/>
                <a:gd name="connsiteY2" fmla="*/ 3431 h 10000"/>
                <a:gd name="connsiteX3" fmla="*/ 1132 w 10000"/>
                <a:gd name="connsiteY3" fmla="*/ 3170 h 10000"/>
                <a:gd name="connsiteX4" fmla="*/ 1111 w 10000"/>
                <a:gd name="connsiteY4" fmla="*/ 2876 h 10000"/>
                <a:gd name="connsiteX5" fmla="*/ 1235 w 10000"/>
                <a:gd name="connsiteY5" fmla="*/ 2778 h 10000"/>
                <a:gd name="connsiteX6" fmla="*/ 1420 w 10000"/>
                <a:gd name="connsiteY6" fmla="*/ 2778 h 10000"/>
                <a:gd name="connsiteX7" fmla="*/ 1461 w 10000"/>
                <a:gd name="connsiteY7" fmla="*/ 2549 h 10000"/>
                <a:gd name="connsiteX8" fmla="*/ 1564 w 10000"/>
                <a:gd name="connsiteY8" fmla="*/ 2157 h 10000"/>
                <a:gd name="connsiteX9" fmla="*/ 1749 w 10000"/>
                <a:gd name="connsiteY9" fmla="*/ 2190 h 10000"/>
                <a:gd name="connsiteX10" fmla="*/ 1893 w 10000"/>
                <a:gd name="connsiteY10" fmla="*/ 2190 h 10000"/>
                <a:gd name="connsiteX11" fmla="*/ 1996 w 10000"/>
                <a:gd name="connsiteY11" fmla="*/ 2157 h 10000"/>
                <a:gd name="connsiteX12" fmla="*/ 1996 w 10000"/>
                <a:gd name="connsiteY12" fmla="*/ 1928 h 10000"/>
                <a:gd name="connsiteX13" fmla="*/ 2037 w 10000"/>
                <a:gd name="connsiteY13" fmla="*/ 1699 h 10000"/>
                <a:gd name="connsiteX14" fmla="*/ 2160 w 10000"/>
                <a:gd name="connsiteY14" fmla="*/ 1699 h 10000"/>
                <a:gd name="connsiteX15" fmla="*/ 2181 w 10000"/>
                <a:gd name="connsiteY15" fmla="*/ 1536 h 10000"/>
                <a:gd name="connsiteX16" fmla="*/ 2346 w 10000"/>
                <a:gd name="connsiteY16" fmla="*/ 1536 h 10000"/>
                <a:gd name="connsiteX17" fmla="*/ 2387 w 10000"/>
                <a:gd name="connsiteY17" fmla="*/ 1699 h 10000"/>
                <a:gd name="connsiteX18" fmla="*/ 2490 w 10000"/>
                <a:gd name="connsiteY18" fmla="*/ 1863 h 10000"/>
                <a:gd name="connsiteX19" fmla="*/ 2654 w 10000"/>
                <a:gd name="connsiteY19" fmla="*/ 1895 h 10000"/>
                <a:gd name="connsiteX20" fmla="*/ 2798 w 10000"/>
                <a:gd name="connsiteY20" fmla="*/ 2124 h 10000"/>
                <a:gd name="connsiteX21" fmla="*/ 2881 w 10000"/>
                <a:gd name="connsiteY21" fmla="*/ 2320 h 10000"/>
                <a:gd name="connsiteX22" fmla="*/ 2881 w 10000"/>
                <a:gd name="connsiteY22" fmla="*/ 2451 h 10000"/>
                <a:gd name="connsiteX23" fmla="*/ 2819 w 10000"/>
                <a:gd name="connsiteY23" fmla="*/ 2582 h 10000"/>
                <a:gd name="connsiteX24" fmla="*/ 2860 w 10000"/>
                <a:gd name="connsiteY24" fmla="*/ 2778 h 10000"/>
                <a:gd name="connsiteX25" fmla="*/ 2942 w 10000"/>
                <a:gd name="connsiteY25" fmla="*/ 2843 h 10000"/>
                <a:gd name="connsiteX26" fmla="*/ 3292 w 10000"/>
                <a:gd name="connsiteY26" fmla="*/ 2876 h 10000"/>
                <a:gd name="connsiteX27" fmla="*/ 3395 w 10000"/>
                <a:gd name="connsiteY27" fmla="*/ 3039 h 10000"/>
                <a:gd name="connsiteX28" fmla="*/ 3621 w 10000"/>
                <a:gd name="connsiteY28" fmla="*/ 3235 h 10000"/>
                <a:gd name="connsiteX29" fmla="*/ 3683 w 10000"/>
                <a:gd name="connsiteY29" fmla="*/ 3464 h 10000"/>
                <a:gd name="connsiteX30" fmla="*/ 3745 w 10000"/>
                <a:gd name="connsiteY30" fmla="*/ 3595 h 10000"/>
                <a:gd name="connsiteX31" fmla="*/ 4300 w 10000"/>
                <a:gd name="connsiteY31" fmla="*/ 3627 h 10000"/>
                <a:gd name="connsiteX32" fmla="*/ 4588 w 10000"/>
                <a:gd name="connsiteY32" fmla="*/ 3660 h 10000"/>
                <a:gd name="connsiteX33" fmla="*/ 4835 w 10000"/>
                <a:gd name="connsiteY33" fmla="*/ 3856 h 10000"/>
                <a:gd name="connsiteX34" fmla="*/ 5206 w 10000"/>
                <a:gd name="connsiteY34" fmla="*/ 3922 h 10000"/>
                <a:gd name="connsiteX35" fmla="*/ 5432 w 10000"/>
                <a:gd name="connsiteY35" fmla="*/ 3693 h 10000"/>
                <a:gd name="connsiteX36" fmla="*/ 5885 w 10000"/>
                <a:gd name="connsiteY36" fmla="*/ 3693 h 10000"/>
                <a:gd name="connsiteX37" fmla="*/ 6070 w 10000"/>
                <a:gd name="connsiteY37" fmla="*/ 3529 h 10000"/>
                <a:gd name="connsiteX38" fmla="*/ 6070 w 10000"/>
                <a:gd name="connsiteY38" fmla="*/ 3431 h 10000"/>
                <a:gd name="connsiteX39" fmla="*/ 6255 w 10000"/>
                <a:gd name="connsiteY39" fmla="*/ 3268 h 10000"/>
                <a:gd name="connsiteX40" fmla="*/ 6193 w 10000"/>
                <a:gd name="connsiteY40" fmla="*/ 3072 h 10000"/>
                <a:gd name="connsiteX41" fmla="*/ 6255 w 10000"/>
                <a:gd name="connsiteY41" fmla="*/ 2876 h 10000"/>
                <a:gd name="connsiteX42" fmla="*/ 6399 w 10000"/>
                <a:gd name="connsiteY42" fmla="*/ 2876 h 10000"/>
                <a:gd name="connsiteX43" fmla="*/ 6584 w 10000"/>
                <a:gd name="connsiteY43" fmla="*/ 2908 h 10000"/>
                <a:gd name="connsiteX44" fmla="*/ 6728 w 10000"/>
                <a:gd name="connsiteY44" fmla="*/ 2680 h 10000"/>
                <a:gd name="connsiteX45" fmla="*/ 6893 w 10000"/>
                <a:gd name="connsiteY45" fmla="*/ 2680 h 10000"/>
                <a:gd name="connsiteX46" fmla="*/ 7078 w 10000"/>
                <a:gd name="connsiteY46" fmla="*/ 2451 h 10000"/>
                <a:gd name="connsiteX47" fmla="*/ 7284 w 10000"/>
                <a:gd name="connsiteY47" fmla="*/ 2320 h 10000"/>
                <a:gd name="connsiteX48" fmla="*/ 7407 w 10000"/>
                <a:gd name="connsiteY48" fmla="*/ 2320 h 10000"/>
                <a:gd name="connsiteX49" fmla="*/ 7572 w 10000"/>
                <a:gd name="connsiteY49" fmla="*/ 2353 h 10000"/>
                <a:gd name="connsiteX50" fmla="*/ 7551 w 10000"/>
                <a:gd name="connsiteY50" fmla="*/ 2190 h 10000"/>
                <a:gd name="connsiteX51" fmla="*/ 7346 w 10000"/>
                <a:gd name="connsiteY51" fmla="*/ 1863 h 10000"/>
                <a:gd name="connsiteX52" fmla="*/ 7243 w 10000"/>
                <a:gd name="connsiteY52" fmla="*/ 1830 h 10000"/>
                <a:gd name="connsiteX53" fmla="*/ 7160 w 10000"/>
                <a:gd name="connsiteY53" fmla="*/ 1928 h 10000"/>
                <a:gd name="connsiteX54" fmla="*/ 6872 w 10000"/>
                <a:gd name="connsiteY54" fmla="*/ 1895 h 10000"/>
                <a:gd name="connsiteX55" fmla="*/ 6914 w 10000"/>
                <a:gd name="connsiteY55" fmla="*/ 1667 h 10000"/>
                <a:gd name="connsiteX56" fmla="*/ 6996 w 10000"/>
                <a:gd name="connsiteY56" fmla="*/ 1373 h 10000"/>
                <a:gd name="connsiteX57" fmla="*/ 7058 w 10000"/>
                <a:gd name="connsiteY57" fmla="*/ 1242 h 10000"/>
                <a:gd name="connsiteX58" fmla="*/ 7243 w 10000"/>
                <a:gd name="connsiteY58" fmla="*/ 1405 h 10000"/>
                <a:gd name="connsiteX59" fmla="*/ 7346 w 10000"/>
                <a:gd name="connsiteY59" fmla="*/ 1242 h 10000"/>
                <a:gd name="connsiteX60" fmla="*/ 7469 w 10000"/>
                <a:gd name="connsiteY60" fmla="*/ 1209 h 10000"/>
                <a:gd name="connsiteX61" fmla="*/ 7510 w 10000"/>
                <a:gd name="connsiteY61" fmla="*/ 948 h 10000"/>
                <a:gd name="connsiteX62" fmla="*/ 7613 w 10000"/>
                <a:gd name="connsiteY62" fmla="*/ 654 h 10000"/>
                <a:gd name="connsiteX63" fmla="*/ 7716 w 10000"/>
                <a:gd name="connsiteY63" fmla="*/ 556 h 10000"/>
                <a:gd name="connsiteX64" fmla="*/ 7716 w 10000"/>
                <a:gd name="connsiteY64" fmla="*/ 327 h 10000"/>
                <a:gd name="connsiteX65" fmla="*/ 7593 w 10000"/>
                <a:gd name="connsiteY65" fmla="*/ 294 h 10000"/>
                <a:gd name="connsiteX66" fmla="*/ 7613 w 10000"/>
                <a:gd name="connsiteY66" fmla="*/ 163 h 10000"/>
                <a:gd name="connsiteX67" fmla="*/ 7757 w 10000"/>
                <a:gd name="connsiteY67" fmla="*/ 65 h 10000"/>
                <a:gd name="connsiteX68" fmla="*/ 8025 w 10000"/>
                <a:gd name="connsiteY68" fmla="*/ 33 h 10000"/>
                <a:gd name="connsiteX69" fmla="*/ 8210 w 10000"/>
                <a:gd name="connsiteY69" fmla="*/ 0 h 10000"/>
                <a:gd name="connsiteX70" fmla="*/ 8374 w 10000"/>
                <a:gd name="connsiteY70" fmla="*/ 98 h 10000"/>
                <a:gd name="connsiteX71" fmla="*/ 8519 w 10000"/>
                <a:gd name="connsiteY71" fmla="*/ 196 h 10000"/>
                <a:gd name="connsiteX72" fmla="*/ 8642 w 10000"/>
                <a:gd name="connsiteY72" fmla="*/ 523 h 10000"/>
                <a:gd name="connsiteX73" fmla="*/ 8724 w 10000"/>
                <a:gd name="connsiteY73" fmla="*/ 850 h 10000"/>
                <a:gd name="connsiteX74" fmla="*/ 8807 w 10000"/>
                <a:gd name="connsiteY74" fmla="*/ 1111 h 10000"/>
                <a:gd name="connsiteX75" fmla="*/ 8868 w 10000"/>
                <a:gd name="connsiteY75" fmla="*/ 1373 h 10000"/>
                <a:gd name="connsiteX76" fmla="*/ 9033 w 10000"/>
                <a:gd name="connsiteY76" fmla="*/ 1373 h 10000"/>
                <a:gd name="connsiteX77" fmla="*/ 9136 w 10000"/>
                <a:gd name="connsiteY77" fmla="*/ 1471 h 10000"/>
                <a:gd name="connsiteX78" fmla="*/ 9280 w 10000"/>
                <a:gd name="connsiteY78" fmla="*/ 1601 h 10000"/>
                <a:gd name="connsiteX79" fmla="*/ 9342 w 10000"/>
                <a:gd name="connsiteY79" fmla="*/ 1634 h 10000"/>
                <a:gd name="connsiteX80" fmla="*/ 9383 w 10000"/>
                <a:gd name="connsiteY80" fmla="*/ 1961 h 10000"/>
                <a:gd name="connsiteX81" fmla="*/ 9609 w 10000"/>
                <a:gd name="connsiteY81" fmla="*/ 1993 h 10000"/>
                <a:gd name="connsiteX82" fmla="*/ 9671 w 10000"/>
                <a:gd name="connsiteY82" fmla="*/ 1863 h 10000"/>
                <a:gd name="connsiteX83" fmla="*/ 9815 w 10000"/>
                <a:gd name="connsiteY83" fmla="*/ 1830 h 10000"/>
                <a:gd name="connsiteX84" fmla="*/ 9979 w 10000"/>
                <a:gd name="connsiteY84" fmla="*/ 1797 h 10000"/>
                <a:gd name="connsiteX85" fmla="*/ 10000 w 10000"/>
                <a:gd name="connsiteY85" fmla="*/ 2026 h 10000"/>
                <a:gd name="connsiteX86" fmla="*/ 9918 w 10000"/>
                <a:gd name="connsiteY86" fmla="*/ 2092 h 10000"/>
                <a:gd name="connsiteX87" fmla="*/ 9856 w 10000"/>
                <a:gd name="connsiteY87" fmla="*/ 2451 h 10000"/>
                <a:gd name="connsiteX88" fmla="*/ 9733 w 10000"/>
                <a:gd name="connsiteY88" fmla="*/ 2810 h 10000"/>
                <a:gd name="connsiteX89" fmla="*/ 9609 w 10000"/>
                <a:gd name="connsiteY89" fmla="*/ 2843 h 10000"/>
                <a:gd name="connsiteX90" fmla="*/ 9547 w 10000"/>
                <a:gd name="connsiteY90" fmla="*/ 2745 h 10000"/>
                <a:gd name="connsiteX91" fmla="*/ 9403 w 10000"/>
                <a:gd name="connsiteY91" fmla="*/ 2908 h 10000"/>
                <a:gd name="connsiteX92" fmla="*/ 9403 w 10000"/>
                <a:gd name="connsiteY92" fmla="*/ 3497 h 10000"/>
                <a:gd name="connsiteX93" fmla="*/ 9321 w 10000"/>
                <a:gd name="connsiteY93" fmla="*/ 3660 h 10000"/>
                <a:gd name="connsiteX94" fmla="*/ 9218 w 10000"/>
                <a:gd name="connsiteY94" fmla="*/ 3529 h 10000"/>
                <a:gd name="connsiteX95" fmla="*/ 9053 w 10000"/>
                <a:gd name="connsiteY95" fmla="*/ 3791 h 10000"/>
                <a:gd name="connsiteX96" fmla="*/ 8951 w 10000"/>
                <a:gd name="connsiteY96" fmla="*/ 3791 h 10000"/>
                <a:gd name="connsiteX97" fmla="*/ 8930 w 10000"/>
                <a:gd name="connsiteY97" fmla="*/ 3922 h 10000"/>
                <a:gd name="connsiteX98" fmla="*/ 8827 w 10000"/>
                <a:gd name="connsiteY98" fmla="*/ 3954 h 10000"/>
                <a:gd name="connsiteX99" fmla="*/ 8724 w 10000"/>
                <a:gd name="connsiteY99" fmla="*/ 3889 h 10000"/>
                <a:gd name="connsiteX100" fmla="*/ 8683 w 10000"/>
                <a:gd name="connsiteY100" fmla="*/ 3922 h 10000"/>
                <a:gd name="connsiteX101" fmla="*/ 8539 w 10000"/>
                <a:gd name="connsiteY101" fmla="*/ 4150 h 10000"/>
                <a:gd name="connsiteX102" fmla="*/ 8416 w 10000"/>
                <a:gd name="connsiteY102" fmla="*/ 4281 h 10000"/>
                <a:gd name="connsiteX103" fmla="*/ 8313 w 10000"/>
                <a:gd name="connsiteY103" fmla="*/ 4444 h 10000"/>
                <a:gd name="connsiteX104" fmla="*/ 8210 w 10000"/>
                <a:gd name="connsiteY104" fmla="*/ 4477 h 10000"/>
                <a:gd name="connsiteX105" fmla="*/ 8107 w 10000"/>
                <a:gd name="connsiteY105" fmla="*/ 4510 h 10000"/>
                <a:gd name="connsiteX106" fmla="*/ 7819 w 10000"/>
                <a:gd name="connsiteY106" fmla="*/ 4804 h 10000"/>
                <a:gd name="connsiteX107" fmla="*/ 7798 w 10000"/>
                <a:gd name="connsiteY107" fmla="*/ 4608 h 10000"/>
                <a:gd name="connsiteX108" fmla="*/ 7840 w 10000"/>
                <a:gd name="connsiteY108" fmla="*/ 4444 h 10000"/>
                <a:gd name="connsiteX109" fmla="*/ 7942 w 10000"/>
                <a:gd name="connsiteY109" fmla="*/ 4346 h 10000"/>
                <a:gd name="connsiteX110" fmla="*/ 7922 w 10000"/>
                <a:gd name="connsiteY110" fmla="*/ 4183 h 10000"/>
                <a:gd name="connsiteX111" fmla="*/ 7840 w 10000"/>
                <a:gd name="connsiteY111" fmla="*/ 4183 h 10000"/>
                <a:gd name="connsiteX112" fmla="*/ 7716 w 10000"/>
                <a:gd name="connsiteY112" fmla="*/ 4216 h 10000"/>
                <a:gd name="connsiteX113" fmla="*/ 7490 w 10000"/>
                <a:gd name="connsiteY113" fmla="*/ 4510 h 10000"/>
                <a:gd name="connsiteX114" fmla="*/ 7449 w 10000"/>
                <a:gd name="connsiteY114" fmla="*/ 4673 h 10000"/>
                <a:gd name="connsiteX115" fmla="*/ 7243 w 10000"/>
                <a:gd name="connsiteY115" fmla="*/ 4673 h 10000"/>
                <a:gd name="connsiteX116" fmla="*/ 7202 w 10000"/>
                <a:gd name="connsiteY116" fmla="*/ 4804 h 10000"/>
                <a:gd name="connsiteX117" fmla="*/ 7263 w 10000"/>
                <a:gd name="connsiteY117" fmla="*/ 5033 h 10000"/>
                <a:gd name="connsiteX118" fmla="*/ 7407 w 10000"/>
                <a:gd name="connsiteY118" fmla="*/ 5065 h 10000"/>
                <a:gd name="connsiteX119" fmla="*/ 7407 w 10000"/>
                <a:gd name="connsiteY119" fmla="*/ 5163 h 10000"/>
                <a:gd name="connsiteX120" fmla="*/ 7428 w 10000"/>
                <a:gd name="connsiteY120" fmla="*/ 5294 h 10000"/>
                <a:gd name="connsiteX121" fmla="*/ 7551 w 10000"/>
                <a:gd name="connsiteY121" fmla="*/ 5261 h 10000"/>
                <a:gd name="connsiteX122" fmla="*/ 7634 w 10000"/>
                <a:gd name="connsiteY122" fmla="*/ 5131 h 10000"/>
                <a:gd name="connsiteX123" fmla="*/ 7716 w 10000"/>
                <a:gd name="connsiteY123" fmla="*/ 5098 h 10000"/>
                <a:gd name="connsiteX124" fmla="*/ 7798 w 10000"/>
                <a:gd name="connsiteY124" fmla="*/ 5163 h 10000"/>
                <a:gd name="connsiteX125" fmla="*/ 7963 w 10000"/>
                <a:gd name="connsiteY125" fmla="*/ 5229 h 10000"/>
                <a:gd name="connsiteX126" fmla="*/ 8004 w 10000"/>
                <a:gd name="connsiteY126" fmla="*/ 5359 h 10000"/>
                <a:gd name="connsiteX127" fmla="*/ 7942 w 10000"/>
                <a:gd name="connsiteY127" fmla="*/ 5392 h 10000"/>
                <a:gd name="connsiteX128" fmla="*/ 7819 w 10000"/>
                <a:gd name="connsiteY128" fmla="*/ 5392 h 10000"/>
                <a:gd name="connsiteX129" fmla="*/ 7737 w 10000"/>
                <a:gd name="connsiteY129" fmla="*/ 5458 h 10000"/>
                <a:gd name="connsiteX130" fmla="*/ 7716 w 10000"/>
                <a:gd name="connsiteY130" fmla="*/ 5556 h 10000"/>
                <a:gd name="connsiteX131" fmla="*/ 7613 w 10000"/>
                <a:gd name="connsiteY131" fmla="*/ 5621 h 10000"/>
                <a:gd name="connsiteX132" fmla="*/ 7510 w 10000"/>
                <a:gd name="connsiteY132" fmla="*/ 5850 h 10000"/>
                <a:gd name="connsiteX133" fmla="*/ 7469 w 10000"/>
                <a:gd name="connsiteY133" fmla="*/ 6013 h 10000"/>
                <a:gd name="connsiteX134" fmla="*/ 7572 w 10000"/>
                <a:gd name="connsiteY134" fmla="*/ 6078 h 10000"/>
                <a:gd name="connsiteX135" fmla="*/ 7634 w 10000"/>
                <a:gd name="connsiteY135" fmla="*/ 6176 h 10000"/>
                <a:gd name="connsiteX136" fmla="*/ 7716 w 10000"/>
                <a:gd name="connsiteY136" fmla="*/ 6503 h 10000"/>
                <a:gd name="connsiteX137" fmla="*/ 7737 w 10000"/>
                <a:gd name="connsiteY137" fmla="*/ 6634 h 10000"/>
                <a:gd name="connsiteX138" fmla="*/ 7901 w 10000"/>
                <a:gd name="connsiteY138" fmla="*/ 6830 h 10000"/>
                <a:gd name="connsiteX139" fmla="*/ 7881 w 10000"/>
                <a:gd name="connsiteY139" fmla="*/ 6895 h 10000"/>
                <a:gd name="connsiteX140" fmla="*/ 7778 w 10000"/>
                <a:gd name="connsiteY140" fmla="*/ 6830 h 10000"/>
                <a:gd name="connsiteX141" fmla="*/ 7737 w 10000"/>
                <a:gd name="connsiteY141" fmla="*/ 6961 h 10000"/>
                <a:gd name="connsiteX142" fmla="*/ 7860 w 10000"/>
                <a:gd name="connsiteY142" fmla="*/ 7026 h 10000"/>
                <a:gd name="connsiteX143" fmla="*/ 7901 w 10000"/>
                <a:gd name="connsiteY143" fmla="*/ 7124 h 10000"/>
                <a:gd name="connsiteX144" fmla="*/ 7819 w 10000"/>
                <a:gd name="connsiteY144" fmla="*/ 7157 h 10000"/>
                <a:gd name="connsiteX145" fmla="*/ 7716 w 10000"/>
                <a:gd name="connsiteY145" fmla="*/ 7190 h 10000"/>
                <a:gd name="connsiteX146" fmla="*/ 7654 w 10000"/>
                <a:gd name="connsiteY146" fmla="*/ 7255 h 10000"/>
                <a:gd name="connsiteX147" fmla="*/ 7634 w 10000"/>
                <a:gd name="connsiteY147" fmla="*/ 7288 h 10000"/>
                <a:gd name="connsiteX148" fmla="*/ 7778 w 10000"/>
                <a:gd name="connsiteY148" fmla="*/ 7320 h 10000"/>
                <a:gd name="connsiteX149" fmla="*/ 7881 w 10000"/>
                <a:gd name="connsiteY149" fmla="*/ 7353 h 10000"/>
                <a:gd name="connsiteX150" fmla="*/ 7881 w 10000"/>
                <a:gd name="connsiteY150" fmla="*/ 7549 h 10000"/>
                <a:gd name="connsiteX151" fmla="*/ 7798 w 10000"/>
                <a:gd name="connsiteY151" fmla="*/ 7843 h 10000"/>
                <a:gd name="connsiteX152" fmla="*/ 7593 w 10000"/>
                <a:gd name="connsiteY152" fmla="*/ 8235 h 10000"/>
                <a:gd name="connsiteX153" fmla="*/ 7449 w 10000"/>
                <a:gd name="connsiteY153" fmla="*/ 8562 h 10000"/>
                <a:gd name="connsiteX154" fmla="*/ 7346 w 10000"/>
                <a:gd name="connsiteY154" fmla="*/ 8856 h 10000"/>
                <a:gd name="connsiteX155" fmla="*/ 7119 w 10000"/>
                <a:gd name="connsiteY155" fmla="*/ 9150 h 10000"/>
                <a:gd name="connsiteX156" fmla="*/ 6975 w 10000"/>
                <a:gd name="connsiteY156" fmla="*/ 9346 h 10000"/>
                <a:gd name="connsiteX157" fmla="*/ 6749 w 10000"/>
                <a:gd name="connsiteY157" fmla="*/ 9412 h 10000"/>
                <a:gd name="connsiteX158" fmla="*/ 6626 w 10000"/>
                <a:gd name="connsiteY158" fmla="*/ 9412 h 10000"/>
                <a:gd name="connsiteX159" fmla="*/ 6564 w 10000"/>
                <a:gd name="connsiteY159" fmla="*/ 9281 h 10000"/>
                <a:gd name="connsiteX160" fmla="*/ 6502 w 10000"/>
                <a:gd name="connsiteY160" fmla="*/ 9314 h 10000"/>
                <a:gd name="connsiteX161" fmla="*/ 6502 w 10000"/>
                <a:gd name="connsiteY161" fmla="*/ 9542 h 10000"/>
                <a:gd name="connsiteX162" fmla="*/ 6358 w 10000"/>
                <a:gd name="connsiteY162" fmla="*/ 9608 h 10000"/>
                <a:gd name="connsiteX163" fmla="*/ 6152 w 10000"/>
                <a:gd name="connsiteY163" fmla="*/ 9706 h 10000"/>
                <a:gd name="connsiteX164" fmla="*/ 6029 w 10000"/>
                <a:gd name="connsiteY164" fmla="*/ 9739 h 10000"/>
                <a:gd name="connsiteX165" fmla="*/ 5988 w 10000"/>
                <a:gd name="connsiteY165" fmla="*/ 9869 h 10000"/>
                <a:gd name="connsiteX166" fmla="*/ 6008 w 10000"/>
                <a:gd name="connsiteY166" fmla="*/ 10000 h 10000"/>
                <a:gd name="connsiteX167" fmla="*/ 5926 w 10000"/>
                <a:gd name="connsiteY167" fmla="*/ 9935 h 10000"/>
                <a:gd name="connsiteX168" fmla="*/ 5926 w 10000"/>
                <a:gd name="connsiteY168" fmla="*/ 9804 h 10000"/>
                <a:gd name="connsiteX169" fmla="*/ 5926 w 10000"/>
                <a:gd name="connsiteY169" fmla="*/ 9706 h 10000"/>
                <a:gd name="connsiteX170" fmla="*/ 5823 w 10000"/>
                <a:gd name="connsiteY170" fmla="*/ 9706 h 10000"/>
                <a:gd name="connsiteX171" fmla="*/ 5720 w 10000"/>
                <a:gd name="connsiteY171" fmla="*/ 9641 h 10000"/>
                <a:gd name="connsiteX172" fmla="*/ 5617 w 10000"/>
                <a:gd name="connsiteY172" fmla="*/ 9706 h 10000"/>
                <a:gd name="connsiteX173" fmla="*/ 5514 w 10000"/>
                <a:gd name="connsiteY173" fmla="*/ 9706 h 10000"/>
                <a:gd name="connsiteX174" fmla="*/ 5432 w 10000"/>
                <a:gd name="connsiteY174" fmla="*/ 9641 h 10000"/>
                <a:gd name="connsiteX175" fmla="*/ 5412 w 10000"/>
                <a:gd name="connsiteY175" fmla="*/ 9379 h 10000"/>
                <a:gd name="connsiteX176" fmla="*/ 5288 w 10000"/>
                <a:gd name="connsiteY176" fmla="*/ 9346 h 10000"/>
                <a:gd name="connsiteX177" fmla="*/ 5226 w 10000"/>
                <a:gd name="connsiteY177" fmla="*/ 9281 h 10000"/>
                <a:gd name="connsiteX178" fmla="*/ 5144 w 10000"/>
                <a:gd name="connsiteY178" fmla="*/ 9281 h 10000"/>
                <a:gd name="connsiteX179" fmla="*/ 5062 w 10000"/>
                <a:gd name="connsiteY179" fmla="*/ 9412 h 10000"/>
                <a:gd name="connsiteX180" fmla="*/ 4712 w 10000"/>
                <a:gd name="connsiteY180" fmla="*/ 9412 h 10000"/>
                <a:gd name="connsiteX181" fmla="*/ 4691 w 10000"/>
                <a:gd name="connsiteY181" fmla="*/ 9477 h 10000"/>
                <a:gd name="connsiteX182" fmla="*/ 4568 w 10000"/>
                <a:gd name="connsiteY182" fmla="*/ 9477 h 10000"/>
                <a:gd name="connsiteX183" fmla="*/ 4568 w 10000"/>
                <a:gd name="connsiteY183" fmla="*/ 9608 h 10000"/>
                <a:gd name="connsiteX184" fmla="*/ 4630 w 10000"/>
                <a:gd name="connsiteY184" fmla="*/ 9641 h 10000"/>
                <a:gd name="connsiteX185" fmla="*/ 4609 w 10000"/>
                <a:gd name="connsiteY185" fmla="*/ 9771 h 10000"/>
                <a:gd name="connsiteX186" fmla="*/ 4527 w 10000"/>
                <a:gd name="connsiteY186" fmla="*/ 9771 h 10000"/>
                <a:gd name="connsiteX187" fmla="*/ 4486 w 10000"/>
                <a:gd name="connsiteY187" fmla="*/ 9706 h 10000"/>
                <a:gd name="connsiteX188" fmla="*/ 4403 w 10000"/>
                <a:gd name="connsiteY188" fmla="*/ 9706 h 10000"/>
                <a:gd name="connsiteX189" fmla="*/ 4321 w 10000"/>
                <a:gd name="connsiteY189" fmla="*/ 9706 h 10000"/>
                <a:gd name="connsiteX190" fmla="*/ 4321 w 10000"/>
                <a:gd name="connsiteY190" fmla="*/ 9608 h 10000"/>
                <a:gd name="connsiteX191" fmla="*/ 4239 w 10000"/>
                <a:gd name="connsiteY191" fmla="*/ 9575 h 10000"/>
                <a:gd name="connsiteX192" fmla="*/ 4239 w 10000"/>
                <a:gd name="connsiteY192" fmla="*/ 9314 h 10000"/>
                <a:gd name="connsiteX193" fmla="*/ 4136 w 10000"/>
                <a:gd name="connsiteY193" fmla="*/ 9248 h 10000"/>
                <a:gd name="connsiteX194" fmla="*/ 4136 w 10000"/>
                <a:gd name="connsiteY194" fmla="*/ 9020 h 10000"/>
                <a:gd name="connsiteX195" fmla="*/ 3930 w 10000"/>
                <a:gd name="connsiteY195" fmla="*/ 8922 h 10000"/>
                <a:gd name="connsiteX196" fmla="*/ 3930 w 10000"/>
                <a:gd name="connsiteY196" fmla="*/ 8856 h 10000"/>
                <a:gd name="connsiteX197" fmla="*/ 4095 w 10000"/>
                <a:gd name="connsiteY197" fmla="*/ 8497 h 10000"/>
                <a:gd name="connsiteX198" fmla="*/ 4115 w 10000"/>
                <a:gd name="connsiteY198" fmla="*/ 8105 h 10000"/>
                <a:gd name="connsiteX199" fmla="*/ 4033 w 10000"/>
                <a:gd name="connsiteY199" fmla="*/ 8007 h 10000"/>
                <a:gd name="connsiteX200" fmla="*/ 3971 w 10000"/>
                <a:gd name="connsiteY200" fmla="*/ 7843 h 10000"/>
                <a:gd name="connsiteX201" fmla="*/ 3889 w 10000"/>
                <a:gd name="connsiteY201" fmla="*/ 7810 h 10000"/>
                <a:gd name="connsiteX202" fmla="*/ 3724 w 10000"/>
                <a:gd name="connsiteY202" fmla="*/ 7778 h 10000"/>
                <a:gd name="connsiteX203" fmla="*/ 3724 w 10000"/>
                <a:gd name="connsiteY203" fmla="*/ 7549 h 10000"/>
                <a:gd name="connsiteX204" fmla="*/ 3621 w 10000"/>
                <a:gd name="connsiteY204" fmla="*/ 7582 h 10000"/>
                <a:gd name="connsiteX205" fmla="*/ 3395 w 10000"/>
                <a:gd name="connsiteY205" fmla="*/ 7582 h 10000"/>
                <a:gd name="connsiteX206" fmla="*/ 3333 w 10000"/>
                <a:gd name="connsiteY206" fmla="*/ 7712 h 10000"/>
                <a:gd name="connsiteX207" fmla="*/ 3210 w 10000"/>
                <a:gd name="connsiteY207" fmla="*/ 7712 h 10000"/>
                <a:gd name="connsiteX208" fmla="*/ 3107 w 10000"/>
                <a:gd name="connsiteY208" fmla="*/ 7941 h 10000"/>
                <a:gd name="connsiteX209" fmla="*/ 3004 w 10000"/>
                <a:gd name="connsiteY209" fmla="*/ 7974 h 10000"/>
                <a:gd name="connsiteX210" fmla="*/ 2860 w 10000"/>
                <a:gd name="connsiteY210" fmla="*/ 7941 h 10000"/>
                <a:gd name="connsiteX211" fmla="*/ 2737 w 10000"/>
                <a:gd name="connsiteY211" fmla="*/ 7876 h 10000"/>
                <a:gd name="connsiteX212" fmla="*/ 2634 w 10000"/>
                <a:gd name="connsiteY212" fmla="*/ 7876 h 10000"/>
                <a:gd name="connsiteX213" fmla="*/ 2572 w 10000"/>
                <a:gd name="connsiteY213" fmla="*/ 7974 h 10000"/>
                <a:gd name="connsiteX214" fmla="*/ 2366 w 10000"/>
                <a:gd name="connsiteY214" fmla="*/ 7974 h 10000"/>
                <a:gd name="connsiteX215" fmla="*/ 2140 w 10000"/>
                <a:gd name="connsiteY215" fmla="*/ 7941 h 10000"/>
                <a:gd name="connsiteX216" fmla="*/ 1975 w 10000"/>
                <a:gd name="connsiteY216" fmla="*/ 7908 h 10000"/>
                <a:gd name="connsiteX217" fmla="*/ 1790 w 10000"/>
                <a:gd name="connsiteY217" fmla="*/ 7712 h 10000"/>
                <a:gd name="connsiteX218" fmla="*/ 1667 w 10000"/>
                <a:gd name="connsiteY218" fmla="*/ 7582 h 10000"/>
                <a:gd name="connsiteX219" fmla="*/ 1502 w 10000"/>
                <a:gd name="connsiteY219" fmla="*/ 7451 h 10000"/>
                <a:gd name="connsiteX220" fmla="*/ 1358 w 10000"/>
                <a:gd name="connsiteY220" fmla="*/ 7222 h 10000"/>
                <a:gd name="connsiteX221" fmla="*/ 1214 w 10000"/>
                <a:gd name="connsiteY221" fmla="*/ 7320 h 10000"/>
                <a:gd name="connsiteX222" fmla="*/ 1091 w 10000"/>
                <a:gd name="connsiteY222" fmla="*/ 7157 h 10000"/>
                <a:gd name="connsiteX223" fmla="*/ 823 w 10000"/>
                <a:gd name="connsiteY223" fmla="*/ 6961 h 10000"/>
                <a:gd name="connsiteX224" fmla="*/ 823 w 10000"/>
                <a:gd name="connsiteY224" fmla="*/ 6830 h 10000"/>
                <a:gd name="connsiteX225" fmla="*/ 864 w 10000"/>
                <a:gd name="connsiteY225" fmla="*/ 6667 h 10000"/>
                <a:gd name="connsiteX226" fmla="*/ 967 w 10000"/>
                <a:gd name="connsiteY226" fmla="*/ 6634 h 10000"/>
                <a:gd name="connsiteX227" fmla="*/ 988 w 10000"/>
                <a:gd name="connsiteY227" fmla="*/ 6503 h 10000"/>
                <a:gd name="connsiteX228" fmla="*/ 864 w 10000"/>
                <a:gd name="connsiteY228" fmla="*/ 6373 h 10000"/>
                <a:gd name="connsiteX229" fmla="*/ 864 w 10000"/>
                <a:gd name="connsiteY229" fmla="*/ 6209 h 10000"/>
                <a:gd name="connsiteX230" fmla="*/ 1029 w 10000"/>
                <a:gd name="connsiteY230" fmla="*/ 6078 h 10000"/>
                <a:gd name="connsiteX231" fmla="*/ 1111 w 10000"/>
                <a:gd name="connsiteY231" fmla="*/ 5948 h 10000"/>
                <a:gd name="connsiteX232" fmla="*/ 1111 w 10000"/>
                <a:gd name="connsiteY232" fmla="*/ 5817 h 10000"/>
                <a:gd name="connsiteX233" fmla="*/ 926 w 10000"/>
                <a:gd name="connsiteY233" fmla="*/ 5621 h 10000"/>
                <a:gd name="connsiteX234" fmla="*/ 803 w 10000"/>
                <a:gd name="connsiteY234" fmla="*/ 5778 h 10000"/>
                <a:gd name="connsiteX235" fmla="*/ 597 w 10000"/>
                <a:gd name="connsiteY235" fmla="*/ 5719 h 10000"/>
                <a:gd name="connsiteX236" fmla="*/ 391 w 10000"/>
                <a:gd name="connsiteY236" fmla="*/ 5588 h 10000"/>
                <a:gd name="connsiteX237" fmla="*/ 391 w 10000"/>
                <a:gd name="connsiteY237" fmla="*/ 5425 h 10000"/>
                <a:gd name="connsiteX238" fmla="*/ 206 w 10000"/>
                <a:gd name="connsiteY238" fmla="*/ 5327 h 10000"/>
                <a:gd name="connsiteX239" fmla="*/ 206 w 10000"/>
                <a:gd name="connsiteY239" fmla="*/ 5196 h 10000"/>
                <a:gd name="connsiteX240" fmla="*/ 206 w 10000"/>
                <a:gd name="connsiteY240" fmla="*/ 4869 h 10000"/>
                <a:gd name="connsiteX241" fmla="*/ 82 w 10000"/>
                <a:gd name="connsiteY241" fmla="*/ 4902 h 10000"/>
                <a:gd name="connsiteX242" fmla="*/ 21 w 10000"/>
                <a:gd name="connsiteY242" fmla="*/ 4869 h 10000"/>
                <a:gd name="connsiteX243" fmla="*/ 0 w 10000"/>
                <a:gd name="connsiteY243" fmla="*/ 4739 h 10000"/>
                <a:gd name="connsiteX244" fmla="*/ 21 w 10000"/>
                <a:gd name="connsiteY244" fmla="*/ 4641 h 10000"/>
                <a:gd name="connsiteX245" fmla="*/ 41 w 10000"/>
                <a:gd name="connsiteY245" fmla="*/ 4477 h 10000"/>
                <a:gd name="connsiteX246" fmla="*/ 165 w 10000"/>
                <a:gd name="connsiteY246" fmla="*/ 4346 h 10000"/>
                <a:gd name="connsiteX247" fmla="*/ 185 w 10000"/>
                <a:gd name="connsiteY247" fmla="*/ 4248 h 10000"/>
                <a:gd name="connsiteX248" fmla="*/ 329 w 10000"/>
                <a:gd name="connsiteY248" fmla="*/ 4248 h 10000"/>
                <a:gd name="connsiteX249" fmla="*/ 329 w 10000"/>
                <a:gd name="connsiteY249" fmla="*/ 4346 h 10000"/>
                <a:gd name="connsiteX250" fmla="*/ 494 w 10000"/>
                <a:gd name="connsiteY250" fmla="*/ 4281 h 10000"/>
                <a:gd name="connsiteX251" fmla="*/ 535 w 10000"/>
                <a:gd name="connsiteY251" fmla="*/ 4118 h 10000"/>
                <a:gd name="connsiteX252" fmla="*/ 741 w 10000"/>
                <a:gd name="connsiteY252" fmla="*/ 4118 h 10000"/>
                <a:gd name="connsiteX253" fmla="*/ 782 w 10000"/>
                <a:gd name="connsiteY253" fmla="*/ 3987 h 10000"/>
                <a:gd name="connsiteX254" fmla="*/ 1049 w 10000"/>
                <a:gd name="connsiteY254" fmla="*/ 3791 h 10000"/>
                <a:gd name="connsiteX255" fmla="*/ 1111 w 10000"/>
                <a:gd name="connsiteY255" fmla="*/ 3725 h 10000"/>
                <a:gd name="connsiteX0" fmla="*/ 1111 w 10000"/>
                <a:gd name="connsiteY0" fmla="*/ 3725 h 10000"/>
                <a:gd name="connsiteX1" fmla="*/ 1111 w 10000"/>
                <a:gd name="connsiteY1" fmla="*/ 3562 h 10000"/>
                <a:gd name="connsiteX2" fmla="*/ 1193 w 10000"/>
                <a:gd name="connsiteY2" fmla="*/ 3431 h 10000"/>
                <a:gd name="connsiteX3" fmla="*/ 1132 w 10000"/>
                <a:gd name="connsiteY3" fmla="*/ 3170 h 10000"/>
                <a:gd name="connsiteX4" fmla="*/ 1111 w 10000"/>
                <a:gd name="connsiteY4" fmla="*/ 2876 h 10000"/>
                <a:gd name="connsiteX5" fmla="*/ 1235 w 10000"/>
                <a:gd name="connsiteY5" fmla="*/ 2778 h 10000"/>
                <a:gd name="connsiteX6" fmla="*/ 1420 w 10000"/>
                <a:gd name="connsiteY6" fmla="*/ 2778 h 10000"/>
                <a:gd name="connsiteX7" fmla="*/ 1461 w 10000"/>
                <a:gd name="connsiteY7" fmla="*/ 2549 h 10000"/>
                <a:gd name="connsiteX8" fmla="*/ 1564 w 10000"/>
                <a:gd name="connsiteY8" fmla="*/ 2157 h 10000"/>
                <a:gd name="connsiteX9" fmla="*/ 1749 w 10000"/>
                <a:gd name="connsiteY9" fmla="*/ 2190 h 10000"/>
                <a:gd name="connsiteX10" fmla="*/ 1893 w 10000"/>
                <a:gd name="connsiteY10" fmla="*/ 2190 h 10000"/>
                <a:gd name="connsiteX11" fmla="*/ 1996 w 10000"/>
                <a:gd name="connsiteY11" fmla="*/ 2157 h 10000"/>
                <a:gd name="connsiteX12" fmla="*/ 1996 w 10000"/>
                <a:gd name="connsiteY12" fmla="*/ 1928 h 10000"/>
                <a:gd name="connsiteX13" fmla="*/ 2037 w 10000"/>
                <a:gd name="connsiteY13" fmla="*/ 1699 h 10000"/>
                <a:gd name="connsiteX14" fmla="*/ 2160 w 10000"/>
                <a:gd name="connsiteY14" fmla="*/ 1699 h 10000"/>
                <a:gd name="connsiteX15" fmla="*/ 2181 w 10000"/>
                <a:gd name="connsiteY15" fmla="*/ 1536 h 10000"/>
                <a:gd name="connsiteX16" fmla="*/ 2346 w 10000"/>
                <a:gd name="connsiteY16" fmla="*/ 1536 h 10000"/>
                <a:gd name="connsiteX17" fmla="*/ 2387 w 10000"/>
                <a:gd name="connsiteY17" fmla="*/ 1699 h 10000"/>
                <a:gd name="connsiteX18" fmla="*/ 2490 w 10000"/>
                <a:gd name="connsiteY18" fmla="*/ 1863 h 10000"/>
                <a:gd name="connsiteX19" fmla="*/ 2654 w 10000"/>
                <a:gd name="connsiteY19" fmla="*/ 1895 h 10000"/>
                <a:gd name="connsiteX20" fmla="*/ 2798 w 10000"/>
                <a:gd name="connsiteY20" fmla="*/ 2124 h 10000"/>
                <a:gd name="connsiteX21" fmla="*/ 2881 w 10000"/>
                <a:gd name="connsiteY21" fmla="*/ 2320 h 10000"/>
                <a:gd name="connsiteX22" fmla="*/ 2881 w 10000"/>
                <a:gd name="connsiteY22" fmla="*/ 2451 h 10000"/>
                <a:gd name="connsiteX23" fmla="*/ 2819 w 10000"/>
                <a:gd name="connsiteY23" fmla="*/ 2582 h 10000"/>
                <a:gd name="connsiteX24" fmla="*/ 2860 w 10000"/>
                <a:gd name="connsiteY24" fmla="*/ 2778 h 10000"/>
                <a:gd name="connsiteX25" fmla="*/ 2942 w 10000"/>
                <a:gd name="connsiteY25" fmla="*/ 2843 h 10000"/>
                <a:gd name="connsiteX26" fmla="*/ 3292 w 10000"/>
                <a:gd name="connsiteY26" fmla="*/ 2876 h 10000"/>
                <a:gd name="connsiteX27" fmla="*/ 3395 w 10000"/>
                <a:gd name="connsiteY27" fmla="*/ 3039 h 10000"/>
                <a:gd name="connsiteX28" fmla="*/ 3621 w 10000"/>
                <a:gd name="connsiteY28" fmla="*/ 3235 h 10000"/>
                <a:gd name="connsiteX29" fmla="*/ 3683 w 10000"/>
                <a:gd name="connsiteY29" fmla="*/ 3464 h 10000"/>
                <a:gd name="connsiteX30" fmla="*/ 3745 w 10000"/>
                <a:gd name="connsiteY30" fmla="*/ 3595 h 10000"/>
                <a:gd name="connsiteX31" fmla="*/ 4300 w 10000"/>
                <a:gd name="connsiteY31" fmla="*/ 3627 h 10000"/>
                <a:gd name="connsiteX32" fmla="*/ 4588 w 10000"/>
                <a:gd name="connsiteY32" fmla="*/ 3660 h 10000"/>
                <a:gd name="connsiteX33" fmla="*/ 4835 w 10000"/>
                <a:gd name="connsiteY33" fmla="*/ 3856 h 10000"/>
                <a:gd name="connsiteX34" fmla="*/ 5206 w 10000"/>
                <a:gd name="connsiteY34" fmla="*/ 3922 h 10000"/>
                <a:gd name="connsiteX35" fmla="*/ 5432 w 10000"/>
                <a:gd name="connsiteY35" fmla="*/ 3693 h 10000"/>
                <a:gd name="connsiteX36" fmla="*/ 5885 w 10000"/>
                <a:gd name="connsiteY36" fmla="*/ 3693 h 10000"/>
                <a:gd name="connsiteX37" fmla="*/ 6070 w 10000"/>
                <a:gd name="connsiteY37" fmla="*/ 3529 h 10000"/>
                <a:gd name="connsiteX38" fmla="*/ 6070 w 10000"/>
                <a:gd name="connsiteY38" fmla="*/ 3431 h 10000"/>
                <a:gd name="connsiteX39" fmla="*/ 6255 w 10000"/>
                <a:gd name="connsiteY39" fmla="*/ 3268 h 10000"/>
                <a:gd name="connsiteX40" fmla="*/ 6193 w 10000"/>
                <a:gd name="connsiteY40" fmla="*/ 3072 h 10000"/>
                <a:gd name="connsiteX41" fmla="*/ 6255 w 10000"/>
                <a:gd name="connsiteY41" fmla="*/ 2876 h 10000"/>
                <a:gd name="connsiteX42" fmla="*/ 6399 w 10000"/>
                <a:gd name="connsiteY42" fmla="*/ 2876 h 10000"/>
                <a:gd name="connsiteX43" fmla="*/ 6584 w 10000"/>
                <a:gd name="connsiteY43" fmla="*/ 2908 h 10000"/>
                <a:gd name="connsiteX44" fmla="*/ 6728 w 10000"/>
                <a:gd name="connsiteY44" fmla="*/ 2680 h 10000"/>
                <a:gd name="connsiteX45" fmla="*/ 6893 w 10000"/>
                <a:gd name="connsiteY45" fmla="*/ 2680 h 10000"/>
                <a:gd name="connsiteX46" fmla="*/ 7078 w 10000"/>
                <a:gd name="connsiteY46" fmla="*/ 2451 h 10000"/>
                <a:gd name="connsiteX47" fmla="*/ 7284 w 10000"/>
                <a:gd name="connsiteY47" fmla="*/ 2320 h 10000"/>
                <a:gd name="connsiteX48" fmla="*/ 7407 w 10000"/>
                <a:gd name="connsiteY48" fmla="*/ 2320 h 10000"/>
                <a:gd name="connsiteX49" fmla="*/ 7572 w 10000"/>
                <a:gd name="connsiteY49" fmla="*/ 2353 h 10000"/>
                <a:gd name="connsiteX50" fmla="*/ 7551 w 10000"/>
                <a:gd name="connsiteY50" fmla="*/ 2190 h 10000"/>
                <a:gd name="connsiteX51" fmla="*/ 7346 w 10000"/>
                <a:gd name="connsiteY51" fmla="*/ 1863 h 10000"/>
                <a:gd name="connsiteX52" fmla="*/ 7243 w 10000"/>
                <a:gd name="connsiteY52" fmla="*/ 1830 h 10000"/>
                <a:gd name="connsiteX53" fmla="*/ 7160 w 10000"/>
                <a:gd name="connsiteY53" fmla="*/ 1928 h 10000"/>
                <a:gd name="connsiteX54" fmla="*/ 6872 w 10000"/>
                <a:gd name="connsiteY54" fmla="*/ 1895 h 10000"/>
                <a:gd name="connsiteX55" fmla="*/ 6914 w 10000"/>
                <a:gd name="connsiteY55" fmla="*/ 1667 h 10000"/>
                <a:gd name="connsiteX56" fmla="*/ 6996 w 10000"/>
                <a:gd name="connsiteY56" fmla="*/ 1373 h 10000"/>
                <a:gd name="connsiteX57" fmla="*/ 7058 w 10000"/>
                <a:gd name="connsiteY57" fmla="*/ 1242 h 10000"/>
                <a:gd name="connsiteX58" fmla="*/ 7243 w 10000"/>
                <a:gd name="connsiteY58" fmla="*/ 1405 h 10000"/>
                <a:gd name="connsiteX59" fmla="*/ 7346 w 10000"/>
                <a:gd name="connsiteY59" fmla="*/ 1242 h 10000"/>
                <a:gd name="connsiteX60" fmla="*/ 7469 w 10000"/>
                <a:gd name="connsiteY60" fmla="*/ 1209 h 10000"/>
                <a:gd name="connsiteX61" fmla="*/ 7510 w 10000"/>
                <a:gd name="connsiteY61" fmla="*/ 948 h 10000"/>
                <a:gd name="connsiteX62" fmla="*/ 7613 w 10000"/>
                <a:gd name="connsiteY62" fmla="*/ 654 h 10000"/>
                <a:gd name="connsiteX63" fmla="*/ 7716 w 10000"/>
                <a:gd name="connsiteY63" fmla="*/ 556 h 10000"/>
                <a:gd name="connsiteX64" fmla="*/ 7716 w 10000"/>
                <a:gd name="connsiteY64" fmla="*/ 327 h 10000"/>
                <a:gd name="connsiteX65" fmla="*/ 7593 w 10000"/>
                <a:gd name="connsiteY65" fmla="*/ 294 h 10000"/>
                <a:gd name="connsiteX66" fmla="*/ 7613 w 10000"/>
                <a:gd name="connsiteY66" fmla="*/ 163 h 10000"/>
                <a:gd name="connsiteX67" fmla="*/ 7757 w 10000"/>
                <a:gd name="connsiteY67" fmla="*/ 65 h 10000"/>
                <a:gd name="connsiteX68" fmla="*/ 8025 w 10000"/>
                <a:gd name="connsiteY68" fmla="*/ 33 h 10000"/>
                <a:gd name="connsiteX69" fmla="*/ 8210 w 10000"/>
                <a:gd name="connsiteY69" fmla="*/ 0 h 10000"/>
                <a:gd name="connsiteX70" fmla="*/ 8374 w 10000"/>
                <a:gd name="connsiteY70" fmla="*/ 98 h 10000"/>
                <a:gd name="connsiteX71" fmla="*/ 8519 w 10000"/>
                <a:gd name="connsiteY71" fmla="*/ 196 h 10000"/>
                <a:gd name="connsiteX72" fmla="*/ 8642 w 10000"/>
                <a:gd name="connsiteY72" fmla="*/ 523 h 10000"/>
                <a:gd name="connsiteX73" fmla="*/ 8724 w 10000"/>
                <a:gd name="connsiteY73" fmla="*/ 850 h 10000"/>
                <a:gd name="connsiteX74" fmla="*/ 8807 w 10000"/>
                <a:gd name="connsiteY74" fmla="*/ 1111 h 10000"/>
                <a:gd name="connsiteX75" fmla="*/ 8868 w 10000"/>
                <a:gd name="connsiteY75" fmla="*/ 1373 h 10000"/>
                <a:gd name="connsiteX76" fmla="*/ 9033 w 10000"/>
                <a:gd name="connsiteY76" fmla="*/ 1373 h 10000"/>
                <a:gd name="connsiteX77" fmla="*/ 9136 w 10000"/>
                <a:gd name="connsiteY77" fmla="*/ 1471 h 10000"/>
                <a:gd name="connsiteX78" fmla="*/ 9280 w 10000"/>
                <a:gd name="connsiteY78" fmla="*/ 1601 h 10000"/>
                <a:gd name="connsiteX79" fmla="*/ 9342 w 10000"/>
                <a:gd name="connsiteY79" fmla="*/ 1634 h 10000"/>
                <a:gd name="connsiteX80" fmla="*/ 9383 w 10000"/>
                <a:gd name="connsiteY80" fmla="*/ 1961 h 10000"/>
                <a:gd name="connsiteX81" fmla="*/ 9609 w 10000"/>
                <a:gd name="connsiteY81" fmla="*/ 1993 h 10000"/>
                <a:gd name="connsiteX82" fmla="*/ 9671 w 10000"/>
                <a:gd name="connsiteY82" fmla="*/ 1863 h 10000"/>
                <a:gd name="connsiteX83" fmla="*/ 9815 w 10000"/>
                <a:gd name="connsiteY83" fmla="*/ 1830 h 10000"/>
                <a:gd name="connsiteX84" fmla="*/ 9979 w 10000"/>
                <a:gd name="connsiteY84" fmla="*/ 1797 h 10000"/>
                <a:gd name="connsiteX85" fmla="*/ 10000 w 10000"/>
                <a:gd name="connsiteY85" fmla="*/ 2026 h 10000"/>
                <a:gd name="connsiteX86" fmla="*/ 9918 w 10000"/>
                <a:gd name="connsiteY86" fmla="*/ 2092 h 10000"/>
                <a:gd name="connsiteX87" fmla="*/ 9856 w 10000"/>
                <a:gd name="connsiteY87" fmla="*/ 2451 h 10000"/>
                <a:gd name="connsiteX88" fmla="*/ 9733 w 10000"/>
                <a:gd name="connsiteY88" fmla="*/ 2810 h 10000"/>
                <a:gd name="connsiteX89" fmla="*/ 9609 w 10000"/>
                <a:gd name="connsiteY89" fmla="*/ 2843 h 10000"/>
                <a:gd name="connsiteX90" fmla="*/ 9547 w 10000"/>
                <a:gd name="connsiteY90" fmla="*/ 2745 h 10000"/>
                <a:gd name="connsiteX91" fmla="*/ 9403 w 10000"/>
                <a:gd name="connsiteY91" fmla="*/ 2908 h 10000"/>
                <a:gd name="connsiteX92" fmla="*/ 9403 w 10000"/>
                <a:gd name="connsiteY92" fmla="*/ 3497 h 10000"/>
                <a:gd name="connsiteX93" fmla="*/ 9321 w 10000"/>
                <a:gd name="connsiteY93" fmla="*/ 3660 h 10000"/>
                <a:gd name="connsiteX94" fmla="*/ 9218 w 10000"/>
                <a:gd name="connsiteY94" fmla="*/ 3529 h 10000"/>
                <a:gd name="connsiteX95" fmla="*/ 9053 w 10000"/>
                <a:gd name="connsiteY95" fmla="*/ 3791 h 10000"/>
                <a:gd name="connsiteX96" fmla="*/ 8951 w 10000"/>
                <a:gd name="connsiteY96" fmla="*/ 3791 h 10000"/>
                <a:gd name="connsiteX97" fmla="*/ 8930 w 10000"/>
                <a:gd name="connsiteY97" fmla="*/ 3922 h 10000"/>
                <a:gd name="connsiteX98" fmla="*/ 8827 w 10000"/>
                <a:gd name="connsiteY98" fmla="*/ 3954 h 10000"/>
                <a:gd name="connsiteX99" fmla="*/ 8724 w 10000"/>
                <a:gd name="connsiteY99" fmla="*/ 3889 h 10000"/>
                <a:gd name="connsiteX100" fmla="*/ 8683 w 10000"/>
                <a:gd name="connsiteY100" fmla="*/ 3922 h 10000"/>
                <a:gd name="connsiteX101" fmla="*/ 8539 w 10000"/>
                <a:gd name="connsiteY101" fmla="*/ 4150 h 10000"/>
                <a:gd name="connsiteX102" fmla="*/ 8416 w 10000"/>
                <a:gd name="connsiteY102" fmla="*/ 4281 h 10000"/>
                <a:gd name="connsiteX103" fmla="*/ 8313 w 10000"/>
                <a:gd name="connsiteY103" fmla="*/ 4444 h 10000"/>
                <a:gd name="connsiteX104" fmla="*/ 8210 w 10000"/>
                <a:gd name="connsiteY104" fmla="*/ 4477 h 10000"/>
                <a:gd name="connsiteX105" fmla="*/ 8107 w 10000"/>
                <a:gd name="connsiteY105" fmla="*/ 4510 h 10000"/>
                <a:gd name="connsiteX106" fmla="*/ 7819 w 10000"/>
                <a:gd name="connsiteY106" fmla="*/ 4804 h 10000"/>
                <a:gd name="connsiteX107" fmla="*/ 7798 w 10000"/>
                <a:gd name="connsiteY107" fmla="*/ 4608 h 10000"/>
                <a:gd name="connsiteX108" fmla="*/ 7840 w 10000"/>
                <a:gd name="connsiteY108" fmla="*/ 4444 h 10000"/>
                <a:gd name="connsiteX109" fmla="*/ 7942 w 10000"/>
                <a:gd name="connsiteY109" fmla="*/ 4346 h 10000"/>
                <a:gd name="connsiteX110" fmla="*/ 7922 w 10000"/>
                <a:gd name="connsiteY110" fmla="*/ 4183 h 10000"/>
                <a:gd name="connsiteX111" fmla="*/ 7840 w 10000"/>
                <a:gd name="connsiteY111" fmla="*/ 4183 h 10000"/>
                <a:gd name="connsiteX112" fmla="*/ 7716 w 10000"/>
                <a:gd name="connsiteY112" fmla="*/ 4216 h 10000"/>
                <a:gd name="connsiteX113" fmla="*/ 7490 w 10000"/>
                <a:gd name="connsiteY113" fmla="*/ 4510 h 10000"/>
                <a:gd name="connsiteX114" fmla="*/ 7449 w 10000"/>
                <a:gd name="connsiteY114" fmla="*/ 4673 h 10000"/>
                <a:gd name="connsiteX115" fmla="*/ 7243 w 10000"/>
                <a:gd name="connsiteY115" fmla="*/ 4673 h 10000"/>
                <a:gd name="connsiteX116" fmla="*/ 7202 w 10000"/>
                <a:gd name="connsiteY116" fmla="*/ 4804 h 10000"/>
                <a:gd name="connsiteX117" fmla="*/ 7263 w 10000"/>
                <a:gd name="connsiteY117" fmla="*/ 5033 h 10000"/>
                <a:gd name="connsiteX118" fmla="*/ 7407 w 10000"/>
                <a:gd name="connsiteY118" fmla="*/ 5065 h 10000"/>
                <a:gd name="connsiteX119" fmla="*/ 7407 w 10000"/>
                <a:gd name="connsiteY119" fmla="*/ 5163 h 10000"/>
                <a:gd name="connsiteX120" fmla="*/ 7428 w 10000"/>
                <a:gd name="connsiteY120" fmla="*/ 5294 h 10000"/>
                <a:gd name="connsiteX121" fmla="*/ 7551 w 10000"/>
                <a:gd name="connsiteY121" fmla="*/ 5261 h 10000"/>
                <a:gd name="connsiteX122" fmla="*/ 7634 w 10000"/>
                <a:gd name="connsiteY122" fmla="*/ 5131 h 10000"/>
                <a:gd name="connsiteX123" fmla="*/ 7716 w 10000"/>
                <a:gd name="connsiteY123" fmla="*/ 5098 h 10000"/>
                <a:gd name="connsiteX124" fmla="*/ 7798 w 10000"/>
                <a:gd name="connsiteY124" fmla="*/ 5163 h 10000"/>
                <a:gd name="connsiteX125" fmla="*/ 7963 w 10000"/>
                <a:gd name="connsiteY125" fmla="*/ 5229 h 10000"/>
                <a:gd name="connsiteX126" fmla="*/ 8004 w 10000"/>
                <a:gd name="connsiteY126" fmla="*/ 5359 h 10000"/>
                <a:gd name="connsiteX127" fmla="*/ 7942 w 10000"/>
                <a:gd name="connsiteY127" fmla="*/ 5392 h 10000"/>
                <a:gd name="connsiteX128" fmla="*/ 7819 w 10000"/>
                <a:gd name="connsiteY128" fmla="*/ 5392 h 10000"/>
                <a:gd name="connsiteX129" fmla="*/ 7737 w 10000"/>
                <a:gd name="connsiteY129" fmla="*/ 5458 h 10000"/>
                <a:gd name="connsiteX130" fmla="*/ 7716 w 10000"/>
                <a:gd name="connsiteY130" fmla="*/ 5556 h 10000"/>
                <a:gd name="connsiteX131" fmla="*/ 7613 w 10000"/>
                <a:gd name="connsiteY131" fmla="*/ 5621 h 10000"/>
                <a:gd name="connsiteX132" fmla="*/ 7510 w 10000"/>
                <a:gd name="connsiteY132" fmla="*/ 5850 h 10000"/>
                <a:gd name="connsiteX133" fmla="*/ 7469 w 10000"/>
                <a:gd name="connsiteY133" fmla="*/ 6013 h 10000"/>
                <a:gd name="connsiteX134" fmla="*/ 7572 w 10000"/>
                <a:gd name="connsiteY134" fmla="*/ 6078 h 10000"/>
                <a:gd name="connsiteX135" fmla="*/ 7634 w 10000"/>
                <a:gd name="connsiteY135" fmla="*/ 6176 h 10000"/>
                <a:gd name="connsiteX136" fmla="*/ 7716 w 10000"/>
                <a:gd name="connsiteY136" fmla="*/ 6503 h 10000"/>
                <a:gd name="connsiteX137" fmla="*/ 7737 w 10000"/>
                <a:gd name="connsiteY137" fmla="*/ 6634 h 10000"/>
                <a:gd name="connsiteX138" fmla="*/ 7901 w 10000"/>
                <a:gd name="connsiteY138" fmla="*/ 6830 h 10000"/>
                <a:gd name="connsiteX139" fmla="*/ 7881 w 10000"/>
                <a:gd name="connsiteY139" fmla="*/ 6895 h 10000"/>
                <a:gd name="connsiteX140" fmla="*/ 7778 w 10000"/>
                <a:gd name="connsiteY140" fmla="*/ 6830 h 10000"/>
                <a:gd name="connsiteX141" fmla="*/ 7737 w 10000"/>
                <a:gd name="connsiteY141" fmla="*/ 6961 h 10000"/>
                <a:gd name="connsiteX142" fmla="*/ 7860 w 10000"/>
                <a:gd name="connsiteY142" fmla="*/ 7026 h 10000"/>
                <a:gd name="connsiteX143" fmla="*/ 7901 w 10000"/>
                <a:gd name="connsiteY143" fmla="*/ 7124 h 10000"/>
                <a:gd name="connsiteX144" fmla="*/ 7819 w 10000"/>
                <a:gd name="connsiteY144" fmla="*/ 7157 h 10000"/>
                <a:gd name="connsiteX145" fmla="*/ 7716 w 10000"/>
                <a:gd name="connsiteY145" fmla="*/ 7190 h 10000"/>
                <a:gd name="connsiteX146" fmla="*/ 7654 w 10000"/>
                <a:gd name="connsiteY146" fmla="*/ 7255 h 10000"/>
                <a:gd name="connsiteX147" fmla="*/ 7634 w 10000"/>
                <a:gd name="connsiteY147" fmla="*/ 7288 h 10000"/>
                <a:gd name="connsiteX148" fmla="*/ 7778 w 10000"/>
                <a:gd name="connsiteY148" fmla="*/ 7320 h 10000"/>
                <a:gd name="connsiteX149" fmla="*/ 7881 w 10000"/>
                <a:gd name="connsiteY149" fmla="*/ 7353 h 10000"/>
                <a:gd name="connsiteX150" fmla="*/ 7881 w 10000"/>
                <a:gd name="connsiteY150" fmla="*/ 7549 h 10000"/>
                <a:gd name="connsiteX151" fmla="*/ 7798 w 10000"/>
                <a:gd name="connsiteY151" fmla="*/ 7843 h 10000"/>
                <a:gd name="connsiteX152" fmla="*/ 7593 w 10000"/>
                <a:gd name="connsiteY152" fmla="*/ 8235 h 10000"/>
                <a:gd name="connsiteX153" fmla="*/ 7449 w 10000"/>
                <a:gd name="connsiteY153" fmla="*/ 8562 h 10000"/>
                <a:gd name="connsiteX154" fmla="*/ 7346 w 10000"/>
                <a:gd name="connsiteY154" fmla="*/ 8856 h 10000"/>
                <a:gd name="connsiteX155" fmla="*/ 7119 w 10000"/>
                <a:gd name="connsiteY155" fmla="*/ 9150 h 10000"/>
                <a:gd name="connsiteX156" fmla="*/ 6975 w 10000"/>
                <a:gd name="connsiteY156" fmla="*/ 9346 h 10000"/>
                <a:gd name="connsiteX157" fmla="*/ 6749 w 10000"/>
                <a:gd name="connsiteY157" fmla="*/ 9412 h 10000"/>
                <a:gd name="connsiteX158" fmla="*/ 6626 w 10000"/>
                <a:gd name="connsiteY158" fmla="*/ 9412 h 10000"/>
                <a:gd name="connsiteX159" fmla="*/ 6564 w 10000"/>
                <a:gd name="connsiteY159" fmla="*/ 9281 h 10000"/>
                <a:gd name="connsiteX160" fmla="*/ 6502 w 10000"/>
                <a:gd name="connsiteY160" fmla="*/ 9314 h 10000"/>
                <a:gd name="connsiteX161" fmla="*/ 6502 w 10000"/>
                <a:gd name="connsiteY161" fmla="*/ 9542 h 10000"/>
                <a:gd name="connsiteX162" fmla="*/ 6358 w 10000"/>
                <a:gd name="connsiteY162" fmla="*/ 9608 h 10000"/>
                <a:gd name="connsiteX163" fmla="*/ 6152 w 10000"/>
                <a:gd name="connsiteY163" fmla="*/ 9706 h 10000"/>
                <a:gd name="connsiteX164" fmla="*/ 6029 w 10000"/>
                <a:gd name="connsiteY164" fmla="*/ 9739 h 10000"/>
                <a:gd name="connsiteX165" fmla="*/ 5988 w 10000"/>
                <a:gd name="connsiteY165" fmla="*/ 9869 h 10000"/>
                <a:gd name="connsiteX166" fmla="*/ 6008 w 10000"/>
                <a:gd name="connsiteY166" fmla="*/ 10000 h 10000"/>
                <a:gd name="connsiteX167" fmla="*/ 5926 w 10000"/>
                <a:gd name="connsiteY167" fmla="*/ 9935 h 10000"/>
                <a:gd name="connsiteX168" fmla="*/ 5926 w 10000"/>
                <a:gd name="connsiteY168" fmla="*/ 9804 h 10000"/>
                <a:gd name="connsiteX169" fmla="*/ 5926 w 10000"/>
                <a:gd name="connsiteY169" fmla="*/ 9706 h 10000"/>
                <a:gd name="connsiteX170" fmla="*/ 5823 w 10000"/>
                <a:gd name="connsiteY170" fmla="*/ 9706 h 10000"/>
                <a:gd name="connsiteX171" fmla="*/ 5720 w 10000"/>
                <a:gd name="connsiteY171" fmla="*/ 9641 h 10000"/>
                <a:gd name="connsiteX172" fmla="*/ 5617 w 10000"/>
                <a:gd name="connsiteY172" fmla="*/ 9706 h 10000"/>
                <a:gd name="connsiteX173" fmla="*/ 5514 w 10000"/>
                <a:gd name="connsiteY173" fmla="*/ 9706 h 10000"/>
                <a:gd name="connsiteX174" fmla="*/ 5432 w 10000"/>
                <a:gd name="connsiteY174" fmla="*/ 9641 h 10000"/>
                <a:gd name="connsiteX175" fmla="*/ 5412 w 10000"/>
                <a:gd name="connsiteY175" fmla="*/ 9379 h 10000"/>
                <a:gd name="connsiteX176" fmla="*/ 5288 w 10000"/>
                <a:gd name="connsiteY176" fmla="*/ 9346 h 10000"/>
                <a:gd name="connsiteX177" fmla="*/ 5226 w 10000"/>
                <a:gd name="connsiteY177" fmla="*/ 9281 h 10000"/>
                <a:gd name="connsiteX178" fmla="*/ 5144 w 10000"/>
                <a:gd name="connsiteY178" fmla="*/ 9281 h 10000"/>
                <a:gd name="connsiteX179" fmla="*/ 5062 w 10000"/>
                <a:gd name="connsiteY179" fmla="*/ 9412 h 10000"/>
                <a:gd name="connsiteX180" fmla="*/ 4712 w 10000"/>
                <a:gd name="connsiteY180" fmla="*/ 9412 h 10000"/>
                <a:gd name="connsiteX181" fmla="*/ 4691 w 10000"/>
                <a:gd name="connsiteY181" fmla="*/ 9477 h 10000"/>
                <a:gd name="connsiteX182" fmla="*/ 4568 w 10000"/>
                <a:gd name="connsiteY182" fmla="*/ 9477 h 10000"/>
                <a:gd name="connsiteX183" fmla="*/ 4568 w 10000"/>
                <a:gd name="connsiteY183" fmla="*/ 9608 h 10000"/>
                <a:gd name="connsiteX184" fmla="*/ 4630 w 10000"/>
                <a:gd name="connsiteY184" fmla="*/ 9641 h 10000"/>
                <a:gd name="connsiteX185" fmla="*/ 4609 w 10000"/>
                <a:gd name="connsiteY185" fmla="*/ 9771 h 10000"/>
                <a:gd name="connsiteX186" fmla="*/ 4527 w 10000"/>
                <a:gd name="connsiteY186" fmla="*/ 9771 h 10000"/>
                <a:gd name="connsiteX187" fmla="*/ 4486 w 10000"/>
                <a:gd name="connsiteY187" fmla="*/ 9706 h 10000"/>
                <a:gd name="connsiteX188" fmla="*/ 4403 w 10000"/>
                <a:gd name="connsiteY188" fmla="*/ 9706 h 10000"/>
                <a:gd name="connsiteX189" fmla="*/ 4321 w 10000"/>
                <a:gd name="connsiteY189" fmla="*/ 9706 h 10000"/>
                <a:gd name="connsiteX190" fmla="*/ 4321 w 10000"/>
                <a:gd name="connsiteY190" fmla="*/ 9608 h 10000"/>
                <a:gd name="connsiteX191" fmla="*/ 4239 w 10000"/>
                <a:gd name="connsiteY191" fmla="*/ 9575 h 10000"/>
                <a:gd name="connsiteX192" fmla="*/ 4239 w 10000"/>
                <a:gd name="connsiteY192" fmla="*/ 9314 h 10000"/>
                <a:gd name="connsiteX193" fmla="*/ 4136 w 10000"/>
                <a:gd name="connsiteY193" fmla="*/ 9248 h 10000"/>
                <a:gd name="connsiteX194" fmla="*/ 4136 w 10000"/>
                <a:gd name="connsiteY194" fmla="*/ 9020 h 10000"/>
                <a:gd name="connsiteX195" fmla="*/ 3930 w 10000"/>
                <a:gd name="connsiteY195" fmla="*/ 8922 h 10000"/>
                <a:gd name="connsiteX196" fmla="*/ 3930 w 10000"/>
                <a:gd name="connsiteY196" fmla="*/ 8856 h 10000"/>
                <a:gd name="connsiteX197" fmla="*/ 4095 w 10000"/>
                <a:gd name="connsiteY197" fmla="*/ 8497 h 10000"/>
                <a:gd name="connsiteX198" fmla="*/ 4115 w 10000"/>
                <a:gd name="connsiteY198" fmla="*/ 8105 h 10000"/>
                <a:gd name="connsiteX199" fmla="*/ 4033 w 10000"/>
                <a:gd name="connsiteY199" fmla="*/ 8007 h 10000"/>
                <a:gd name="connsiteX200" fmla="*/ 3971 w 10000"/>
                <a:gd name="connsiteY200" fmla="*/ 7843 h 10000"/>
                <a:gd name="connsiteX201" fmla="*/ 3889 w 10000"/>
                <a:gd name="connsiteY201" fmla="*/ 7810 h 10000"/>
                <a:gd name="connsiteX202" fmla="*/ 3724 w 10000"/>
                <a:gd name="connsiteY202" fmla="*/ 7778 h 10000"/>
                <a:gd name="connsiteX203" fmla="*/ 3724 w 10000"/>
                <a:gd name="connsiteY203" fmla="*/ 7549 h 10000"/>
                <a:gd name="connsiteX204" fmla="*/ 3621 w 10000"/>
                <a:gd name="connsiteY204" fmla="*/ 7582 h 10000"/>
                <a:gd name="connsiteX205" fmla="*/ 3395 w 10000"/>
                <a:gd name="connsiteY205" fmla="*/ 7582 h 10000"/>
                <a:gd name="connsiteX206" fmla="*/ 3333 w 10000"/>
                <a:gd name="connsiteY206" fmla="*/ 7712 h 10000"/>
                <a:gd name="connsiteX207" fmla="*/ 3210 w 10000"/>
                <a:gd name="connsiteY207" fmla="*/ 7712 h 10000"/>
                <a:gd name="connsiteX208" fmla="*/ 3107 w 10000"/>
                <a:gd name="connsiteY208" fmla="*/ 7941 h 10000"/>
                <a:gd name="connsiteX209" fmla="*/ 3004 w 10000"/>
                <a:gd name="connsiteY209" fmla="*/ 7974 h 10000"/>
                <a:gd name="connsiteX210" fmla="*/ 2860 w 10000"/>
                <a:gd name="connsiteY210" fmla="*/ 7941 h 10000"/>
                <a:gd name="connsiteX211" fmla="*/ 2737 w 10000"/>
                <a:gd name="connsiteY211" fmla="*/ 7876 h 10000"/>
                <a:gd name="connsiteX212" fmla="*/ 2634 w 10000"/>
                <a:gd name="connsiteY212" fmla="*/ 7876 h 10000"/>
                <a:gd name="connsiteX213" fmla="*/ 2572 w 10000"/>
                <a:gd name="connsiteY213" fmla="*/ 7974 h 10000"/>
                <a:gd name="connsiteX214" fmla="*/ 2366 w 10000"/>
                <a:gd name="connsiteY214" fmla="*/ 7974 h 10000"/>
                <a:gd name="connsiteX215" fmla="*/ 2140 w 10000"/>
                <a:gd name="connsiteY215" fmla="*/ 7941 h 10000"/>
                <a:gd name="connsiteX216" fmla="*/ 1975 w 10000"/>
                <a:gd name="connsiteY216" fmla="*/ 7908 h 10000"/>
                <a:gd name="connsiteX217" fmla="*/ 1790 w 10000"/>
                <a:gd name="connsiteY217" fmla="*/ 7712 h 10000"/>
                <a:gd name="connsiteX218" fmla="*/ 1667 w 10000"/>
                <a:gd name="connsiteY218" fmla="*/ 7582 h 10000"/>
                <a:gd name="connsiteX219" fmla="*/ 1502 w 10000"/>
                <a:gd name="connsiteY219" fmla="*/ 7451 h 10000"/>
                <a:gd name="connsiteX220" fmla="*/ 1358 w 10000"/>
                <a:gd name="connsiteY220" fmla="*/ 7222 h 10000"/>
                <a:gd name="connsiteX221" fmla="*/ 1214 w 10000"/>
                <a:gd name="connsiteY221" fmla="*/ 7320 h 10000"/>
                <a:gd name="connsiteX222" fmla="*/ 1091 w 10000"/>
                <a:gd name="connsiteY222" fmla="*/ 7157 h 10000"/>
                <a:gd name="connsiteX223" fmla="*/ 823 w 10000"/>
                <a:gd name="connsiteY223" fmla="*/ 6961 h 10000"/>
                <a:gd name="connsiteX224" fmla="*/ 823 w 10000"/>
                <a:gd name="connsiteY224" fmla="*/ 6830 h 10000"/>
                <a:gd name="connsiteX225" fmla="*/ 864 w 10000"/>
                <a:gd name="connsiteY225" fmla="*/ 6667 h 10000"/>
                <a:gd name="connsiteX226" fmla="*/ 967 w 10000"/>
                <a:gd name="connsiteY226" fmla="*/ 6634 h 10000"/>
                <a:gd name="connsiteX227" fmla="*/ 988 w 10000"/>
                <a:gd name="connsiteY227" fmla="*/ 6503 h 10000"/>
                <a:gd name="connsiteX228" fmla="*/ 864 w 10000"/>
                <a:gd name="connsiteY228" fmla="*/ 6373 h 10000"/>
                <a:gd name="connsiteX229" fmla="*/ 864 w 10000"/>
                <a:gd name="connsiteY229" fmla="*/ 6209 h 10000"/>
                <a:gd name="connsiteX230" fmla="*/ 1029 w 10000"/>
                <a:gd name="connsiteY230" fmla="*/ 6078 h 10000"/>
                <a:gd name="connsiteX231" fmla="*/ 1111 w 10000"/>
                <a:gd name="connsiteY231" fmla="*/ 5948 h 10000"/>
                <a:gd name="connsiteX232" fmla="*/ 1111 w 10000"/>
                <a:gd name="connsiteY232" fmla="*/ 5817 h 10000"/>
                <a:gd name="connsiteX233" fmla="*/ 976 w 10000"/>
                <a:gd name="connsiteY233" fmla="*/ 5673 h 10000"/>
                <a:gd name="connsiteX234" fmla="*/ 803 w 10000"/>
                <a:gd name="connsiteY234" fmla="*/ 5778 h 10000"/>
                <a:gd name="connsiteX235" fmla="*/ 597 w 10000"/>
                <a:gd name="connsiteY235" fmla="*/ 5719 h 10000"/>
                <a:gd name="connsiteX236" fmla="*/ 391 w 10000"/>
                <a:gd name="connsiteY236" fmla="*/ 5588 h 10000"/>
                <a:gd name="connsiteX237" fmla="*/ 391 w 10000"/>
                <a:gd name="connsiteY237" fmla="*/ 5425 h 10000"/>
                <a:gd name="connsiteX238" fmla="*/ 206 w 10000"/>
                <a:gd name="connsiteY238" fmla="*/ 5327 h 10000"/>
                <a:gd name="connsiteX239" fmla="*/ 206 w 10000"/>
                <a:gd name="connsiteY239" fmla="*/ 5196 h 10000"/>
                <a:gd name="connsiteX240" fmla="*/ 206 w 10000"/>
                <a:gd name="connsiteY240" fmla="*/ 4869 h 10000"/>
                <a:gd name="connsiteX241" fmla="*/ 82 w 10000"/>
                <a:gd name="connsiteY241" fmla="*/ 4902 h 10000"/>
                <a:gd name="connsiteX242" fmla="*/ 21 w 10000"/>
                <a:gd name="connsiteY242" fmla="*/ 4869 h 10000"/>
                <a:gd name="connsiteX243" fmla="*/ 0 w 10000"/>
                <a:gd name="connsiteY243" fmla="*/ 4739 h 10000"/>
                <a:gd name="connsiteX244" fmla="*/ 21 w 10000"/>
                <a:gd name="connsiteY244" fmla="*/ 4641 h 10000"/>
                <a:gd name="connsiteX245" fmla="*/ 41 w 10000"/>
                <a:gd name="connsiteY245" fmla="*/ 4477 h 10000"/>
                <a:gd name="connsiteX246" fmla="*/ 165 w 10000"/>
                <a:gd name="connsiteY246" fmla="*/ 4346 h 10000"/>
                <a:gd name="connsiteX247" fmla="*/ 185 w 10000"/>
                <a:gd name="connsiteY247" fmla="*/ 4248 h 10000"/>
                <a:gd name="connsiteX248" fmla="*/ 329 w 10000"/>
                <a:gd name="connsiteY248" fmla="*/ 4248 h 10000"/>
                <a:gd name="connsiteX249" fmla="*/ 329 w 10000"/>
                <a:gd name="connsiteY249" fmla="*/ 4346 h 10000"/>
                <a:gd name="connsiteX250" fmla="*/ 494 w 10000"/>
                <a:gd name="connsiteY250" fmla="*/ 4281 h 10000"/>
                <a:gd name="connsiteX251" fmla="*/ 535 w 10000"/>
                <a:gd name="connsiteY251" fmla="*/ 4118 h 10000"/>
                <a:gd name="connsiteX252" fmla="*/ 741 w 10000"/>
                <a:gd name="connsiteY252" fmla="*/ 4118 h 10000"/>
                <a:gd name="connsiteX253" fmla="*/ 782 w 10000"/>
                <a:gd name="connsiteY253" fmla="*/ 3987 h 10000"/>
                <a:gd name="connsiteX254" fmla="*/ 1049 w 10000"/>
                <a:gd name="connsiteY254" fmla="*/ 3791 h 10000"/>
                <a:gd name="connsiteX255" fmla="*/ 1111 w 10000"/>
                <a:gd name="connsiteY255" fmla="*/ 3725 h 10000"/>
                <a:gd name="connsiteX0" fmla="*/ 1111 w 10000"/>
                <a:gd name="connsiteY0" fmla="*/ 3725 h 10000"/>
                <a:gd name="connsiteX1" fmla="*/ 1111 w 10000"/>
                <a:gd name="connsiteY1" fmla="*/ 3562 h 10000"/>
                <a:gd name="connsiteX2" fmla="*/ 1193 w 10000"/>
                <a:gd name="connsiteY2" fmla="*/ 3431 h 10000"/>
                <a:gd name="connsiteX3" fmla="*/ 1132 w 10000"/>
                <a:gd name="connsiteY3" fmla="*/ 3170 h 10000"/>
                <a:gd name="connsiteX4" fmla="*/ 1111 w 10000"/>
                <a:gd name="connsiteY4" fmla="*/ 2876 h 10000"/>
                <a:gd name="connsiteX5" fmla="*/ 1235 w 10000"/>
                <a:gd name="connsiteY5" fmla="*/ 2778 h 10000"/>
                <a:gd name="connsiteX6" fmla="*/ 1420 w 10000"/>
                <a:gd name="connsiteY6" fmla="*/ 2778 h 10000"/>
                <a:gd name="connsiteX7" fmla="*/ 1461 w 10000"/>
                <a:gd name="connsiteY7" fmla="*/ 2549 h 10000"/>
                <a:gd name="connsiteX8" fmla="*/ 1564 w 10000"/>
                <a:gd name="connsiteY8" fmla="*/ 2157 h 10000"/>
                <a:gd name="connsiteX9" fmla="*/ 1749 w 10000"/>
                <a:gd name="connsiteY9" fmla="*/ 2190 h 10000"/>
                <a:gd name="connsiteX10" fmla="*/ 1893 w 10000"/>
                <a:gd name="connsiteY10" fmla="*/ 2190 h 10000"/>
                <a:gd name="connsiteX11" fmla="*/ 1996 w 10000"/>
                <a:gd name="connsiteY11" fmla="*/ 2157 h 10000"/>
                <a:gd name="connsiteX12" fmla="*/ 1996 w 10000"/>
                <a:gd name="connsiteY12" fmla="*/ 1928 h 10000"/>
                <a:gd name="connsiteX13" fmla="*/ 2037 w 10000"/>
                <a:gd name="connsiteY13" fmla="*/ 1699 h 10000"/>
                <a:gd name="connsiteX14" fmla="*/ 2160 w 10000"/>
                <a:gd name="connsiteY14" fmla="*/ 1699 h 10000"/>
                <a:gd name="connsiteX15" fmla="*/ 2181 w 10000"/>
                <a:gd name="connsiteY15" fmla="*/ 1536 h 10000"/>
                <a:gd name="connsiteX16" fmla="*/ 2346 w 10000"/>
                <a:gd name="connsiteY16" fmla="*/ 1536 h 10000"/>
                <a:gd name="connsiteX17" fmla="*/ 2387 w 10000"/>
                <a:gd name="connsiteY17" fmla="*/ 1699 h 10000"/>
                <a:gd name="connsiteX18" fmla="*/ 2490 w 10000"/>
                <a:gd name="connsiteY18" fmla="*/ 1863 h 10000"/>
                <a:gd name="connsiteX19" fmla="*/ 2654 w 10000"/>
                <a:gd name="connsiteY19" fmla="*/ 1895 h 10000"/>
                <a:gd name="connsiteX20" fmla="*/ 2798 w 10000"/>
                <a:gd name="connsiteY20" fmla="*/ 2124 h 10000"/>
                <a:gd name="connsiteX21" fmla="*/ 2881 w 10000"/>
                <a:gd name="connsiteY21" fmla="*/ 2320 h 10000"/>
                <a:gd name="connsiteX22" fmla="*/ 2881 w 10000"/>
                <a:gd name="connsiteY22" fmla="*/ 2451 h 10000"/>
                <a:gd name="connsiteX23" fmla="*/ 2819 w 10000"/>
                <a:gd name="connsiteY23" fmla="*/ 2582 h 10000"/>
                <a:gd name="connsiteX24" fmla="*/ 2860 w 10000"/>
                <a:gd name="connsiteY24" fmla="*/ 2778 h 10000"/>
                <a:gd name="connsiteX25" fmla="*/ 2942 w 10000"/>
                <a:gd name="connsiteY25" fmla="*/ 2843 h 10000"/>
                <a:gd name="connsiteX26" fmla="*/ 3292 w 10000"/>
                <a:gd name="connsiteY26" fmla="*/ 2876 h 10000"/>
                <a:gd name="connsiteX27" fmla="*/ 3395 w 10000"/>
                <a:gd name="connsiteY27" fmla="*/ 3039 h 10000"/>
                <a:gd name="connsiteX28" fmla="*/ 3621 w 10000"/>
                <a:gd name="connsiteY28" fmla="*/ 3235 h 10000"/>
                <a:gd name="connsiteX29" fmla="*/ 3683 w 10000"/>
                <a:gd name="connsiteY29" fmla="*/ 3464 h 10000"/>
                <a:gd name="connsiteX30" fmla="*/ 3745 w 10000"/>
                <a:gd name="connsiteY30" fmla="*/ 3595 h 10000"/>
                <a:gd name="connsiteX31" fmla="*/ 4300 w 10000"/>
                <a:gd name="connsiteY31" fmla="*/ 3627 h 10000"/>
                <a:gd name="connsiteX32" fmla="*/ 4588 w 10000"/>
                <a:gd name="connsiteY32" fmla="*/ 3660 h 10000"/>
                <a:gd name="connsiteX33" fmla="*/ 4835 w 10000"/>
                <a:gd name="connsiteY33" fmla="*/ 3856 h 10000"/>
                <a:gd name="connsiteX34" fmla="*/ 5206 w 10000"/>
                <a:gd name="connsiteY34" fmla="*/ 3922 h 10000"/>
                <a:gd name="connsiteX35" fmla="*/ 5432 w 10000"/>
                <a:gd name="connsiteY35" fmla="*/ 3693 h 10000"/>
                <a:gd name="connsiteX36" fmla="*/ 5885 w 10000"/>
                <a:gd name="connsiteY36" fmla="*/ 3693 h 10000"/>
                <a:gd name="connsiteX37" fmla="*/ 6070 w 10000"/>
                <a:gd name="connsiteY37" fmla="*/ 3529 h 10000"/>
                <a:gd name="connsiteX38" fmla="*/ 6070 w 10000"/>
                <a:gd name="connsiteY38" fmla="*/ 3431 h 10000"/>
                <a:gd name="connsiteX39" fmla="*/ 6255 w 10000"/>
                <a:gd name="connsiteY39" fmla="*/ 3268 h 10000"/>
                <a:gd name="connsiteX40" fmla="*/ 6193 w 10000"/>
                <a:gd name="connsiteY40" fmla="*/ 3072 h 10000"/>
                <a:gd name="connsiteX41" fmla="*/ 6255 w 10000"/>
                <a:gd name="connsiteY41" fmla="*/ 2876 h 10000"/>
                <a:gd name="connsiteX42" fmla="*/ 6399 w 10000"/>
                <a:gd name="connsiteY42" fmla="*/ 2876 h 10000"/>
                <a:gd name="connsiteX43" fmla="*/ 6584 w 10000"/>
                <a:gd name="connsiteY43" fmla="*/ 2908 h 10000"/>
                <a:gd name="connsiteX44" fmla="*/ 6728 w 10000"/>
                <a:gd name="connsiteY44" fmla="*/ 2680 h 10000"/>
                <a:gd name="connsiteX45" fmla="*/ 6893 w 10000"/>
                <a:gd name="connsiteY45" fmla="*/ 2680 h 10000"/>
                <a:gd name="connsiteX46" fmla="*/ 7078 w 10000"/>
                <a:gd name="connsiteY46" fmla="*/ 2451 h 10000"/>
                <a:gd name="connsiteX47" fmla="*/ 7284 w 10000"/>
                <a:gd name="connsiteY47" fmla="*/ 2320 h 10000"/>
                <a:gd name="connsiteX48" fmla="*/ 7407 w 10000"/>
                <a:gd name="connsiteY48" fmla="*/ 2320 h 10000"/>
                <a:gd name="connsiteX49" fmla="*/ 7572 w 10000"/>
                <a:gd name="connsiteY49" fmla="*/ 2353 h 10000"/>
                <a:gd name="connsiteX50" fmla="*/ 7551 w 10000"/>
                <a:gd name="connsiteY50" fmla="*/ 2190 h 10000"/>
                <a:gd name="connsiteX51" fmla="*/ 7346 w 10000"/>
                <a:gd name="connsiteY51" fmla="*/ 1863 h 10000"/>
                <a:gd name="connsiteX52" fmla="*/ 7243 w 10000"/>
                <a:gd name="connsiteY52" fmla="*/ 1830 h 10000"/>
                <a:gd name="connsiteX53" fmla="*/ 7160 w 10000"/>
                <a:gd name="connsiteY53" fmla="*/ 1928 h 10000"/>
                <a:gd name="connsiteX54" fmla="*/ 6872 w 10000"/>
                <a:gd name="connsiteY54" fmla="*/ 1895 h 10000"/>
                <a:gd name="connsiteX55" fmla="*/ 6914 w 10000"/>
                <a:gd name="connsiteY55" fmla="*/ 1667 h 10000"/>
                <a:gd name="connsiteX56" fmla="*/ 6996 w 10000"/>
                <a:gd name="connsiteY56" fmla="*/ 1373 h 10000"/>
                <a:gd name="connsiteX57" fmla="*/ 7058 w 10000"/>
                <a:gd name="connsiteY57" fmla="*/ 1242 h 10000"/>
                <a:gd name="connsiteX58" fmla="*/ 7243 w 10000"/>
                <a:gd name="connsiteY58" fmla="*/ 1405 h 10000"/>
                <a:gd name="connsiteX59" fmla="*/ 7346 w 10000"/>
                <a:gd name="connsiteY59" fmla="*/ 1242 h 10000"/>
                <a:gd name="connsiteX60" fmla="*/ 7469 w 10000"/>
                <a:gd name="connsiteY60" fmla="*/ 1209 h 10000"/>
                <a:gd name="connsiteX61" fmla="*/ 7510 w 10000"/>
                <a:gd name="connsiteY61" fmla="*/ 948 h 10000"/>
                <a:gd name="connsiteX62" fmla="*/ 7613 w 10000"/>
                <a:gd name="connsiteY62" fmla="*/ 654 h 10000"/>
                <a:gd name="connsiteX63" fmla="*/ 7716 w 10000"/>
                <a:gd name="connsiteY63" fmla="*/ 556 h 10000"/>
                <a:gd name="connsiteX64" fmla="*/ 7716 w 10000"/>
                <a:gd name="connsiteY64" fmla="*/ 327 h 10000"/>
                <a:gd name="connsiteX65" fmla="*/ 7593 w 10000"/>
                <a:gd name="connsiteY65" fmla="*/ 294 h 10000"/>
                <a:gd name="connsiteX66" fmla="*/ 7613 w 10000"/>
                <a:gd name="connsiteY66" fmla="*/ 163 h 10000"/>
                <a:gd name="connsiteX67" fmla="*/ 7757 w 10000"/>
                <a:gd name="connsiteY67" fmla="*/ 65 h 10000"/>
                <a:gd name="connsiteX68" fmla="*/ 8025 w 10000"/>
                <a:gd name="connsiteY68" fmla="*/ 33 h 10000"/>
                <a:gd name="connsiteX69" fmla="*/ 8210 w 10000"/>
                <a:gd name="connsiteY69" fmla="*/ 0 h 10000"/>
                <a:gd name="connsiteX70" fmla="*/ 8374 w 10000"/>
                <a:gd name="connsiteY70" fmla="*/ 98 h 10000"/>
                <a:gd name="connsiteX71" fmla="*/ 8519 w 10000"/>
                <a:gd name="connsiteY71" fmla="*/ 196 h 10000"/>
                <a:gd name="connsiteX72" fmla="*/ 8642 w 10000"/>
                <a:gd name="connsiteY72" fmla="*/ 523 h 10000"/>
                <a:gd name="connsiteX73" fmla="*/ 8724 w 10000"/>
                <a:gd name="connsiteY73" fmla="*/ 850 h 10000"/>
                <a:gd name="connsiteX74" fmla="*/ 8807 w 10000"/>
                <a:gd name="connsiteY74" fmla="*/ 1111 h 10000"/>
                <a:gd name="connsiteX75" fmla="*/ 8868 w 10000"/>
                <a:gd name="connsiteY75" fmla="*/ 1373 h 10000"/>
                <a:gd name="connsiteX76" fmla="*/ 9033 w 10000"/>
                <a:gd name="connsiteY76" fmla="*/ 1373 h 10000"/>
                <a:gd name="connsiteX77" fmla="*/ 9136 w 10000"/>
                <a:gd name="connsiteY77" fmla="*/ 1471 h 10000"/>
                <a:gd name="connsiteX78" fmla="*/ 9280 w 10000"/>
                <a:gd name="connsiteY78" fmla="*/ 1601 h 10000"/>
                <a:gd name="connsiteX79" fmla="*/ 9342 w 10000"/>
                <a:gd name="connsiteY79" fmla="*/ 1634 h 10000"/>
                <a:gd name="connsiteX80" fmla="*/ 9383 w 10000"/>
                <a:gd name="connsiteY80" fmla="*/ 1961 h 10000"/>
                <a:gd name="connsiteX81" fmla="*/ 9609 w 10000"/>
                <a:gd name="connsiteY81" fmla="*/ 1993 h 10000"/>
                <a:gd name="connsiteX82" fmla="*/ 9671 w 10000"/>
                <a:gd name="connsiteY82" fmla="*/ 1863 h 10000"/>
                <a:gd name="connsiteX83" fmla="*/ 9815 w 10000"/>
                <a:gd name="connsiteY83" fmla="*/ 1830 h 10000"/>
                <a:gd name="connsiteX84" fmla="*/ 9979 w 10000"/>
                <a:gd name="connsiteY84" fmla="*/ 1797 h 10000"/>
                <a:gd name="connsiteX85" fmla="*/ 10000 w 10000"/>
                <a:gd name="connsiteY85" fmla="*/ 2026 h 10000"/>
                <a:gd name="connsiteX86" fmla="*/ 9918 w 10000"/>
                <a:gd name="connsiteY86" fmla="*/ 2092 h 10000"/>
                <a:gd name="connsiteX87" fmla="*/ 9856 w 10000"/>
                <a:gd name="connsiteY87" fmla="*/ 2451 h 10000"/>
                <a:gd name="connsiteX88" fmla="*/ 9733 w 10000"/>
                <a:gd name="connsiteY88" fmla="*/ 2810 h 10000"/>
                <a:gd name="connsiteX89" fmla="*/ 9609 w 10000"/>
                <a:gd name="connsiteY89" fmla="*/ 2843 h 10000"/>
                <a:gd name="connsiteX90" fmla="*/ 9547 w 10000"/>
                <a:gd name="connsiteY90" fmla="*/ 2745 h 10000"/>
                <a:gd name="connsiteX91" fmla="*/ 9403 w 10000"/>
                <a:gd name="connsiteY91" fmla="*/ 2908 h 10000"/>
                <a:gd name="connsiteX92" fmla="*/ 9403 w 10000"/>
                <a:gd name="connsiteY92" fmla="*/ 3497 h 10000"/>
                <a:gd name="connsiteX93" fmla="*/ 9321 w 10000"/>
                <a:gd name="connsiteY93" fmla="*/ 3660 h 10000"/>
                <a:gd name="connsiteX94" fmla="*/ 9218 w 10000"/>
                <a:gd name="connsiteY94" fmla="*/ 3529 h 10000"/>
                <a:gd name="connsiteX95" fmla="*/ 9053 w 10000"/>
                <a:gd name="connsiteY95" fmla="*/ 3791 h 10000"/>
                <a:gd name="connsiteX96" fmla="*/ 8951 w 10000"/>
                <a:gd name="connsiteY96" fmla="*/ 3791 h 10000"/>
                <a:gd name="connsiteX97" fmla="*/ 8930 w 10000"/>
                <a:gd name="connsiteY97" fmla="*/ 3922 h 10000"/>
                <a:gd name="connsiteX98" fmla="*/ 8827 w 10000"/>
                <a:gd name="connsiteY98" fmla="*/ 3954 h 10000"/>
                <a:gd name="connsiteX99" fmla="*/ 8724 w 10000"/>
                <a:gd name="connsiteY99" fmla="*/ 3889 h 10000"/>
                <a:gd name="connsiteX100" fmla="*/ 8683 w 10000"/>
                <a:gd name="connsiteY100" fmla="*/ 3922 h 10000"/>
                <a:gd name="connsiteX101" fmla="*/ 8539 w 10000"/>
                <a:gd name="connsiteY101" fmla="*/ 4150 h 10000"/>
                <a:gd name="connsiteX102" fmla="*/ 8416 w 10000"/>
                <a:gd name="connsiteY102" fmla="*/ 4281 h 10000"/>
                <a:gd name="connsiteX103" fmla="*/ 8313 w 10000"/>
                <a:gd name="connsiteY103" fmla="*/ 4444 h 10000"/>
                <a:gd name="connsiteX104" fmla="*/ 8210 w 10000"/>
                <a:gd name="connsiteY104" fmla="*/ 4477 h 10000"/>
                <a:gd name="connsiteX105" fmla="*/ 8107 w 10000"/>
                <a:gd name="connsiteY105" fmla="*/ 4510 h 10000"/>
                <a:gd name="connsiteX106" fmla="*/ 7819 w 10000"/>
                <a:gd name="connsiteY106" fmla="*/ 4804 h 10000"/>
                <a:gd name="connsiteX107" fmla="*/ 7798 w 10000"/>
                <a:gd name="connsiteY107" fmla="*/ 4608 h 10000"/>
                <a:gd name="connsiteX108" fmla="*/ 7840 w 10000"/>
                <a:gd name="connsiteY108" fmla="*/ 4444 h 10000"/>
                <a:gd name="connsiteX109" fmla="*/ 7942 w 10000"/>
                <a:gd name="connsiteY109" fmla="*/ 4346 h 10000"/>
                <a:gd name="connsiteX110" fmla="*/ 7922 w 10000"/>
                <a:gd name="connsiteY110" fmla="*/ 4183 h 10000"/>
                <a:gd name="connsiteX111" fmla="*/ 7840 w 10000"/>
                <a:gd name="connsiteY111" fmla="*/ 4183 h 10000"/>
                <a:gd name="connsiteX112" fmla="*/ 7716 w 10000"/>
                <a:gd name="connsiteY112" fmla="*/ 4216 h 10000"/>
                <a:gd name="connsiteX113" fmla="*/ 7490 w 10000"/>
                <a:gd name="connsiteY113" fmla="*/ 4510 h 10000"/>
                <a:gd name="connsiteX114" fmla="*/ 7449 w 10000"/>
                <a:gd name="connsiteY114" fmla="*/ 4673 h 10000"/>
                <a:gd name="connsiteX115" fmla="*/ 7243 w 10000"/>
                <a:gd name="connsiteY115" fmla="*/ 4673 h 10000"/>
                <a:gd name="connsiteX116" fmla="*/ 7202 w 10000"/>
                <a:gd name="connsiteY116" fmla="*/ 4804 h 10000"/>
                <a:gd name="connsiteX117" fmla="*/ 7263 w 10000"/>
                <a:gd name="connsiteY117" fmla="*/ 5033 h 10000"/>
                <a:gd name="connsiteX118" fmla="*/ 7407 w 10000"/>
                <a:gd name="connsiteY118" fmla="*/ 5065 h 10000"/>
                <a:gd name="connsiteX119" fmla="*/ 7407 w 10000"/>
                <a:gd name="connsiteY119" fmla="*/ 5163 h 10000"/>
                <a:gd name="connsiteX120" fmla="*/ 7428 w 10000"/>
                <a:gd name="connsiteY120" fmla="*/ 5294 h 10000"/>
                <a:gd name="connsiteX121" fmla="*/ 7551 w 10000"/>
                <a:gd name="connsiteY121" fmla="*/ 5261 h 10000"/>
                <a:gd name="connsiteX122" fmla="*/ 7634 w 10000"/>
                <a:gd name="connsiteY122" fmla="*/ 5131 h 10000"/>
                <a:gd name="connsiteX123" fmla="*/ 7716 w 10000"/>
                <a:gd name="connsiteY123" fmla="*/ 5098 h 10000"/>
                <a:gd name="connsiteX124" fmla="*/ 7798 w 10000"/>
                <a:gd name="connsiteY124" fmla="*/ 5163 h 10000"/>
                <a:gd name="connsiteX125" fmla="*/ 7963 w 10000"/>
                <a:gd name="connsiteY125" fmla="*/ 5229 h 10000"/>
                <a:gd name="connsiteX126" fmla="*/ 8004 w 10000"/>
                <a:gd name="connsiteY126" fmla="*/ 5359 h 10000"/>
                <a:gd name="connsiteX127" fmla="*/ 7942 w 10000"/>
                <a:gd name="connsiteY127" fmla="*/ 5392 h 10000"/>
                <a:gd name="connsiteX128" fmla="*/ 7819 w 10000"/>
                <a:gd name="connsiteY128" fmla="*/ 5392 h 10000"/>
                <a:gd name="connsiteX129" fmla="*/ 7737 w 10000"/>
                <a:gd name="connsiteY129" fmla="*/ 5458 h 10000"/>
                <a:gd name="connsiteX130" fmla="*/ 7716 w 10000"/>
                <a:gd name="connsiteY130" fmla="*/ 5556 h 10000"/>
                <a:gd name="connsiteX131" fmla="*/ 7613 w 10000"/>
                <a:gd name="connsiteY131" fmla="*/ 5621 h 10000"/>
                <a:gd name="connsiteX132" fmla="*/ 7510 w 10000"/>
                <a:gd name="connsiteY132" fmla="*/ 5850 h 10000"/>
                <a:gd name="connsiteX133" fmla="*/ 7469 w 10000"/>
                <a:gd name="connsiteY133" fmla="*/ 6013 h 10000"/>
                <a:gd name="connsiteX134" fmla="*/ 7572 w 10000"/>
                <a:gd name="connsiteY134" fmla="*/ 6078 h 10000"/>
                <a:gd name="connsiteX135" fmla="*/ 7634 w 10000"/>
                <a:gd name="connsiteY135" fmla="*/ 6176 h 10000"/>
                <a:gd name="connsiteX136" fmla="*/ 7716 w 10000"/>
                <a:gd name="connsiteY136" fmla="*/ 6503 h 10000"/>
                <a:gd name="connsiteX137" fmla="*/ 7737 w 10000"/>
                <a:gd name="connsiteY137" fmla="*/ 6634 h 10000"/>
                <a:gd name="connsiteX138" fmla="*/ 7901 w 10000"/>
                <a:gd name="connsiteY138" fmla="*/ 6830 h 10000"/>
                <a:gd name="connsiteX139" fmla="*/ 7881 w 10000"/>
                <a:gd name="connsiteY139" fmla="*/ 6895 h 10000"/>
                <a:gd name="connsiteX140" fmla="*/ 7778 w 10000"/>
                <a:gd name="connsiteY140" fmla="*/ 6830 h 10000"/>
                <a:gd name="connsiteX141" fmla="*/ 7737 w 10000"/>
                <a:gd name="connsiteY141" fmla="*/ 6961 h 10000"/>
                <a:gd name="connsiteX142" fmla="*/ 7860 w 10000"/>
                <a:gd name="connsiteY142" fmla="*/ 7026 h 10000"/>
                <a:gd name="connsiteX143" fmla="*/ 7901 w 10000"/>
                <a:gd name="connsiteY143" fmla="*/ 7124 h 10000"/>
                <a:gd name="connsiteX144" fmla="*/ 7819 w 10000"/>
                <a:gd name="connsiteY144" fmla="*/ 7157 h 10000"/>
                <a:gd name="connsiteX145" fmla="*/ 7716 w 10000"/>
                <a:gd name="connsiteY145" fmla="*/ 7190 h 10000"/>
                <a:gd name="connsiteX146" fmla="*/ 7654 w 10000"/>
                <a:gd name="connsiteY146" fmla="*/ 7255 h 10000"/>
                <a:gd name="connsiteX147" fmla="*/ 7634 w 10000"/>
                <a:gd name="connsiteY147" fmla="*/ 7288 h 10000"/>
                <a:gd name="connsiteX148" fmla="*/ 7778 w 10000"/>
                <a:gd name="connsiteY148" fmla="*/ 7320 h 10000"/>
                <a:gd name="connsiteX149" fmla="*/ 7881 w 10000"/>
                <a:gd name="connsiteY149" fmla="*/ 7353 h 10000"/>
                <a:gd name="connsiteX150" fmla="*/ 7881 w 10000"/>
                <a:gd name="connsiteY150" fmla="*/ 7549 h 10000"/>
                <a:gd name="connsiteX151" fmla="*/ 7798 w 10000"/>
                <a:gd name="connsiteY151" fmla="*/ 7843 h 10000"/>
                <a:gd name="connsiteX152" fmla="*/ 7593 w 10000"/>
                <a:gd name="connsiteY152" fmla="*/ 8235 h 10000"/>
                <a:gd name="connsiteX153" fmla="*/ 7449 w 10000"/>
                <a:gd name="connsiteY153" fmla="*/ 8562 h 10000"/>
                <a:gd name="connsiteX154" fmla="*/ 7346 w 10000"/>
                <a:gd name="connsiteY154" fmla="*/ 8856 h 10000"/>
                <a:gd name="connsiteX155" fmla="*/ 7119 w 10000"/>
                <a:gd name="connsiteY155" fmla="*/ 9150 h 10000"/>
                <a:gd name="connsiteX156" fmla="*/ 6975 w 10000"/>
                <a:gd name="connsiteY156" fmla="*/ 9346 h 10000"/>
                <a:gd name="connsiteX157" fmla="*/ 6749 w 10000"/>
                <a:gd name="connsiteY157" fmla="*/ 9412 h 10000"/>
                <a:gd name="connsiteX158" fmla="*/ 6626 w 10000"/>
                <a:gd name="connsiteY158" fmla="*/ 9412 h 10000"/>
                <a:gd name="connsiteX159" fmla="*/ 6564 w 10000"/>
                <a:gd name="connsiteY159" fmla="*/ 9281 h 10000"/>
                <a:gd name="connsiteX160" fmla="*/ 6502 w 10000"/>
                <a:gd name="connsiteY160" fmla="*/ 9314 h 10000"/>
                <a:gd name="connsiteX161" fmla="*/ 6502 w 10000"/>
                <a:gd name="connsiteY161" fmla="*/ 9542 h 10000"/>
                <a:gd name="connsiteX162" fmla="*/ 6358 w 10000"/>
                <a:gd name="connsiteY162" fmla="*/ 9608 h 10000"/>
                <a:gd name="connsiteX163" fmla="*/ 6152 w 10000"/>
                <a:gd name="connsiteY163" fmla="*/ 9706 h 10000"/>
                <a:gd name="connsiteX164" fmla="*/ 6029 w 10000"/>
                <a:gd name="connsiteY164" fmla="*/ 9739 h 10000"/>
                <a:gd name="connsiteX165" fmla="*/ 5988 w 10000"/>
                <a:gd name="connsiteY165" fmla="*/ 9869 h 10000"/>
                <a:gd name="connsiteX166" fmla="*/ 6008 w 10000"/>
                <a:gd name="connsiteY166" fmla="*/ 10000 h 10000"/>
                <a:gd name="connsiteX167" fmla="*/ 5926 w 10000"/>
                <a:gd name="connsiteY167" fmla="*/ 9935 h 10000"/>
                <a:gd name="connsiteX168" fmla="*/ 5926 w 10000"/>
                <a:gd name="connsiteY168" fmla="*/ 9804 h 10000"/>
                <a:gd name="connsiteX169" fmla="*/ 5926 w 10000"/>
                <a:gd name="connsiteY169" fmla="*/ 9706 h 10000"/>
                <a:gd name="connsiteX170" fmla="*/ 5823 w 10000"/>
                <a:gd name="connsiteY170" fmla="*/ 9706 h 10000"/>
                <a:gd name="connsiteX171" fmla="*/ 5720 w 10000"/>
                <a:gd name="connsiteY171" fmla="*/ 9641 h 10000"/>
                <a:gd name="connsiteX172" fmla="*/ 5617 w 10000"/>
                <a:gd name="connsiteY172" fmla="*/ 9706 h 10000"/>
                <a:gd name="connsiteX173" fmla="*/ 5514 w 10000"/>
                <a:gd name="connsiteY173" fmla="*/ 9706 h 10000"/>
                <a:gd name="connsiteX174" fmla="*/ 5432 w 10000"/>
                <a:gd name="connsiteY174" fmla="*/ 9641 h 10000"/>
                <a:gd name="connsiteX175" fmla="*/ 5412 w 10000"/>
                <a:gd name="connsiteY175" fmla="*/ 9379 h 10000"/>
                <a:gd name="connsiteX176" fmla="*/ 5288 w 10000"/>
                <a:gd name="connsiteY176" fmla="*/ 9346 h 10000"/>
                <a:gd name="connsiteX177" fmla="*/ 5226 w 10000"/>
                <a:gd name="connsiteY177" fmla="*/ 9281 h 10000"/>
                <a:gd name="connsiteX178" fmla="*/ 5144 w 10000"/>
                <a:gd name="connsiteY178" fmla="*/ 9281 h 10000"/>
                <a:gd name="connsiteX179" fmla="*/ 5062 w 10000"/>
                <a:gd name="connsiteY179" fmla="*/ 9412 h 10000"/>
                <a:gd name="connsiteX180" fmla="*/ 4712 w 10000"/>
                <a:gd name="connsiteY180" fmla="*/ 9412 h 10000"/>
                <a:gd name="connsiteX181" fmla="*/ 4691 w 10000"/>
                <a:gd name="connsiteY181" fmla="*/ 9477 h 10000"/>
                <a:gd name="connsiteX182" fmla="*/ 4568 w 10000"/>
                <a:gd name="connsiteY182" fmla="*/ 9477 h 10000"/>
                <a:gd name="connsiteX183" fmla="*/ 4568 w 10000"/>
                <a:gd name="connsiteY183" fmla="*/ 9608 h 10000"/>
                <a:gd name="connsiteX184" fmla="*/ 4630 w 10000"/>
                <a:gd name="connsiteY184" fmla="*/ 9641 h 10000"/>
                <a:gd name="connsiteX185" fmla="*/ 4609 w 10000"/>
                <a:gd name="connsiteY185" fmla="*/ 9771 h 10000"/>
                <a:gd name="connsiteX186" fmla="*/ 4527 w 10000"/>
                <a:gd name="connsiteY186" fmla="*/ 9771 h 10000"/>
                <a:gd name="connsiteX187" fmla="*/ 4486 w 10000"/>
                <a:gd name="connsiteY187" fmla="*/ 9706 h 10000"/>
                <a:gd name="connsiteX188" fmla="*/ 4403 w 10000"/>
                <a:gd name="connsiteY188" fmla="*/ 9706 h 10000"/>
                <a:gd name="connsiteX189" fmla="*/ 4321 w 10000"/>
                <a:gd name="connsiteY189" fmla="*/ 9706 h 10000"/>
                <a:gd name="connsiteX190" fmla="*/ 4321 w 10000"/>
                <a:gd name="connsiteY190" fmla="*/ 9608 h 10000"/>
                <a:gd name="connsiteX191" fmla="*/ 4239 w 10000"/>
                <a:gd name="connsiteY191" fmla="*/ 9575 h 10000"/>
                <a:gd name="connsiteX192" fmla="*/ 4239 w 10000"/>
                <a:gd name="connsiteY192" fmla="*/ 9314 h 10000"/>
                <a:gd name="connsiteX193" fmla="*/ 4136 w 10000"/>
                <a:gd name="connsiteY193" fmla="*/ 9248 h 10000"/>
                <a:gd name="connsiteX194" fmla="*/ 4136 w 10000"/>
                <a:gd name="connsiteY194" fmla="*/ 9020 h 10000"/>
                <a:gd name="connsiteX195" fmla="*/ 3930 w 10000"/>
                <a:gd name="connsiteY195" fmla="*/ 8922 h 10000"/>
                <a:gd name="connsiteX196" fmla="*/ 3930 w 10000"/>
                <a:gd name="connsiteY196" fmla="*/ 8856 h 10000"/>
                <a:gd name="connsiteX197" fmla="*/ 4095 w 10000"/>
                <a:gd name="connsiteY197" fmla="*/ 8497 h 10000"/>
                <a:gd name="connsiteX198" fmla="*/ 4115 w 10000"/>
                <a:gd name="connsiteY198" fmla="*/ 8105 h 10000"/>
                <a:gd name="connsiteX199" fmla="*/ 4033 w 10000"/>
                <a:gd name="connsiteY199" fmla="*/ 8007 h 10000"/>
                <a:gd name="connsiteX200" fmla="*/ 3971 w 10000"/>
                <a:gd name="connsiteY200" fmla="*/ 7843 h 10000"/>
                <a:gd name="connsiteX201" fmla="*/ 3889 w 10000"/>
                <a:gd name="connsiteY201" fmla="*/ 7810 h 10000"/>
                <a:gd name="connsiteX202" fmla="*/ 3724 w 10000"/>
                <a:gd name="connsiteY202" fmla="*/ 7778 h 10000"/>
                <a:gd name="connsiteX203" fmla="*/ 3724 w 10000"/>
                <a:gd name="connsiteY203" fmla="*/ 7549 h 10000"/>
                <a:gd name="connsiteX204" fmla="*/ 3621 w 10000"/>
                <a:gd name="connsiteY204" fmla="*/ 7582 h 10000"/>
                <a:gd name="connsiteX205" fmla="*/ 3395 w 10000"/>
                <a:gd name="connsiteY205" fmla="*/ 7582 h 10000"/>
                <a:gd name="connsiteX206" fmla="*/ 3333 w 10000"/>
                <a:gd name="connsiteY206" fmla="*/ 7712 h 10000"/>
                <a:gd name="connsiteX207" fmla="*/ 3227 w 10000"/>
                <a:gd name="connsiteY207" fmla="*/ 7948 h 10000"/>
                <a:gd name="connsiteX208" fmla="*/ 3107 w 10000"/>
                <a:gd name="connsiteY208" fmla="*/ 7941 h 10000"/>
                <a:gd name="connsiteX209" fmla="*/ 3004 w 10000"/>
                <a:gd name="connsiteY209" fmla="*/ 7974 h 10000"/>
                <a:gd name="connsiteX210" fmla="*/ 2860 w 10000"/>
                <a:gd name="connsiteY210" fmla="*/ 7941 h 10000"/>
                <a:gd name="connsiteX211" fmla="*/ 2737 w 10000"/>
                <a:gd name="connsiteY211" fmla="*/ 7876 h 10000"/>
                <a:gd name="connsiteX212" fmla="*/ 2634 w 10000"/>
                <a:gd name="connsiteY212" fmla="*/ 7876 h 10000"/>
                <a:gd name="connsiteX213" fmla="*/ 2572 w 10000"/>
                <a:gd name="connsiteY213" fmla="*/ 7974 h 10000"/>
                <a:gd name="connsiteX214" fmla="*/ 2366 w 10000"/>
                <a:gd name="connsiteY214" fmla="*/ 7974 h 10000"/>
                <a:gd name="connsiteX215" fmla="*/ 2140 w 10000"/>
                <a:gd name="connsiteY215" fmla="*/ 7941 h 10000"/>
                <a:gd name="connsiteX216" fmla="*/ 1975 w 10000"/>
                <a:gd name="connsiteY216" fmla="*/ 7908 h 10000"/>
                <a:gd name="connsiteX217" fmla="*/ 1790 w 10000"/>
                <a:gd name="connsiteY217" fmla="*/ 7712 h 10000"/>
                <a:gd name="connsiteX218" fmla="*/ 1667 w 10000"/>
                <a:gd name="connsiteY218" fmla="*/ 7582 h 10000"/>
                <a:gd name="connsiteX219" fmla="*/ 1502 w 10000"/>
                <a:gd name="connsiteY219" fmla="*/ 7451 h 10000"/>
                <a:gd name="connsiteX220" fmla="*/ 1358 w 10000"/>
                <a:gd name="connsiteY220" fmla="*/ 7222 h 10000"/>
                <a:gd name="connsiteX221" fmla="*/ 1214 w 10000"/>
                <a:gd name="connsiteY221" fmla="*/ 7320 h 10000"/>
                <a:gd name="connsiteX222" fmla="*/ 1091 w 10000"/>
                <a:gd name="connsiteY222" fmla="*/ 7157 h 10000"/>
                <a:gd name="connsiteX223" fmla="*/ 823 w 10000"/>
                <a:gd name="connsiteY223" fmla="*/ 6961 h 10000"/>
                <a:gd name="connsiteX224" fmla="*/ 823 w 10000"/>
                <a:gd name="connsiteY224" fmla="*/ 6830 h 10000"/>
                <a:gd name="connsiteX225" fmla="*/ 864 w 10000"/>
                <a:gd name="connsiteY225" fmla="*/ 6667 h 10000"/>
                <a:gd name="connsiteX226" fmla="*/ 967 w 10000"/>
                <a:gd name="connsiteY226" fmla="*/ 6634 h 10000"/>
                <a:gd name="connsiteX227" fmla="*/ 988 w 10000"/>
                <a:gd name="connsiteY227" fmla="*/ 6503 h 10000"/>
                <a:gd name="connsiteX228" fmla="*/ 864 w 10000"/>
                <a:gd name="connsiteY228" fmla="*/ 6373 h 10000"/>
                <a:gd name="connsiteX229" fmla="*/ 864 w 10000"/>
                <a:gd name="connsiteY229" fmla="*/ 6209 h 10000"/>
                <a:gd name="connsiteX230" fmla="*/ 1029 w 10000"/>
                <a:gd name="connsiteY230" fmla="*/ 6078 h 10000"/>
                <a:gd name="connsiteX231" fmla="*/ 1111 w 10000"/>
                <a:gd name="connsiteY231" fmla="*/ 5948 h 10000"/>
                <a:gd name="connsiteX232" fmla="*/ 1111 w 10000"/>
                <a:gd name="connsiteY232" fmla="*/ 5817 h 10000"/>
                <a:gd name="connsiteX233" fmla="*/ 976 w 10000"/>
                <a:gd name="connsiteY233" fmla="*/ 5673 h 10000"/>
                <a:gd name="connsiteX234" fmla="*/ 803 w 10000"/>
                <a:gd name="connsiteY234" fmla="*/ 5778 h 10000"/>
                <a:gd name="connsiteX235" fmla="*/ 597 w 10000"/>
                <a:gd name="connsiteY235" fmla="*/ 5719 h 10000"/>
                <a:gd name="connsiteX236" fmla="*/ 391 w 10000"/>
                <a:gd name="connsiteY236" fmla="*/ 5588 h 10000"/>
                <a:gd name="connsiteX237" fmla="*/ 391 w 10000"/>
                <a:gd name="connsiteY237" fmla="*/ 5425 h 10000"/>
                <a:gd name="connsiteX238" fmla="*/ 206 w 10000"/>
                <a:gd name="connsiteY238" fmla="*/ 5327 h 10000"/>
                <a:gd name="connsiteX239" fmla="*/ 206 w 10000"/>
                <a:gd name="connsiteY239" fmla="*/ 5196 h 10000"/>
                <a:gd name="connsiteX240" fmla="*/ 206 w 10000"/>
                <a:gd name="connsiteY240" fmla="*/ 4869 h 10000"/>
                <a:gd name="connsiteX241" fmla="*/ 82 w 10000"/>
                <a:gd name="connsiteY241" fmla="*/ 4902 h 10000"/>
                <a:gd name="connsiteX242" fmla="*/ 21 w 10000"/>
                <a:gd name="connsiteY242" fmla="*/ 4869 h 10000"/>
                <a:gd name="connsiteX243" fmla="*/ 0 w 10000"/>
                <a:gd name="connsiteY243" fmla="*/ 4739 h 10000"/>
                <a:gd name="connsiteX244" fmla="*/ 21 w 10000"/>
                <a:gd name="connsiteY244" fmla="*/ 4641 h 10000"/>
                <a:gd name="connsiteX245" fmla="*/ 41 w 10000"/>
                <a:gd name="connsiteY245" fmla="*/ 4477 h 10000"/>
                <a:gd name="connsiteX246" fmla="*/ 165 w 10000"/>
                <a:gd name="connsiteY246" fmla="*/ 4346 h 10000"/>
                <a:gd name="connsiteX247" fmla="*/ 185 w 10000"/>
                <a:gd name="connsiteY247" fmla="*/ 4248 h 10000"/>
                <a:gd name="connsiteX248" fmla="*/ 329 w 10000"/>
                <a:gd name="connsiteY248" fmla="*/ 4248 h 10000"/>
                <a:gd name="connsiteX249" fmla="*/ 329 w 10000"/>
                <a:gd name="connsiteY249" fmla="*/ 4346 h 10000"/>
                <a:gd name="connsiteX250" fmla="*/ 494 w 10000"/>
                <a:gd name="connsiteY250" fmla="*/ 4281 h 10000"/>
                <a:gd name="connsiteX251" fmla="*/ 535 w 10000"/>
                <a:gd name="connsiteY251" fmla="*/ 4118 h 10000"/>
                <a:gd name="connsiteX252" fmla="*/ 741 w 10000"/>
                <a:gd name="connsiteY252" fmla="*/ 4118 h 10000"/>
                <a:gd name="connsiteX253" fmla="*/ 782 w 10000"/>
                <a:gd name="connsiteY253" fmla="*/ 3987 h 10000"/>
                <a:gd name="connsiteX254" fmla="*/ 1049 w 10000"/>
                <a:gd name="connsiteY254" fmla="*/ 3791 h 10000"/>
                <a:gd name="connsiteX255" fmla="*/ 1111 w 10000"/>
                <a:gd name="connsiteY255" fmla="*/ 3725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Lst>
              <a:rect l="l" t="t" r="r" b="b"/>
              <a:pathLst>
                <a:path w="10000" h="10000">
                  <a:moveTo>
                    <a:pt x="1111" y="3725"/>
                  </a:moveTo>
                  <a:lnTo>
                    <a:pt x="1111" y="3562"/>
                  </a:lnTo>
                  <a:cubicBezTo>
                    <a:pt x="1138" y="3518"/>
                    <a:pt x="1166" y="3475"/>
                    <a:pt x="1193" y="3431"/>
                  </a:cubicBezTo>
                  <a:cubicBezTo>
                    <a:pt x="1173" y="3344"/>
                    <a:pt x="1152" y="3257"/>
                    <a:pt x="1132" y="3170"/>
                  </a:cubicBezTo>
                  <a:lnTo>
                    <a:pt x="1111" y="2876"/>
                  </a:lnTo>
                  <a:cubicBezTo>
                    <a:pt x="1152" y="2843"/>
                    <a:pt x="1194" y="2811"/>
                    <a:pt x="1235" y="2778"/>
                  </a:cubicBezTo>
                  <a:lnTo>
                    <a:pt x="1420" y="2778"/>
                  </a:lnTo>
                  <a:cubicBezTo>
                    <a:pt x="1434" y="2702"/>
                    <a:pt x="1447" y="2625"/>
                    <a:pt x="1461" y="2549"/>
                  </a:cubicBezTo>
                  <a:cubicBezTo>
                    <a:pt x="1495" y="2418"/>
                    <a:pt x="1530" y="2288"/>
                    <a:pt x="1564" y="2157"/>
                  </a:cubicBezTo>
                  <a:lnTo>
                    <a:pt x="1749" y="2190"/>
                  </a:lnTo>
                  <a:lnTo>
                    <a:pt x="1893" y="2190"/>
                  </a:lnTo>
                  <a:lnTo>
                    <a:pt x="1996" y="2157"/>
                  </a:lnTo>
                  <a:lnTo>
                    <a:pt x="1996" y="1928"/>
                  </a:lnTo>
                  <a:cubicBezTo>
                    <a:pt x="2010" y="1852"/>
                    <a:pt x="2023" y="1775"/>
                    <a:pt x="2037" y="1699"/>
                  </a:cubicBezTo>
                  <a:lnTo>
                    <a:pt x="2160" y="1699"/>
                  </a:lnTo>
                  <a:cubicBezTo>
                    <a:pt x="2167" y="1645"/>
                    <a:pt x="2174" y="1590"/>
                    <a:pt x="2181" y="1536"/>
                  </a:cubicBezTo>
                  <a:lnTo>
                    <a:pt x="2346" y="1536"/>
                  </a:lnTo>
                  <a:cubicBezTo>
                    <a:pt x="2360" y="1590"/>
                    <a:pt x="2373" y="1645"/>
                    <a:pt x="2387" y="1699"/>
                  </a:cubicBezTo>
                  <a:cubicBezTo>
                    <a:pt x="2421" y="1754"/>
                    <a:pt x="2456" y="1808"/>
                    <a:pt x="2490" y="1863"/>
                  </a:cubicBezTo>
                  <a:lnTo>
                    <a:pt x="2654" y="1895"/>
                  </a:lnTo>
                  <a:lnTo>
                    <a:pt x="2798" y="2124"/>
                  </a:lnTo>
                  <a:cubicBezTo>
                    <a:pt x="2826" y="2189"/>
                    <a:pt x="2853" y="2255"/>
                    <a:pt x="2881" y="2320"/>
                  </a:cubicBezTo>
                  <a:lnTo>
                    <a:pt x="2881" y="2451"/>
                  </a:lnTo>
                  <a:cubicBezTo>
                    <a:pt x="2860" y="2495"/>
                    <a:pt x="2840" y="2538"/>
                    <a:pt x="2819" y="2582"/>
                  </a:cubicBezTo>
                  <a:cubicBezTo>
                    <a:pt x="2833" y="2647"/>
                    <a:pt x="2846" y="2713"/>
                    <a:pt x="2860" y="2778"/>
                  </a:cubicBezTo>
                  <a:cubicBezTo>
                    <a:pt x="2887" y="2800"/>
                    <a:pt x="2915" y="2821"/>
                    <a:pt x="2942" y="2843"/>
                  </a:cubicBezTo>
                  <a:lnTo>
                    <a:pt x="3292" y="2876"/>
                  </a:lnTo>
                  <a:lnTo>
                    <a:pt x="3395" y="3039"/>
                  </a:lnTo>
                  <a:lnTo>
                    <a:pt x="3621" y="3235"/>
                  </a:lnTo>
                  <a:cubicBezTo>
                    <a:pt x="3642" y="3311"/>
                    <a:pt x="3662" y="3388"/>
                    <a:pt x="3683" y="3464"/>
                  </a:cubicBezTo>
                  <a:cubicBezTo>
                    <a:pt x="3704" y="3508"/>
                    <a:pt x="3724" y="3551"/>
                    <a:pt x="3745" y="3595"/>
                  </a:cubicBezTo>
                  <a:lnTo>
                    <a:pt x="4300" y="3627"/>
                  </a:lnTo>
                  <a:lnTo>
                    <a:pt x="4588" y="3660"/>
                  </a:lnTo>
                  <a:lnTo>
                    <a:pt x="4835" y="3856"/>
                  </a:lnTo>
                  <a:lnTo>
                    <a:pt x="5206" y="3922"/>
                  </a:lnTo>
                  <a:lnTo>
                    <a:pt x="5432" y="3693"/>
                  </a:lnTo>
                  <a:lnTo>
                    <a:pt x="5885" y="3693"/>
                  </a:lnTo>
                  <a:lnTo>
                    <a:pt x="6070" y="3529"/>
                  </a:lnTo>
                  <a:lnTo>
                    <a:pt x="6070" y="3431"/>
                  </a:lnTo>
                  <a:cubicBezTo>
                    <a:pt x="6132" y="3377"/>
                    <a:pt x="6193" y="3322"/>
                    <a:pt x="6255" y="3268"/>
                  </a:cubicBezTo>
                  <a:cubicBezTo>
                    <a:pt x="6234" y="3203"/>
                    <a:pt x="6214" y="3137"/>
                    <a:pt x="6193" y="3072"/>
                  </a:cubicBezTo>
                  <a:cubicBezTo>
                    <a:pt x="6214" y="3007"/>
                    <a:pt x="6234" y="2941"/>
                    <a:pt x="6255" y="2876"/>
                  </a:cubicBezTo>
                  <a:lnTo>
                    <a:pt x="6399" y="2876"/>
                  </a:lnTo>
                  <a:lnTo>
                    <a:pt x="6584" y="2908"/>
                  </a:lnTo>
                  <a:lnTo>
                    <a:pt x="6728" y="2680"/>
                  </a:lnTo>
                  <a:lnTo>
                    <a:pt x="6893" y="2680"/>
                  </a:lnTo>
                  <a:cubicBezTo>
                    <a:pt x="6955" y="2604"/>
                    <a:pt x="7016" y="2527"/>
                    <a:pt x="7078" y="2451"/>
                  </a:cubicBezTo>
                  <a:lnTo>
                    <a:pt x="7284" y="2320"/>
                  </a:lnTo>
                  <a:lnTo>
                    <a:pt x="7407" y="2320"/>
                  </a:lnTo>
                  <a:lnTo>
                    <a:pt x="7572" y="2353"/>
                  </a:lnTo>
                  <a:cubicBezTo>
                    <a:pt x="7565" y="2299"/>
                    <a:pt x="7558" y="2244"/>
                    <a:pt x="7551" y="2190"/>
                  </a:cubicBezTo>
                  <a:lnTo>
                    <a:pt x="7346" y="1863"/>
                  </a:lnTo>
                  <a:lnTo>
                    <a:pt x="7243" y="1830"/>
                  </a:lnTo>
                  <a:lnTo>
                    <a:pt x="7160" y="1928"/>
                  </a:lnTo>
                  <a:lnTo>
                    <a:pt x="6872" y="1895"/>
                  </a:lnTo>
                  <a:lnTo>
                    <a:pt x="6914" y="1667"/>
                  </a:lnTo>
                  <a:cubicBezTo>
                    <a:pt x="6941" y="1569"/>
                    <a:pt x="6969" y="1471"/>
                    <a:pt x="6996" y="1373"/>
                  </a:cubicBezTo>
                  <a:cubicBezTo>
                    <a:pt x="7017" y="1329"/>
                    <a:pt x="7037" y="1286"/>
                    <a:pt x="7058" y="1242"/>
                  </a:cubicBezTo>
                  <a:cubicBezTo>
                    <a:pt x="7120" y="1296"/>
                    <a:pt x="7181" y="1351"/>
                    <a:pt x="7243" y="1405"/>
                  </a:cubicBezTo>
                  <a:lnTo>
                    <a:pt x="7346" y="1242"/>
                  </a:lnTo>
                  <a:lnTo>
                    <a:pt x="7469" y="1209"/>
                  </a:lnTo>
                  <a:cubicBezTo>
                    <a:pt x="7483" y="1122"/>
                    <a:pt x="7496" y="1035"/>
                    <a:pt x="7510" y="948"/>
                  </a:cubicBezTo>
                  <a:cubicBezTo>
                    <a:pt x="7544" y="850"/>
                    <a:pt x="7579" y="752"/>
                    <a:pt x="7613" y="654"/>
                  </a:cubicBezTo>
                  <a:cubicBezTo>
                    <a:pt x="7647" y="621"/>
                    <a:pt x="7682" y="589"/>
                    <a:pt x="7716" y="556"/>
                  </a:cubicBezTo>
                  <a:lnTo>
                    <a:pt x="7716" y="327"/>
                  </a:lnTo>
                  <a:lnTo>
                    <a:pt x="7593" y="294"/>
                  </a:lnTo>
                  <a:cubicBezTo>
                    <a:pt x="7600" y="250"/>
                    <a:pt x="7606" y="207"/>
                    <a:pt x="7613" y="163"/>
                  </a:cubicBezTo>
                  <a:lnTo>
                    <a:pt x="7757" y="65"/>
                  </a:lnTo>
                  <a:lnTo>
                    <a:pt x="8025" y="33"/>
                  </a:lnTo>
                  <a:lnTo>
                    <a:pt x="8210" y="0"/>
                  </a:lnTo>
                  <a:lnTo>
                    <a:pt x="8374" y="98"/>
                  </a:lnTo>
                  <a:cubicBezTo>
                    <a:pt x="8422" y="131"/>
                    <a:pt x="8471" y="163"/>
                    <a:pt x="8519" y="196"/>
                  </a:cubicBezTo>
                  <a:lnTo>
                    <a:pt x="8642" y="523"/>
                  </a:lnTo>
                  <a:cubicBezTo>
                    <a:pt x="8669" y="632"/>
                    <a:pt x="8697" y="741"/>
                    <a:pt x="8724" y="850"/>
                  </a:cubicBezTo>
                  <a:cubicBezTo>
                    <a:pt x="8752" y="937"/>
                    <a:pt x="8779" y="1024"/>
                    <a:pt x="8807" y="1111"/>
                  </a:cubicBezTo>
                  <a:cubicBezTo>
                    <a:pt x="8827" y="1198"/>
                    <a:pt x="8848" y="1286"/>
                    <a:pt x="8868" y="1373"/>
                  </a:cubicBezTo>
                  <a:lnTo>
                    <a:pt x="9033" y="1373"/>
                  </a:lnTo>
                  <a:cubicBezTo>
                    <a:pt x="9067" y="1406"/>
                    <a:pt x="9102" y="1438"/>
                    <a:pt x="9136" y="1471"/>
                  </a:cubicBezTo>
                  <a:lnTo>
                    <a:pt x="9280" y="1601"/>
                  </a:lnTo>
                  <a:lnTo>
                    <a:pt x="9342" y="1634"/>
                  </a:lnTo>
                  <a:cubicBezTo>
                    <a:pt x="9356" y="1743"/>
                    <a:pt x="9369" y="1852"/>
                    <a:pt x="9383" y="1961"/>
                  </a:cubicBezTo>
                  <a:lnTo>
                    <a:pt x="9609" y="1993"/>
                  </a:lnTo>
                  <a:cubicBezTo>
                    <a:pt x="9630" y="1950"/>
                    <a:pt x="9650" y="1906"/>
                    <a:pt x="9671" y="1863"/>
                  </a:cubicBezTo>
                  <a:lnTo>
                    <a:pt x="9815" y="1830"/>
                  </a:lnTo>
                  <a:lnTo>
                    <a:pt x="9979" y="1797"/>
                  </a:lnTo>
                  <a:cubicBezTo>
                    <a:pt x="9986" y="1873"/>
                    <a:pt x="9993" y="1950"/>
                    <a:pt x="10000" y="2026"/>
                  </a:cubicBezTo>
                  <a:lnTo>
                    <a:pt x="9918" y="2092"/>
                  </a:lnTo>
                  <a:cubicBezTo>
                    <a:pt x="9897" y="2212"/>
                    <a:pt x="9877" y="2331"/>
                    <a:pt x="9856" y="2451"/>
                  </a:cubicBezTo>
                  <a:lnTo>
                    <a:pt x="9733" y="2810"/>
                  </a:lnTo>
                  <a:lnTo>
                    <a:pt x="9609" y="2843"/>
                  </a:lnTo>
                  <a:lnTo>
                    <a:pt x="9547" y="2745"/>
                  </a:lnTo>
                  <a:lnTo>
                    <a:pt x="9403" y="2908"/>
                  </a:lnTo>
                  <a:lnTo>
                    <a:pt x="9403" y="3497"/>
                  </a:lnTo>
                  <a:cubicBezTo>
                    <a:pt x="9376" y="3551"/>
                    <a:pt x="9348" y="3606"/>
                    <a:pt x="9321" y="3660"/>
                  </a:cubicBezTo>
                  <a:cubicBezTo>
                    <a:pt x="9287" y="3616"/>
                    <a:pt x="9252" y="3573"/>
                    <a:pt x="9218" y="3529"/>
                  </a:cubicBezTo>
                  <a:lnTo>
                    <a:pt x="9053" y="3791"/>
                  </a:lnTo>
                  <a:lnTo>
                    <a:pt x="8951" y="3791"/>
                  </a:lnTo>
                  <a:cubicBezTo>
                    <a:pt x="8944" y="3835"/>
                    <a:pt x="8937" y="3878"/>
                    <a:pt x="8930" y="3922"/>
                  </a:cubicBezTo>
                  <a:cubicBezTo>
                    <a:pt x="8896" y="3933"/>
                    <a:pt x="8861" y="3943"/>
                    <a:pt x="8827" y="3954"/>
                  </a:cubicBezTo>
                  <a:cubicBezTo>
                    <a:pt x="8793" y="3932"/>
                    <a:pt x="8758" y="3911"/>
                    <a:pt x="8724" y="3889"/>
                  </a:cubicBezTo>
                  <a:cubicBezTo>
                    <a:pt x="8710" y="3900"/>
                    <a:pt x="8697" y="3911"/>
                    <a:pt x="8683" y="3922"/>
                  </a:cubicBezTo>
                  <a:lnTo>
                    <a:pt x="8539" y="4150"/>
                  </a:lnTo>
                  <a:lnTo>
                    <a:pt x="8416" y="4281"/>
                  </a:lnTo>
                  <a:lnTo>
                    <a:pt x="8313" y="4444"/>
                  </a:lnTo>
                  <a:lnTo>
                    <a:pt x="8210" y="4477"/>
                  </a:lnTo>
                  <a:lnTo>
                    <a:pt x="8107" y="4510"/>
                  </a:lnTo>
                  <a:lnTo>
                    <a:pt x="7819" y="4804"/>
                  </a:lnTo>
                  <a:cubicBezTo>
                    <a:pt x="7812" y="4739"/>
                    <a:pt x="7805" y="4673"/>
                    <a:pt x="7798" y="4608"/>
                  </a:cubicBezTo>
                  <a:cubicBezTo>
                    <a:pt x="7812" y="4553"/>
                    <a:pt x="7826" y="4499"/>
                    <a:pt x="7840" y="4444"/>
                  </a:cubicBezTo>
                  <a:lnTo>
                    <a:pt x="7942" y="4346"/>
                  </a:lnTo>
                  <a:cubicBezTo>
                    <a:pt x="7935" y="4292"/>
                    <a:pt x="7929" y="4237"/>
                    <a:pt x="7922" y="4183"/>
                  </a:cubicBezTo>
                  <a:lnTo>
                    <a:pt x="7840" y="4183"/>
                  </a:lnTo>
                  <a:lnTo>
                    <a:pt x="7716" y="4216"/>
                  </a:lnTo>
                  <a:lnTo>
                    <a:pt x="7490" y="4510"/>
                  </a:lnTo>
                  <a:cubicBezTo>
                    <a:pt x="7476" y="4564"/>
                    <a:pt x="7463" y="4619"/>
                    <a:pt x="7449" y="4673"/>
                  </a:cubicBezTo>
                  <a:lnTo>
                    <a:pt x="7243" y="4673"/>
                  </a:lnTo>
                  <a:cubicBezTo>
                    <a:pt x="7229" y="4717"/>
                    <a:pt x="7216" y="4760"/>
                    <a:pt x="7202" y="4804"/>
                  </a:cubicBezTo>
                  <a:cubicBezTo>
                    <a:pt x="7222" y="4880"/>
                    <a:pt x="7243" y="4957"/>
                    <a:pt x="7263" y="5033"/>
                  </a:cubicBezTo>
                  <a:lnTo>
                    <a:pt x="7407" y="5065"/>
                  </a:lnTo>
                  <a:lnTo>
                    <a:pt x="7407" y="5163"/>
                  </a:lnTo>
                  <a:cubicBezTo>
                    <a:pt x="7414" y="5207"/>
                    <a:pt x="7421" y="5250"/>
                    <a:pt x="7428" y="5294"/>
                  </a:cubicBezTo>
                  <a:lnTo>
                    <a:pt x="7551" y="5261"/>
                  </a:lnTo>
                  <a:cubicBezTo>
                    <a:pt x="7579" y="5218"/>
                    <a:pt x="7606" y="5174"/>
                    <a:pt x="7634" y="5131"/>
                  </a:cubicBezTo>
                  <a:lnTo>
                    <a:pt x="7716" y="5098"/>
                  </a:lnTo>
                  <a:cubicBezTo>
                    <a:pt x="7743" y="5120"/>
                    <a:pt x="7771" y="5141"/>
                    <a:pt x="7798" y="5163"/>
                  </a:cubicBezTo>
                  <a:lnTo>
                    <a:pt x="7963" y="5229"/>
                  </a:lnTo>
                  <a:cubicBezTo>
                    <a:pt x="7977" y="5272"/>
                    <a:pt x="7990" y="5316"/>
                    <a:pt x="8004" y="5359"/>
                  </a:cubicBezTo>
                  <a:lnTo>
                    <a:pt x="7942" y="5392"/>
                  </a:lnTo>
                  <a:lnTo>
                    <a:pt x="7819" y="5392"/>
                  </a:lnTo>
                  <a:lnTo>
                    <a:pt x="7737" y="5458"/>
                  </a:lnTo>
                  <a:cubicBezTo>
                    <a:pt x="7730" y="5491"/>
                    <a:pt x="7723" y="5523"/>
                    <a:pt x="7716" y="5556"/>
                  </a:cubicBezTo>
                  <a:cubicBezTo>
                    <a:pt x="7682" y="5578"/>
                    <a:pt x="7647" y="5599"/>
                    <a:pt x="7613" y="5621"/>
                  </a:cubicBezTo>
                  <a:cubicBezTo>
                    <a:pt x="7579" y="5697"/>
                    <a:pt x="7544" y="5774"/>
                    <a:pt x="7510" y="5850"/>
                  </a:cubicBezTo>
                  <a:cubicBezTo>
                    <a:pt x="7496" y="5904"/>
                    <a:pt x="7483" y="5959"/>
                    <a:pt x="7469" y="6013"/>
                  </a:cubicBezTo>
                  <a:cubicBezTo>
                    <a:pt x="7503" y="6035"/>
                    <a:pt x="7538" y="6056"/>
                    <a:pt x="7572" y="6078"/>
                  </a:cubicBezTo>
                  <a:lnTo>
                    <a:pt x="7634" y="6176"/>
                  </a:lnTo>
                  <a:cubicBezTo>
                    <a:pt x="7661" y="6285"/>
                    <a:pt x="7689" y="6394"/>
                    <a:pt x="7716" y="6503"/>
                  </a:cubicBezTo>
                  <a:cubicBezTo>
                    <a:pt x="7723" y="6547"/>
                    <a:pt x="7730" y="6590"/>
                    <a:pt x="7737" y="6634"/>
                  </a:cubicBezTo>
                  <a:cubicBezTo>
                    <a:pt x="7792" y="6699"/>
                    <a:pt x="7846" y="6765"/>
                    <a:pt x="7901" y="6830"/>
                  </a:cubicBezTo>
                  <a:cubicBezTo>
                    <a:pt x="7894" y="6852"/>
                    <a:pt x="7888" y="6873"/>
                    <a:pt x="7881" y="6895"/>
                  </a:cubicBezTo>
                  <a:cubicBezTo>
                    <a:pt x="7847" y="6873"/>
                    <a:pt x="7812" y="6852"/>
                    <a:pt x="7778" y="6830"/>
                  </a:cubicBezTo>
                  <a:cubicBezTo>
                    <a:pt x="7764" y="6874"/>
                    <a:pt x="7751" y="6917"/>
                    <a:pt x="7737" y="6961"/>
                  </a:cubicBezTo>
                  <a:lnTo>
                    <a:pt x="7860" y="7026"/>
                  </a:lnTo>
                  <a:cubicBezTo>
                    <a:pt x="7874" y="7059"/>
                    <a:pt x="7887" y="7091"/>
                    <a:pt x="7901" y="7124"/>
                  </a:cubicBezTo>
                  <a:lnTo>
                    <a:pt x="7819" y="7157"/>
                  </a:lnTo>
                  <a:lnTo>
                    <a:pt x="7716" y="7190"/>
                  </a:lnTo>
                  <a:lnTo>
                    <a:pt x="7654" y="7255"/>
                  </a:lnTo>
                  <a:cubicBezTo>
                    <a:pt x="7647" y="7266"/>
                    <a:pt x="7641" y="7277"/>
                    <a:pt x="7634" y="7288"/>
                  </a:cubicBezTo>
                  <a:lnTo>
                    <a:pt x="7778" y="7320"/>
                  </a:lnTo>
                  <a:lnTo>
                    <a:pt x="7881" y="7353"/>
                  </a:lnTo>
                  <a:lnTo>
                    <a:pt x="7881" y="7549"/>
                  </a:lnTo>
                  <a:cubicBezTo>
                    <a:pt x="7853" y="7647"/>
                    <a:pt x="7826" y="7745"/>
                    <a:pt x="7798" y="7843"/>
                  </a:cubicBezTo>
                  <a:cubicBezTo>
                    <a:pt x="7730" y="7974"/>
                    <a:pt x="7661" y="8104"/>
                    <a:pt x="7593" y="8235"/>
                  </a:cubicBezTo>
                  <a:lnTo>
                    <a:pt x="7449" y="8562"/>
                  </a:lnTo>
                  <a:cubicBezTo>
                    <a:pt x="7415" y="8660"/>
                    <a:pt x="7380" y="8758"/>
                    <a:pt x="7346" y="8856"/>
                  </a:cubicBezTo>
                  <a:lnTo>
                    <a:pt x="7119" y="9150"/>
                  </a:lnTo>
                  <a:lnTo>
                    <a:pt x="6975" y="9346"/>
                  </a:lnTo>
                  <a:lnTo>
                    <a:pt x="6749" y="9412"/>
                  </a:lnTo>
                  <a:lnTo>
                    <a:pt x="6626" y="9412"/>
                  </a:lnTo>
                  <a:cubicBezTo>
                    <a:pt x="6605" y="9368"/>
                    <a:pt x="6585" y="9325"/>
                    <a:pt x="6564" y="9281"/>
                  </a:cubicBezTo>
                  <a:lnTo>
                    <a:pt x="6502" y="9314"/>
                  </a:lnTo>
                  <a:lnTo>
                    <a:pt x="6502" y="9542"/>
                  </a:lnTo>
                  <a:lnTo>
                    <a:pt x="6358" y="9608"/>
                  </a:lnTo>
                  <a:lnTo>
                    <a:pt x="6152" y="9706"/>
                  </a:lnTo>
                  <a:lnTo>
                    <a:pt x="6029" y="9739"/>
                  </a:lnTo>
                  <a:cubicBezTo>
                    <a:pt x="6015" y="9782"/>
                    <a:pt x="6002" y="9826"/>
                    <a:pt x="5988" y="9869"/>
                  </a:cubicBezTo>
                  <a:cubicBezTo>
                    <a:pt x="5995" y="9913"/>
                    <a:pt x="6001" y="9956"/>
                    <a:pt x="6008" y="10000"/>
                  </a:cubicBezTo>
                  <a:cubicBezTo>
                    <a:pt x="5981" y="9978"/>
                    <a:pt x="5953" y="9957"/>
                    <a:pt x="5926" y="9935"/>
                  </a:cubicBezTo>
                  <a:lnTo>
                    <a:pt x="5926" y="9804"/>
                  </a:lnTo>
                  <a:lnTo>
                    <a:pt x="5926" y="9706"/>
                  </a:lnTo>
                  <a:lnTo>
                    <a:pt x="5823" y="9706"/>
                  </a:lnTo>
                  <a:cubicBezTo>
                    <a:pt x="5789" y="9684"/>
                    <a:pt x="5754" y="9663"/>
                    <a:pt x="5720" y="9641"/>
                  </a:cubicBezTo>
                  <a:cubicBezTo>
                    <a:pt x="5686" y="9663"/>
                    <a:pt x="5651" y="9684"/>
                    <a:pt x="5617" y="9706"/>
                  </a:cubicBezTo>
                  <a:lnTo>
                    <a:pt x="5514" y="9706"/>
                  </a:lnTo>
                  <a:cubicBezTo>
                    <a:pt x="5487" y="9684"/>
                    <a:pt x="5459" y="9663"/>
                    <a:pt x="5432" y="9641"/>
                  </a:cubicBezTo>
                  <a:cubicBezTo>
                    <a:pt x="5425" y="9554"/>
                    <a:pt x="5419" y="9466"/>
                    <a:pt x="5412" y="9379"/>
                  </a:cubicBezTo>
                  <a:lnTo>
                    <a:pt x="5288" y="9346"/>
                  </a:lnTo>
                  <a:lnTo>
                    <a:pt x="5226" y="9281"/>
                  </a:lnTo>
                  <a:lnTo>
                    <a:pt x="5144" y="9281"/>
                  </a:lnTo>
                  <a:cubicBezTo>
                    <a:pt x="5117" y="9325"/>
                    <a:pt x="5089" y="9368"/>
                    <a:pt x="5062" y="9412"/>
                  </a:cubicBezTo>
                  <a:lnTo>
                    <a:pt x="4712" y="9412"/>
                  </a:lnTo>
                  <a:cubicBezTo>
                    <a:pt x="4705" y="9434"/>
                    <a:pt x="4698" y="9455"/>
                    <a:pt x="4691" y="9477"/>
                  </a:cubicBezTo>
                  <a:lnTo>
                    <a:pt x="4568" y="9477"/>
                  </a:lnTo>
                  <a:lnTo>
                    <a:pt x="4568" y="9608"/>
                  </a:lnTo>
                  <a:lnTo>
                    <a:pt x="4630" y="9641"/>
                  </a:lnTo>
                  <a:cubicBezTo>
                    <a:pt x="4623" y="9684"/>
                    <a:pt x="4616" y="9728"/>
                    <a:pt x="4609" y="9771"/>
                  </a:cubicBezTo>
                  <a:lnTo>
                    <a:pt x="4527" y="9771"/>
                  </a:lnTo>
                  <a:cubicBezTo>
                    <a:pt x="4513" y="9749"/>
                    <a:pt x="4500" y="9728"/>
                    <a:pt x="4486" y="9706"/>
                  </a:cubicBezTo>
                  <a:lnTo>
                    <a:pt x="4403" y="9706"/>
                  </a:lnTo>
                  <a:lnTo>
                    <a:pt x="4321" y="9706"/>
                  </a:lnTo>
                  <a:lnTo>
                    <a:pt x="4321" y="9608"/>
                  </a:lnTo>
                  <a:lnTo>
                    <a:pt x="4239" y="9575"/>
                  </a:lnTo>
                  <a:lnTo>
                    <a:pt x="4239" y="9314"/>
                  </a:lnTo>
                  <a:lnTo>
                    <a:pt x="4136" y="9248"/>
                  </a:lnTo>
                  <a:lnTo>
                    <a:pt x="4136" y="9020"/>
                  </a:lnTo>
                  <a:lnTo>
                    <a:pt x="3930" y="8922"/>
                  </a:lnTo>
                  <a:lnTo>
                    <a:pt x="3930" y="8856"/>
                  </a:lnTo>
                  <a:lnTo>
                    <a:pt x="4095" y="8497"/>
                  </a:lnTo>
                  <a:cubicBezTo>
                    <a:pt x="4102" y="8366"/>
                    <a:pt x="4108" y="8236"/>
                    <a:pt x="4115" y="8105"/>
                  </a:cubicBezTo>
                  <a:cubicBezTo>
                    <a:pt x="4088" y="8072"/>
                    <a:pt x="4060" y="8040"/>
                    <a:pt x="4033" y="8007"/>
                  </a:cubicBezTo>
                  <a:cubicBezTo>
                    <a:pt x="4012" y="7952"/>
                    <a:pt x="3992" y="7898"/>
                    <a:pt x="3971" y="7843"/>
                  </a:cubicBezTo>
                  <a:lnTo>
                    <a:pt x="3889" y="7810"/>
                  </a:lnTo>
                  <a:lnTo>
                    <a:pt x="3724" y="7778"/>
                  </a:lnTo>
                  <a:lnTo>
                    <a:pt x="3724" y="7549"/>
                  </a:lnTo>
                  <a:lnTo>
                    <a:pt x="3621" y="7582"/>
                  </a:lnTo>
                  <a:lnTo>
                    <a:pt x="3395" y="7582"/>
                  </a:lnTo>
                  <a:cubicBezTo>
                    <a:pt x="3374" y="7625"/>
                    <a:pt x="3354" y="7669"/>
                    <a:pt x="3333" y="7712"/>
                  </a:cubicBezTo>
                  <a:cubicBezTo>
                    <a:pt x="3298" y="7791"/>
                    <a:pt x="3262" y="7869"/>
                    <a:pt x="3227" y="7948"/>
                  </a:cubicBezTo>
                  <a:cubicBezTo>
                    <a:pt x="3193" y="8024"/>
                    <a:pt x="3141" y="7865"/>
                    <a:pt x="3107" y="7941"/>
                  </a:cubicBezTo>
                  <a:lnTo>
                    <a:pt x="3004" y="7974"/>
                  </a:lnTo>
                  <a:lnTo>
                    <a:pt x="2860" y="7941"/>
                  </a:lnTo>
                  <a:lnTo>
                    <a:pt x="2737" y="7876"/>
                  </a:lnTo>
                  <a:lnTo>
                    <a:pt x="2634" y="7876"/>
                  </a:lnTo>
                  <a:lnTo>
                    <a:pt x="2572" y="7974"/>
                  </a:lnTo>
                  <a:lnTo>
                    <a:pt x="2366" y="7974"/>
                  </a:lnTo>
                  <a:lnTo>
                    <a:pt x="2140" y="7941"/>
                  </a:lnTo>
                  <a:lnTo>
                    <a:pt x="1975" y="7908"/>
                  </a:lnTo>
                  <a:cubicBezTo>
                    <a:pt x="1913" y="7843"/>
                    <a:pt x="1852" y="7777"/>
                    <a:pt x="1790" y="7712"/>
                  </a:cubicBezTo>
                  <a:lnTo>
                    <a:pt x="1667" y="7582"/>
                  </a:lnTo>
                  <a:lnTo>
                    <a:pt x="1502" y="7451"/>
                  </a:lnTo>
                  <a:lnTo>
                    <a:pt x="1358" y="7222"/>
                  </a:lnTo>
                  <a:lnTo>
                    <a:pt x="1214" y="7320"/>
                  </a:lnTo>
                  <a:lnTo>
                    <a:pt x="1091" y="7157"/>
                  </a:lnTo>
                  <a:lnTo>
                    <a:pt x="823" y="6961"/>
                  </a:lnTo>
                  <a:lnTo>
                    <a:pt x="823" y="6830"/>
                  </a:lnTo>
                  <a:cubicBezTo>
                    <a:pt x="837" y="6776"/>
                    <a:pt x="850" y="6721"/>
                    <a:pt x="864" y="6667"/>
                  </a:cubicBezTo>
                  <a:lnTo>
                    <a:pt x="967" y="6634"/>
                  </a:lnTo>
                  <a:cubicBezTo>
                    <a:pt x="974" y="6590"/>
                    <a:pt x="981" y="6547"/>
                    <a:pt x="988" y="6503"/>
                  </a:cubicBezTo>
                  <a:lnTo>
                    <a:pt x="864" y="6373"/>
                  </a:lnTo>
                  <a:lnTo>
                    <a:pt x="864" y="6209"/>
                  </a:lnTo>
                  <a:lnTo>
                    <a:pt x="1029" y="6078"/>
                  </a:lnTo>
                  <a:lnTo>
                    <a:pt x="1111" y="5948"/>
                  </a:lnTo>
                  <a:lnTo>
                    <a:pt x="1111" y="5817"/>
                  </a:lnTo>
                  <a:cubicBezTo>
                    <a:pt x="1049" y="5752"/>
                    <a:pt x="1038" y="5738"/>
                    <a:pt x="976" y="5673"/>
                  </a:cubicBezTo>
                  <a:lnTo>
                    <a:pt x="803" y="5778"/>
                  </a:lnTo>
                  <a:lnTo>
                    <a:pt x="597" y="5719"/>
                  </a:lnTo>
                  <a:lnTo>
                    <a:pt x="391" y="5588"/>
                  </a:lnTo>
                  <a:lnTo>
                    <a:pt x="391" y="5425"/>
                  </a:lnTo>
                  <a:lnTo>
                    <a:pt x="206" y="5327"/>
                  </a:lnTo>
                  <a:lnTo>
                    <a:pt x="206" y="5196"/>
                  </a:lnTo>
                  <a:lnTo>
                    <a:pt x="206" y="4869"/>
                  </a:lnTo>
                  <a:lnTo>
                    <a:pt x="82" y="4902"/>
                  </a:lnTo>
                  <a:lnTo>
                    <a:pt x="21" y="4869"/>
                  </a:lnTo>
                  <a:cubicBezTo>
                    <a:pt x="14" y="4826"/>
                    <a:pt x="7" y="4782"/>
                    <a:pt x="0" y="4739"/>
                  </a:cubicBezTo>
                  <a:cubicBezTo>
                    <a:pt x="7" y="4706"/>
                    <a:pt x="14" y="4674"/>
                    <a:pt x="21" y="4641"/>
                  </a:cubicBezTo>
                  <a:cubicBezTo>
                    <a:pt x="28" y="4586"/>
                    <a:pt x="34" y="4532"/>
                    <a:pt x="41" y="4477"/>
                  </a:cubicBezTo>
                  <a:cubicBezTo>
                    <a:pt x="82" y="4433"/>
                    <a:pt x="124" y="4390"/>
                    <a:pt x="165" y="4346"/>
                  </a:cubicBezTo>
                  <a:cubicBezTo>
                    <a:pt x="172" y="4313"/>
                    <a:pt x="178" y="4281"/>
                    <a:pt x="185" y="4248"/>
                  </a:cubicBezTo>
                  <a:lnTo>
                    <a:pt x="329" y="4248"/>
                  </a:lnTo>
                  <a:lnTo>
                    <a:pt x="329" y="4346"/>
                  </a:lnTo>
                  <a:lnTo>
                    <a:pt x="494" y="4281"/>
                  </a:lnTo>
                  <a:cubicBezTo>
                    <a:pt x="508" y="4227"/>
                    <a:pt x="521" y="4172"/>
                    <a:pt x="535" y="4118"/>
                  </a:cubicBezTo>
                  <a:lnTo>
                    <a:pt x="741" y="4118"/>
                  </a:lnTo>
                  <a:cubicBezTo>
                    <a:pt x="755" y="4074"/>
                    <a:pt x="768" y="4031"/>
                    <a:pt x="782" y="3987"/>
                  </a:cubicBezTo>
                  <a:lnTo>
                    <a:pt x="1049" y="3791"/>
                  </a:lnTo>
                  <a:cubicBezTo>
                    <a:pt x="1070" y="3769"/>
                    <a:pt x="1090" y="3747"/>
                    <a:pt x="1111" y="3725"/>
                  </a:cubicBez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83" name="Freeform 279">
              <a:extLst>
                <a:ext uri="{FF2B5EF4-FFF2-40B4-BE49-F238E27FC236}">
                  <a16:creationId xmlns:a16="http://schemas.microsoft.com/office/drawing/2014/main" id="{105A863C-8D22-43B3-B764-1FEE2CD38656}"/>
                </a:ext>
              </a:extLst>
            </p:cNvPr>
            <p:cNvSpPr>
              <a:spLocks/>
            </p:cNvSpPr>
            <p:nvPr/>
          </p:nvSpPr>
          <p:spPr bwMode="gray">
            <a:xfrm>
              <a:off x="8435304" y="4093816"/>
              <a:ext cx="204732" cy="225737"/>
            </a:xfrm>
            <a:custGeom>
              <a:avLst/>
              <a:gdLst>
                <a:gd name="T0" fmla="*/ 12 w 124"/>
                <a:gd name="T1" fmla="*/ 14 h 136"/>
                <a:gd name="T2" fmla="*/ 20 w 124"/>
                <a:gd name="T3" fmla="*/ 14 h 136"/>
                <a:gd name="T4" fmla="*/ 24 w 124"/>
                <a:gd name="T5" fmla="*/ 18 h 136"/>
                <a:gd name="T6" fmla="*/ 32 w 124"/>
                <a:gd name="T7" fmla="*/ 18 h 136"/>
                <a:gd name="T8" fmla="*/ 34 w 124"/>
                <a:gd name="T9" fmla="*/ 10 h 136"/>
                <a:gd name="T10" fmla="*/ 28 w 124"/>
                <a:gd name="T11" fmla="*/ 8 h 136"/>
                <a:gd name="T12" fmla="*/ 28 w 124"/>
                <a:gd name="T13" fmla="*/ 0 h 136"/>
                <a:gd name="T14" fmla="*/ 40 w 124"/>
                <a:gd name="T15" fmla="*/ 0 h 136"/>
                <a:gd name="T16" fmla="*/ 40 w 124"/>
                <a:gd name="T17" fmla="*/ 4 h 136"/>
                <a:gd name="T18" fmla="*/ 50 w 124"/>
                <a:gd name="T19" fmla="*/ 14 h 136"/>
                <a:gd name="T20" fmla="*/ 52 w 124"/>
                <a:gd name="T21" fmla="*/ 24 h 136"/>
                <a:gd name="T22" fmla="*/ 52 w 124"/>
                <a:gd name="T23" fmla="*/ 28 h 136"/>
                <a:gd name="T24" fmla="*/ 74 w 124"/>
                <a:gd name="T25" fmla="*/ 26 h 136"/>
                <a:gd name="T26" fmla="*/ 80 w 124"/>
                <a:gd name="T27" fmla="*/ 36 h 136"/>
                <a:gd name="T28" fmla="*/ 82 w 124"/>
                <a:gd name="T29" fmla="*/ 46 h 136"/>
                <a:gd name="T30" fmla="*/ 68 w 124"/>
                <a:gd name="T31" fmla="*/ 46 h 136"/>
                <a:gd name="T32" fmla="*/ 68 w 124"/>
                <a:gd name="T33" fmla="*/ 56 h 136"/>
                <a:gd name="T34" fmla="*/ 76 w 124"/>
                <a:gd name="T35" fmla="*/ 60 h 136"/>
                <a:gd name="T36" fmla="*/ 100 w 124"/>
                <a:gd name="T37" fmla="*/ 84 h 136"/>
                <a:gd name="T38" fmla="*/ 120 w 124"/>
                <a:gd name="T39" fmla="*/ 106 h 136"/>
                <a:gd name="T40" fmla="*/ 124 w 124"/>
                <a:gd name="T41" fmla="*/ 120 h 136"/>
                <a:gd name="T42" fmla="*/ 122 w 124"/>
                <a:gd name="T43" fmla="*/ 134 h 136"/>
                <a:gd name="T44" fmla="*/ 112 w 124"/>
                <a:gd name="T45" fmla="*/ 134 h 136"/>
                <a:gd name="T46" fmla="*/ 110 w 124"/>
                <a:gd name="T47" fmla="*/ 128 h 136"/>
                <a:gd name="T48" fmla="*/ 104 w 124"/>
                <a:gd name="T49" fmla="*/ 128 h 136"/>
                <a:gd name="T50" fmla="*/ 102 w 124"/>
                <a:gd name="T51" fmla="*/ 136 h 136"/>
                <a:gd name="T52" fmla="*/ 90 w 124"/>
                <a:gd name="T53" fmla="*/ 136 h 136"/>
                <a:gd name="T54" fmla="*/ 90 w 124"/>
                <a:gd name="T55" fmla="*/ 130 h 136"/>
                <a:gd name="T56" fmla="*/ 94 w 124"/>
                <a:gd name="T57" fmla="*/ 118 h 136"/>
                <a:gd name="T58" fmla="*/ 94 w 124"/>
                <a:gd name="T59" fmla="*/ 108 h 136"/>
                <a:gd name="T60" fmla="*/ 84 w 124"/>
                <a:gd name="T61" fmla="*/ 98 h 136"/>
                <a:gd name="T62" fmla="*/ 80 w 124"/>
                <a:gd name="T63" fmla="*/ 82 h 136"/>
                <a:gd name="T64" fmla="*/ 64 w 124"/>
                <a:gd name="T65" fmla="*/ 64 h 136"/>
                <a:gd name="T66" fmla="*/ 52 w 124"/>
                <a:gd name="T67" fmla="*/ 72 h 136"/>
                <a:gd name="T68" fmla="*/ 40 w 124"/>
                <a:gd name="T69" fmla="*/ 68 h 136"/>
                <a:gd name="T70" fmla="*/ 20 w 124"/>
                <a:gd name="T71" fmla="*/ 80 h 136"/>
                <a:gd name="T72" fmla="*/ 20 w 124"/>
                <a:gd name="T73" fmla="*/ 66 h 136"/>
                <a:gd name="T74" fmla="*/ 24 w 124"/>
                <a:gd name="T75" fmla="*/ 62 h 136"/>
                <a:gd name="T76" fmla="*/ 20 w 124"/>
                <a:gd name="T77" fmla="*/ 48 h 136"/>
                <a:gd name="T78" fmla="*/ 12 w 124"/>
                <a:gd name="T79" fmla="*/ 46 h 136"/>
                <a:gd name="T80" fmla="*/ 12 w 124"/>
                <a:gd name="T81" fmla="*/ 38 h 136"/>
                <a:gd name="T82" fmla="*/ 0 w 124"/>
                <a:gd name="T83" fmla="*/ 32 h 136"/>
                <a:gd name="T84" fmla="*/ 14 w 124"/>
                <a:gd name="T85" fmla="*/ 24 h 136"/>
                <a:gd name="T86" fmla="*/ 12 w 124"/>
                <a:gd name="T87"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4" h="136">
                  <a:moveTo>
                    <a:pt x="12" y="14"/>
                  </a:moveTo>
                  <a:lnTo>
                    <a:pt x="20" y="14"/>
                  </a:lnTo>
                  <a:lnTo>
                    <a:pt x="24" y="18"/>
                  </a:lnTo>
                  <a:lnTo>
                    <a:pt x="32" y="18"/>
                  </a:lnTo>
                  <a:lnTo>
                    <a:pt x="34" y="10"/>
                  </a:lnTo>
                  <a:lnTo>
                    <a:pt x="28" y="8"/>
                  </a:lnTo>
                  <a:lnTo>
                    <a:pt x="28" y="0"/>
                  </a:lnTo>
                  <a:lnTo>
                    <a:pt x="40" y="0"/>
                  </a:lnTo>
                  <a:lnTo>
                    <a:pt x="40" y="4"/>
                  </a:lnTo>
                  <a:lnTo>
                    <a:pt x="50" y="14"/>
                  </a:lnTo>
                  <a:lnTo>
                    <a:pt x="52" y="24"/>
                  </a:lnTo>
                  <a:lnTo>
                    <a:pt x="52" y="28"/>
                  </a:lnTo>
                  <a:lnTo>
                    <a:pt x="74" y="26"/>
                  </a:lnTo>
                  <a:lnTo>
                    <a:pt x="80" y="36"/>
                  </a:lnTo>
                  <a:lnTo>
                    <a:pt x="82" y="46"/>
                  </a:lnTo>
                  <a:lnTo>
                    <a:pt x="68" y="46"/>
                  </a:lnTo>
                  <a:lnTo>
                    <a:pt x="68" y="56"/>
                  </a:lnTo>
                  <a:lnTo>
                    <a:pt x="76" y="60"/>
                  </a:lnTo>
                  <a:lnTo>
                    <a:pt x="100" y="84"/>
                  </a:lnTo>
                  <a:lnTo>
                    <a:pt x="120" y="106"/>
                  </a:lnTo>
                  <a:lnTo>
                    <a:pt x="124" y="120"/>
                  </a:lnTo>
                  <a:lnTo>
                    <a:pt x="122" y="134"/>
                  </a:lnTo>
                  <a:lnTo>
                    <a:pt x="112" y="134"/>
                  </a:lnTo>
                  <a:lnTo>
                    <a:pt x="110" y="128"/>
                  </a:lnTo>
                  <a:lnTo>
                    <a:pt x="104" y="128"/>
                  </a:lnTo>
                  <a:lnTo>
                    <a:pt x="102" y="136"/>
                  </a:lnTo>
                  <a:lnTo>
                    <a:pt x="90" y="136"/>
                  </a:lnTo>
                  <a:lnTo>
                    <a:pt x="90" y="130"/>
                  </a:lnTo>
                  <a:lnTo>
                    <a:pt x="94" y="118"/>
                  </a:lnTo>
                  <a:lnTo>
                    <a:pt x="94" y="108"/>
                  </a:lnTo>
                  <a:lnTo>
                    <a:pt x="84" y="98"/>
                  </a:lnTo>
                  <a:lnTo>
                    <a:pt x="80" y="82"/>
                  </a:lnTo>
                  <a:lnTo>
                    <a:pt x="64" y="64"/>
                  </a:lnTo>
                  <a:lnTo>
                    <a:pt x="52" y="72"/>
                  </a:lnTo>
                  <a:lnTo>
                    <a:pt x="40" y="68"/>
                  </a:lnTo>
                  <a:lnTo>
                    <a:pt x="20" y="80"/>
                  </a:lnTo>
                  <a:lnTo>
                    <a:pt x="20" y="66"/>
                  </a:lnTo>
                  <a:lnTo>
                    <a:pt x="24" y="62"/>
                  </a:lnTo>
                  <a:lnTo>
                    <a:pt x="20" y="48"/>
                  </a:lnTo>
                  <a:lnTo>
                    <a:pt x="12" y="46"/>
                  </a:lnTo>
                  <a:lnTo>
                    <a:pt x="12" y="38"/>
                  </a:lnTo>
                  <a:lnTo>
                    <a:pt x="0" y="32"/>
                  </a:lnTo>
                  <a:lnTo>
                    <a:pt x="14" y="24"/>
                  </a:lnTo>
                  <a:lnTo>
                    <a:pt x="12" y="1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84" name="Freeform 280">
              <a:extLst>
                <a:ext uri="{FF2B5EF4-FFF2-40B4-BE49-F238E27FC236}">
                  <a16:creationId xmlns:a16="http://schemas.microsoft.com/office/drawing/2014/main" id="{C47BF211-175F-48F7-9952-6F81EF2D502D}"/>
                </a:ext>
              </a:extLst>
            </p:cNvPr>
            <p:cNvSpPr>
              <a:spLocks/>
            </p:cNvSpPr>
            <p:nvPr/>
          </p:nvSpPr>
          <p:spPr bwMode="gray">
            <a:xfrm>
              <a:off x="8124902" y="3184231"/>
              <a:ext cx="838745" cy="345244"/>
            </a:xfrm>
            <a:custGeom>
              <a:avLst/>
              <a:gdLst>
                <a:gd name="T0" fmla="*/ 8 w 508"/>
                <a:gd name="T1" fmla="*/ 54 h 208"/>
                <a:gd name="T2" fmla="*/ 30 w 508"/>
                <a:gd name="T3" fmla="*/ 44 h 208"/>
                <a:gd name="T4" fmla="*/ 80 w 508"/>
                <a:gd name="T5" fmla="*/ 28 h 208"/>
                <a:gd name="T6" fmla="*/ 112 w 508"/>
                <a:gd name="T7" fmla="*/ 44 h 208"/>
                <a:gd name="T8" fmla="*/ 152 w 508"/>
                <a:gd name="T9" fmla="*/ 50 h 208"/>
                <a:gd name="T10" fmla="*/ 166 w 508"/>
                <a:gd name="T11" fmla="*/ 32 h 208"/>
                <a:gd name="T12" fmla="*/ 168 w 508"/>
                <a:gd name="T13" fmla="*/ 4 h 208"/>
                <a:gd name="T14" fmla="*/ 186 w 508"/>
                <a:gd name="T15" fmla="*/ 2 h 208"/>
                <a:gd name="T16" fmla="*/ 224 w 508"/>
                <a:gd name="T17" fmla="*/ 14 h 208"/>
                <a:gd name="T18" fmla="*/ 236 w 508"/>
                <a:gd name="T19" fmla="*/ 36 h 208"/>
                <a:gd name="T20" fmla="*/ 276 w 508"/>
                <a:gd name="T21" fmla="*/ 32 h 208"/>
                <a:gd name="T22" fmla="*/ 306 w 508"/>
                <a:gd name="T23" fmla="*/ 42 h 208"/>
                <a:gd name="T24" fmla="*/ 322 w 508"/>
                <a:gd name="T25" fmla="*/ 52 h 208"/>
                <a:gd name="T26" fmla="*/ 350 w 508"/>
                <a:gd name="T27" fmla="*/ 60 h 208"/>
                <a:gd name="T28" fmla="*/ 398 w 508"/>
                <a:gd name="T29" fmla="*/ 52 h 208"/>
                <a:gd name="T30" fmla="*/ 416 w 508"/>
                <a:gd name="T31" fmla="*/ 38 h 208"/>
                <a:gd name="T32" fmla="*/ 434 w 508"/>
                <a:gd name="T33" fmla="*/ 42 h 208"/>
                <a:gd name="T34" fmla="*/ 458 w 508"/>
                <a:gd name="T35" fmla="*/ 44 h 208"/>
                <a:gd name="T36" fmla="*/ 448 w 508"/>
                <a:gd name="T37" fmla="*/ 60 h 208"/>
                <a:gd name="T38" fmla="*/ 468 w 508"/>
                <a:gd name="T39" fmla="*/ 86 h 208"/>
                <a:gd name="T40" fmla="*/ 486 w 508"/>
                <a:gd name="T41" fmla="*/ 82 h 208"/>
                <a:gd name="T42" fmla="*/ 508 w 508"/>
                <a:gd name="T43" fmla="*/ 112 h 208"/>
                <a:gd name="T44" fmla="*/ 480 w 508"/>
                <a:gd name="T45" fmla="*/ 110 h 208"/>
                <a:gd name="T46" fmla="*/ 442 w 508"/>
                <a:gd name="T47" fmla="*/ 132 h 208"/>
                <a:gd name="T48" fmla="*/ 412 w 508"/>
                <a:gd name="T49" fmla="*/ 146 h 208"/>
                <a:gd name="T50" fmla="*/ 380 w 508"/>
                <a:gd name="T51" fmla="*/ 144 h 208"/>
                <a:gd name="T52" fmla="*/ 380 w 508"/>
                <a:gd name="T53" fmla="*/ 168 h 208"/>
                <a:gd name="T54" fmla="*/ 362 w 508"/>
                <a:gd name="T55" fmla="*/ 184 h 208"/>
                <a:gd name="T56" fmla="*/ 300 w 508"/>
                <a:gd name="T57" fmla="*/ 194 h 208"/>
                <a:gd name="T58" fmla="*/ 242 w 508"/>
                <a:gd name="T59" fmla="*/ 204 h 208"/>
                <a:gd name="T60" fmla="*/ 190 w 508"/>
                <a:gd name="T61" fmla="*/ 190 h 208"/>
                <a:gd name="T62" fmla="*/ 130 w 508"/>
                <a:gd name="T63" fmla="*/ 178 h 208"/>
                <a:gd name="T64" fmla="*/ 102 w 508"/>
                <a:gd name="T65" fmla="*/ 154 h 208"/>
                <a:gd name="T66" fmla="*/ 58 w 508"/>
                <a:gd name="T67" fmla="*/ 142 h 208"/>
                <a:gd name="T68" fmla="*/ 46 w 508"/>
                <a:gd name="T69" fmla="*/ 126 h 208"/>
                <a:gd name="T70" fmla="*/ 52 w 508"/>
                <a:gd name="T71" fmla="*/ 110 h 208"/>
                <a:gd name="T72" fmla="*/ 30 w 508"/>
                <a:gd name="T73" fmla="*/ 84 h 208"/>
                <a:gd name="T74" fmla="*/ 4 w 508"/>
                <a:gd name="T75" fmla="*/ 72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08" h="208">
                  <a:moveTo>
                    <a:pt x="0" y="62"/>
                  </a:moveTo>
                  <a:lnTo>
                    <a:pt x="8" y="54"/>
                  </a:lnTo>
                  <a:lnTo>
                    <a:pt x="22" y="52"/>
                  </a:lnTo>
                  <a:lnTo>
                    <a:pt x="30" y="44"/>
                  </a:lnTo>
                  <a:lnTo>
                    <a:pt x="64" y="26"/>
                  </a:lnTo>
                  <a:lnTo>
                    <a:pt x="80" y="28"/>
                  </a:lnTo>
                  <a:lnTo>
                    <a:pt x="102" y="32"/>
                  </a:lnTo>
                  <a:lnTo>
                    <a:pt x="112" y="44"/>
                  </a:lnTo>
                  <a:lnTo>
                    <a:pt x="144" y="44"/>
                  </a:lnTo>
                  <a:lnTo>
                    <a:pt x="152" y="50"/>
                  </a:lnTo>
                  <a:lnTo>
                    <a:pt x="164" y="40"/>
                  </a:lnTo>
                  <a:lnTo>
                    <a:pt x="166" y="32"/>
                  </a:lnTo>
                  <a:lnTo>
                    <a:pt x="154" y="18"/>
                  </a:lnTo>
                  <a:lnTo>
                    <a:pt x="168" y="4"/>
                  </a:lnTo>
                  <a:lnTo>
                    <a:pt x="172" y="0"/>
                  </a:lnTo>
                  <a:lnTo>
                    <a:pt x="186" y="2"/>
                  </a:lnTo>
                  <a:lnTo>
                    <a:pt x="200" y="6"/>
                  </a:lnTo>
                  <a:lnTo>
                    <a:pt x="224" y="14"/>
                  </a:lnTo>
                  <a:lnTo>
                    <a:pt x="226" y="24"/>
                  </a:lnTo>
                  <a:lnTo>
                    <a:pt x="236" y="36"/>
                  </a:lnTo>
                  <a:lnTo>
                    <a:pt x="262" y="40"/>
                  </a:lnTo>
                  <a:lnTo>
                    <a:pt x="276" y="32"/>
                  </a:lnTo>
                  <a:lnTo>
                    <a:pt x="300" y="36"/>
                  </a:lnTo>
                  <a:lnTo>
                    <a:pt x="306" y="42"/>
                  </a:lnTo>
                  <a:lnTo>
                    <a:pt x="316" y="44"/>
                  </a:lnTo>
                  <a:lnTo>
                    <a:pt x="322" y="52"/>
                  </a:lnTo>
                  <a:lnTo>
                    <a:pt x="328" y="58"/>
                  </a:lnTo>
                  <a:lnTo>
                    <a:pt x="350" y="60"/>
                  </a:lnTo>
                  <a:lnTo>
                    <a:pt x="368" y="58"/>
                  </a:lnTo>
                  <a:lnTo>
                    <a:pt x="398" y="52"/>
                  </a:lnTo>
                  <a:lnTo>
                    <a:pt x="408" y="44"/>
                  </a:lnTo>
                  <a:lnTo>
                    <a:pt x="416" y="38"/>
                  </a:lnTo>
                  <a:lnTo>
                    <a:pt x="426" y="36"/>
                  </a:lnTo>
                  <a:lnTo>
                    <a:pt x="434" y="42"/>
                  </a:lnTo>
                  <a:lnTo>
                    <a:pt x="442" y="42"/>
                  </a:lnTo>
                  <a:lnTo>
                    <a:pt x="458" y="44"/>
                  </a:lnTo>
                  <a:lnTo>
                    <a:pt x="452" y="52"/>
                  </a:lnTo>
                  <a:lnTo>
                    <a:pt x="448" y="60"/>
                  </a:lnTo>
                  <a:lnTo>
                    <a:pt x="440" y="84"/>
                  </a:lnTo>
                  <a:lnTo>
                    <a:pt x="468" y="86"/>
                  </a:lnTo>
                  <a:lnTo>
                    <a:pt x="476" y="80"/>
                  </a:lnTo>
                  <a:lnTo>
                    <a:pt x="486" y="82"/>
                  </a:lnTo>
                  <a:lnTo>
                    <a:pt x="506" y="102"/>
                  </a:lnTo>
                  <a:lnTo>
                    <a:pt x="508" y="112"/>
                  </a:lnTo>
                  <a:lnTo>
                    <a:pt x="494" y="110"/>
                  </a:lnTo>
                  <a:lnTo>
                    <a:pt x="480" y="110"/>
                  </a:lnTo>
                  <a:lnTo>
                    <a:pt x="460" y="118"/>
                  </a:lnTo>
                  <a:lnTo>
                    <a:pt x="442" y="132"/>
                  </a:lnTo>
                  <a:lnTo>
                    <a:pt x="426" y="132"/>
                  </a:lnTo>
                  <a:lnTo>
                    <a:pt x="412" y="146"/>
                  </a:lnTo>
                  <a:lnTo>
                    <a:pt x="394" y="144"/>
                  </a:lnTo>
                  <a:lnTo>
                    <a:pt x="380" y="144"/>
                  </a:lnTo>
                  <a:lnTo>
                    <a:pt x="374" y="156"/>
                  </a:lnTo>
                  <a:lnTo>
                    <a:pt x="380" y="168"/>
                  </a:lnTo>
                  <a:lnTo>
                    <a:pt x="362" y="178"/>
                  </a:lnTo>
                  <a:lnTo>
                    <a:pt x="362" y="184"/>
                  </a:lnTo>
                  <a:lnTo>
                    <a:pt x="344" y="194"/>
                  </a:lnTo>
                  <a:lnTo>
                    <a:pt x="300" y="194"/>
                  </a:lnTo>
                  <a:lnTo>
                    <a:pt x="278" y="208"/>
                  </a:lnTo>
                  <a:lnTo>
                    <a:pt x="242" y="204"/>
                  </a:lnTo>
                  <a:lnTo>
                    <a:pt x="218" y="192"/>
                  </a:lnTo>
                  <a:lnTo>
                    <a:pt x="190" y="190"/>
                  </a:lnTo>
                  <a:lnTo>
                    <a:pt x="136" y="188"/>
                  </a:lnTo>
                  <a:lnTo>
                    <a:pt x="130" y="178"/>
                  </a:lnTo>
                  <a:lnTo>
                    <a:pt x="124" y="166"/>
                  </a:lnTo>
                  <a:lnTo>
                    <a:pt x="102" y="154"/>
                  </a:lnTo>
                  <a:lnTo>
                    <a:pt x="92" y="144"/>
                  </a:lnTo>
                  <a:lnTo>
                    <a:pt x="58" y="142"/>
                  </a:lnTo>
                  <a:lnTo>
                    <a:pt x="50" y="138"/>
                  </a:lnTo>
                  <a:lnTo>
                    <a:pt x="46" y="126"/>
                  </a:lnTo>
                  <a:lnTo>
                    <a:pt x="52" y="118"/>
                  </a:lnTo>
                  <a:lnTo>
                    <a:pt x="52" y="110"/>
                  </a:lnTo>
                  <a:lnTo>
                    <a:pt x="44" y="98"/>
                  </a:lnTo>
                  <a:lnTo>
                    <a:pt x="30" y="84"/>
                  </a:lnTo>
                  <a:lnTo>
                    <a:pt x="14" y="82"/>
                  </a:lnTo>
                  <a:lnTo>
                    <a:pt x="4" y="72"/>
                  </a:lnTo>
                  <a:lnTo>
                    <a:pt x="0" y="6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85" name="Freeform 281">
              <a:extLst>
                <a:ext uri="{FF2B5EF4-FFF2-40B4-BE49-F238E27FC236}">
                  <a16:creationId xmlns:a16="http://schemas.microsoft.com/office/drawing/2014/main" id="{039B6C79-388B-40BA-9D98-E11480FC036E}"/>
                </a:ext>
              </a:extLst>
            </p:cNvPr>
            <p:cNvSpPr>
              <a:spLocks/>
            </p:cNvSpPr>
            <p:nvPr/>
          </p:nvSpPr>
          <p:spPr bwMode="gray">
            <a:xfrm>
              <a:off x="8791935" y="4583466"/>
              <a:ext cx="42928" cy="34857"/>
            </a:xfrm>
            <a:custGeom>
              <a:avLst/>
              <a:gdLst>
                <a:gd name="T0" fmla="*/ 1 w 26"/>
                <a:gd name="T1" fmla="*/ 10 h 21"/>
                <a:gd name="T2" fmla="*/ 11 w 26"/>
                <a:gd name="T3" fmla="*/ 0 h 21"/>
                <a:gd name="T4" fmla="*/ 1 w 26"/>
                <a:gd name="T5" fmla="*/ 10 h 21"/>
              </a:gdLst>
              <a:ahLst/>
              <a:cxnLst>
                <a:cxn ang="0">
                  <a:pos x="T0" y="T1"/>
                </a:cxn>
                <a:cxn ang="0">
                  <a:pos x="T2" y="T3"/>
                </a:cxn>
                <a:cxn ang="0">
                  <a:pos x="T4" y="T5"/>
                </a:cxn>
              </a:cxnLst>
              <a:rect l="0" t="0" r="r" b="b"/>
              <a:pathLst>
                <a:path w="26" h="21">
                  <a:moveTo>
                    <a:pt x="1" y="10"/>
                  </a:moveTo>
                  <a:cubicBezTo>
                    <a:pt x="13" y="18"/>
                    <a:pt x="26" y="10"/>
                    <a:pt x="11" y="0"/>
                  </a:cubicBezTo>
                  <a:cubicBezTo>
                    <a:pt x="0" y="3"/>
                    <a:pt x="1" y="21"/>
                    <a:pt x="1" y="10"/>
                  </a:cubicBezTo>
                  <a:close/>
                </a:path>
              </a:pathLst>
            </a:custGeom>
            <a:grpFill/>
            <a:ln w="3175" cap="flat">
              <a:solidFill>
                <a:srgbClr val="1A1D24"/>
              </a:solidFill>
              <a:prstDash val="solid"/>
              <a:miter lim="800000"/>
              <a:headEnd/>
              <a:tailEnd/>
            </a:ln>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algn="ctr"/>
              <a:endParaRPr lang="en-GB" sz="1000" dirty="0"/>
            </a:p>
          </p:txBody>
        </p:sp>
        <p:sp>
          <p:nvSpPr>
            <p:cNvPr id="1086" name="Freeform 282">
              <a:extLst>
                <a:ext uri="{FF2B5EF4-FFF2-40B4-BE49-F238E27FC236}">
                  <a16:creationId xmlns:a16="http://schemas.microsoft.com/office/drawing/2014/main" id="{2CB3F1D0-C8B1-46E4-B469-42918BD2063A}"/>
                </a:ext>
              </a:extLst>
            </p:cNvPr>
            <p:cNvSpPr>
              <a:spLocks/>
            </p:cNvSpPr>
            <p:nvPr/>
          </p:nvSpPr>
          <p:spPr bwMode="gray">
            <a:xfrm>
              <a:off x="8522811" y="4629942"/>
              <a:ext cx="29719" cy="26557"/>
            </a:xfrm>
            <a:custGeom>
              <a:avLst/>
              <a:gdLst>
                <a:gd name="T0" fmla="*/ 18 w 18"/>
                <a:gd name="T1" fmla="*/ 16 h 16"/>
                <a:gd name="T2" fmla="*/ 10 w 18"/>
                <a:gd name="T3" fmla="*/ 2 h 16"/>
                <a:gd name="T4" fmla="*/ 4 w 18"/>
                <a:gd name="T5" fmla="*/ 14 h 16"/>
                <a:gd name="T6" fmla="*/ 12 w 18"/>
                <a:gd name="T7" fmla="*/ 12 h 16"/>
                <a:gd name="T8" fmla="*/ 18 w 18"/>
                <a:gd name="T9" fmla="*/ 16 h 16"/>
              </a:gdLst>
              <a:ahLst/>
              <a:cxnLst>
                <a:cxn ang="0">
                  <a:pos x="T0" y="T1"/>
                </a:cxn>
                <a:cxn ang="0">
                  <a:pos x="T2" y="T3"/>
                </a:cxn>
                <a:cxn ang="0">
                  <a:pos x="T4" y="T5"/>
                </a:cxn>
                <a:cxn ang="0">
                  <a:pos x="T6" y="T7"/>
                </a:cxn>
                <a:cxn ang="0">
                  <a:pos x="T8" y="T9"/>
                </a:cxn>
              </a:cxnLst>
              <a:rect l="0" t="0" r="r" b="b"/>
              <a:pathLst>
                <a:path w="18" h="16">
                  <a:moveTo>
                    <a:pt x="18" y="16"/>
                  </a:moveTo>
                  <a:cubicBezTo>
                    <a:pt x="17" y="14"/>
                    <a:pt x="17" y="0"/>
                    <a:pt x="10" y="2"/>
                  </a:cubicBezTo>
                  <a:cubicBezTo>
                    <a:pt x="5" y="2"/>
                    <a:pt x="0" y="11"/>
                    <a:pt x="4" y="14"/>
                  </a:cubicBezTo>
                  <a:cubicBezTo>
                    <a:pt x="6" y="15"/>
                    <a:pt x="9" y="11"/>
                    <a:pt x="12" y="12"/>
                  </a:cubicBezTo>
                  <a:cubicBezTo>
                    <a:pt x="14" y="12"/>
                    <a:pt x="16" y="14"/>
                    <a:pt x="18" y="16"/>
                  </a:cubicBezTo>
                  <a:close/>
                </a:path>
              </a:pathLst>
            </a:custGeom>
            <a:grpFill/>
            <a:ln w="3175" cap="flat">
              <a:solidFill>
                <a:srgbClr val="1A1D24"/>
              </a:solidFill>
              <a:prstDash val="solid"/>
              <a:miter lim="800000"/>
              <a:headEnd/>
              <a:tailEnd/>
            </a:ln>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algn="ctr"/>
              <a:endParaRPr lang="en-GB" sz="1000" dirty="0"/>
            </a:p>
          </p:txBody>
        </p:sp>
        <p:sp>
          <p:nvSpPr>
            <p:cNvPr id="1087" name="Rectangle 11">
              <a:extLst>
                <a:ext uri="{FF2B5EF4-FFF2-40B4-BE49-F238E27FC236}">
                  <a16:creationId xmlns:a16="http://schemas.microsoft.com/office/drawing/2014/main" id="{A382AC5F-C33B-44D2-AC6C-A815B83CB5D9}"/>
                </a:ext>
              </a:extLst>
            </p:cNvPr>
            <p:cNvSpPr>
              <a:spLocks noChangeArrowheads="1"/>
            </p:cNvSpPr>
            <p:nvPr/>
          </p:nvSpPr>
          <p:spPr bwMode="auto">
            <a:xfrm>
              <a:off x="8132600" y="3980084"/>
              <a:ext cx="1497" cy="1497"/>
            </a:xfrm>
            <a:prstGeom prst="rect">
              <a:avLst/>
            </a:pr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a:p>
          </p:txBody>
        </p:sp>
        <p:sp>
          <p:nvSpPr>
            <p:cNvPr id="1088" name="Freeform 12">
              <a:extLst>
                <a:ext uri="{FF2B5EF4-FFF2-40B4-BE49-F238E27FC236}">
                  <a16:creationId xmlns:a16="http://schemas.microsoft.com/office/drawing/2014/main" id="{C3823860-5D21-4AAD-931F-30F4DCF29C99}"/>
                </a:ext>
              </a:extLst>
            </p:cNvPr>
            <p:cNvSpPr>
              <a:spLocks/>
            </p:cNvSpPr>
            <p:nvPr/>
          </p:nvSpPr>
          <p:spPr bwMode="auto">
            <a:xfrm>
              <a:off x="7421545" y="3671711"/>
              <a:ext cx="378730" cy="381724"/>
            </a:xfrm>
            <a:custGeom>
              <a:avLst/>
              <a:gdLst>
                <a:gd name="T0" fmla="*/ 109 w 253"/>
                <a:gd name="T1" fmla="*/ 243 h 255"/>
                <a:gd name="T2" fmla="*/ 116 w 253"/>
                <a:gd name="T3" fmla="*/ 236 h 255"/>
                <a:gd name="T4" fmla="*/ 109 w 253"/>
                <a:gd name="T5" fmla="*/ 239 h 255"/>
                <a:gd name="T6" fmla="*/ 111 w 253"/>
                <a:gd name="T7" fmla="*/ 234 h 255"/>
                <a:gd name="T8" fmla="*/ 116 w 253"/>
                <a:gd name="T9" fmla="*/ 229 h 255"/>
                <a:gd name="T10" fmla="*/ 120 w 253"/>
                <a:gd name="T11" fmla="*/ 229 h 255"/>
                <a:gd name="T12" fmla="*/ 123 w 253"/>
                <a:gd name="T13" fmla="*/ 232 h 255"/>
                <a:gd name="T14" fmla="*/ 139 w 253"/>
                <a:gd name="T15" fmla="*/ 234 h 255"/>
                <a:gd name="T16" fmla="*/ 153 w 253"/>
                <a:gd name="T17" fmla="*/ 232 h 255"/>
                <a:gd name="T18" fmla="*/ 156 w 253"/>
                <a:gd name="T19" fmla="*/ 234 h 255"/>
                <a:gd name="T20" fmla="*/ 158 w 253"/>
                <a:gd name="T21" fmla="*/ 229 h 255"/>
                <a:gd name="T22" fmla="*/ 161 w 253"/>
                <a:gd name="T23" fmla="*/ 227 h 255"/>
                <a:gd name="T24" fmla="*/ 158 w 253"/>
                <a:gd name="T25" fmla="*/ 217 h 255"/>
                <a:gd name="T26" fmla="*/ 153 w 253"/>
                <a:gd name="T27" fmla="*/ 208 h 255"/>
                <a:gd name="T28" fmla="*/ 146 w 253"/>
                <a:gd name="T29" fmla="*/ 203 h 255"/>
                <a:gd name="T30" fmla="*/ 146 w 253"/>
                <a:gd name="T31" fmla="*/ 201 h 255"/>
                <a:gd name="T32" fmla="*/ 149 w 253"/>
                <a:gd name="T33" fmla="*/ 191 h 255"/>
                <a:gd name="T34" fmla="*/ 135 w 253"/>
                <a:gd name="T35" fmla="*/ 184 h 255"/>
                <a:gd name="T36" fmla="*/ 149 w 253"/>
                <a:gd name="T37" fmla="*/ 168 h 255"/>
                <a:gd name="T38" fmla="*/ 156 w 253"/>
                <a:gd name="T39" fmla="*/ 163 h 255"/>
                <a:gd name="T40" fmla="*/ 161 w 253"/>
                <a:gd name="T41" fmla="*/ 165 h 255"/>
                <a:gd name="T42" fmla="*/ 163 w 253"/>
                <a:gd name="T43" fmla="*/ 170 h 255"/>
                <a:gd name="T44" fmla="*/ 184 w 253"/>
                <a:gd name="T45" fmla="*/ 158 h 255"/>
                <a:gd name="T46" fmla="*/ 201 w 253"/>
                <a:gd name="T47" fmla="*/ 149 h 255"/>
                <a:gd name="T48" fmla="*/ 215 w 253"/>
                <a:gd name="T49" fmla="*/ 125 h 255"/>
                <a:gd name="T50" fmla="*/ 227 w 253"/>
                <a:gd name="T51" fmla="*/ 120 h 255"/>
                <a:gd name="T52" fmla="*/ 236 w 253"/>
                <a:gd name="T53" fmla="*/ 109 h 255"/>
                <a:gd name="T54" fmla="*/ 236 w 253"/>
                <a:gd name="T55" fmla="*/ 99 h 255"/>
                <a:gd name="T56" fmla="*/ 248 w 253"/>
                <a:gd name="T57" fmla="*/ 92 h 255"/>
                <a:gd name="T58" fmla="*/ 253 w 253"/>
                <a:gd name="T59" fmla="*/ 90 h 255"/>
                <a:gd name="T60" fmla="*/ 250 w 253"/>
                <a:gd name="T61" fmla="*/ 85 h 255"/>
                <a:gd name="T62" fmla="*/ 243 w 253"/>
                <a:gd name="T63" fmla="*/ 80 h 255"/>
                <a:gd name="T64" fmla="*/ 241 w 253"/>
                <a:gd name="T65" fmla="*/ 78 h 255"/>
                <a:gd name="T66" fmla="*/ 236 w 253"/>
                <a:gd name="T67" fmla="*/ 76 h 255"/>
                <a:gd name="T68" fmla="*/ 231 w 253"/>
                <a:gd name="T69" fmla="*/ 69 h 255"/>
                <a:gd name="T70" fmla="*/ 239 w 253"/>
                <a:gd name="T71" fmla="*/ 38 h 255"/>
                <a:gd name="T72" fmla="*/ 227 w 253"/>
                <a:gd name="T73" fmla="*/ 26 h 255"/>
                <a:gd name="T74" fmla="*/ 215 w 253"/>
                <a:gd name="T75" fmla="*/ 19 h 255"/>
                <a:gd name="T76" fmla="*/ 220 w 253"/>
                <a:gd name="T77" fmla="*/ 12 h 255"/>
                <a:gd name="T78" fmla="*/ 224 w 253"/>
                <a:gd name="T79" fmla="*/ 7 h 255"/>
                <a:gd name="T80" fmla="*/ 231 w 253"/>
                <a:gd name="T81" fmla="*/ 5 h 255"/>
                <a:gd name="T82" fmla="*/ 248 w 253"/>
                <a:gd name="T83" fmla="*/ 5 h 255"/>
                <a:gd name="T84" fmla="*/ 248 w 253"/>
                <a:gd name="T85" fmla="*/ 2 h 255"/>
                <a:gd name="T86" fmla="*/ 227 w 253"/>
                <a:gd name="T87" fmla="*/ 2 h 255"/>
                <a:gd name="T88" fmla="*/ 201 w 253"/>
                <a:gd name="T89" fmla="*/ 2 h 255"/>
                <a:gd name="T90" fmla="*/ 177 w 253"/>
                <a:gd name="T91" fmla="*/ 21 h 255"/>
                <a:gd name="T92" fmla="*/ 177 w 253"/>
                <a:gd name="T93" fmla="*/ 57 h 255"/>
                <a:gd name="T94" fmla="*/ 156 w 253"/>
                <a:gd name="T95" fmla="*/ 76 h 255"/>
                <a:gd name="T96" fmla="*/ 144 w 253"/>
                <a:gd name="T97" fmla="*/ 92 h 255"/>
                <a:gd name="T98" fmla="*/ 118 w 253"/>
                <a:gd name="T99" fmla="*/ 106 h 255"/>
                <a:gd name="T100" fmla="*/ 94 w 253"/>
                <a:gd name="T101" fmla="*/ 116 h 255"/>
                <a:gd name="T102" fmla="*/ 90 w 253"/>
                <a:gd name="T103" fmla="*/ 142 h 255"/>
                <a:gd name="T104" fmla="*/ 61 w 253"/>
                <a:gd name="T105" fmla="*/ 146 h 255"/>
                <a:gd name="T106" fmla="*/ 19 w 253"/>
                <a:gd name="T107" fmla="*/ 149 h 255"/>
                <a:gd name="T108" fmla="*/ 0 w 253"/>
                <a:gd name="T109" fmla="*/ 146 h 255"/>
                <a:gd name="T110" fmla="*/ 31 w 253"/>
                <a:gd name="T111" fmla="*/ 180 h 255"/>
                <a:gd name="T112" fmla="*/ 40 w 253"/>
                <a:gd name="T113" fmla="*/ 194 h 255"/>
                <a:gd name="T114" fmla="*/ 26 w 253"/>
                <a:gd name="T115" fmla="*/ 203 h 255"/>
                <a:gd name="T116" fmla="*/ 9 w 253"/>
                <a:gd name="T117" fmla="*/ 232 h 255"/>
                <a:gd name="T118" fmla="*/ 42 w 253"/>
                <a:gd name="T119" fmla="*/ 227 h 255"/>
                <a:gd name="T120" fmla="*/ 94 w 253"/>
                <a:gd name="T121" fmla="*/ 227 h 255"/>
                <a:gd name="T122" fmla="*/ 118 w 253"/>
                <a:gd name="T123" fmla="*/ 25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3" h="255">
                  <a:moveTo>
                    <a:pt x="113" y="250"/>
                  </a:moveTo>
                  <a:lnTo>
                    <a:pt x="109" y="243"/>
                  </a:lnTo>
                  <a:lnTo>
                    <a:pt x="111" y="241"/>
                  </a:lnTo>
                  <a:lnTo>
                    <a:pt x="116" y="236"/>
                  </a:lnTo>
                  <a:lnTo>
                    <a:pt x="113" y="236"/>
                  </a:lnTo>
                  <a:lnTo>
                    <a:pt x="109" y="239"/>
                  </a:lnTo>
                  <a:lnTo>
                    <a:pt x="106" y="239"/>
                  </a:lnTo>
                  <a:lnTo>
                    <a:pt x="111" y="234"/>
                  </a:lnTo>
                  <a:lnTo>
                    <a:pt x="113" y="234"/>
                  </a:lnTo>
                  <a:lnTo>
                    <a:pt x="116" y="229"/>
                  </a:lnTo>
                  <a:lnTo>
                    <a:pt x="118" y="229"/>
                  </a:lnTo>
                  <a:lnTo>
                    <a:pt x="120" y="229"/>
                  </a:lnTo>
                  <a:lnTo>
                    <a:pt x="123" y="229"/>
                  </a:lnTo>
                  <a:lnTo>
                    <a:pt x="123" y="232"/>
                  </a:lnTo>
                  <a:lnTo>
                    <a:pt x="132" y="232"/>
                  </a:lnTo>
                  <a:lnTo>
                    <a:pt x="139" y="234"/>
                  </a:lnTo>
                  <a:lnTo>
                    <a:pt x="151" y="229"/>
                  </a:lnTo>
                  <a:lnTo>
                    <a:pt x="153" y="232"/>
                  </a:lnTo>
                  <a:lnTo>
                    <a:pt x="153" y="234"/>
                  </a:lnTo>
                  <a:lnTo>
                    <a:pt x="156" y="234"/>
                  </a:lnTo>
                  <a:lnTo>
                    <a:pt x="161" y="232"/>
                  </a:lnTo>
                  <a:lnTo>
                    <a:pt x="158" y="229"/>
                  </a:lnTo>
                  <a:lnTo>
                    <a:pt x="161" y="227"/>
                  </a:lnTo>
                  <a:lnTo>
                    <a:pt x="161" y="227"/>
                  </a:lnTo>
                  <a:lnTo>
                    <a:pt x="158" y="224"/>
                  </a:lnTo>
                  <a:lnTo>
                    <a:pt x="158" y="217"/>
                  </a:lnTo>
                  <a:lnTo>
                    <a:pt x="156" y="213"/>
                  </a:lnTo>
                  <a:lnTo>
                    <a:pt x="153" y="208"/>
                  </a:lnTo>
                  <a:lnTo>
                    <a:pt x="149" y="206"/>
                  </a:lnTo>
                  <a:lnTo>
                    <a:pt x="146" y="203"/>
                  </a:lnTo>
                  <a:lnTo>
                    <a:pt x="146" y="203"/>
                  </a:lnTo>
                  <a:lnTo>
                    <a:pt x="146" y="201"/>
                  </a:lnTo>
                  <a:lnTo>
                    <a:pt x="146" y="198"/>
                  </a:lnTo>
                  <a:lnTo>
                    <a:pt x="149" y="191"/>
                  </a:lnTo>
                  <a:lnTo>
                    <a:pt x="142" y="189"/>
                  </a:lnTo>
                  <a:lnTo>
                    <a:pt x="135" y="184"/>
                  </a:lnTo>
                  <a:lnTo>
                    <a:pt x="137" y="180"/>
                  </a:lnTo>
                  <a:lnTo>
                    <a:pt x="149" y="168"/>
                  </a:lnTo>
                  <a:lnTo>
                    <a:pt x="153" y="163"/>
                  </a:lnTo>
                  <a:lnTo>
                    <a:pt x="156" y="163"/>
                  </a:lnTo>
                  <a:lnTo>
                    <a:pt x="158" y="163"/>
                  </a:lnTo>
                  <a:lnTo>
                    <a:pt x="161" y="165"/>
                  </a:lnTo>
                  <a:lnTo>
                    <a:pt x="161" y="168"/>
                  </a:lnTo>
                  <a:lnTo>
                    <a:pt x="163" y="170"/>
                  </a:lnTo>
                  <a:lnTo>
                    <a:pt x="182" y="168"/>
                  </a:lnTo>
                  <a:lnTo>
                    <a:pt x="184" y="158"/>
                  </a:lnTo>
                  <a:lnTo>
                    <a:pt x="194" y="151"/>
                  </a:lnTo>
                  <a:lnTo>
                    <a:pt x="201" y="149"/>
                  </a:lnTo>
                  <a:lnTo>
                    <a:pt x="215" y="130"/>
                  </a:lnTo>
                  <a:lnTo>
                    <a:pt x="215" y="125"/>
                  </a:lnTo>
                  <a:lnTo>
                    <a:pt x="224" y="125"/>
                  </a:lnTo>
                  <a:lnTo>
                    <a:pt x="227" y="120"/>
                  </a:lnTo>
                  <a:lnTo>
                    <a:pt x="236" y="113"/>
                  </a:lnTo>
                  <a:lnTo>
                    <a:pt x="236" y="109"/>
                  </a:lnTo>
                  <a:lnTo>
                    <a:pt x="239" y="102"/>
                  </a:lnTo>
                  <a:lnTo>
                    <a:pt x="236" y="99"/>
                  </a:lnTo>
                  <a:lnTo>
                    <a:pt x="241" y="97"/>
                  </a:lnTo>
                  <a:lnTo>
                    <a:pt x="248" y="92"/>
                  </a:lnTo>
                  <a:lnTo>
                    <a:pt x="253" y="90"/>
                  </a:lnTo>
                  <a:lnTo>
                    <a:pt x="253" y="90"/>
                  </a:lnTo>
                  <a:lnTo>
                    <a:pt x="253" y="90"/>
                  </a:lnTo>
                  <a:lnTo>
                    <a:pt x="250" y="85"/>
                  </a:lnTo>
                  <a:lnTo>
                    <a:pt x="243" y="85"/>
                  </a:lnTo>
                  <a:lnTo>
                    <a:pt x="243" y="80"/>
                  </a:lnTo>
                  <a:lnTo>
                    <a:pt x="243" y="78"/>
                  </a:lnTo>
                  <a:lnTo>
                    <a:pt x="241" y="78"/>
                  </a:lnTo>
                  <a:lnTo>
                    <a:pt x="236" y="78"/>
                  </a:lnTo>
                  <a:lnTo>
                    <a:pt x="236" y="76"/>
                  </a:lnTo>
                  <a:lnTo>
                    <a:pt x="234" y="73"/>
                  </a:lnTo>
                  <a:lnTo>
                    <a:pt x="231" y="69"/>
                  </a:lnTo>
                  <a:lnTo>
                    <a:pt x="229" y="50"/>
                  </a:lnTo>
                  <a:lnTo>
                    <a:pt x="239" y="38"/>
                  </a:lnTo>
                  <a:lnTo>
                    <a:pt x="236" y="33"/>
                  </a:lnTo>
                  <a:lnTo>
                    <a:pt x="227" y="26"/>
                  </a:lnTo>
                  <a:lnTo>
                    <a:pt x="217" y="24"/>
                  </a:lnTo>
                  <a:lnTo>
                    <a:pt x="215" y="19"/>
                  </a:lnTo>
                  <a:lnTo>
                    <a:pt x="215" y="12"/>
                  </a:lnTo>
                  <a:lnTo>
                    <a:pt x="220" y="12"/>
                  </a:lnTo>
                  <a:lnTo>
                    <a:pt x="224" y="12"/>
                  </a:lnTo>
                  <a:lnTo>
                    <a:pt x="224" y="7"/>
                  </a:lnTo>
                  <a:lnTo>
                    <a:pt x="227" y="2"/>
                  </a:lnTo>
                  <a:lnTo>
                    <a:pt x="231" y="5"/>
                  </a:lnTo>
                  <a:lnTo>
                    <a:pt x="236" y="7"/>
                  </a:lnTo>
                  <a:lnTo>
                    <a:pt x="248" y="5"/>
                  </a:lnTo>
                  <a:lnTo>
                    <a:pt x="248" y="5"/>
                  </a:lnTo>
                  <a:lnTo>
                    <a:pt x="248" y="2"/>
                  </a:lnTo>
                  <a:lnTo>
                    <a:pt x="241" y="0"/>
                  </a:lnTo>
                  <a:lnTo>
                    <a:pt x="227" y="2"/>
                  </a:lnTo>
                  <a:lnTo>
                    <a:pt x="210" y="2"/>
                  </a:lnTo>
                  <a:lnTo>
                    <a:pt x="201" y="2"/>
                  </a:lnTo>
                  <a:lnTo>
                    <a:pt x="184" y="14"/>
                  </a:lnTo>
                  <a:lnTo>
                    <a:pt x="177" y="21"/>
                  </a:lnTo>
                  <a:lnTo>
                    <a:pt x="184" y="33"/>
                  </a:lnTo>
                  <a:lnTo>
                    <a:pt x="177" y="57"/>
                  </a:lnTo>
                  <a:lnTo>
                    <a:pt x="158" y="64"/>
                  </a:lnTo>
                  <a:lnTo>
                    <a:pt x="156" y="76"/>
                  </a:lnTo>
                  <a:lnTo>
                    <a:pt x="149" y="80"/>
                  </a:lnTo>
                  <a:lnTo>
                    <a:pt x="144" y="92"/>
                  </a:lnTo>
                  <a:lnTo>
                    <a:pt x="144" y="106"/>
                  </a:lnTo>
                  <a:lnTo>
                    <a:pt x="118" y="106"/>
                  </a:lnTo>
                  <a:lnTo>
                    <a:pt x="113" y="116"/>
                  </a:lnTo>
                  <a:lnTo>
                    <a:pt x="94" y="116"/>
                  </a:lnTo>
                  <a:lnTo>
                    <a:pt x="92" y="123"/>
                  </a:lnTo>
                  <a:lnTo>
                    <a:pt x="90" y="142"/>
                  </a:lnTo>
                  <a:lnTo>
                    <a:pt x="78" y="144"/>
                  </a:lnTo>
                  <a:lnTo>
                    <a:pt x="61" y="146"/>
                  </a:lnTo>
                  <a:lnTo>
                    <a:pt x="38" y="149"/>
                  </a:lnTo>
                  <a:lnTo>
                    <a:pt x="19" y="149"/>
                  </a:lnTo>
                  <a:lnTo>
                    <a:pt x="12" y="142"/>
                  </a:lnTo>
                  <a:lnTo>
                    <a:pt x="0" y="146"/>
                  </a:lnTo>
                  <a:lnTo>
                    <a:pt x="19" y="168"/>
                  </a:lnTo>
                  <a:lnTo>
                    <a:pt x="31" y="180"/>
                  </a:lnTo>
                  <a:lnTo>
                    <a:pt x="31" y="194"/>
                  </a:lnTo>
                  <a:lnTo>
                    <a:pt x="40" y="194"/>
                  </a:lnTo>
                  <a:lnTo>
                    <a:pt x="40" y="203"/>
                  </a:lnTo>
                  <a:lnTo>
                    <a:pt x="26" y="203"/>
                  </a:lnTo>
                  <a:lnTo>
                    <a:pt x="9" y="213"/>
                  </a:lnTo>
                  <a:lnTo>
                    <a:pt x="9" y="232"/>
                  </a:lnTo>
                  <a:lnTo>
                    <a:pt x="38" y="234"/>
                  </a:lnTo>
                  <a:lnTo>
                    <a:pt x="42" y="227"/>
                  </a:lnTo>
                  <a:lnTo>
                    <a:pt x="94" y="222"/>
                  </a:lnTo>
                  <a:lnTo>
                    <a:pt x="94" y="227"/>
                  </a:lnTo>
                  <a:lnTo>
                    <a:pt x="116" y="253"/>
                  </a:lnTo>
                  <a:lnTo>
                    <a:pt x="118" y="255"/>
                  </a:lnTo>
                  <a:lnTo>
                    <a:pt x="113" y="25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a:p>
          </p:txBody>
        </p:sp>
        <p:sp>
          <p:nvSpPr>
            <p:cNvPr id="1089" name="Freeform 13">
              <a:extLst>
                <a:ext uri="{FF2B5EF4-FFF2-40B4-BE49-F238E27FC236}">
                  <a16:creationId xmlns:a16="http://schemas.microsoft.com/office/drawing/2014/main" id="{50101E2A-8D28-4B55-9E60-DEE26E65C74D}"/>
                </a:ext>
              </a:extLst>
            </p:cNvPr>
            <p:cNvSpPr>
              <a:spLocks/>
            </p:cNvSpPr>
            <p:nvPr/>
          </p:nvSpPr>
          <p:spPr bwMode="auto">
            <a:xfrm>
              <a:off x="8262835" y="4354323"/>
              <a:ext cx="7485" cy="17963"/>
            </a:xfrm>
            <a:custGeom>
              <a:avLst/>
              <a:gdLst>
                <a:gd name="T0" fmla="*/ 3 w 5"/>
                <a:gd name="T1" fmla="*/ 0 h 12"/>
                <a:gd name="T2" fmla="*/ 0 w 5"/>
                <a:gd name="T3" fmla="*/ 2 h 12"/>
                <a:gd name="T4" fmla="*/ 0 w 5"/>
                <a:gd name="T5" fmla="*/ 12 h 12"/>
                <a:gd name="T6" fmla="*/ 5 w 5"/>
                <a:gd name="T7" fmla="*/ 7 h 12"/>
                <a:gd name="T8" fmla="*/ 3 w 5"/>
                <a:gd name="T9" fmla="*/ 5 h 12"/>
                <a:gd name="T10" fmla="*/ 5 w 5"/>
                <a:gd name="T11" fmla="*/ 2 h 12"/>
                <a:gd name="T12" fmla="*/ 3 w 5"/>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5" h="12">
                  <a:moveTo>
                    <a:pt x="3" y="0"/>
                  </a:moveTo>
                  <a:lnTo>
                    <a:pt x="0" y="2"/>
                  </a:lnTo>
                  <a:lnTo>
                    <a:pt x="0" y="12"/>
                  </a:lnTo>
                  <a:lnTo>
                    <a:pt x="5" y="7"/>
                  </a:lnTo>
                  <a:lnTo>
                    <a:pt x="3" y="5"/>
                  </a:lnTo>
                  <a:lnTo>
                    <a:pt x="5" y="2"/>
                  </a:lnTo>
                  <a:lnTo>
                    <a:pt x="3"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a:p>
          </p:txBody>
        </p:sp>
        <p:sp>
          <p:nvSpPr>
            <p:cNvPr id="1090" name="Freeform 14">
              <a:extLst>
                <a:ext uri="{FF2B5EF4-FFF2-40B4-BE49-F238E27FC236}">
                  <a16:creationId xmlns:a16="http://schemas.microsoft.com/office/drawing/2014/main" id="{D06D5451-B5C7-4C08-9D21-25113D033395}"/>
                </a:ext>
              </a:extLst>
            </p:cNvPr>
            <p:cNvSpPr>
              <a:spLocks/>
            </p:cNvSpPr>
            <p:nvPr/>
          </p:nvSpPr>
          <p:spPr bwMode="auto">
            <a:xfrm>
              <a:off x="8267326" y="4372287"/>
              <a:ext cx="2994" cy="17963"/>
            </a:xfrm>
            <a:custGeom>
              <a:avLst/>
              <a:gdLst>
                <a:gd name="T0" fmla="*/ 0 w 2"/>
                <a:gd name="T1" fmla="*/ 12 h 12"/>
                <a:gd name="T2" fmla="*/ 2 w 2"/>
                <a:gd name="T3" fmla="*/ 12 h 12"/>
                <a:gd name="T4" fmla="*/ 2 w 2"/>
                <a:gd name="T5" fmla="*/ 0 h 12"/>
                <a:gd name="T6" fmla="*/ 0 w 2"/>
                <a:gd name="T7" fmla="*/ 5 h 12"/>
                <a:gd name="T8" fmla="*/ 0 w 2"/>
                <a:gd name="T9" fmla="*/ 12 h 12"/>
              </a:gdLst>
              <a:ahLst/>
              <a:cxnLst>
                <a:cxn ang="0">
                  <a:pos x="T0" y="T1"/>
                </a:cxn>
                <a:cxn ang="0">
                  <a:pos x="T2" y="T3"/>
                </a:cxn>
                <a:cxn ang="0">
                  <a:pos x="T4" y="T5"/>
                </a:cxn>
                <a:cxn ang="0">
                  <a:pos x="T6" y="T7"/>
                </a:cxn>
                <a:cxn ang="0">
                  <a:pos x="T8" y="T9"/>
                </a:cxn>
              </a:cxnLst>
              <a:rect l="0" t="0" r="r" b="b"/>
              <a:pathLst>
                <a:path w="2" h="12">
                  <a:moveTo>
                    <a:pt x="0" y="12"/>
                  </a:moveTo>
                  <a:lnTo>
                    <a:pt x="2" y="12"/>
                  </a:lnTo>
                  <a:lnTo>
                    <a:pt x="2" y="0"/>
                  </a:lnTo>
                  <a:lnTo>
                    <a:pt x="0" y="5"/>
                  </a:lnTo>
                  <a:lnTo>
                    <a:pt x="0" y="1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a:p>
          </p:txBody>
        </p:sp>
        <p:sp>
          <p:nvSpPr>
            <p:cNvPr id="1091" name="Freeform 15">
              <a:extLst>
                <a:ext uri="{FF2B5EF4-FFF2-40B4-BE49-F238E27FC236}">
                  <a16:creationId xmlns:a16="http://schemas.microsoft.com/office/drawing/2014/main" id="{C095E2D1-0132-4FF0-9812-F3975F0DD7A6}"/>
                </a:ext>
              </a:extLst>
            </p:cNvPr>
            <p:cNvSpPr>
              <a:spLocks/>
            </p:cNvSpPr>
            <p:nvPr/>
          </p:nvSpPr>
          <p:spPr bwMode="auto">
            <a:xfrm>
              <a:off x="8262835" y="4393244"/>
              <a:ext cx="4491" cy="17963"/>
            </a:xfrm>
            <a:custGeom>
              <a:avLst/>
              <a:gdLst>
                <a:gd name="T0" fmla="*/ 0 w 3"/>
                <a:gd name="T1" fmla="*/ 9 h 12"/>
                <a:gd name="T2" fmla="*/ 0 w 3"/>
                <a:gd name="T3" fmla="*/ 12 h 12"/>
                <a:gd name="T4" fmla="*/ 3 w 3"/>
                <a:gd name="T5" fmla="*/ 5 h 12"/>
                <a:gd name="T6" fmla="*/ 3 w 3"/>
                <a:gd name="T7" fmla="*/ 0 h 12"/>
                <a:gd name="T8" fmla="*/ 0 w 3"/>
                <a:gd name="T9" fmla="*/ 9 h 12"/>
              </a:gdLst>
              <a:ahLst/>
              <a:cxnLst>
                <a:cxn ang="0">
                  <a:pos x="T0" y="T1"/>
                </a:cxn>
                <a:cxn ang="0">
                  <a:pos x="T2" y="T3"/>
                </a:cxn>
                <a:cxn ang="0">
                  <a:pos x="T4" y="T5"/>
                </a:cxn>
                <a:cxn ang="0">
                  <a:pos x="T6" y="T7"/>
                </a:cxn>
                <a:cxn ang="0">
                  <a:pos x="T8" y="T9"/>
                </a:cxn>
              </a:cxnLst>
              <a:rect l="0" t="0" r="r" b="b"/>
              <a:pathLst>
                <a:path w="3" h="12">
                  <a:moveTo>
                    <a:pt x="0" y="9"/>
                  </a:moveTo>
                  <a:lnTo>
                    <a:pt x="0" y="12"/>
                  </a:lnTo>
                  <a:lnTo>
                    <a:pt x="3" y="5"/>
                  </a:lnTo>
                  <a:lnTo>
                    <a:pt x="3" y="0"/>
                  </a:lnTo>
                  <a:lnTo>
                    <a:pt x="0" y="9"/>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a:p>
          </p:txBody>
        </p:sp>
        <p:sp>
          <p:nvSpPr>
            <p:cNvPr id="1092" name="Freeform 16">
              <a:extLst>
                <a:ext uri="{FF2B5EF4-FFF2-40B4-BE49-F238E27FC236}">
                  <a16:creationId xmlns:a16="http://schemas.microsoft.com/office/drawing/2014/main" id="{590231D7-7B00-44B9-BB4F-327E7946C202}"/>
                </a:ext>
              </a:extLst>
            </p:cNvPr>
            <p:cNvSpPr>
              <a:spLocks noEditPoints="1"/>
            </p:cNvSpPr>
            <p:nvPr/>
          </p:nvSpPr>
          <p:spPr bwMode="auto">
            <a:xfrm>
              <a:off x="7580223" y="3671711"/>
              <a:ext cx="795641" cy="827818"/>
            </a:xfrm>
            <a:custGeom>
              <a:avLst/>
              <a:gdLst>
                <a:gd name="T0" fmla="*/ 219 w 227"/>
                <a:gd name="T1" fmla="*/ 70 h 234"/>
                <a:gd name="T2" fmla="*/ 215 w 227"/>
                <a:gd name="T3" fmla="*/ 64 h 234"/>
                <a:gd name="T4" fmla="*/ 196 w 227"/>
                <a:gd name="T5" fmla="*/ 74 h 234"/>
                <a:gd name="T6" fmla="*/ 187 w 227"/>
                <a:gd name="T7" fmla="*/ 80 h 234"/>
                <a:gd name="T8" fmla="*/ 177 w 227"/>
                <a:gd name="T9" fmla="*/ 86 h 234"/>
                <a:gd name="T10" fmla="*/ 162 w 227"/>
                <a:gd name="T11" fmla="*/ 82 h 234"/>
                <a:gd name="T12" fmla="*/ 156 w 227"/>
                <a:gd name="T13" fmla="*/ 82 h 234"/>
                <a:gd name="T14" fmla="*/ 156 w 227"/>
                <a:gd name="T15" fmla="*/ 87 h 234"/>
                <a:gd name="T16" fmla="*/ 136 w 227"/>
                <a:gd name="T17" fmla="*/ 85 h 234"/>
                <a:gd name="T18" fmla="*/ 97 w 227"/>
                <a:gd name="T19" fmla="*/ 61 h 234"/>
                <a:gd name="T20" fmla="*/ 89 w 227"/>
                <a:gd name="T21" fmla="*/ 46 h 234"/>
                <a:gd name="T22" fmla="*/ 87 w 227"/>
                <a:gd name="T23" fmla="*/ 37 h 234"/>
                <a:gd name="T24" fmla="*/ 94 w 227"/>
                <a:gd name="T25" fmla="*/ 26 h 234"/>
                <a:gd name="T26" fmla="*/ 87 w 227"/>
                <a:gd name="T27" fmla="*/ 13 h 234"/>
                <a:gd name="T28" fmla="*/ 67 w 227"/>
                <a:gd name="T29" fmla="*/ 1 h 234"/>
                <a:gd name="T30" fmla="*/ 46 w 227"/>
                <a:gd name="T31" fmla="*/ 5 h 234"/>
                <a:gd name="T32" fmla="*/ 55 w 227"/>
                <a:gd name="T33" fmla="*/ 32 h 234"/>
                <a:gd name="T34" fmla="*/ 62 w 227"/>
                <a:gd name="T35" fmla="*/ 38 h 234"/>
                <a:gd name="T36" fmla="*/ 46 w 227"/>
                <a:gd name="T37" fmla="*/ 53 h 234"/>
                <a:gd name="T38" fmla="*/ 22 w 227"/>
                <a:gd name="T39" fmla="*/ 69 h 234"/>
                <a:gd name="T40" fmla="*/ 18 w 227"/>
                <a:gd name="T41" fmla="*/ 87 h 234"/>
                <a:gd name="T42" fmla="*/ 21 w 227"/>
                <a:gd name="T43" fmla="*/ 99 h 234"/>
                <a:gd name="T44" fmla="*/ 5 w 227"/>
                <a:gd name="T45" fmla="*/ 97 h 234"/>
                <a:gd name="T46" fmla="*/ 1 w 227"/>
                <a:gd name="T47" fmla="*/ 103 h 234"/>
                <a:gd name="T48" fmla="*/ 13 w 227"/>
                <a:gd name="T49" fmla="*/ 113 h 234"/>
                <a:gd name="T50" fmla="*/ 18 w 227"/>
                <a:gd name="T51" fmla="*/ 128 h 234"/>
                <a:gd name="T52" fmla="*/ 30 w 227"/>
                <a:gd name="T53" fmla="*/ 119 h 234"/>
                <a:gd name="T54" fmla="*/ 33 w 227"/>
                <a:gd name="T55" fmla="*/ 121 h 234"/>
                <a:gd name="T56" fmla="*/ 33 w 227"/>
                <a:gd name="T57" fmla="*/ 134 h 234"/>
                <a:gd name="T58" fmla="*/ 33 w 227"/>
                <a:gd name="T59" fmla="*/ 142 h 234"/>
                <a:gd name="T60" fmla="*/ 34 w 227"/>
                <a:gd name="T61" fmla="*/ 157 h 234"/>
                <a:gd name="T62" fmla="*/ 39 w 227"/>
                <a:gd name="T63" fmla="*/ 177 h 234"/>
                <a:gd name="T64" fmla="*/ 44 w 227"/>
                <a:gd name="T65" fmla="*/ 195 h 234"/>
                <a:gd name="T66" fmla="*/ 56 w 227"/>
                <a:gd name="T67" fmla="*/ 222 h 234"/>
                <a:gd name="T68" fmla="*/ 64 w 227"/>
                <a:gd name="T69" fmla="*/ 234 h 234"/>
                <a:gd name="T70" fmla="*/ 78 w 227"/>
                <a:gd name="T71" fmla="*/ 224 h 234"/>
                <a:gd name="T72" fmla="*/ 85 w 227"/>
                <a:gd name="T73" fmla="*/ 205 h 234"/>
                <a:gd name="T74" fmla="*/ 88 w 227"/>
                <a:gd name="T75" fmla="*/ 190 h 234"/>
                <a:gd name="T76" fmla="*/ 97 w 227"/>
                <a:gd name="T77" fmla="*/ 171 h 234"/>
                <a:gd name="T78" fmla="*/ 109 w 227"/>
                <a:gd name="T79" fmla="*/ 162 h 234"/>
                <a:gd name="T80" fmla="*/ 133 w 227"/>
                <a:gd name="T81" fmla="*/ 143 h 234"/>
                <a:gd name="T82" fmla="*/ 147 w 227"/>
                <a:gd name="T83" fmla="*/ 134 h 234"/>
                <a:gd name="T84" fmla="*/ 153 w 227"/>
                <a:gd name="T85" fmla="*/ 127 h 234"/>
                <a:gd name="T86" fmla="*/ 159 w 227"/>
                <a:gd name="T87" fmla="*/ 125 h 234"/>
                <a:gd name="T88" fmla="*/ 163 w 227"/>
                <a:gd name="T89" fmla="*/ 124 h 234"/>
                <a:gd name="T90" fmla="*/ 161 w 227"/>
                <a:gd name="T91" fmla="*/ 107 h 234"/>
                <a:gd name="T92" fmla="*/ 159 w 227"/>
                <a:gd name="T93" fmla="*/ 99 h 234"/>
                <a:gd name="T94" fmla="*/ 160 w 227"/>
                <a:gd name="T95" fmla="*/ 89 h 234"/>
                <a:gd name="T96" fmla="*/ 169 w 227"/>
                <a:gd name="T97" fmla="*/ 90 h 234"/>
                <a:gd name="T98" fmla="*/ 184 w 227"/>
                <a:gd name="T99" fmla="*/ 99 h 234"/>
                <a:gd name="T100" fmla="*/ 189 w 227"/>
                <a:gd name="T101" fmla="*/ 104 h 234"/>
                <a:gd name="T102" fmla="*/ 186 w 227"/>
                <a:gd name="T103" fmla="*/ 114 h 234"/>
                <a:gd name="T104" fmla="*/ 194 w 227"/>
                <a:gd name="T105" fmla="*/ 123 h 234"/>
                <a:gd name="T106" fmla="*/ 198 w 227"/>
                <a:gd name="T107" fmla="*/ 108 h 234"/>
                <a:gd name="T108" fmla="*/ 208 w 227"/>
                <a:gd name="T109" fmla="*/ 98 h 234"/>
                <a:gd name="T110" fmla="*/ 218 w 227"/>
                <a:gd name="T111" fmla="*/ 81 h 234"/>
                <a:gd name="T112" fmla="*/ 85 w 227"/>
                <a:gd name="T113" fmla="*/ 36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 h="234">
                  <a:moveTo>
                    <a:pt x="224" y="77"/>
                  </a:moveTo>
                  <a:cubicBezTo>
                    <a:pt x="227" y="75"/>
                    <a:pt x="227" y="75"/>
                    <a:pt x="227" y="75"/>
                  </a:cubicBezTo>
                  <a:cubicBezTo>
                    <a:pt x="227" y="72"/>
                    <a:pt x="227" y="72"/>
                    <a:pt x="227" y="72"/>
                  </a:cubicBezTo>
                  <a:cubicBezTo>
                    <a:pt x="226" y="72"/>
                    <a:pt x="226" y="72"/>
                    <a:pt x="226" y="72"/>
                  </a:cubicBezTo>
                  <a:cubicBezTo>
                    <a:pt x="224" y="72"/>
                    <a:pt x="224" y="72"/>
                    <a:pt x="224" y="72"/>
                  </a:cubicBezTo>
                  <a:cubicBezTo>
                    <a:pt x="221" y="71"/>
                    <a:pt x="221" y="71"/>
                    <a:pt x="221" y="71"/>
                  </a:cubicBezTo>
                  <a:cubicBezTo>
                    <a:pt x="220" y="71"/>
                    <a:pt x="220" y="71"/>
                    <a:pt x="220" y="71"/>
                  </a:cubicBezTo>
                  <a:cubicBezTo>
                    <a:pt x="219" y="71"/>
                    <a:pt x="219" y="71"/>
                    <a:pt x="219" y="71"/>
                  </a:cubicBezTo>
                  <a:cubicBezTo>
                    <a:pt x="219" y="70"/>
                    <a:pt x="219" y="70"/>
                    <a:pt x="219" y="70"/>
                  </a:cubicBezTo>
                  <a:cubicBezTo>
                    <a:pt x="221" y="68"/>
                    <a:pt x="221" y="68"/>
                    <a:pt x="221" y="68"/>
                  </a:cubicBezTo>
                  <a:cubicBezTo>
                    <a:pt x="220" y="66"/>
                    <a:pt x="220" y="66"/>
                    <a:pt x="220" y="66"/>
                  </a:cubicBezTo>
                  <a:cubicBezTo>
                    <a:pt x="219" y="66"/>
                    <a:pt x="219" y="66"/>
                    <a:pt x="219" y="66"/>
                  </a:cubicBezTo>
                  <a:cubicBezTo>
                    <a:pt x="219" y="67"/>
                    <a:pt x="219" y="67"/>
                    <a:pt x="219" y="67"/>
                  </a:cubicBezTo>
                  <a:cubicBezTo>
                    <a:pt x="218" y="67"/>
                    <a:pt x="218" y="67"/>
                    <a:pt x="218" y="67"/>
                  </a:cubicBezTo>
                  <a:cubicBezTo>
                    <a:pt x="218" y="66"/>
                    <a:pt x="218" y="66"/>
                    <a:pt x="218" y="66"/>
                  </a:cubicBezTo>
                  <a:cubicBezTo>
                    <a:pt x="219" y="65"/>
                    <a:pt x="219" y="65"/>
                    <a:pt x="219" y="65"/>
                  </a:cubicBezTo>
                  <a:cubicBezTo>
                    <a:pt x="217" y="64"/>
                    <a:pt x="217" y="64"/>
                    <a:pt x="217" y="64"/>
                  </a:cubicBezTo>
                  <a:cubicBezTo>
                    <a:pt x="215" y="64"/>
                    <a:pt x="215" y="64"/>
                    <a:pt x="215" y="64"/>
                  </a:cubicBezTo>
                  <a:cubicBezTo>
                    <a:pt x="212" y="66"/>
                    <a:pt x="212" y="66"/>
                    <a:pt x="212" y="66"/>
                  </a:cubicBezTo>
                  <a:cubicBezTo>
                    <a:pt x="208" y="66"/>
                    <a:pt x="208" y="66"/>
                    <a:pt x="208" y="66"/>
                  </a:cubicBezTo>
                  <a:cubicBezTo>
                    <a:pt x="207" y="65"/>
                    <a:pt x="207" y="65"/>
                    <a:pt x="207" y="65"/>
                  </a:cubicBezTo>
                  <a:cubicBezTo>
                    <a:pt x="203" y="67"/>
                    <a:pt x="203" y="67"/>
                    <a:pt x="203" y="67"/>
                  </a:cubicBezTo>
                  <a:cubicBezTo>
                    <a:pt x="201" y="67"/>
                    <a:pt x="201" y="67"/>
                    <a:pt x="201" y="67"/>
                  </a:cubicBezTo>
                  <a:cubicBezTo>
                    <a:pt x="200" y="70"/>
                    <a:pt x="200" y="70"/>
                    <a:pt x="200" y="70"/>
                  </a:cubicBezTo>
                  <a:cubicBezTo>
                    <a:pt x="198" y="70"/>
                    <a:pt x="198" y="70"/>
                    <a:pt x="198" y="70"/>
                  </a:cubicBezTo>
                  <a:cubicBezTo>
                    <a:pt x="196" y="71"/>
                    <a:pt x="196" y="71"/>
                    <a:pt x="196" y="71"/>
                  </a:cubicBezTo>
                  <a:cubicBezTo>
                    <a:pt x="196" y="74"/>
                    <a:pt x="196" y="74"/>
                    <a:pt x="196" y="74"/>
                  </a:cubicBezTo>
                  <a:cubicBezTo>
                    <a:pt x="192" y="75"/>
                    <a:pt x="192" y="75"/>
                    <a:pt x="192" y="75"/>
                  </a:cubicBezTo>
                  <a:cubicBezTo>
                    <a:pt x="191" y="76"/>
                    <a:pt x="191" y="76"/>
                    <a:pt x="191" y="76"/>
                  </a:cubicBezTo>
                  <a:cubicBezTo>
                    <a:pt x="188" y="77"/>
                    <a:pt x="188" y="77"/>
                    <a:pt x="188" y="77"/>
                  </a:cubicBezTo>
                  <a:cubicBezTo>
                    <a:pt x="186" y="77"/>
                    <a:pt x="186" y="77"/>
                    <a:pt x="186" y="77"/>
                  </a:cubicBezTo>
                  <a:cubicBezTo>
                    <a:pt x="183" y="77"/>
                    <a:pt x="183" y="77"/>
                    <a:pt x="183" y="77"/>
                  </a:cubicBezTo>
                  <a:cubicBezTo>
                    <a:pt x="184" y="79"/>
                    <a:pt x="184" y="79"/>
                    <a:pt x="184" y="79"/>
                  </a:cubicBezTo>
                  <a:cubicBezTo>
                    <a:pt x="184" y="79"/>
                    <a:pt x="184" y="79"/>
                    <a:pt x="184" y="79"/>
                  </a:cubicBezTo>
                  <a:cubicBezTo>
                    <a:pt x="186" y="80"/>
                    <a:pt x="186" y="80"/>
                    <a:pt x="186" y="80"/>
                  </a:cubicBezTo>
                  <a:cubicBezTo>
                    <a:pt x="187" y="80"/>
                    <a:pt x="187" y="80"/>
                    <a:pt x="187" y="80"/>
                  </a:cubicBezTo>
                  <a:cubicBezTo>
                    <a:pt x="187" y="82"/>
                    <a:pt x="187" y="82"/>
                    <a:pt x="187" y="82"/>
                  </a:cubicBezTo>
                  <a:cubicBezTo>
                    <a:pt x="187" y="84"/>
                    <a:pt x="187" y="84"/>
                    <a:pt x="187" y="84"/>
                  </a:cubicBezTo>
                  <a:cubicBezTo>
                    <a:pt x="187" y="84"/>
                    <a:pt x="187" y="84"/>
                    <a:pt x="187" y="84"/>
                  </a:cubicBezTo>
                  <a:cubicBezTo>
                    <a:pt x="186" y="84"/>
                    <a:pt x="186" y="84"/>
                    <a:pt x="186" y="84"/>
                  </a:cubicBezTo>
                  <a:cubicBezTo>
                    <a:pt x="187" y="84"/>
                    <a:pt x="187" y="84"/>
                    <a:pt x="187" y="84"/>
                  </a:cubicBezTo>
                  <a:cubicBezTo>
                    <a:pt x="187" y="84"/>
                    <a:pt x="187" y="84"/>
                    <a:pt x="187" y="84"/>
                  </a:cubicBezTo>
                  <a:cubicBezTo>
                    <a:pt x="187" y="84"/>
                    <a:pt x="187" y="84"/>
                    <a:pt x="187" y="84"/>
                  </a:cubicBezTo>
                  <a:cubicBezTo>
                    <a:pt x="184" y="85"/>
                    <a:pt x="184" y="85"/>
                    <a:pt x="184" y="85"/>
                  </a:cubicBezTo>
                  <a:cubicBezTo>
                    <a:pt x="177" y="86"/>
                    <a:pt x="177" y="86"/>
                    <a:pt x="177" y="86"/>
                  </a:cubicBezTo>
                  <a:cubicBezTo>
                    <a:pt x="174" y="85"/>
                    <a:pt x="174" y="85"/>
                    <a:pt x="174" y="85"/>
                  </a:cubicBezTo>
                  <a:cubicBezTo>
                    <a:pt x="172" y="85"/>
                    <a:pt x="172" y="85"/>
                    <a:pt x="172" y="85"/>
                  </a:cubicBezTo>
                  <a:cubicBezTo>
                    <a:pt x="171" y="85"/>
                    <a:pt x="171" y="85"/>
                    <a:pt x="171" y="85"/>
                  </a:cubicBezTo>
                  <a:cubicBezTo>
                    <a:pt x="171" y="85"/>
                    <a:pt x="171" y="85"/>
                    <a:pt x="171" y="85"/>
                  </a:cubicBezTo>
                  <a:cubicBezTo>
                    <a:pt x="171" y="86"/>
                    <a:pt x="171" y="86"/>
                    <a:pt x="171" y="86"/>
                  </a:cubicBezTo>
                  <a:cubicBezTo>
                    <a:pt x="167" y="85"/>
                    <a:pt x="167" y="85"/>
                    <a:pt x="167" y="85"/>
                  </a:cubicBezTo>
                  <a:cubicBezTo>
                    <a:pt x="163" y="84"/>
                    <a:pt x="163" y="84"/>
                    <a:pt x="163" y="84"/>
                  </a:cubicBezTo>
                  <a:cubicBezTo>
                    <a:pt x="162" y="82"/>
                    <a:pt x="162" y="82"/>
                    <a:pt x="162" y="82"/>
                  </a:cubicBezTo>
                  <a:cubicBezTo>
                    <a:pt x="162" y="82"/>
                    <a:pt x="162" y="82"/>
                    <a:pt x="162" y="82"/>
                  </a:cubicBezTo>
                  <a:cubicBezTo>
                    <a:pt x="162" y="82"/>
                    <a:pt x="162" y="82"/>
                    <a:pt x="162" y="82"/>
                  </a:cubicBezTo>
                  <a:cubicBezTo>
                    <a:pt x="163" y="82"/>
                    <a:pt x="163" y="82"/>
                    <a:pt x="163" y="82"/>
                  </a:cubicBezTo>
                  <a:cubicBezTo>
                    <a:pt x="163" y="81"/>
                    <a:pt x="163" y="81"/>
                    <a:pt x="163" y="81"/>
                  </a:cubicBezTo>
                  <a:cubicBezTo>
                    <a:pt x="162" y="76"/>
                    <a:pt x="162" y="76"/>
                    <a:pt x="162" y="76"/>
                  </a:cubicBezTo>
                  <a:cubicBezTo>
                    <a:pt x="161" y="75"/>
                    <a:pt x="161" y="75"/>
                    <a:pt x="161" y="75"/>
                  </a:cubicBezTo>
                  <a:cubicBezTo>
                    <a:pt x="161" y="75"/>
                    <a:pt x="161" y="75"/>
                    <a:pt x="161" y="75"/>
                  </a:cubicBezTo>
                  <a:cubicBezTo>
                    <a:pt x="157" y="76"/>
                    <a:pt x="157" y="76"/>
                    <a:pt x="157" y="76"/>
                  </a:cubicBezTo>
                  <a:cubicBezTo>
                    <a:pt x="157" y="77"/>
                    <a:pt x="157" y="77"/>
                    <a:pt x="157" y="77"/>
                  </a:cubicBezTo>
                  <a:cubicBezTo>
                    <a:pt x="156" y="82"/>
                    <a:pt x="156" y="82"/>
                    <a:pt x="156" y="82"/>
                  </a:cubicBezTo>
                  <a:cubicBezTo>
                    <a:pt x="156" y="82"/>
                    <a:pt x="156" y="82"/>
                    <a:pt x="156" y="82"/>
                  </a:cubicBezTo>
                  <a:cubicBezTo>
                    <a:pt x="156" y="82"/>
                    <a:pt x="156" y="82"/>
                    <a:pt x="156" y="82"/>
                  </a:cubicBezTo>
                  <a:cubicBezTo>
                    <a:pt x="155" y="82"/>
                    <a:pt x="155" y="82"/>
                    <a:pt x="155" y="82"/>
                  </a:cubicBezTo>
                  <a:cubicBezTo>
                    <a:pt x="156" y="83"/>
                    <a:pt x="156" y="83"/>
                    <a:pt x="156" y="83"/>
                  </a:cubicBezTo>
                  <a:cubicBezTo>
                    <a:pt x="157" y="86"/>
                    <a:pt x="157" y="86"/>
                    <a:pt x="157" y="86"/>
                  </a:cubicBezTo>
                  <a:cubicBezTo>
                    <a:pt x="156" y="86"/>
                    <a:pt x="156" y="86"/>
                    <a:pt x="156" y="86"/>
                  </a:cubicBezTo>
                  <a:cubicBezTo>
                    <a:pt x="156" y="86"/>
                    <a:pt x="156" y="86"/>
                    <a:pt x="156" y="86"/>
                  </a:cubicBezTo>
                  <a:cubicBezTo>
                    <a:pt x="156" y="87"/>
                    <a:pt x="156" y="87"/>
                    <a:pt x="156" y="87"/>
                  </a:cubicBezTo>
                  <a:cubicBezTo>
                    <a:pt x="156" y="87"/>
                    <a:pt x="156" y="87"/>
                    <a:pt x="156" y="87"/>
                  </a:cubicBezTo>
                  <a:cubicBezTo>
                    <a:pt x="156" y="87"/>
                    <a:pt x="156" y="87"/>
                    <a:pt x="156" y="87"/>
                  </a:cubicBezTo>
                  <a:cubicBezTo>
                    <a:pt x="155" y="88"/>
                    <a:pt x="155" y="88"/>
                    <a:pt x="155" y="88"/>
                  </a:cubicBezTo>
                  <a:cubicBezTo>
                    <a:pt x="154" y="88"/>
                    <a:pt x="154" y="88"/>
                    <a:pt x="154" y="88"/>
                  </a:cubicBezTo>
                  <a:cubicBezTo>
                    <a:pt x="152" y="88"/>
                    <a:pt x="152" y="88"/>
                    <a:pt x="152" y="88"/>
                  </a:cubicBezTo>
                  <a:cubicBezTo>
                    <a:pt x="151" y="89"/>
                    <a:pt x="151" y="89"/>
                    <a:pt x="151" y="89"/>
                  </a:cubicBezTo>
                  <a:cubicBezTo>
                    <a:pt x="149" y="88"/>
                    <a:pt x="149" y="88"/>
                    <a:pt x="149" y="88"/>
                  </a:cubicBezTo>
                  <a:cubicBezTo>
                    <a:pt x="149" y="88"/>
                    <a:pt x="149" y="88"/>
                    <a:pt x="149" y="88"/>
                  </a:cubicBezTo>
                  <a:cubicBezTo>
                    <a:pt x="143" y="88"/>
                    <a:pt x="143" y="88"/>
                    <a:pt x="143" y="88"/>
                  </a:cubicBezTo>
                  <a:cubicBezTo>
                    <a:pt x="136" y="85"/>
                    <a:pt x="136" y="85"/>
                    <a:pt x="136" y="85"/>
                  </a:cubicBezTo>
                  <a:cubicBezTo>
                    <a:pt x="129" y="80"/>
                    <a:pt x="129" y="80"/>
                    <a:pt x="129" y="80"/>
                  </a:cubicBezTo>
                  <a:cubicBezTo>
                    <a:pt x="117" y="79"/>
                    <a:pt x="117" y="79"/>
                    <a:pt x="117" y="79"/>
                  </a:cubicBezTo>
                  <a:cubicBezTo>
                    <a:pt x="111" y="76"/>
                    <a:pt x="111" y="76"/>
                    <a:pt x="111" y="76"/>
                  </a:cubicBezTo>
                  <a:cubicBezTo>
                    <a:pt x="104" y="71"/>
                    <a:pt x="104" y="71"/>
                    <a:pt x="104" y="71"/>
                  </a:cubicBezTo>
                  <a:cubicBezTo>
                    <a:pt x="95" y="69"/>
                    <a:pt x="95" y="69"/>
                    <a:pt x="95" y="69"/>
                  </a:cubicBezTo>
                  <a:cubicBezTo>
                    <a:pt x="97" y="62"/>
                    <a:pt x="97" y="62"/>
                    <a:pt x="97" y="62"/>
                  </a:cubicBezTo>
                  <a:cubicBezTo>
                    <a:pt x="97" y="62"/>
                    <a:pt x="97" y="62"/>
                    <a:pt x="97" y="62"/>
                  </a:cubicBezTo>
                  <a:cubicBezTo>
                    <a:pt x="97" y="62"/>
                    <a:pt x="97" y="62"/>
                    <a:pt x="97" y="62"/>
                  </a:cubicBezTo>
                  <a:cubicBezTo>
                    <a:pt x="97" y="61"/>
                    <a:pt x="97" y="61"/>
                    <a:pt x="97" y="61"/>
                  </a:cubicBezTo>
                  <a:cubicBezTo>
                    <a:pt x="103" y="57"/>
                    <a:pt x="103" y="57"/>
                    <a:pt x="103" y="57"/>
                  </a:cubicBezTo>
                  <a:cubicBezTo>
                    <a:pt x="103" y="57"/>
                    <a:pt x="103" y="57"/>
                    <a:pt x="103" y="57"/>
                  </a:cubicBezTo>
                  <a:cubicBezTo>
                    <a:pt x="101" y="55"/>
                    <a:pt x="101" y="55"/>
                    <a:pt x="101" y="55"/>
                  </a:cubicBezTo>
                  <a:cubicBezTo>
                    <a:pt x="96" y="53"/>
                    <a:pt x="96" y="53"/>
                    <a:pt x="96" y="53"/>
                  </a:cubicBezTo>
                  <a:cubicBezTo>
                    <a:pt x="96" y="52"/>
                    <a:pt x="96" y="52"/>
                    <a:pt x="96" y="52"/>
                  </a:cubicBezTo>
                  <a:cubicBezTo>
                    <a:pt x="95" y="50"/>
                    <a:pt x="95" y="50"/>
                    <a:pt x="95" y="50"/>
                  </a:cubicBezTo>
                  <a:cubicBezTo>
                    <a:pt x="92" y="50"/>
                    <a:pt x="92" y="50"/>
                    <a:pt x="92" y="50"/>
                  </a:cubicBezTo>
                  <a:cubicBezTo>
                    <a:pt x="90" y="46"/>
                    <a:pt x="90" y="46"/>
                    <a:pt x="90" y="46"/>
                  </a:cubicBezTo>
                  <a:cubicBezTo>
                    <a:pt x="89" y="46"/>
                    <a:pt x="89" y="46"/>
                    <a:pt x="89" y="46"/>
                  </a:cubicBezTo>
                  <a:cubicBezTo>
                    <a:pt x="88" y="47"/>
                    <a:pt x="88" y="47"/>
                    <a:pt x="88" y="47"/>
                  </a:cubicBezTo>
                  <a:cubicBezTo>
                    <a:pt x="88" y="47"/>
                    <a:pt x="88" y="47"/>
                    <a:pt x="88" y="47"/>
                  </a:cubicBezTo>
                  <a:cubicBezTo>
                    <a:pt x="87" y="47"/>
                    <a:pt x="87" y="47"/>
                    <a:pt x="87" y="47"/>
                  </a:cubicBezTo>
                  <a:cubicBezTo>
                    <a:pt x="88" y="44"/>
                    <a:pt x="88" y="44"/>
                    <a:pt x="88" y="44"/>
                  </a:cubicBezTo>
                  <a:cubicBezTo>
                    <a:pt x="88" y="42"/>
                    <a:pt x="88" y="42"/>
                    <a:pt x="88" y="42"/>
                  </a:cubicBezTo>
                  <a:cubicBezTo>
                    <a:pt x="85" y="39"/>
                    <a:pt x="85" y="39"/>
                    <a:pt x="85" y="39"/>
                  </a:cubicBezTo>
                  <a:cubicBezTo>
                    <a:pt x="86" y="37"/>
                    <a:pt x="86" y="37"/>
                    <a:pt x="86" y="37"/>
                  </a:cubicBezTo>
                  <a:cubicBezTo>
                    <a:pt x="86" y="37"/>
                    <a:pt x="86" y="37"/>
                    <a:pt x="86" y="37"/>
                  </a:cubicBezTo>
                  <a:cubicBezTo>
                    <a:pt x="87" y="37"/>
                    <a:pt x="87" y="37"/>
                    <a:pt x="87" y="37"/>
                  </a:cubicBezTo>
                  <a:cubicBezTo>
                    <a:pt x="88" y="38"/>
                    <a:pt x="88" y="38"/>
                    <a:pt x="88" y="38"/>
                  </a:cubicBezTo>
                  <a:cubicBezTo>
                    <a:pt x="90" y="38"/>
                    <a:pt x="90" y="38"/>
                    <a:pt x="90" y="38"/>
                  </a:cubicBezTo>
                  <a:cubicBezTo>
                    <a:pt x="91" y="38"/>
                    <a:pt x="91" y="38"/>
                    <a:pt x="91" y="38"/>
                  </a:cubicBezTo>
                  <a:cubicBezTo>
                    <a:pt x="93" y="34"/>
                    <a:pt x="93" y="34"/>
                    <a:pt x="93" y="34"/>
                  </a:cubicBezTo>
                  <a:cubicBezTo>
                    <a:pt x="93" y="32"/>
                    <a:pt x="93" y="32"/>
                    <a:pt x="93" y="32"/>
                  </a:cubicBezTo>
                  <a:cubicBezTo>
                    <a:pt x="91" y="32"/>
                    <a:pt x="91" y="32"/>
                    <a:pt x="91" y="32"/>
                  </a:cubicBezTo>
                  <a:cubicBezTo>
                    <a:pt x="90" y="30"/>
                    <a:pt x="90" y="30"/>
                    <a:pt x="90" y="30"/>
                  </a:cubicBezTo>
                  <a:cubicBezTo>
                    <a:pt x="90" y="27"/>
                    <a:pt x="90" y="27"/>
                    <a:pt x="90" y="27"/>
                  </a:cubicBezTo>
                  <a:cubicBezTo>
                    <a:pt x="94" y="26"/>
                    <a:pt x="94" y="26"/>
                    <a:pt x="94" y="26"/>
                  </a:cubicBezTo>
                  <a:cubicBezTo>
                    <a:pt x="95" y="23"/>
                    <a:pt x="95" y="23"/>
                    <a:pt x="95" y="23"/>
                  </a:cubicBezTo>
                  <a:cubicBezTo>
                    <a:pt x="98" y="21"/>
                    <a:pt x="98" y="21"/>
                    <a:pt x="98" y="21"/>
                  </a:cubicBezTo>
                  <a:cubicBezTo>
                    <a:pt x="99" y="16"/>
                    <a:pt x="99" y="16"/>
                    <a:pt x="99" y="16"/>
                  </a:cubicBezTo>
                  <a:cubicBezTo>
                    <a:pt x="101" y="14"/>
                    <a:pt x="101" y="14"/>
                    <a:pt x="101" y="14"/>
                  </a:cubicBezTo>
                  <a:cubicBezTo>
                    <a:pt x="99" y="12"/>
                    <a:pt x="99" y="12"/>
                    <a:pt x="99" y="12"/>
                  </a:cubicBezTo>
                  <a:cubicBezTo>
                    <a:pt x="96" y="12"/>
                    <a:pt x="96" y="12"/>
                    <a:pt x="96" y="12"/>
                  </a:cubicBezTo>
                  <a:cubicBezTo>
                    <a:pt x="92" y="10"/>
                    <a:pt x="92" y="10"/>
                    <a:pt x="92" y="10"/>
                  </a:cubicBezTo>
                  <a:cubicBezTo>
                    <a:pt x="90" y="13"/>
                    <a:pt x="90" y="13"/>
                    <a:pt x="90" y="13"/>
                  </a:cubicBezTo>
                  <a:cubicBezTo>
                    <a:pt x="87" y="13"/>
                    <a:pt x="87" y="13"/>
                    <a:pt x="87" y="13"/>
                  </a:cubicBezTo>
                  <a:cubicBezTo>
                    <a:pt x="85" y="14"/>
                    <a:pt x="85" y="14"/>
                    <a:pt x="85" y="14"/>
                  </a:cubicBezTo>
                  <a:cubicBezTo>
                    <a:pt x="81" y="14"/>
                    <a:pt x="81" y="14"/>
                    <a:pt x="81" y="14"/>
                  </a:cubicBezTo>
                  <a:cubicBezTo>
                    <a:pt x="76" y="12"/>
                    <a:pt x="76" y="12"/>
                    <a:pt x="76" y="12"/>
                  </a:cubicBezTo>
                  <a:cubicBezTo>
                    <a:pt x="75" y="8"/>
                    <a:pt x="75" y="8"/>
                    <a:pt x="75" y="8"/>
                  </a:cubicBezTo>
                  <a:cubicBezTo>
                    <a:pt x="74" y="8"/>
                    <a:pt x="74" y="8"/>
                    <a:pt x="74" y="8"/>
                  </a:cubicBezTo>
                  <a:cubicBezTo>
                    <a:pt x="73" y="6"/>
                    <a:pt x="73" y="6"/>
                    <a:pt x="73" y="6"/>
                  </a:cubicBezTo>
                  <a:cubicBezTo>
                    <a:pt x="70" y="6"/>
                    <a:pt x="70" y="6"/>
                    <a:pt x="70" y="6"/>
                  </a:cubicBezTo>
                  <a:cubicBezTo>
                    <a:pt x="69" y="3"/>
                    <a:pt x="69" y="3"/>
                    <a:pt x="69" y="3"/>
                  </a:cubicBezTo>
                  <a:cubicBezTo>
                    <a:pt x="67" y="1"/>
                    <a:pt x="67" y="1"/>
                    <a:pt x="67" y="1"/>
                  </a:cubicBezTo>
                  <a:cubicBezTo>
                    <a:pt x="65" y="0"/>
                    <a:pt x="65" y="0"/>
                    <a:pt x="65" y="0"/>
                  </a:cubicBezTo>
                  <a:cubicBezTo>
                    <a:pt x="60" y="2"/>
                    <a:pt x="60" y="2"/>
                    <a:pt x="60" y="2"/>
                  </a:cubicBezTo>
                  <a:cubicBezTo>
                    <a:pt x="55" y="3"/>
                    <a:pt x="55" y="3"/>
                    <a:pt x="55" y="3"/>
                  </a:cubicBezTo>
                  <a:cubicBezTo>
                    <a:pt x="53" y="2"/>
                    <a:pt x="53" y="2"/>
                    <a:pt x="53" y="2"/>
                  </a:cubicBezTo>
                  <a:cubicBezTo>
                    <a:pt x="51" y="1"/>
                    <a:pt x="51" y="1"/>
                    <a:pt x="51" y="1"/>
                  </a:cubicBezTo>
                  <a:cubicBezTo>
                    <a:pt x="50" y="3"/>
                    <a:pt x="50" y="3"/>
                    <a:pt x="50" y="3"/>
                  </a:cubicBezTo>
                  <a:cubicBezTo>
                    <a:pt x="50" y="5"/>
                    <a:pt x="50" y="5"/>
                    <a:pt x="50" y="5"/>
                  </a:cubicBezTo>
                  <a:cubicBezTo>
                    <a:pt x="48" y="5"/>
                    <a:pt x="48" y="5"/>
                    <a:pt x="48" y="5"/>
                  </a:cubicBezTo>
                  <a:cubicBezTo>
                    <a:pt x="46" y="5"/>
                    <a:pt x="46" y="5"/>
                    <a:pt x="46" y="5"/>
                  </a:cubicBezTo>
                  <a:cubicBezTo>
                    <a:pt x="46" y="8"/>
                    <a:pt x="46" y="8"/>
                    <a:pt x="46" y="8"/>
                  </a:cubicBezTo>
                  <a:cubicBezTo>
                    <a:pt x="47" y="10"/>
                    <a:pt x="47" y="10"/>
                    <a:pt x="47" y="10"/>
                  </a:cubicBezTo>
                  <a:cubicBezTo>
                    <a:pt x="51" y="11"/>
                    <a:pt x="51" y="11"/>
                    <a:pt x="51" y="11"/>
                  </a:cubicBezTo>
                  <a:cubicBezTo>
                    <a:pt x="55" y="14"/>
                    <a:pt x="55" y="14"/>
                    <a:pt x="55" y="14"/>
                  </a:cubicBezTo>
                  <a:cubicBezTo>
                    <a:pt x="56" y="16"/>
                    <a:pt x="56" y="16"/>
                    <a:pt x="56" y="16"/>
                  </a:cubicBezTo>
                  <a:cubicBezTo>
                    <a:pt x="52" y="21"/>
                    <a:pt x="52" y="21"/>
                    <a:pt x="52" y="21"/>
                  </a:cubicBezTo>
                  <a:cubicBezTo>
                    <a:pt x="53" y="29"/>
                    <a:pt x="53" y="29"/>
                    <a:pt x="53" y="29"/>
                  </a:cubicBezTo>
                  <a:cubicBezTo>
                    <a:pt x="54" y="31"/>
                    <a:pt x="54" y="31"/>
                    <a:pt x="54" y="31"/>
                  </a:cubicBezTo>
                  <a:cubicBezTo>
                    <a:pt x="55" y="32"/>
                    <a:pt x="55" y="32"/>
                    <a:pt x="55" y="32"/>
                  </a:cubicBezTo>
                  <a:cubicBezTo>
                    <a:pt x="55" y="33"/>
                    <a:pt x="55" y="33"/>
                    <a:pt x="55" y="33"/>
                  </a:cubicBezTo>
                  <a:cubicBezTo>
                    <a:pt x="57" y="33"/>
                    <a:pt x="57" y="33"/>
                    <a:pt x="57" y="33"/>
                  </a:cubicBezTo>
                  <a:cubicBezTo>
                    <a:pt x="58" y="33"/>
                    <a:pt x="58" y="33"/>
                    <a:pt x="58" y="33"/>
                  </a:cubicBezTo>
                  <a:cubicBezTo>
                    <a:pt x="58" y="34"/>
                    <a:pt x="58" y="34"/>
                    <a:pt x="58" y="34"/>
                  </a:cubicBezTo>
                  <a:cubicBezTo>
                    <a:pt x="58" y="36"/>
                    <a:pt x="58" y="36"/>
                    <a:pt x="58" y="36"/>
                  </a:cubicBezTo>
                  <a:cubicBezTo>
                    <a:pt x="61" y="36"/>
                    <a:pt x="61" y="36"/>
                    <a:pt x="61" y="36"/>
                  </a:cubicBezTo>
                  <a:cubicBezTo>
                    <a:pt x="62" y="38"/>
                    <a:pt x="62" y="38"/>
                    <a:pt x="62" y="38"/>
                  </a:cubicBezTo>
                  <a:cubicBezTo>
                    <a:pt x="62" y="38"/>
                    <a:pt x="62" y="38"/>
                    <a:pt x="62" y="38"/>
                  </a:cubicBezTo>
                  <a:cubicBezTo>
                    <a:pt x="62" y="38"/>
                    <a:pt x="62" y="38"/>
                    <a:pt x="62" y="38"/>
                  </a:cubicBezTo>
                  <a:cubicBezTo>
                    <a:pt x="60" y="39"/>
                    <a:pt x="60" y="39"/>
                    <a:pt x="60" y="39"/>
                  </a:cubicBezTo>
                  <a:cubicBezTo>
                    <a:pt x="57" y="41"/>
                    <a:pt x="57" y="41"/>
                    <a:pt x="57" y="41"/>
                  </a:cubicBezTo>
                  <a:cubicBezTo>
                    <a:pt x="55" y="42"/>
                    <a:pt x="55" y="42"/>
                    <a:pt x="55" y="42"/>
                  </a:cubicBezTo>
                  <a:cubicBezTo>
                    <a:pt x="56" y="43"/>
                    <a:pt x="56" y="43"/>
                    <a:pt x="56" y="43"/>
                  </a:cubicBezTo>
                  <a:cubicBezTo>
                    <a:pt x="55" y="46"/>
                    <a:pt x="55" y="46"/>
                    <a:pt x="55" y="46"/>
                  </a:cubicBezTo>
                  <a:cubicBezTo>
                    <a:pt x="55" y="48"/>
                    <a:pt x="55" y="48"/>
                    <a:pt x="55" y="48"/>
                  </a:cubicBezTo>
                  <a:cubicBezTo>
                    <a:pt x="51" y="51"/>
                    <a:pt x="51" y="51"/>
                    <a:pt x="51" y="51"/>
                  </a:cubicBezTo>
                  <a:cubicBezTo>
                    <a:pt x="50" y="53"/>
                    <a:pt x="50" y="53"/>
                    <a:pt x="50" y="53"/>
                  </a:cubicBezTo>
                  <a:cubicBezTo>
                    <a:pt x="46" y="53"/>
                    <a:pt x="46" y="53"/>
                    <a:pt x="46" y="53"/>
                  </a:cubicBezTo>
                  <a:cubicBezTo>
                    <a:pt x="46" y="55"/>
                    <a:pt x="46" y="55"/>
                    <a:pt x="46" y="55"/>
                  </a:cubicBezTo>
                  <a:cubicBezTo>
                    <a:pt x="40" y="63"/>
                    <a:pt x="40" y="63"/>
                    <a:pt x="40" y="63"/>
                  </a:cubicBezTo>
                  <a:cubicBezTo>
                    <a:pt x="37" y="64"/>
                    <a:pt x="37" y="64"/>
                    <a:pt x="37" y="64"/>
                  </a:cubicBezTo>
                  <a:cubicBezTo>
                    <a:pt x="33" y="67"/>
                    <a:pt x="33" y="67"/>
                    <a:pt x="33" y="67"/>
                  </a:cubicBezTo>
                  <a:cubicBezTo>
                    <a:pt x="32" y="71"/>
                    <a:pt x="32" y="71"/>
                    <a:pt x="32" y="71"/>
                  </a:cubicBezTo>
                  <a:cubicBezTo>
                    <a:pt x="24" y="72"/>
                    <a:pt x="24" y="72"/>
                    <a:pt x="24" y="72"/>
                  </a:cubicBezTo>
                  <a:cubicBezTo>
                    <a:pt x="23" y="71"/>
                    <a:pt x="23" y="71"/>
                    <a:pt x="23" y="71"/>
                  </a:cubicBezTo>
                  <a:cubicBezTo>
                    <a:pt x="23" y="70"/>
                    <a:pt x="23" y="70"/>
                    <a:pt x="23" y="70"/>
                  </a:cubicBezTo>
                  <a:cubicBezTo>
                    <a:pt x="22" y="69"/>
                    <a:pt x="22" y="69"/>
                    <a:pt x="22" y="69"/>
                  </a:cubicBezTo>
                  <a:cubicBezTo>
                    <a:pt x="21" y="69"/>
                    <a:pt x="21" y="69"/>
                    <a:pt x="21" y="69"/>
                  </a:cubicBezTo>
                  <a:cubicBezTo>
                    <a:pt x="20" y="69"/>
                    <a:pt x="20" y="69"/>
                    <a:pt x="20" y="69"/>
                  </a:cubicBezTo>
                  <a:cubicBezTo>
                    <a:pt x="18" y="71"/>
                    <a:pt x="18" y="71"/>
                    <a:pt x="18" y="71"/>
                  </a:cubicBezTo>
                  <a:cubicBezTo>
                    <a:pt x="13" y="76"/>
                    <a:pt x="13" y="76"/>
                    <a:pt x="13" y="76"/>
                  </a:cubicBezTo>
                  <a:cubicBezTo>
                    <a:pt x="12" y="78"/>
                    <a:pt x="12" y="78"/>
                    <a:pt x="12" y="78"/>
                  </a:cubicBezTo>
                  <a:cubicBezTo>
                    <a:pt x="15" y="80"/>
                    <a:pt x="15" y="80"/>
                    <a:pt x="15" y="80"/>
                  </a:cubicBezTo>
                  <a:cubicBezTo>
                    <a:pt x="18" y="81"/>
                    <a:pt x="18" y="81"/>
                    <a:pt x="18" y="81"/>
                  </a:cubicBezTo>
                  <a:cubicBezTo>
                    <a:pt x="17" y="84"/>
                    <a:pt x="17" y="84"/>
                    <a:pt x="17" y="84"/>
                  </a:cubicBezTo>
                  <a:cubicBezTo>
                    <a:pt x="18" y="87"/>
                    <a:pt x="18" y="87"/>
                    <a:pt x="18" y="87"/>
                  </a:cubicBezTo>
                  <a:cubicBezTo>
                    <a:pt x="20" y="88"/>
                    <a:pt x="20" y="88"/>
                    <a:pt x="20" y="88"/>
                  </a:cubicBezTo>
                  <a:cubicBezTo>
                    <a:pt x="21" y="90"/>
                    <a:pt x="21" y="90"/>
                    <a:pt x="21" y="90"/>
                  </a:cubicBezTo>
                  <a:cubicBezTo>
                    <a:pt x="22" y="92"/>
                    <a:pt x="22" y="92"/>
                    <a:pt x="22" y="92"/>
                  </a:cubicBezTo>
                  <a:cubicBezTo>
                    <a:pt x="22" y="95"/>
                    <a:pt x="22" y="95"/>
                    <a:pt x="22" y="95"/>
                  </a:cubicBezTo>
                  <a:cubicBezTo>
                    <a:pt x="23" y="96"/>
                    <a:pt x="23" y="96"/>
                    <a:pt x="23" y="96"/>
                  </a:cubicBezTo>
                  <a:cubicBezTo>
                    <a:pt x="23" y="96"/>
                    <a:pt x="23" y="96"/>
                    <a:pt x="23" y="96"/>
                  </a:cubicBezTo>
                  <a:cubicBezTo>
                    <a:pt x="22" y="97"/>
                    <a:pt x="22" y="97"/>
                    <a:pt x="22" y="97"/>
                  </a:cubicBezTo>
                  <a:cubicBezTo>
                    <a:pt x="23" y="98"/>
                    <a:pt x="23" y="98"/>
                    <a:pt x="23" y="98"/>
                  </a:cubicBezTo>
                  <a:cubicBezTo>
                    <a:pt x="21" y="99"/>
                    <a:pt x="21" y="99"/>
                    <a:pt x="21" y="99"/>
                  </a:cubicBezTo>
                  <a:cubicBezTo>
                    <a:pt x="20" y="99"/>
                    <a:pt x="20" y="99"/>
                    <a:pt x="20" y="99"/>
                  </a:cubicBezTo>
                  <a:cubicBezTo>
                    <a:pt x="20" y="98"/>
                    <a:pt x="20" y="98"/>
                    <a:pt x="20" y="98"/>
                  </a:cubicBezTo>
                  <a:cubicBezTo>
                    <a:pt x="19" y="97"/>
                    <a:pt x="19" y="97"/>
                    <a:pt x="19" y="97"/>
                  </a:cubicBezTo>
                  <a:cubicBezTo>
                    <a:pt x="14" y="99"/>
                    <a:pt x="14" y="99"/>
                    <a:pt x="14" y="99"/>
                  </a:cubicBezTo>
                  <a:cubicBezTo>
                    <a:pt x="11" y="98"/>
                    <a:pt x="11" y="98"/>
                    <a:pt x="11" y="98"/>
                  </a:cubicBezTo>
                  <a:cubicBezTo>
                    <a:pt x="7" y="98"/>
                    <a:pt x="7" y="98"/>
                    <a:pt x="7" y="98"/>
                  </a:cubicBezTo>
                  <a:cubicBezTo>
                    <a:pt x="7" y="97"/>
                    <a:pt x="7" y="97"/>
                    <a:pt x="7" y="97"/>
                  </a:cubicBezTo>
                  <a:cubicBezTo>
                    <a:pt x="6" y="97"/>
                    <a:pt x="6" y="97"/>
                    <a:pt x="6" y="97"/>
                  </a:cubicBezTo>
                  <a:cubicBezTo>
                    <a:pt x="5" y="97"/>
                    <a:pt x="5" y="97"/>
                    <a:pt x="5" y="97"/>
                  </a:cubicBezTo>
                  <a:cubicBezTo>
                    <a:pt x="4" y="97"/>
                    <a:pt x="4" y="97"/>
                    <a:pt x="4" y="97"/>
                  </a:cubicBezTo>
                  <a:cubicBezTo>
                    <a:pt x="3" y="99"/>
                    <a:pt x="3" y="99"/>
                    <a:pt x="3" y="99"/>
                  </a:cubicBezTo>
                  <a:cubicBezTo>
                    <a:pt x="2" y="99"/>
                    <a:pt x="2" y="99"/>
                    <a:pt x="2" y="99"/>
                  </a:cubicBezTo>
                  <a:cubicBezTo>
                    <a:pt x="0" y="101"/>
                    <a:pt x="0" y="101"/>
                    <a:pt x="0" y="101"/>
                  </a:cubicBezTo>
                  <a:cubicBezTo>
                    <a:pt x="1" y="101"/>
                    <a:pt x="1" y="101"/>
                    <a:pt x="1" y="101"/>
                  </a:cubicBezTo>
                  <a:cubicBezTo>
                    <a:pt x="3" y="100"/>
                    <a:pt x="3" y="100"/>
                    <a:pt x="3" y="100"/>
                  </a:cubicBezTo>
                  <a:cubicBezTo>
                    <a:pt x="4" y="100"/>
                    <a:pt x="4" y="100"/>
                    <a:pt x="4" y="100"/>
                  </a:cubicBezTo>
                  <a:cubicBezTo>
                    <a:pt x="2" y="102"/>
                    <a:pt x="2" y="102"/>
                    <a:pt x="2" y="102"/>
                  </a:cubicBezTo>
                  <a:cubicBezTo>
                    <a:pt x="1" y="103"/>
                    <a:pt x="1" y="103"/>
                    <a:pt x="1" y="103"/>
                  </a:cubicBezTo>
                  <a:cubicBezTo>
                    <a:pt x="3" y="106"/>
                    <a:pt x="3" y="106"/>
                    <a:pt x="3" y="106"/>
                  </a:cubicBezTo>
                  <a:cubicBezTo>
                    <a:pt x="8" y="109"/>
                    <a:pt x="8" y="109"/>
                    <a:pt x="8" y="109"/>
                  </a:cubicBezTo>
                  <a:cubicBezTo>
                    <a:pt x="11" y="110"/>
                    <a:pt x="11" y="110"/>
                    <a:pt x="11" y="110"/>
                  </a:cubicBezTo>
                  <a:cubicBezTo>
                    <a:pt x="12" y="109"/>
                    <a:pt x="12" y="109"/>
                    <a:pt x="12" y="109"/>
                  </a:cubicBezTo>
                  <a:cubicBezTo>
                    <a:pt x="15" y="109"/>
                    <a:pt x="15" y="109"/>
                    <a:pt x="15" y="109"/>
                  </a:cubicBezTo>
                  <a:cubicBezTo>
                    <a:pt x="16" y="108"/>
                    <a:pt x="16" y="108"/>
                    <a:pt x="16" y="108"/>
                  </a:cubicBezTo>
                  <a:cubicBezTo>
                    <a:pt x="17" y="108"/>
                    <a:pt x="17" y="108"/>
                    <a:pt x="17" y="108"/>
                  </a:cubicBezTo>
                  <a:cubicBezTo>
                    <a:pt x="14" y="112"/>
                    <a:pt x="14" y="112"/>
                    <a:pt x="14" y="112"/>
                  </a:cubicBezTo>
                  <a:cubicBezTo>
                    <a:pt x="13" y="113"/>
                    <a:pt x="13" y="113"/>
                    <a:pt x="13" y="113"/>
                  </a:cubicBezTo>
                  <a:cubicBezTo>
                    <a:pt x="10" y="113"/>
                    <a:pt x="10" y="113"/>
                    <a:pt x="10" y="113"/>
                  </a:cubicBezTo>
                  <a:cubicBezTo>
                    <a:pt x="7" y="113"/>
                    <a:pt x="7" y="113"/>
                    <a:pt x="7" y="113"/>
                  </a:cubicBezTo>
                  <a:cubicBezTo>
                    <a:pt x="5" y="113"/>
                    <a:pt x="5" y="113"/>
                    <a:pt x="5" y="113"/>
                  </a:cubicBezTo>
                  <a:cubicBezTo>
                    <a:pt x="5" y="113"/>
                    <a:pt x="5" y="113"/>
                    <a:pt x="5" y="113"/>
                  </a:cubicBezTo>
                  <a:cubicBezTo>
                    <a:pt x="5" y="115"/>
                    <a:pt x="5" y="115"/>
                    <a:pt x="5" y="115"/>
                  </a:cubicBezTo>
                  <a:cubicBezTo>
                    <a:pt x="14" y="127"/>
                    <a:pt x="14" y="127"/>
                    <a:pt x="14" y="127"/>
                  </a:cubicBezTo>
                  <a:cubicBezTo>
                    <a:pt x="17" y="127"/>
                    <a:pt x="17" y="127"/>
                    <a:pt x="17" y="127"/>
                  </a:cubicBezTo>
                  <a:cubicBezTo>
                    <a:pt x="17" y="128"/>
                    <a:pt x="17" y="128"/>
                    <a:pt x="17" y="128"/>
                  </a:cubicBezTo>
                  <a:cubicBezTo>
                    <a:pt x="18" y="128"/>
                    <a:pt x="18" y="128"/>
                    <a:pt x="18" y="128"/>
                  </a:cubicBezTo>
                  <a:cubicBezTo>
                    <a:pt x="19" y="128"/>
                    <a:pt x="19" y="128"/>
                    <a:pt x="19" y="128"/>
                  </a:cubicBezTo>
                  <a:cubicBezTo>
                    <a:pt x="19" y="128"/>
                    <a:pt x="19" y="128"/>
                    <a:pt x="19" y="128"/>
                  </a:cubicBezTo>
                  <a:cubicBezTo>
                    <a:pt x="23" y="127"/>
                    <a:pt x="23" y="127"/>
                    <a:pt x="23" y="127"/>
                  </a:cubicBezTo>
                  <a:cubicBezTo>
                    <a:pt x="25" y="126"/>
                    <a:pt x="25" y="126"/>
                    <a:pt x="25" y="126"/>
                  </a:cubicBezTo>
                  <a:cubicBezTo>
                    <a:pt x="28" y="125"/>
                    <a:pt x="28" y="125"/>
                    <a:pt x="28" y="125"/>
                  </a:cubicBezTo>
                  <a:cubicBezTo>
                    <a:pt x="28" y="124"/>
                    <a:pt x="28" y="124"/>
                    <a:pt x="28" y="124"/>
                  </a:cubicBezTo>
                  <a:cubicBezTo>
                    <a:pt x="29" y="123"/>
                    <a:pt x="29" y="123"/>
                    <a:pt x="29" y="123"/>
                  </a:cubicBezTo>
                  <a:cubicBezTo>
                    <a:pt x="29" y="121"/>
                    <a:pt x="29" y="121"/>
                    <a:pt x="29" y="121"/>
                  </a:cubicBezTo>
                  <a:cubicBezTo>
                    <a:pt x="30" y="119"/>
                    <a:pt x="30" y="119"/>
                    <a:pt x="30" y="119"/>
                  </a:cubicBezTo>
                  <a:cubicBezTo>
                    <a:pt x="31" y="116"/>
                    <a:pt x="31" y="116"/>
                    <a:pt x="31" y="116"/>
                  </a:cubicBezTo>
                  <a:cubicBezTo>
                    <a:pt x="32" y="117"/>
                    <a:pt x="32" y="117"/>
                    <a:pt x="32" y="117"/>
                  </a:cubicBezTo>
                  <a:cubicBezTo>
                    <a:pt x="34" y="116"/>
                    <a:pt x="34" y="116"/>
                    <a:pt x="34" y="116"/>
                  </a:cubicBezTo>
                  <a:cubicBezTo>
                    <a:pt x="34" y="116"/>
                    <a:pt x="34" y="116"/>
                    <a:pt x="34" y="116"/>
                  </a:cubicBezTo>
                  <a:cubicBezTo>
                    <a:pt x="34" y="117"/>
                    <a:pt x="34" y="117"/>
                    <a:pt x="34" y="117"/>
                  </a:cubicBezTo>
                  <a:cubicBezTo>
                    <a:pt x="33" y="118"/>
                    <a:pt x="33" y="118"/>
                    <a:pt x="33" y="118"/>
                  </a:cubicBezTo>
                  <a:cubicBezTo>
                    <a:pt x="33" y="119"/>
                    <a:pt x="33" y="119"/>
                    <a:pt x="33" y="119"/>
                  </a:cubicBezTo>
                  <a:cubicBezTo>
                    <a:pt x="33" y="120"/>
                    <a:pt x="33" y="120"/>
                    <a:pt x="33" y="120"/>
                  </a:cubicBezTo>
                  <a:cubicBezTo>
                    <a:pt x="33" y="121"/>
                    <a:pt x="33" y="121"/>
                    <a:pt x="33" y="121"/>
                  </a:cubicBezTo>
                  <a:cubicBezTo>
                    <a:pt x="36" y="121"/>
                    <a:pt x="36" y="121"/>
                    <a:pt x="36" y="121"/>
                  </a:cubicBezTo>
                  <a:cubicBezTo>
                    <a:pt x="33" y="123"/>
                    <a:pt x="33" y="123"/>
                    <a:pt x="33" y="123"/>
                  </a:cubicBezTo>
                  <a:cubicBezTo>
                    <a:pt x="32" y="125"/>
                    <a:pt x="32" y="125"/>
                    <a:pt x="32" y="125"/>
                  </a:cubicBezTo>
                  <a:cubicBezTo>
                    <a:pt x="33" y="126"/>
                    <a:pt x="33" y="126"/>
                    <a:pt x="33" y="126"/>
                  </a:cubicBezTo>
                  <a:cubicBezTo>
                    <a:pt x="34" y="131"/>
                    <a:pt x="34" y="131"/>
                    <a:pt x="34" y="131"/>
                  </a:cubicBezTo>
                  <a:cubicBezTo>
                    <a:pt x="34" y="131"/>
                    <a:pt x="34" y="131"/>
                    <a:pt x="34" y="131"/>
                  </a:cubicBezTo>
                  <a:cubicBezTo>
                    <a:pt x="34" y="132"/>
                    <a:pt x="34" y="132"/>
                    <a:pt x="34" y="132"/>
                  </a:cubicBezTo>
                  <a:cubicBezTo>
                    <a:pt x="34" y="132"/>
                    <a:pt x="34" y="132"/>
                    <a:pt x="34" y="132"/>
                  </a:cubicBezTo>
                  <a:cubicBezTo>
                    <a:pt x="33" y="134"/>
                    <a:pt x="33" y="134"/>
                    <a:pt x="33" y="134"/>
                  </a:cubicBezTo>
                  <a:cubicBezTo>
                    <a:pt x="33" y="134"/>
                    <a:pt x="33" y="134"/>
                    <a:pt x="33" y="134"/>
                  </a:cubicBezTo>
                  <a:cubicBezTo>
                    <a:pt x="32" y="135"/>
                    <a:pt x="32" y="135"/>
                    <a:pt x="32" y="135"/>
                  </a:cubicBezTo>
                  <a:cubicBezTo>
                    <a:pt x="32" y="138"/>
                    <a:pt x="32" y="138"/>
                    <a:pt x="32" y="138"/>
                  </a:cubicBezTo>
                  <a:cubicBezTo>
                    <a:pt x="32" y="139"/>
                    <a:pt x="32" y="139"/>
                    <a:pt x="32" y="139"/>
                  </a:cubicBezTo>
                  <a:cubicBezTo>
                    <a:pt x="32" y="140"/>
                    <a:pt x="32" y="140"/>
                    <a:pt x="32" y="140"/>
                  </a:cubicBezTo>
                  <a:cubicBezTo>
                    <a:pt x="33" y="141"/>
                    <a:pt x="33" y="141"/>
                    <a:pt x="33" y="141"/>
                  </a:cubicBezTo>
                  <a:cubicBezTo>
                    <a:pt x="32" y="142"/>
                    <a:pt x="32" y="142"/>
                    <a:pt x="32" y="142"/>
                  </a:cubicBezTo>
                  <a:cubicBezTo>
                    <a:pt x="32" y="143"/>
                    <a:pt x="32" y="143"/>
                    <a:pt x="32" y="143"/>
                  </a:cubicBezTo>
                  <a:cubicBezTo>
                    <a:pt x="33" y="142"/>
                    <a:pt x="33" y="142"/>
                    <a:pt x="33" y="142"/>
                  </a:cubicBezTo>
                  <a:cubicBezTo>
                    <a:pt x="34" y="143"/>
                    <a:pt x="34" y="143"/>
                    <a:pt x="34" y="143"/>
                  </a:cubicBezTo>
                  <a:cubicBezTo>
                    <a:pt x="34" y="145"/>
                    <a:pt x="34" y="145"/>
                    <a:pt x="34" y="145"/>
                  </a:cubicBezTo>
                  <a:cubicBezTo>
                    <a:pt x="33" y="146"/>
                    <a:pt x="33" y="146"/>
                    <a:pt x="33" y="146"/>
                  </a:cubicBezTo>
                  <a:cubicBezTo>
                    <a:pt x="33" y="148"/>
                    <a:pt x="33" y="148"/>
                    <a:pt x="33" y="148"/>
                  </a:cubicBezTo>
                  <a:cubicBezTo>
                    <a:pt x="33" y="149"/>
                    <a:pt x="33" y="149"/>
                    <a:pt x="33" y="149"/>
                  </a:cubicBezTo>
                  <a:cubicBezTo>
                    <a:pt x="33" y="150"/>
                    <a:pt x="33" y="150"/>
                    <a:pt x="33" y="150"/>
                  </a:cubicBezTo>
                  <a:cubicBezTo>
                    <a:pt x="33" y="154"/>
                    <a:pt x="33" y="154"/>
                    <a:pt x="33" y="154"/>
                  </a:cubicBezTo>
                  <a:cubicBezTo>
                    <a:pt x="35" y="157"/>
                    <a:pt x="35" y="157"/>
                    <a:pt x="35" y="157"/>
                  </a:cubicBezTo>
                  <a:cubicBezTo>
                    <a:pt x="34" y="157"/>
                    <a:pt x="34" y="157"/>
                    <a:pt x="34" y="157"/>
                  </a:cubicBezTo>
                  <a:cubicBezTo>
                    <a:pt x="34" y="163"/>
                    <a:pt x="34" y="163"/>
                    <a:pt x="34" y="163"/>
                  </a:cubicBezTo>
                  <a:cubicBezTo>
                    <a:pt x="36" y="170"/>
                    <a:pt x="36" y="170"/>
                    <a:pt x="36" y="170"/>
                  </a:cubicBezTo>
                  <a:cubicBezTo>
                    <a:pt x="36" y="170"/>
                    <a:pt x="36" y="170"/>
                    <a:pt x="36" y="170"/>
                  </a:cubicBezTo>
                  <a:cubicBezTo>
                    <a:pt x="36" y="170"/>
                    <a:pt x="36" y="170"/>
                    <a:pt x="36" y="170"/>
                  </a:cubicBezTo>
                  <a:cubicBezTo>
                    <a:pt x="36" y="170"/>
                    <a:pt x="36" y="170"/>
                    <a:pt x="36" y="170"/>
                  </a:cubicBezTo>
                  <a:cubicBezTo>
                    <a:pt x="37" y="173"/>
                    <a:pt x="37" y="173"/>
                    <a:pt x="37" y="173"/>
                  </a:cubicBezTo>
                  <a:cubicBezTo>
                    <a:pt x="37" y="174"/>
                    <a:pt x="37" y="174"/>
                    <a:pt x="37" y="174"/>
                  </a:cubicBezTo>
                  <a:cubicBezTo>
                    <a:pt x="39" y="177"/>
                    <a:pt x="39" y="177"/>
                    <a:pt x="39" y="177"/>
                  </a:cubicBezTo>
                  <a:cubicBezTo>
                    <a:pt x="39" y="177"/>
                    <a:pt x="39" y="177"/>
                    <a:pt x="39" y="177"/>
                  </a:cubicBezTo>
                  <a:cubicBezTo>
                    <a:pt x="40" y="179"/>
                    <a:pt x="40" y="179"/>
                    <a:pt x="40" y="179"/>
                  </a:cubicBezTo>
                  <a:cubicBezTo>
                    <a:pt x="42" y="182"/>
                    <a:pt x="42" y="182"/>
                    <a:pt x="42" y="182"/>
                  </a:cubicBezTo>
                  <a:cubicBezTo>
                    <a:pt x="42" y="183"/>
                    <a:pt x="42" y="183"/>
                    <a:pt x="42" y="183"/>
                  </a:cubicBezTo>
                  <a:cubicBezTo>
                    <a:pt x="42" y="185"/>
                    <a:pt x="42" y="185"/>
                    <a:pt x="42" y="185"/>
                  </a:cubicBezTo>
                  <a:cubicBezTo>
                    <a:pt x="43" y="187"/>
                    <a:pt x="43" y="187"/>
                    <a:pt x="43" y="187"/>
                  </a:cubicBezTo>
                  <a:cubicBezTo>
                    <a:pt x="43" y="188"/>
                    <a:pt x="43" y="188"/>
                    <a:pt x="43" y="188"/>
                  </a:cubicBezTo>
                  <a:cubicBezTo>
                    <a:pt x="43" y="190"/>
                    <a:pt x="43" y="190"/>
                    <a:pt x="43" y="190"/>
                  </a:cubicBezTo>
                  <a:cubicBezTo>
                    <a:pt x="44" y="195"/>
                    <a:pt x="44" y="195"/>
                    <a:pt x="44" y="195"/>
                  </a:cubicBezTo>
                  <a:cubicBezTo>
                    <a:pt x="44" y="195"/>
                    <a:pt x="44" y="195"/>
                    <a:pt x="44" y="195"/>
                  </a:cubicBezTo>
                  <a:cubicBezTo>
                    <a:pt x="44" y="195"/>
                    <a:pt x="44" y="195"/>
                    <a:pt x="44" y="195"/>
                  </a:cubicBezTo>
                  <a:cubicBezTo>
                    <a:pt x="46" y="201"/>
                    <a:pt x="46" y="201"/>
                    <a:pt x="46" y="201"/>
                  </a:cubicBezTo>
                  <a:cubicBezTo>
                    <a:pt x="47" y="203"/>
                    <a:pt x="47" y="203"/>
                    <a:pt x="47" y="203"/>
                  </a:cubicBezTo>
                  <a:cubicBezTo>
                    <a:pt x="48" y="204"/>
                    <a:pt x="48" y="204"/>
                    <a:pt x="48" y="204"/>
                  </a:cubicBezTo>
                  <a:cubicBezTo>
                    <a:pt x="50" y="208"/>
                    <a:pt x="50" y="208"/>
                    <a:pt x="50" y="208"/>
                  </a:cubicBezTo>
                  <a:cubicBezTo>
                    <a:pt x="51" y="210"/>
                    <a:pt x="51" y="210"/>
                    <a:pt x="51" y="210"/>
                  </a:cubicBezTo>
                  <a:cubicBezTo>
                    <a:pt x="53" y="217"/>
                    <a:pt x="53" y="217"/>
                    <a:pt x="53" y="217"/>
                  </a:cubicBezTo>
                  <a:cubicBezTo>
                    <a:pt x="55" y="219"/>
                    <a:pt x="55" y="219"/>
                    <a:pt x="55" y="219"/>
                  </a:cubicBezTo>
                  <a:cubicBezTo>
                    <a:pt x="56" y="222"/>
                    <a:pt x="56" y="222"/>
                    <a:pt x="56" y="222"/>
                  </a:cubicBezTo>
                  <a:cubicBezTo>
                    <a:pt x="55" y="223"/>
                    <a:pt x="55" y="223"/>
                    <a:pt x="55" y="223"/>
                  </a:cubicBezTo>
                  <a:cubicBezTo>
                    <a:pt x="55" y="222"/>
                    <a:pt x="55" y="222"/>
                    <a:pt x="55" y="222"/>
                  </a:cubicBezTo>
                  <a:cubicBezTo>
                    <a:pt x="55" y="221"/>
                    <a:pt x="55" y="221"/>
                    <a:pt x="55" y="221"/>
                  </a:cubicBezTo>
                  <a:cubicBezTo>
                    <a:pt x="54" y="220"/>
                    <a:pt x="54" y="220"/>
                    <a:pt x="54" y="220"/>
                  </a:cubicBezTo>
                  <a:cubicBezTo>
                    <a:pt x="54" y="223"/>
                    <a:pt x="54" y="223"/>
                    <a:pt x="54" y="223"/>
                  </a:cubicBezTo>
                  <a:cubicBezTo>
                    <a:pt x="58" y="230"/>
                    <a:pt x="58" y="230"/>
                    <a:pt x="58" y="230"/>
                  </a:cubicBezTo>
                  <a:cubicBezTo>
                    <a:pt x="60" y="232"/>
                    <a:pt x="60" y="232"/>
                    <a:pt x="60" y="232"/>
                  </a:cubicBezTo>
                  <a:cubicBezTo>
                    <a:pt x="60" y="232"/>
                    <a:pt x="60" y="232"/>
                    <a:pt x="60" y="232"/>
                  </a:cubicBezTo>
                  <a:cubicBezTo>
                    <a:pt x="64" y="234"/>
                    <a:pt x="64" y="234"/>
                    <a:pt x="64" y="234"/>
                  </a:cubicBezTo>
                  <a:cubicBezTo>
                    <a:pt x="64" y="234"/>
                    <a:pt x="64" y="234"/>
                    <a:pt x="64" y="234"/>
                  </a:cubicBezTo>
                  <a:cubicBezTo>
                    <a:pt x="66" y="233"/>
                    <a:pt x="66" y="233"/>
                    <a:pt x="66" y="233"/>
                  </a:cubicBezTo>
                  <a:cubicBezTo>
                    <a:pt x="68" y="231"/>
                    <a:pt x="68" y="231"/>
                    <a:pt x="68" y="231"/>
                  </a:cubicBezTo>
                  <a:cubicBezTo>
                    <a:pt x="69" y="229"/>
                    <a:pt x="69" y="229"/>
                    <a:pt x="69" y="229"/>
                  </a:cubicBezTo>
                  <a:cubicBezTo>
                    <a:pt x="72" y="226"/>
                    <a:pt x="72" y="226"/>
                    <a:pt x="72" y="226"/>
                  </a:cubicBezTo>
                  <a:cubicBezTo>
                    <a:pt x="77" y="225"/>
                    <a:pt x="77" y="225"/>
                    <a:pt x="77" y="225"/>
                  </a:cubicBezTo>
                  <a:cubicBezTo>
                    <a:pt x="80" y="226"/>
                    <a:pt x="80" y="226"/>
                    <a:pt x="80" y="226"/>
                  </a:cubicBezTo>
                  <a:cubicBezTo>
                    <a:pt x="80" y="225"/>
                    <a:pt x="80" y="225"/>
                    <a:pt x="80" y="225"/>
                  </a:cubicBezTo>
                  <a:cubicBezTo>
                    <a:pt x="78" y="224"/>
                    <a:pt x="78" y="224"/>
                    <a:pt x="78" y="224"/>
                  </a:cubicBezTo>
                  <a:cubicBezTo>
                    <a:pt x="77" y="223"/>
                    <a:pt x="77" y="223"/>
                    <a:pt x="77" y="223"/>
                  </a:cubicBezTo>
                  <a:cubicBezTo>
                    <a:pt x="78" y="221"/>
                    <a:pt x="78" y="221"/>
                    <a:pt x="78" y="221"/>
                  </a:cubicBezTo>
                  <a:cubicBezTo>
                    <a:pt x="79" y="218"/>
                    <a:pt x="79" y="218"/>
                    <a:pt x="79" y="218"/>
                  </a:cubicBezTo>
                  <a:cubicBezTo>
                    <a:pt x="81" y="217"/>
                    <a:pt x="81" y="217"/>
                    <a:pt x="81" y="217"/>
                  </a:cubicBezTo>
                  <a:cubicBezTo>
                    <a:pt x="82" y="217"/>
                    <a:pt x="82" y="217"/>
                    <a:pt x="82" y="217"/>
                  </a:cubicBezTo>
                  <a:cubicBezTo>
                    <a:pt x="85" y="217"/>
                    <a:pt x="85" y="217"/>
                    <a:pt x="85" y="217"/>
                  </a:cubicBezTo>
                  <a:cubicBezTo>
                    <a:pt x="85" y="212"/>
                    <a:pt x="85" y="212"/>
                    <a:pt x="85" y="212"/>
                  </a:cubicBezTo>
                  <a:cubicBezTo>
                    <a:pt x="85" y="211"/>
                    <a:pt x="85" y="211"/>
                    <a:pt x="85" y="211"/>
                  </a:cubicBezTo>
                  <a:cubicBezTo>
                    <a:pt x="85" y="205"/>
                    <a:pt x="85" y="205"/>
                    <a:pt x="85" y="205"/>
                  </a:cubicBezTo>
                  <a:cubicBezTo>
                    <a:pt x="85" y="204"/>
                    <a:pt x="85" y="204"/>
                    <a:pt x="85" y="204"/>
                  </a:cubicBezTo>
                  <a:cubicBezTo>
                    <a:pt x="85" y="204"/>
                    <a:pt x="85" y="204"/>
                    <a:pt x="85" y="204"/>
                  </a:cubicBezTo>
                  <a:cubicBezTo>
                    <a:pt x="86" y="202"/>
                    <a:pt x="86" y="202"/>
                    <a:pt x="86" y="202"/>
                  </a:cubicBezTo>
                  <a:cubicBezTo>
                    <a:pt x="86" y="201"/>
                    <a:pt x="86" y="201"/>
                    <a:pt x="86" y="201"/>
                  </a:cubicBezTo>
                  <a:cubicBezTo>
                    <a:pt x="87" y="200"/>
                    <a:pt x="87" y="200"/>
                    <a:pt x="87" y="200"/>
                  </a:cubicBezTo>
                  <a:cubicBezTo>
                    <a:pt x="89" y="198"/>
                    <a:pt x="89" y="198"/>
                    <a:pt x="89" y="198"/>
                  </a:cubicBezTo>
                  <a:cubicBezTo>
                    <a:pt x="90" y="193"/>
                    <a:pt x="90" y="193"/>
                    <a:pt x="90" y="193"/>
                  </a:cubicBezTo>
                  <a:cubicBezTo>
                    <a:pt x="88" y="190"/>
                    <a:pt x="88" y="190"/>
                    <a:pt x="88" y="190"/>
                  </a:cubicBezTo>
                  <a:cubicBezTo>
                    <a:pt x="88" y="190"/>
                    <a:pt x="88" y="190"/>
                    <a:pt x="88" y="190"/>
                  </a:cubicBezTo>
                  <a:cubicBezTo>
                    <a:pt x="88" y="188"/>
                    <a:pt x="89" y="186"/>
                    <a:pt x="89" y="184"/>
                  </a:cubicBezTo>
                  <a:cubicBezTo>
                    <a:pt x="89" y="179"/>
                    <a:pt x="89" y="179"/>
                    <a:pt x="89" y="179"/>
                  </a:cubicBezTo>
                  <a:cubicBezTo>
                    <a:pt x="90" y="175"/>
                    <a:pt x="90" y="175"/>
                    <a:pt x="90" y="175"/>
                  </a:cubicBezTo>
                  <a:cubicBezTo>
                    <a:pt x="93" y="172"/>
                    <a:pt x="93" y="172"/>
                    <a:pt x="93" y="172"/>
                  </a:cubicBezTo>
                  <a:cubicBezTo>
                    <a:pt x="96" y="172"/>
                    <a:pt x="96" y="172"/>
                    <a:pt x="96" y="172"/>
                  </a:cubicBezTo>
                  <a:cubicBezTo>
                    <a:pt x="95" y="169"/>
                    <a:pt x="95" y="169"/>
                    <a:pt x="95" y="169"/>
                  </a:cubicBezTo>
                  <a:cubicBezTo>
                    <a:pt x="95" y="169"/>
                    <a:pt x="95" y="168"/>
                    <a:pt x="95" y="168"/>
                  </a:cubicBezTo>
                  <a:cubicBezTo>
                    <a:pt x="95" y="168"/>
                    <a:pt x="95" y="168"/>
                    <a:pt x="95" y="168"/>
                  </a:cubicBezTo>
                  <a:cubicBezTo>
                    <a:pt x="97" y="171"/>
                    <a:pt x="97" y="171"/>
                    <a:pt x="97" y="171"/>
                  </a:cubicBezTo>
                  <a:cubicBezTo>
                    <a:pt x="97" y="171"/>
                    <a:pt x="97" y="172"/>
                    <a:pt x="97" y="172"/>
                  </a:cubicBezTo>
                  <a:cubicBezTo>
                    <a:pt x="98" y="171"/>
                    <a:pt x="98" y="171"/>
                    <a:pt x="98" y="171"/>
                  </a:cubicBezTo>
                  <a:cubicBezTo>
                    <a:pt x="99" y="170"/>
                    <a:pt x="99" y="170"/>
                    <a:pt x="99" y="170"/>
                  </a:cubicBezTo>
                  <a:cubicBezTo>
                    <a:pt x="99" y="169"/>
                    <a:pt x="100" y="169"/>
                    <a:pt x="100" y="169"/>
                  </a:cubicBezTo>
                  <a:cubicBezTo>
                    <a:pt x="105" y="169"/>
                    <a:pt x="105" y="169"/>
                    <a:pt x="105" y="169"/>
                  </a:cubicBezTo>
                  <a:cubicBezTo>
                    <a:pt x="109" y="167"/>
                    <a:pt x="109" y="167"/>
                    <a:pt x="109" y="167"/>
                  </a:cubicBezTo>
                  <a:cubicBezTo>
                    <a:pt x="109" y="166"/>
                    <a:pt x="109" y="166"/>
                    <a:pt x="109" y="166"/>
                  </a:cubicBezTo>
                  <a:cubicBezTo>
                    <a:pt x="108" y="166"/>
                    <a:pt x="108" y="165"/>
                    <a:pt x="108" y="165"/>
                  </a:cubicBezTo>
                  <a:cubicBezTo>
                    <a:pt x="108" y="164"/>
                    <a:pt x="109" y="163"/>
                    <a:pt x="109" y="162"/>
                  </a:cubicBezTo>
                  <a:cubicBezTo>
                    <a:pt x="117" y="159"/>
                    <a:pt x="117" y="159"/>
                    <a:pt x="117" y="159"/>
                  </a:cubicBezTo>
                  <a:cubicBezTo>
                    <a:pt x="118" y="157"/>
                    <a:pt x="118" y="157"/>
                    <a:pt x="118" y="157"/>
                  </a:cubicBezTo>
                  <a:cubicBezTo>
                    <a:pt x="126" y="151"/>
                    <a:pt x="126" y="151"/>
                    <a:pt x="126" y="151"/>
                  </a:cubicBezTo>
                  <a:cubicBezTo>
                    <a:pt x="129" y="147"/>
                    <a:pt x="129" y="147"/>
                    <a:pt x="129" y="147"/>
                  </a:cubicBezTo>
                  <a:cubicBezTo>
                    <a:pt x="129" y="147"/>
                    <a:pt x="129" y="147"/>
                    <a:pt x="129" y="147"/>
                  </a:cubicBezTo>
                  <a:cubicBezTo>
                    <a:pt x="129" y="147"/>
                    <a:pt x="129" y="147"/>
                    <a:pt x="129" y="147"/>
                  </a:cubicBezTo>
                  <a:cubicBezTo>
                    <a:pt x="129" y="147"/>
                    <a:pt x="129" y="147"/>
                    <a:pt x="129" y="147"/>
                  </a:cubicBezTo>
                  <a:cubicBezTo>
                    <a:pt x="133" y="143"/>
                    <a:pt x="133" y="143"/>
                    <a:pt x="133" y="143"/>
                  </a:cubicBezTo>
                  <a:cubicBezTo>
                    <a:pt x="133" y="143"/>
                    <a:pt x="133" y="143"/>
                    <a:pt x="133" y="143"/>
                  </a:cubicBezTo>
                  <a:cubicBezTo>
                    <a:pt x="133" y="142"/>
                    <a:pt x="133" y="142"/>
                    <a:pt x="133" y="142"/>
                  </a:cubicBezTo>
                  <a:cubicBezTo>
                    <a:pt x="136" y="141"/>
                    <a:pt x="136" y="141"/>
                    <a:pt x="136" y="141"/>
                  </a:cubicBezTo>
                  <a:cubicBezTo>
                    <a:pt x="136" y="141"/>
                    <a:pt x="136" y="141"/>
                    <a:pt x="136" y="141"/>
                  </a:cubicBezTo>
                  <a:cubicBezTo>
                    <a:pt x="137" y="142"/>
                    <a:pt x="137" y="142"/>
                    <a:pt x="137" y="142"/>
                  </a:cubicBezTo>
                  <a:cubicBezTo>
                    <a:pt x="138" y="142"/>
                    <a:pt x="138" y="142"/>
                    <a:pt x="138" y="142"/>
                  </a:cubicBezTo>
                  <a:cubicBezTo>
                    <a:pt x="140" y="142"/>
                    <a:pt x="140" y="142"/>
                    <a:pt x="140" y="142"/>
                  </a:cubicBezTo>
                  <a:cubicBezTo>
                    <a:pt x="145" y="138"/>
                    <a:pt x="145" y="138"/>
                    <a:pt x="145" y="138"/>
                  </a:cubicBezTo>
                  <a:cubicBezTo>
                    <a:pt x="145" y="136"/>
                    <a:pt x="145" y="136"/>
                    <a:pt x="145" y="136"/>
                  </a:cubicBezTo>
                  <a:cubicBezTo>
                    <a:pt x="147" y="134"/>
                    <a:pt x="147" y="134"/>
                    <a:pt x="147" y="134"/>
                  </a:cubicBezTo>
                  <a:cubicBezTo>
                    <a:pt x="146" y="133"/>
                    <a:pt x="146" y="133"/>
                    <a:pt x="146" y="133"/>
                  </a:cubicBezTo>
                  <a:cubicBezTo>
                    <a:pt x="146" y="133"/>
                    <a:pt x="146" y="133"/>
                    <a:pt x="146" y="133"/>
                  </a:cubicBezTo>
                  <a:cubicBezTo>
                    <a:pt x="146" y="129"/>
                    <a:pt x="146" y="129"/>
                    <a:pt x="146" y="129"/>
                  </a:cubicBezTo>
                  <a:cubicBezTo>
                    <a:pt x="149" y="128"/>
                    <a:pt x="149" y="128"/>
                    <a:pt x="149" y="128"/>
                  </a:cubicBezTo>
                  <a:cubicBezTo>
                    <a:pt x="152" y="127"/>
                    <a:pt x="152" y="127"/>
                    <a:pt x="152" y="127"/>
                  </a:cubicBezTo>
                  <a:cubicBezTo>
                    <a:pt x="152" y="127"/>
                    <a:pt x="152" y="127"/>
                    <a:pt x="152" y="127"/>
                  </a:cubicBezTo>
                  <a:cubicBezTo>
                    <a:pt x="152" y="127"/>
                    <a:pt x="152" y="127"/>
                    <a:pt x="152" y="127"/>
                  </a:cubicBezTo>
                  <a:cubicBezTo>
                    <a:pt x="152" y="127"/>
                    <a:pt x="152" y="127"/>
                    <a:pt x="152" y="127"/>
                  </a:cubicBezTo>
                  <a:cubicBezTo>
                    <a:pt x="153" y="127"/>
                    <a:pt x="153" y="127"/>
                    <a:pt x="153" y="127"/>
                  </a:cubicBezTo>
                  <a:cubicBezTo>
                    <a:pt x="153" y="127"/>
                    <a:pt x="154" y="126"/>
                    <a:pt x="154" y="126"/>
                  </a:cubicBezTo>
                  <a:cubicBezTo>
                    <a:pt x="155" y="125"/>
                    <a:pt x="155" y="125"/>
                    <a:pt x="155" y="125"/>
                  </a:cubicBezTo>
                  <a:cubicBezTo>
                    <a:pt x="156" y="124"/>
                    <a:pt x="156" y="124"/>
                    <a:pt x="156" y="124"/>
                  </a:cubicBezTo>
                  <a:cubicBezTo>
                    <a:pt x="156" y="123"/>
                    <a:pt x="156" y="123"/>
                    <a:pt x="156" y="123"/>
                  </a:cubicBezTo>
                  <a:cubicBezTo>
                    <a:pt x="157" y="124"/>
                    <a:pt x="157" y="124"/>
                    <a:pt x="157" y="124"/>
                  </a:cubicBezTo>
                  <a:cubicBezTo>
                    <a:pt x="157" y="127"/>
                    <a:pt x="157" y="127"/>
                    <a:pt x="157" y="127"/>
                  </a:cubicBezTo>
                  <a:cubicBezTo>
                    <a:pt x="158" y="126"/>
                    <a:pt x="158" y="126"/>
                    <a:pt x="158" y="126"/>
                  </a:cubicBezTo>
                  <a:cubicBezTo>
                    <a:pt x="158" y="127"/>
                    <a:pt x="158" y="127"/>
                    <a:pt x="158" y="127"/>
                  </a:cubicBezTo>
                  <a:cubicBezTo>
                    <a:pt x="159" y="125"/>
                    <a:pt x="159" y="125"/>
                    <a:pt x="159" y="125"/>
                  </a:cubicBezTo>
                  <a:cubicBezTo>
                    <a:pt x="161" y="124"/>
                    <a:pt x="161" y="124"/>
                    <a:pt x="161" y="124"/>
                  </a:cubicBezTo>
                  <a:cubicBezTo>
                    <a:pt x="161" y="125"/>
                    <a:pt x="161" y="125"/>
                    <a:pt x="161" y="125"/>
                  </a:cubicBezTo>
                  <a:cubicBezTo>
                    <a:pt x="161" y="126"/>
                    <a:pt x="161" y="126"/>
                    <a:pt x="161" y="126"/>
                  </a:cubicBezTo>
                  <a:cubicBezTo>
                    <a:pt x="162" y="127"/>
                    <a:pt x="162" y="127"/>
                    <a:pt x="162" y="127"/>
                  </a:cubicBezTo>
                  <a:cubicBezTo>
                    <a:pt x="162" y="126"/>
                    <a:pt x="162" y="126"/>
                    <a:pt x="162" y="126"/>
                  </a:cubicBezTo>
                  <a:cubicBezTo>
                    <a:pt x="163" y="127"/>
                    <a:pt x="163" y="127"/>
                    <a:pt x="163" y="127"/>
                  </a:cubicBezTo>
                  <a:cubicBezTo>
                    <a:pt x="163" y="126"/>
                    <a:pt x="163" y="126"/>
                    <a:pt x="163" y="126"/>
                  </a:cubicBezTo>
                  <a:cubicBezTo>
                    <a:pt x="162" y="125"/>
                    <a:pt x="162" y="125"/>
                    <a:pt x="162" y="125"/>
                  </a:cubicBezTo>
                  <a:cubicBezTo>
                    <a:pt x="163" y="124"/>
                    <a:pt x="163" y="124"/>
                    <a:pt x="163" y="124"/>
                  </a:cubicBezTo>
                  <a:cubicBezTo>
                    <a:pt x="164" y="123"/>
                    <a:pt x="164" y="123"/>
                    <a:pt x="164" y="123"/>
                  </a:cubicBezTo>
                  <a:cubicBezTo>
                    <a:pt x="163" y="123"/>
                    <a:pt x="163" y="123"/>
                    <a:pt x="163" y="123"/>
                  </a:cubicBezTo>
                  <a:cubicBezTo>
                    <a:pt x="163" y="118"/>
                    <a:pt x="163" y="118"/>
                    <a:pt x="163" y="118"/>
                  </a:cubicBezTo>
                  <a:cubicBezTo>
                    <a:pt x="162" y="117"/>
                    <a:pt x="162" y="117"/>
                    <a:pt x="162" y="117"/>
                  </a:cubicBezTo>
                  <a:cubicBezTo>
                    <a:pt x="162" y="115"/>
                    <a:pt x="162" y="115"/>
                    <a:pt x="162" y="115"/>
                  </a:cubicBezTo>
                  <a:cubicBezTo>
                    <a:pt x="161" y="114"/>
                    <a:pt x="161" y="114"/>
                    <a:pt x="161" y="114"/>
                  </a:cubicBezTo>
                  <a:cubicBezTo>
                    <a:pt x="161" y="113"/>
                    <a:pt x="161" y="113"/>
                    <a:pt x="161" y="113"/>
                  </a:cubicBezTo>
                  <a:cubicBezTo>
                    <a:pt x="159" y="111"/>
                    <a:pt x="159" y="111"/>
                    <a:pt x="159" y="111"/>
                  </a:cubicBezTo>
                  <a:cubicBezTo>
                    <a:pt x="161" y="107"/>
                    <a:pt x="161" y="107"/>
                    <a:pt x="161" y="107"/>
                  </a:cubicBezTo>
                  <a:cubicBezTo>
                    <a:pt x="160" y="105"/>
                    <a:pt x="160" y="105"/>
                    <a:pt x="160" y="105"/>
                  </a:cubicBezTo>
                  <a:cubicBezTo>
                    <a:pt x="158" y="104"/>
                    <a:pt x="158" y="104"/>
                    <a:pt x="158" y="104"/>
                  </a:cubicBezTo>
                  <a:cubicBezTo>
                    <a:pt x="156" y="103"/>
                    <a:pt x="156" y="103"/>
                    <a:pt x="156" y="103"/>
                  </a:cubicBezTo>
                  <a:cubicBezTo>
                    <a:pt x="156" y="102"/>
                    <a:pt x="156" y="102"/>
                    <a:pt x="156" y="102"/>
                  </a:cubicBezTo>
                  <a:cubicBezTo>
                    <a:pt x="158" y="100"/>
                    <a:pt x="158" y="100"/>
                    <a:pt x="158" y="100"/>
                  </a:cubicBezTo>
                  <a:cubicBezTo>
                    <a:pt x="158" y="101"/>
                    <a:pt x="158" y="101"/>
                    <a:pt x="158" y="101"/>
                  </a:cubicBezTo>
                  <a:cubicBezTo>
                    <a:pt x="159" y="100"/>
                    <a:pt x="159" y="100"/>
                    <a:pt x="159" y="100"/>
                  </a:cubicBezTo>
                  <a:cubicBezTo>
                    <a:pt x="159" y="99"/>
                    <a:pt x="159" y="99"/>
                    <a:pt x="159" y="99"/>
                  </a:cubicBezTo>
                  <a:cubicBezTo>
                    <a:pt x="159" y="99"/>
                    <a:pt x="159" y="99"/>
                    <a:pt x="159" y="99"/>
                  </a:cubicBezTo>
                  <a:cubicBezTo>
                    <a:pt x="163" y="98"/>
                    <a:pt x="163" y="98"/>
                    <a:pt x="163" y="98"/>
                  </a:cubicBezTo>
                  <a:cubicBezTo>
                    <a:pt x="163" y="97"/>
                    <a:pt x="163" y="97"/>
                    <a:pt x="163" y="97"/>
                  </a:cubicBezTo>
                  <a:cubicBezTo>
                    <a:pt x="162" y="97"/>
                    <a:pt x="162" y="97"/>
                    <a:pt x="162" y="97"/>
                  </a:cubicBezTo>
                  <a:cubicBezTo>
                    <a:pt x="162" y="96"/>
                    <a:pt x="162" y="96"/>
                    <a:pt x="162" y="96"/>
                  </a:cubicBezTo>
                  <a:cubicBezTo>
                    <a:pt x="159" y="96"/>
                    <a:pt x="159" y="96"/>
                    <a:pt x="159" y="96"/>
                  </a:cubicBezTo>
                  <a:cubicBezTo>
                    <a:pt x="159" y="94"/>
                    <a:pt x="159" y="94"/>
                    <a:pt x="159" y="94"/>
                  </a:cubicBezTo>
                  <a:cubicBezTo>
                    <a:pt x="157" y="93"/>
                    <a:pt x="157" y="93"/>
                    <a:pt x="157" y="93"/>
                  </a:cubicBezTo>
                  <a:cubicBezTo>
                    <a:pt x="156" y="93"/>
                    <a:pt x="156" y="93"/>
                    <a:pt x="156" y="93"/>
                  </a:cubicBezTo>
                  <a:cubicBezTo>
                    <a:pt x="160" y="89"/>
                    <a:pt x="160" y="89"/>
                    <a:pt x="160" y="89"/>
                  </a:cubicBezTo>
                  <a:cubicBezTo>
                    <a:pt x="159" y="88"/>
                    <a:pt x="159" y="88"/>
                    <a:pt x="159" y="88"/>
                  </a:cubicBezTo>
                  <a:cubicBezTo>
                    <a:pt x="159" y="87"/>
                    <a:pt x="159" y="87"/>
                    <a:pt x="159" y="87"/>
                  </a:cubicBezTo>
                  <a:cubicBezTo>
                    <a:pt x="161" y="88"/>
                    <a:pt x="161" y="88"/>
                    <a:pt x="161" y="88"/>
                  </a:cubicBezTo>
                  <a:cubicBezTo>
                    <a:pt x="163" y="89"/>
                    <a:pt x="163" y="89"/>
                    <a:pt x="163" y="89"/>
                  </a:cubicBezTo>
                  <a:cubicBezTo>
                    <a:pt x="164" y="89"/>
                    <a:pt x="164" y="89"/>
                    <a:pt x="164" y="89"/>
                  </a:cubicBezTo>
                  <a:cubicBezTo>
                    <a:pt x="167" y="91"/>
                    <a:pt x="167" y="91"/>
                    <a:pt x="167" y="91"/>
                  </a:cubicBezTo>
                  <a:cubicBezTo>
                    <a:pt x="168" y="91"/>
                    <a:pt x="168" y="91"/>
                    <a:pt x="168" y="91"/>
                  </a:cubicBezTo>
                  <a:cubicBezTo>
                    <a:pt x="169" y="90"/>
                    <a:pt x="169" y="90"/>
                    <a:pt x="169" y="90"/>
                  </a:cubicBezTo>
                  <a:cubicBezTo>
                    <a:pt x="169" y="90"/>
                    <a:pt x="169" y="90"/>
                    <a:pt x="169" y="90"/>
                  </a:cubicBezTo>
                  <a:cubicBezTo>
                    <a:pt x="170" y="95"/>
                    <a:pt x="170" y="95"/>
                    <a:pt x="170" y="95"/>
                  </a:cubicBezTo>
                  <a:cubicBezTo>
                    <a:pt x="170" y="97"/>
                    <a:pt x="170" y="97"/>
                    <a:pt x="170" y="97"/>
                  </a:cubicBezTo>
                  <a:cubicBezTo>
                    <a:pt x="171" y="96"/>
                    <a:pt x="171" y="96"/>
                    <a:pt x="171" y="96"/>
                  </a:cubicBezTo>
                  <a:cubicBezTo>
                    <a:pt x="171" y="96"/>
                    <a:pt x="171" y="96"/>
                    <a:pt x="171" y="96"/>
                  </a:cubicBezTo>
                  <a:cubicBezTo>
                    <a:pt x="170" y="97"/>
                    <a:pt x="170" y="97"/>
                    <a:pt x="170" y="97"/>
                  </a:cubicBezTo>
                  <a:cubicBezTo>
                    <a:pt x="171" y="97"/>
                    <a:pt x="171" y="97"/>
                    <a:pt x="171" y="97"/>
                  </a:cubicBezTo>
                  <a:cubicBezTo>
                    <a:pt x="173" y="99"/>
                    <a:pt x="173" y="99"/>
                    <a:pt x="173" y="99"/>
                  </a:cubicBezTo>
                  <a:cubicBezTo>
                    <a:pt x="183" y="99"/>
                    <a:pt x="183" y="99"/>
                    <a:pt x="183" y="99"/>
                  </a:cubicBezTo>
                  <a:cubicBezTo>
                    <a:pt x="184" y="99"/>
                    <a:pt x="184" y="99"/>
                    <a:pt x="184" y="99"/>
                  </a:cubicBezTo>
                  <a:cubicBezTo>
                    <a:pt x="185" y="98"/>
                    <a:pt x="185" y="98"/>
                    <a:pt x="185" y="98"/>
                  </a:cubicBezTo>
                  <a:cubicBezTo>
                    <a:pt x="187" y="99"/>
                    <a:pt x="187" y="99"/>
                    <a:pt x="187" y="99"/>
                  </a:cubicBezTo>
                  <a:cubicBezTo>
                    <a:pt x="190" y="100"/>
                    <a:pt x="190" y="100"/>
                    <a:pt x="190" y="100"/>
                  </a:cubicBezTo>
                  <a:cubicBezTo>
                    <a:pt x="190" y="100"/>
                    <a:pt x="190" y="100"/>
                    <a:pt x="190" y="100"/>
                  </a:cubicBezTo>
                  <a:cubicBezTo>
                    <a:pt x="190" y="101"/>
                    <a:pt x="190" y="101"/>
                    <a:pt x="190" y="101"/>
                  </a:cubicBezTo>
                  <a:cubicBezTo>
                    <a:pt x="189" y="102"/>
                    <a:pt x="189" y="102"/>
                    <a:pt x="189" y="102"/>
                  </a:cubicBezTo>
                  <a:cubicBezTo>
                    <a:pt x="189" y="103"/>
                    <a:pt x="189" y="103"/>
                    <a:pt x="189" y="103"/>
                  </a:cubicBezTo>
                  <a:cubicBezTo>
                    <a:pt x="189" y="104"/>
                    <a:pt x="189" y="104"/>
                    <a:pt x="189" y="104"/>
                  </a:cubicBezTo>
                  <a:cubicBezTo>
                    <a:pt x="189" y="104"/>
                    <a:pt x="189" y="104"/>
                    <a:pt x="189" y="104"/>
                  </a:cubicBezTo>
                  <a:cubicBezTo>
                    <a:pt x="188" y="104"/>
                    <a:pt x="188" y="104"/>
                    <a:pt x="188" y="104"/>
                  </a:cubicBezTo>
                  <a:cubicBezTo>
                    <a:pt x="186" y="106"/>
                    <a:pt x="186" y="106"/>
                    <a:pt x="186" y="106"/>
                  </a:cubicBezTo>
                  <a:cubicBezTo>
                    <a:pt x="182" y="109"/>
                    <a:pt x="182" y="109"/>
                    <a:pt x="182" y="109"/>
                  </a:cubicBezTo>
                  <a:cubicBezTo>
                    <a:pt x="181" y="110"/>
                    <a:pt x="181" y="110"/>
                    <a:pt x="181" y="110"/>
                  </a:cubicBezTo>
                  <a:cubicBezTo>
                    <a:pt x="182" y="115"/>
                    <a:pt x="182" y="115"/>
                    <a:pt x="182" y="115"/>
                  </a:cubicBezTo>
                  <a:cubicBezTo>
                    <a:pt x="183" y="116"/>
                    <a:pt x="183" y="116"/>
                    <a:pt x="183" y="116"/>
                  </a:cubicBezTo>
                  <a:cubicBezTo>
                    <a:pt x="185" y="116"/>
                    <a:pt x="185" y="116"/>
                    <a:pt x="185" y="116"/>
                  </a:cubicBezTo>
                  <a:cubicBezTo>
                    <a:pt x="186" y="116"/>
                    <a:pt x="186" y="116"/>
                    <a:pt x="186" y="116"/>
                  </a:cubicBezTo>
                  <a:cubicBezTo>
                    <a:pt x="186" y="114"/>
                    <a:pt x="186" y="114"/>
                    <a:pt x="186" y="114"/>
                  </a:cubicBezTo>
                  <a:cubicBezTo>
                    <a:pt x="186" y="113"/>
                    <a:pt x="186" y="113"/>
                    <a:pt x="186" y="113"/>
                  </a:cubicBezTo>
                  <a:cubicBezTo>
                    <a:pt x="187" y="111"/>
                    <a:pt x="187" y="111"/>
                    <a:pt x="187" y="111"/>
                  </a:cubicBezTo>
                  <a:cubicBezTo>
                    <a:pt x="187" y="110"/>
                    <a:pt x="187" y="110"/>
                    <a:pt x="187" y="110"/>
                  </a:cubicBezTo>
                  <a:cubicBezTo>
                    <a:pt x="190" y="110"/>
                    <a:pt x="190" y="110"/>
                    <a:pt x="190" y="110"/>
                  </a:cubicBezTo>
                  <a:cubicBezTo>
                    <a:pt x="190" y="110"/>
                    <a:pt x="190" y="110"/>
                    <a:pt x="190" y="110"/>
                  </a:cubicBezTo>
                  <a:cubicBezTo>
                    <a:pt x="191" y="117"/>
                    <a:pt x="191" y="117"/>
                    <a:pt x="191" y="117"/>
                  </a:cubicBezTo>
                  <a:cubicBezTo>
                    <a:pt x="192" y="119"/>
                    <a:pt x="192" y="119"/>
                    <a:pt x="192" y="119"/>
                  </a:cubicBezTo>
                  <a:cubicBezTo>
                    <a:pt x="193" y="123"/>
                    <a:pt x="193" y="123"/>
                    <a:pt x="193" y="123"/>
                  </a:cubicBezTo>
                  <a:cubicBezTo>
                    <a:pt x="194" y="123"/>
                    <a:pt x="194" y="123"/>
                    <a:pt x="194" y="123"/>
                  </a:cubicBezTo>
                  <a:cubicBezTo>
                    <a:pt x="195" y="124"/>
                    <a:pt x="195" y="124"/>
                    <a:pt x="195" y="124"/>
                  </a:cubicBezTo>
                  <a:cubicBezTo>
                    <a:pt x="196" y="124"/>
                    <a:pt x="196" y="124"/>
                    <a:pt x="196" y="124"/>
                  </a:cubicBezTo>
                  <a:cubicBezTo>
                    <a:pt x="197" y="121"/>
                    <a:pt x="197" y="121"/>
                    <a:pt x="197" y="121"/>
                  </a:cubicBezTo>
                  <a:cubicBezTo>
                    <a:pt x="196" y="117"/>
                    <a:pt x="196" y="117"/>
                    <a:pt x="196" y="117"/>
                  </a:cubicBezTo>
                  <a:cubicBezTo>
                    <a:pt x="197" y="115"/>
                    <a:pt x="197" y="115"/>
                    <a:pt x="197" y="115"/>
                  </a:cubicBezTo>
                  <a:cubicBezTo>
                    <a:pt x="198" y="113"/>
                    <a:pt x="198" y="113"/>
                    <a:pt x="198" y="113"/>
                  </a:cubicBezTo>
                  <a:cubicBezTo>
                    <a:pt x="198" y="109"/>
                    <a:pt x="198" y="109"/>
                    <a:pt x="198" y="109"/>
                  </a:cubicBezTo>
                  <a:cubicBezTo>
                    <a:pt x="198" y="108"/>
                    <a:pt x="198" y="108"/>
                    <a:pt x="198" y="108"/>
                  </a:cubicBezTo>
                  <a:cubicBezTo>
                    <a:pt x="198" y="108"/>
                    <a:pt x="198" y="108"/>
                    <a:pt x="198" y="108"/>
                  </a:cubicBezTo>
                  <a:cubicBezTo>
                    <a:pt x="198" y="108"/>
                    <a:pt x="198" y="108"/>
                    <a:pt x="198" y="108"/>
                  </a:cubicBezTo>
                  <a:cubicBezTo>
                    <a:pt x="198" y="108"/>
                    <a:pt x="198" y="108"/>
                    <a:pt x="198" y="108"/>
                  </a:cubicBezTo>
                  <a:cubicBezTo>
                    <a:pt x="201" y="107"/>
                    <a:pt x="201" y="107"/>
                    <a:pt x="201" y="107"/>
                  </a:cubicBezTo>
                  <a:cubicBezTo>
                    <a:pt x="202" y="108"/>
                    <a:pt x="202" y="108"/>
                    <a:pt x="202" y="108"/>
                  </a:cubicBezTo>
                  <a:cubicBezTo>
                    <a:pt x="204" y="108"/>
                    <a:pt x="204" y="108"/>
                    <a:pt x="204" y="108"/>
                  </a:cubicBezTo>
                  <a:cubicBezTo>
                    <a:pt x="205" y="107"/>
                    <a:pt x="205" y="107"/>
                    <a:pt x="205" y="107"/>
                  </a:cubicBezTo>
                  <a:cubicBezTo>
                    <a:pt x="207" y="102"/>
                    <a:pt x="207" y="102"/>
                    <a:pt x="207" y="102"/>
                  </a:cubicBezTo>
                  <a:cubicBezTo>
                    <a:pt x="208" y="99"/>
                    <a:pt x="208" y="99"/>
                    <a:pt x="208" y="99"/>
                  </a:cubicBezTo>
                  <a:cubicBezTo>
                    <a:pt x="208" y="98"/>
                    <a:pt x="208" y="98"/>
                    <a:pt x="208" y="98"/>
                  </a:cubicBezTo>
                  <a:cubicBezTo>
                    <a:pt x="208" y="96"/>
                    <a:pt x="208" y="96"/>
                    <a:pt x="208" y="96"/>
                  </a:cubicBezTo>
                  <a:cubicBezTo>
                    <a:pt x="208" y="96"/>
                    <a:pt x="208" y="96"/>
                    <a:pt x="208" y="96"/>
                  </a:cubicBezTo>
                  <a:cubicBezTo>
                    <a:pt x="209" y="95"/>
                    <a:pt x="209" y="95"/>
                    <a:pt x="209" y="95"/>
                  </a:cubicBezTo>
                  <a:cubicBezTo>
                    <a:pt x="210" y="92"/>
                    <a:pt x="210" y="92"/>
                    <a:pt x="210" y="92"/>
                  </a:cubicBezTo>
                  <a:cubicBezTo>
                    <a:pt x="210" y="88"/>
                    <a:pt x="210" y="88"/>
                    <a:pt x="210" y="88"/>
                  </a:cubicBezTo>
                  <a:cubicBezTo>
                    <a:pt x="211" y="86"/>
                    <a:pt x="211" y="86"/>
                    <a:pt x="211" y="86"/>
                  </a:cubicBezTo>
                  <a:cubicBezTo>
                    <a:pt x="211" y="86"/>
                    <a:pt x="211" y="86"/>
                    <a:pt x="211" y="86"/>
                  </a:cubicBezTo>
                  <a:cubicBezTo>
                    <a:pt x="217" y="83"/>
                    <a:pt x="217" y="83"/>
                    <a:pt x="217" y="83"/>
                  </a:cubicBezTo>
                  <a:cubicBezTo>
                    <a:pt x="218" y="81"/>
                    <a:pt x="218" y="81"/>
                    <a:pt x="218" y="81"/>
                  </a:cubicBezTo>
                  <a:cubicBezTo>
                    <a:pt x="221" y="80"/>
                    <a:pt x="221" y="80"/>
                    <a:pt x="221" y="80"/>
                  </a:cubicBezTo>
                  <a:cubicBezTo>
                    <a:pt x="223" y="80"/>
                    <a:pt x="223" y="80"/>
                    <a:pt x="223" y="80"/>
                  </a:cubicBezTo>
                  <a:cubicBezTo>
                    <a:pt x="226" y="82"/>
                    <a:pt x="226" y="82"/>
                    <a:pt x="226" y="82"/>
                  </a:cubicBezTo>
                  <a:cubicBezTo>
                    <a:pt x="226" y="81"/>
                    <a:pt x="226" y="81"/>
                    <a:pt x="226" y="81"/>
                  </a:cubicBezTo>
                  <a:cubicBezTo>
                    <a:pt x="225" y="79"/>
                    <a:pt x="225" y="79"/>
                    <a:pt x="225" y="79"/>
                  </a:cubicBezTo>
                  <a:lnTo>
                    <a:pt x="224" y="77"/>
                  </a:lnTo>
                  <a:close/>
                  <a:moveTo>
                    <a:pt x="85" y="36"/>
                  </a:moveTo>
                  <a:cubicBezTo>
                    <a:pt x="85" y="36"/>
                    <a:pt x="85" y="36"/>
                    <a:pt x="85" y="36"/>
                  </a:cubicBezTo>
                  <a:cubicBezTo>
                    <a:pt x="85" y="36"/>
                    <a:pt x="85" y="36"/>
                    <a:pt x="85" y="36"/>
                  </a:cubicBez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a:p>
          </p:txBody>
        </p:sp>
        <p:sp>
          <p:nvSpPr>
            <p:cNvPr id="1093" name="Freeform 17">
              <a:extLst>
                <a:ext uri="{FF2B5EF4-FFF2-40B4-BE49-F238E27FC236}">
                  <a16:creationId xmlns:a16="http://schemas.microsoft.com/office/drawing/2014/main" id="{887B52D6-7A85-4C2D-91C6-99C4A1D2F09F}"/>
                </a:ext>
              </a:extLst>
            </p:cNvPr>
            <p:cNvSpPr>
              <a:spLocks/>
            </p:cNvSpPr>
            <p:nvPr/>
          </p:nvSpPr>
          <p:spPr bwMode="auto">
            <a:xfrm>
              <a:off x="7917039" y="3866315"/>
              <a:ext cx="218555" cy="119756"/>
            </a:xfrm>
            <a:custGeom>
              <a:avLst/>
              <a:gdLst>
                <a:gd name="T0" fmla="*/ 8 w 62"/>
                <a:gd name="T1" fmla="*/ 2 h 34"/>
                <a:gd name="T2" fmla="*/ 8 w 62"/>
                <a:gd name="T3" fmla="*/ 2 h 34"/>
                <a:gd name="T4" fmla="*/ 2 w 62"/>
                <a:gd name="T5" fmla="*/ 6 h 34"/>
                <a:gd name="T6" fmla="*/ 2 w 62"/>
                <a:gd name="T7" fmla="*/ 7 h 34"/>
                <a:gd name="T8" fmla="*/ 2 w 62"/>
                <a:gd name="T9" fmla="*/ 7 h 34"/>
                <a:gd name="T10" fmla="*/ 0 w 62"/>
                <a:gd name="T11" fmla="*/ 14 h 34"/>
                <a:gd name="T12" fmla="*/ 9 w 62"/>
                <a:gd name="T13" fmla="*/ 16 h 34"/>
                <a:gd name="T14" fmla="*/ 16 w 62"/>
                <a:gd name="T15" fmla="*/ 21 h 34"/>
                <a:gd name="T16" fmla="*/ 22 w 62"/>
                <a:gd name="T17" fmla="*/ 24 h 34"/>
                <a:gd name="T18" fmla="*/ 34 w 62"/>
                <a:gd name="T19" fmla="*/ 25 h 34"/>
                <a:gd name="T20" fmla="*/ 41 w 62"/>
                <a:gd name="T21" fmla="*/ 30 h 34"/>
                <a:gd name="T22" fmla="*/ 48 w 62"/>
                <a:gd name="T23" fmla="*/ 33 h 34"/>
                <a:gd name="T24" fmla="*/ 54 w 62"/>
                <a:gd name="T25" fmla="*/ 33 h 34"/>
                <a:gd name="T26" fmla="*/ 54 w 62"/>
                <a:gd name="T27" fmla="*/ 33 h 34"/>
                <a:gd name="T28" fmla="*/ 56 w 62"/>
                <a:gd name="T29" fmla="*/ 34 h 34"/>
                <a:gd name="T30" fmla="*/ 57 w 62"/>
                <a:gd name="T31" fmla="*/ 33 h 34"/>
                <a:gd name="T32" fmla="*/ 59 w 62"/>
                <a:gd name="T33" fmla="*/ 33 h 34"/>
                <a:gd name="T34" fmla="*/ 60 w 62"/>
                <a:gd name="T35" fmla="*/ 33 h 34"/>
                <a:gd name="T36" fmla="*/ 61 w 62"/>
                <a:gd name="T37" fmla="*/ 32 h 34"/>
                <a:gd name="T38" fmla="*/ 61 w 62"/>
                <a:gd name="T39" fmla="*/ 32 h 34"/>
                <a:gd name="T40" fmla="*/ 61 w 62"/>
                <a:gd name="T41" fmla="*/ 32 h 34"/>
                <a:gd name="T42" fmla="*/ 61 w 62"/>
                <a:gd name="T43" fmla="*/ 31 h 34"/>
                <a:gd name="T44" fmla="*/ 61 w 62"/>
                <a:gd name="T45" fmla="*/ 31 h 34"/>
                <a:gd name="T46" fmla="*/ 62 w 62"/>
                <a:gd name="T47" fmla="*/ 31 h 34"/>
                <a:gd name="T48" fmla="*/ 61 w 62"/>
                <a:gd name="T49" fmla="*/ 28 h 34"/>
                <a:gd name="T50" fmla="*/ 60 w 62"/>
                <a:gd name="T51" fmla="*/ 27 h 34"/>
                <a:gd name="T52" fmla="*/ 61 w 62"/>
                <a:gd name="T53" fmla="*/ 27 h 34"/>
                <a:gd name="T54" fmla="*/ 61 w 62"/>
                <a:gd name="T55" fmla="*/ 27 h 34"/>
                <a:gd name="T56" fmla="*/ 61 w 62"/>
                <a:gd name="T57" fmla="*/ 27 h 34"/>
                <a:gd name="T58" fmla="*/ 62 w 62"/>
                <a:gd name="T59" fmla="*/ 22 h 34"/>
                <a:gd name="T60" fmla="*/ 62 w 62"/>
                <a:gd name="T61" fmla="*/ 21 h 34"/>
                <a:gd name="T62" fmla="*/ 49 w 62"/>
                <a:gd name="T63" fmla="*/ 20 h 34"/>
                <a:gd name="T64" fmla="*/ 41 w 62"/>
                <a:gd name="T65" fmla="*/ 18 h 34"/>
                <a:gd name="T66" fmla="*/ 34 w 62"/>
                <a:gd name="T67" fmla="*/ 14 h 34"/>
                <a:gd name="T68" fmla="*/ 28 w 62"/>
                <a:gd name="T69" fmla="*/ 10 h 34"/>
                <a:gd name="T70" fmla="*/ 21 w 62"/>
                <a:gd name="T71" fmla="*/ 6 h 34"/>
                <a:gd name="T72" fmla="*/ 14 w 62"/>
                <a:gd name="T73" fmla="*/ 0 h 34"/>
                <a:gd name="T74" fmla="*/ 8 w 62"/>
                <a:gd name="T75" fmla="*/ 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2" h="34">
                  <a:moveTo>
                    <a:pt x="8" y="2"/>
                  </a:moveTo>
                  <a:cubicBezTo>
                    <a:pt x="8" y="2"/>
                    <a:pt x="8" y="2"/>
                    <a:pt x="8" y="2"/>
                  </a:cubicBezTo>
                  <a:cubicBezTo>
                    <a:pt x="2" y="6"/>
                    <a:pt x="2" y="6"/>
                    <a:pt x="2" y="6"/>
                  </a:cubicBezTo>
                  <a:cubicBezTo>
                    <a:pt x="2" y="7"/>
                    <a:pt x="2" y="7"/>
                    <a:pt x="2" y="7"/>
                  </a:cubicBezTo>
                  <a:cubicBezTo>
                    <a:pt x="2" y="7"/>
                    <a:pt x="2" y="7"/>
                    <a:pt x="2" y="7"/>
                  </a:cubicBezTo>
                  <a:cubicBezTo>
                    <a:pt x="0" y="14"/>
                    <a:pt x="0" y="14"/>
                    <a:pt x="0" y="14"/>
                  </a:cubicBezTo>
                  <a:cubicBezTo>
                    <a:pt x="9" y="16"/>
                    <a:pt x="9" y="16"/>
                    <a:pt x="9" y="16"/>
                  </a:cubicBezTo>
                  <a:cubicBezTo>
                    <a:pt x="16" y="21"/>
                    <a:pt x="16" y="21"/>
                    <a:pt x="16" y="21"/>
                  </a:cubicBezTo>
                  <a:cubicBezTo>
                    <a:pt x="22" y="24"/>
                    <a:pt x="22" y="24"/>
                    <a:pt x="22" y="24"/>
                  </a:cubicBezTo>
                  <a:cubicBezTo>
                    <a:pt x="34" y="25"/>
                    <a:pt x="34" y="25"/>
                    <a:pt x="34" y="25"/>
                  </a:cubicBezTo>
                  <a:cubicBezTo>
                    <a:pt x="41" y="30"/>
                    <a:pt x="41" y="30"/>
                    <a:pt x="41" y="30"/>
                  </a:cubicBezTo>
                  <a:cubicBezTo>
                    <a:pt x="48" y="33"/>
                    <a:pt x="48" y="33"/>
                    <a:pt x="48" y="33"/>
                  </a:cubicBezTo>
                  <a:cubicBezTo>
                    <a:pt x="54" y="33"/>
                    <a:pt x="54" y="33"/>
                    <a:pt x="54" y="33"/>
                  </a:cubicBezTo>
                  <a:cubicBezTo>
                    <a:pt x="54" y="33"/>
                    <a:pt x="54" y="33"/>
                    <a:pt x="54" y="33"/>
                  </a:cubicBezTo>
                  <a:cubicBezTo>
                    <a:pt x="56" y="34"/>
                    <a:pt x="56" y="34"/>
                    <a:pt x="56" y="34"/>
                  </a:cubicBezTo>
                  <a:cubicBezTo>
                    <a:pt x="57" y="33"/>
                    <a:pt x="57" y="33"/>
                    <a:pt x="57" y="33"/>
                  </a:cubicBezTo>
                  <a:cubicBezTo>
                    <a:pt x="59" y="33"/>
                    <a:pt x="59" y="33"/>
                    <a:pt x="59" y="33"/>
                  </a:cubicBezTo>
                  <a:cubicBezTo>
                    <a:pt x="60" y="33"/>
                    <a:pt x="60" y="33"/>
                    <a:pt x="60" y="33"/>
                  </a:cubicBezTo>
                  <a:cubicBezTo>
                    <a:pt x="61" y="32"/>
                    <a:pt x="61" y="32"/>
                    <a:pt x="61" y="32"/>
                  </a:cubicBezTo>
                  <a:cubicBezTo>
                    <a:pt x="61" y="32"/>
                    <a:pt x="61" y="32"/>
                    <a:pt x="61" y="32"/>
                  </a:cubicBezTo>
                  <a:cubicBezTo>
                    <a:pt x="61" y="32"/>
                    <a:pt x="61" y="32"/>
                    <a:pt x="61" y="32"/>
                  </a:cubicBezTo>
                  <a:cubicBezTo>
                    <a:pt x="61" y="31"/>
                    <a:pt x="61" y="31"/>
                    <a:pt x="61" y="31"/>
                  </a:cubicBezTo>
                  <a:cubicBezTo>
                    <a:pt x="61" y="31"/>
                    <a:pt x="61" y="31"/>
                    <a:pt x="61" y="31"/>
                  </a:cubicBezTo>
                  <a:cubicBezTo>
                    <a:pt x="62" y="31"/>
                    <a:pt x="62" y="31"/>
                    <a:pt x="62" y="31"/>
                  </a:cubicBezTo>
                  <a:cubicBezTo>
                    <a:pt x="61" y="28"/>
                    <a:pt x="61" y="28"/>
                    <a:pt x="61" y="28"/>
                  </a:cubicBezTo>
                  <a:cubicBezTo>
                    <a:pt x="60" y="27"/>
                    <a:pt x="60" y="27"/>
                    <a:pt x="60" y="27"/>
                  </a:cubicBezTo>
                  <a:cubicBezTo>
                    <a:pt x="61" y="27"/>
                    <a:pt x="61" y="27"/>
                    <a:pt x="61" y="27"/>
                  </a:cubicBezTo>
                  <a:cubicBezTo>
                    <a:pt x="61" y="27"/>
                    <a:pt x="61" y="27"/>
                    <a:pt x="61" y="27"/>
                  </a:cubicBezTo>
                  <a:cubicBezTo>
                    <a:pt x="61" y="27"/>
                    <a:pt x="61" y="27"/>
                    <a:pt x="61" y="27"/>
                  </a:cubicBezTo>
                  <a:cubicBezTo>
                    <a:pt x="62" y="22"/>
                    <a:pt x="62" y="22"/>
                    <a:pt x="62" y="22"/>
                  </a:cubicBezTo>
                  <a:cubicBezTo>
                    <a:pt x="62" y="21"/>
                    <a:pt x="62" y="21"/>
                    <a:pt x="62" y="21"/>
                  </a:cubicBezTo>
                  <a:cubicBezTo>
                    <a:pt x="49" y="20"/>
                    <a:pt x="49" y="20"/>
                    <a:pt x="49" y="20"/>
                  </a:cubicBezTo>
                  <a:cubicBezTo>
                    <a:pt x="41" y="18"/>
                    <a:pt x="41" y="18"/>
                    <a:pt x="41" y="18"/>
                  </a:cubicBezTo>
                  <a:cubicBezTo>
                    <a:pt x="34" y="14"/>
                    <a:pt x="34" y="14"/>
                    <a:pt x="34" y="14"/>
                  </a:cubicBezTo>
                  <a:cubicBezTo>
                    <a:pt x="28" y="10"/>
                    <a:pt x="28" y="10"/>
                    <a:pt x="28" y="10"/>
                  </a:cubicBezTo>
                  <a:cubicBezTo>
                    <a:pt x="21" y="6"/>
                    <a:pt x="21" y="6"/>
                    <a:pt x="21" y="6"/>
                  </a:cubicBezTo>
                  <a:cubicBezTo>
                    <a:pt x="14" y="0"/>
                    <a:pt x="14" y="0"/>
                    <a:pt x="14" y="0"/>
                  </a:cubicBezTo>
                  <a:cubicBezTo>
                    <a:pt x="8" y="2"/>
                    <a:pt x="8" y="2"/>
                    <a:pt x="8" y="2"/>
                  </a:cubicBez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a:p>
          </p:txBody>
        </p:sp>
        <p:sp>
          <p:nvSpPr>
            <p:cNvPr id="1261" name="Iceland">
              <a:extLst>
                <a:ext uri="{FF2B5EF4-FFF2-40B4-BE49-F238E27FC236}">
                  <a16:creationId xmlns:a16="http://schemas.microsoft.com/office/drawing/2014/main" id="{4C29F803-1F0F-44A3-98F6-FA84903D1452}"/>
                </a:ext>
              </a:extLst>
            </p:cNvPr>
            <p:cNvSpPr>
              <a:spLocks/>
            </p:cNvSpPr>
            <p:nvPr/>
          </p:nvSpPr>
          <p:spPr bwMode="auto">
            <a:xfrm>
              <a:off x="5250628" y="2556332"/>
              <a:ext cx="274750" cy="162619"/>
            </a:xfrm>
            <a:custGeom>
              <a:avLst/>
              <a:gdLst>
                <a:gd name="T0" fmla="*/ 305 w 340"/>
                <a:gd name="T1" fmla="*/ 12 h 230"/>
                <a:gd name="T2" fmla="*/ 292 w 340"/>
                <a:gd name="T3" fmla="*/ 33 h 230"/>
                <a:gd name="T4" fmla="*/ 305 w 340"/>
                <a:gd name="T5" fmla="*/ 49 h 230"/>
                <a:gd name="T6" fmla="*/ 315 w 340"/>
                <a:gd name="T7" fmla="*/ 61 h 230"/>
                <a:gd name="T8" fmla="*/ 332 w 340"/>
                <a:gd name="T9" fmla="*/ 72 h 230"/>
                <a:gd name="T10" fmla="*/ 336 w 340"/>
                <a:gd name="T11" fmla="*/ 87 h 230"/>
                <a:gd name="T12" fmla="*/ 338 w 340"/>
                <a:gd name="T13" fmla="*/ 98 h 230"/>
                <a:gd name="T14" fmla="*/ 339 w 340"/>
                <a:gd name="T15" fmla="*/ 113 h 230"/>
                <a:gd name="T16" fmla="*/ 325 w 340"/>
                <a:gd name="T17" fmla="*/ 135 h 230"/>
                <a:gd name="T18" fmla="*/ 313 w 340"/>
                <a:gd name="T19" fmla="*/ 150 h 230"/>
                <a:gd name="T20" fmla="*/ 280 w 340"/>
                <a:gd name="T21" fmla="*/ 170 h 230"/>
                <a:gd name="T22" fmla="*/ 230 w 340"/>
                <a:gd name="T23" fmla="*/ 202 h 230"/>
                <a:gd name="T24" fmla="*/ 203 w 340"/>
                <a:gd name="T25" fmla="*/ 221 h 230"/>
                <a:gd name="T26" fmla="*/ 192 w 340"/>
                <a:gd name="T27" fmla="*/ 227 h 230"/>
                <a:gd name="T28" fmla="*/ 124 w 340"/>
                <a:gd name="T29" fmla="*/ 210 h 230"/>
                <a:gd name="T30" fmla="*/ 125 w 340"/>
                <a:gd name="T31" fmla="*/ 203 h 230"/>
                <a:gd name="T32" fmla="*/ 103 w 340"/>
                <a:gd name="T33" fmla="*/ 195 h 230"/>
                <a:gd name="T34" fmla="*/ 58 w 340"/>
                <a:gd name="T35" fmla="*/ 200 h 230"/>
                <a:gd name="T36" fmla="*/ 58 w 340"/>
                <a:gd name="T37" fmla="*/ 185 h 230"/>
                <a:gd name="T38" fmla="*/ 82 w 340"/>
                <a:gd name="T39" fmla="*/ 174 h 230"/>
                <a:gd name="T40" fmla="*/ 79 w 340"/>
                <a:gd name="T41" fmla="*/ 166 h 230"/>
                <a:gd name="T42" fmla="*/ 79 w 340"/>
                <a:gd name="T43" fmla="*/ 151 h 230"/>
                <a:gd name="T44" fmla="*/ 72 w 340"/>
                <a:gd name="T45" fmla="*/ 149 h 230"/>
                <a:gd name="T46" fmla="*/ 63 w 340"/>
                <a:gd name="T47" fmla="*/ 131 h 230"/>
                <a:gd name="T48" fmla="*/ 15 w 340"/>
                <a:gd name="T49" fmla="*/ 129 h 230"/>
                <a:gd name="T50" fmla="*/ 36 w 340"/>
                <a:gd name="T51" fmla="*/ 119 h 230"/>
                <a:gd name="T52" fmla="*/ 53 w 340"/>
                <a:gd name="T53" fmla="*/ 112 h 230"/>
                <a:gd name="T54" fmla="*/ 84 w 340"/>
                <a:gd name="T55" fmla="*/ 103 h 230"/>
                <a:gd name="T56" fmla="*/ 72 w 340"/>
                <a:gd name="T57" fmla="*/ 90 h 230"/>
                <a:gd name="T58" fmla="*/ 52 w 340"/>
                <a:gd name="T59" fmla="*/ 75 h 230"/>
                <a:gd name="T60" fmla="*/ 1 w 340"/>
                <a:gd name="T61" fmla="*/ 79 h 230"/>
                <a:gd name="T62" fmla="*/ 15 w 340"/>
                <a:gd name="T63" fmla="*/ 68 h 230"/>
                <a:gd name="T64" fmla="*/ 31 w 340"/>
                <a:gd name="T65" fmla="*/ 64 h 230"/>
                <a:gd name="T66" fmla="*/ 21 w 340"/>
                <a:gd name="T67" fmla="*/ 51 h 230"/>
                <a:gd name="T68" fmla="*/ 23 w 340"/>
                <a:gd name="T69" fmla="*/ 35 h 230"/>
                <a:gd name="T70" fmla="*/ 29 w 340"/>
                <a:gd name="T71" fmla="*/ 28 h 230"/>
                <a:gd name="T72" fmla="*/ 45 w 340"/>
                <a:gd name="T73" fmla="*/ 42 h 230"/>
                <a:gd name="T74" fmla="*/ 58 w 340"/>
                <a:gd name="T75" fmla="*/ 45 h 230"/>
                <a:gd name="T76" fmla="*/ 63 w 340"/>
                <a:gd name="T77" fmla="*/ 35 h 230"/>
                <a:gd name="T78" fmla="*/ 62 w 340"/>
                <a:gd name="T79" fmla="*/ 20 h 230"/>
                <a:gd name="T80" fmla="*/ 42 w 340"/>
                <a:gd name="T81" fmla="*/ 13 h 230"/>
                <a:gd name="T82" fmla="*/ 72 w 340"/>
                <a:gd name="T83" fmla="*/ 17 h 230"/>
                <a:gd name="T84" fmla="*/ 92 w 340"/>
                <a:gd name="T85" fmla="*/ 43 h 230"/>
                <a:gd name="T86" fmla="*/ 88 w 340"/>
                <a:gd name="T87" fmla="*/ 62 h 230"/>
                <a:gd name="T88" fmla="*/ 97 w 340"/>
                <a:gd name="T89" fmla="*/ 76 h 230"/>
                <a:gd name="T90" fmla="*/ 104 w 340"/>
                <a:gd name="T91" fmla="*/ 96 h 230"/>
                <a:gd name="T92" fmla="*/ 114 w 340"/>
                <a:gd name="T93" fmla="*/ 68 h 230"/>
                <a:gd name="T94" fmla="*/ 128 w 340"/>
                <a:gd name="T95" fmla="*/ 62 h 230"/>
                <a:gd name="T96" fmla="*/ 143 w 340"/>
                <a:gd name="T97" fmla="*/ 46 h 230"/>
                <a:gd name="T98" fmla="*/ 156 w 340"/>
                <a:gd name="T99" fmla="*/ 42 h 230"/>
                <a:gd name="T100" fmla="*/ 178 w 340"/>
                <a:gd name="T101" fmla="*/ 28 h 230"/>
                <a:gd name="T102" fmla="*/ 198 w 340"/>
                <a:gd name="T103" fmla="*/ 60 h 230"/>
                <a:gd name="T104" fmla="*/ 205 w 340"/>
                <a:gd name="T105" fmla="*/ 30 h 230"/>
                <a:gd name="T106" fmla="*/ 223 w 340"/>
                <a:gd name="T107" fmla="*/ 34 h 230"/>
                <a:gd name="T108" fmla="*/ 245 w 340"/>
                <a:gd name="T109" fmla="*/ 28 h 230"/>
                <a:gd name="T110" fmla="*/ 265 w 340"/>
                <a:gd name="T111" fmla="*/ 1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40" h="230">
                  <a:moveTo>
                    <a:pt x="278" y="23"/>
                  </a:moveTo>
                  <a:lnTo>
                    <a:pt x="278" y="23"/>
                  </a:lnTo>
                  <a:lnTo>
                    <a:pt x="282" y="23"/>
                  </a:lnTo>
                  <a:lnTo>
                    <a:pt x="288" y="21"/>
                  </a:lnTo>
                  <a:lnTo>
                    <a:pt x="290" y="19"/>
                  </a:lnTo>
                  <a:lnTo>
                    <a:pt x="296" y="13"/>
                  </a:lnTo>
                  <a:lnTo>
                    <a:pt x="300" y="11"/>
                  </a:lnTo>
                  <a:lnTo>
                    <a:pt x="305" y="12"/>
                  </a:lnTo>
                  <a:lnTo>
                    <a:pt x="308" y="11"/>
                  </a:lnTo>
                  <a:lnTo>
                    <a:pt x="308" y="12"/>
                  </a:lnTo>
                  <a:lnTo>
                    <a:pt x="305" y="14"/>
                  </a:lnTo>
                  <a:lnTo>
                    <a:pt x="302" y="15"/>
                  </a:lnTo>
                  <a:lnTo>
                    <a:pt x="298" y="19"/>
                  </a:lnTo>
                  <a:lnTo>
                    <a:pt x="294" y="27"/>
                  </a:lnTo>
                  <a:lnTo>
                    <a:pt x="292" y="31"/>
                  </a:lnTo>
                  <a:lnTo>
                    <a:pt x="292" y="33"/>
                  </a:lnTo>
                  <a:lnTo>
                    <a:pt x="295" y="36"/>
                  </a:lnTo>
                  <a:lnTo>
                    <a:pt x="299" y="38"/>
                  </a:lnTo>
                  <a:lnTo>
                    <a:pt x="302" y="36"/>
                  </a:lnTo>
                  <a:lnTo>
                    <a:pt x="303" y="37"/>
                  </a:lnTo>
                  <a:lnTo>
                    <a:pt x="305" y="39"/>
                  </a:lnTo>
                  <a:lnTo>
                    <a:pt x="306" y="41"/>
                  </a:lnTo>
                  <a:lnTo>
                    <a:pt x="306" y="44"/>
                  </a:lnTo>
                  <a:lnTo>
                    <a:pt x="305" y="49"/>
                  </a:lnTo>
                  <a:lnTo>
                    <a:pt x="303" y="53"/>
                  </a:lnTo>
                  <a:lnTo>
                    <a:pt x="300" y="57"/>
                  </a:lnTo>
                  <a:lnTo>
                    <a:pt x="301" y="59"/>
                  </a:lnTo>
                  <a:lnTo>
                    <a:pt x="303" y="59"/>
                  </a:lnTo>
                  <a:lnTo>
                    <a:pt x="313" y="57"/>
                  </a:lnTo>
                  <a:lnTo>
                    <a:pt x="314" y="57"/>
                  </a:lnTo>
                  <a:lnTo>
                    <a:pt x="315" y="58"/>
                  </a:lnTo>
                  <a:lnTo>
                    <a:pt x="315" y="61"/>
                  </a:lnTo>
                  <a:lnTo>
                    <a:pt x="316" y="63"/>
                  </a:lnTo>
                  <a:lnTo>
                    <a:pt x="317" y="65"/>
                  </a:lnTo>
                  <a:lnTo>
                    <a:pt x="316" y="67"/>
                  </a:lnTo>
                  <a:lnTo>
                    <a:pt x="312" y="73"/>
                  </a:lnTo>
                  <a:lnTo>
                    <a:pt x="317" y="69"/>
                  </a:lnTo>
                  <a:lnTo>
                    <a:pt x="321" y="68"/>
                  </a:lnTo>
                  <a:lnTo>
                    <a:pt x="329" y="70"/>
                  </a:lnTo>
                  <a:lnTo>
                    <a:pt x="332" y="72"/>
                  </a:lnTo>
                  <a:lnTo>
                    <a:pt x="333" y="76"/>
                  </a:lnTo>
                  <a:lnTo>
                    <a:pt x="336" y="75"/>
                  </a:lnTo>
                  <a:lnTo>
                    <a:pt x="337" y="75"/>
                  </a:lnTo>
                  <a:lnTo>
                    <a:pt x="338" y="77"/>
                  </a:lnTo>
                  <a:lnTo>
                    <a:pt x="339" y="80"/>
                  </a:lnTo>
                  <a:lnTo>
                    <a:pt x="337" y="83"/>
                  </a:lnTo>
                  <a:lnTo>
                    <a:pt x="337" y="86"/>
                  </a:lnTo>
                  <a:lnTo>
                    <a:pt x="336" y="87"/>
                  </a:lnTo>
                  <a:lnTo>
                    <a:pt x="333" y="88"/>
                  </a:lnTo>
                  <a:lnTo>
                    <a:pt x="333" y="89"/>
                  </a:lnTo>
                  <a:lnTo>
                    <a:pt x="334" y="92"/>
                  </a:lnTo>
                  <a:lnTo>
                    <a:pt x="335" y="94"/>
                  </a:lnTo>
                  <a:lnTo>
                    <a:pt x="337" y="94"/>
                  </a:lnTo>
                  <a:lnTo>
                    <a:pt x="338" y="95"/>
                  </a:lnTo>
                  <a:lnTo>
                    <a:pt x="338" y="97"/>
                  </a:lnTo>
                  <a:lnTo>
                    <a:pt x="338" y="98"/>
                  </a:lnTo>
                  <a:lnTo>
                    <a:pt x="337" y="99"/>
                  </a:lnTo>
                  <a:lnTo>
                    <a:pt x="336" y="100"/>
                  </a:lnTo>
                  <a:lnTo>
                    <a:pt x="334" y="102"/>
                  </a:lnTo>
                  <a:lnTo>
                    <a:pt x="340" y="105"/>
                  </a:lnTo>
                  <a:lnTo>
                    <a:pt x="340" y="107"/>
                  </a:lnTo>
                  <a:lnTo>
                    <a:pt x="340" y="109"/>
                  </a:lnTo>
                  <a:lnTo>
                    <a:pt x="340" y="111"/>
                  </a:lnTo>
                  <a:lnTo>
                    <a:pt x="339" y="113"/>
                  </a:lnTo>
                  <a:lnTo>
                    <a:pt x="337" y="115"/>
                  </a:lnTo>
                  <a:lnTo>
                    <a:pt x="334" y="115"/>
                  </a:lnTo>
                  <a:lnTo>
                    <a:pt x="331" y="116"/>
                  </a:lnTo>
                  <a:lnTo>
                    <a:pt x="332" y="119"/>
                  </a:lnTo>
                  <a:lnTo>
                    <a:pt x="332" y="122"/>
                  </a:lnTo>
                  <a:lnTo>
                    <a:pt x="331" y="126"/>
                  </a:lnTo>
                  <a:lnTo>
                    <a:pt x="328" y="132"/>
                  </a:lnTo>
                  <a:lnTo>
                    <a:pt x="325" y="135"/>
                  </a:lnTo>
                  <a:lnTo>
                    <a:pt x="322" y="137"/>
                  </a:lnTo>
                  <a:lnTo>
                    <a:pt x="317" y="136"/>
                  </a:lnTo>
                  <a:lnTo>
                    <a:pt x="315" y="135"/>
                  </a:lnTo>
                  <a:lnTo>
                    <a:pt x="315" y="139"/>
                  </a:lnTo>
                  <a:lnTo>
                    <a:pt x="312" y="142"/>
                  </a:lnTo>
                  <a:lnTo>
                    <a:pt x="313" y="145"/>
                  </a:lnTo>
                  <a:lnTo>
                    <a:pt x="314" y="146"/>
                  </a:lnTo>
                  <a:lnTo>
                    <a:pt x="313" y="150"/>
                  </a:lnTo>
                  <a:lnTo>
                    <a:pt x="312" y="153"/>
                  </a:lnTo>
                  <a:lnTo>
                    <a:pt x="309" y="156"/>
                  </a:lnTo>
                  <a:lnTo>
                    <a:pt x="307" y="158"/>
                  </a:lnTo>
                  <a:lnTo>
                    <a:pt x="302" y="161"/>
                  </a:lnTo>
                  <a:lnTo>
                    <a:pt x="298" y="165"/>
                  </a:lnTo>
                  <a:lnTo>
                    <a:pt x="295" y="167"/>
                  </a:lnTo>
                  <a:lnTo>
                    <a:pt x="287" y="167"/>
                  </a:lnTo>
                  <a:lnTo>
                    <a:pt x="280" y="170"/>
                  </a:lnTo>
                  <a:lnTo>
                    <a:pt x="269" y="176"/>
                  </a:lnTo>
                  <a:lnTo>
                    <a:pt x="262" y="180"/>
                  </a:lnTo>
                  <a:lnTo>
                    <a:pt x="257" y="186"/>
                  </a:lnTo>
                  <a:lnTo>
                    <a:pt x="250" y="194"/>
                  </a:lnTo>
                  <a:lnTo>
                    <a:pt x="244" y="198"/>
                  </a:lnTo>
                  <a:lnTo>
                    <a:pt x="241" y="199"/>
                  </a:lnTo>
                  <a:lnTo>
                    <a:pt x="235" y="199"/>
                  </a:lnTo>
                  <a:lnTo>
                    <a:pt x="230" y="202"/>
                  </a:lnTo>
                  <a:lnTo>
                    <a:pt x="213" y="206"/>
                  </a:lnTo>
                  <a:lnTo>
                    <a:pt x="208" y="208"/>
                  </a:lnTo>
                  <a:lnTo>
                    <a:pt x="207" y="211"/>
                  </a:lnTo>
                  <a:lnTo>
                    <a:pt x="204" y="214"/>
                  </a:lnTo>
                  <a:lnTo>
                    <a:pt x="204" y="215"/>
                  </a:lnTo>
                  <a:lnTo>
                    <a:pt x="205" y="216"/>
                  </a:lnTo>
                  <a:lnTo>
                    <a:pt x="206" y="217"/>
                  </a:lnTo>
                  <a:lnTo>
                    <a:pt x="203" y="221"/>
                  </a:lnTo>
                  <a:lnTo>
                    <a:pt x="199" y="224"/>
                  </a:lnTo>
                  <a:lnTo>
                    <a:pt x="197" y="224"/>
                  </a:lnTo>
                  <a:lnTo>
                    <a:pt x="195" y="221"/>
                  </a:lnTo>
                  <a:lnTo>
                    <a:pt x="194" y="221"/>
                  </a:lnTo>
                  <a:lnTo>
                    <a:pt x="194" y="222"/>
                  </a:lnTo>
                  <a:lnTo>
                    <a:pt x="194" y="222"/>
                  </a:lnTo>
                  <a:lnTo>
                    <a:pt x="195" y="225"/>
                  </a:lnTo>
                  <a:lnTo>
                    <a:pt x="192" y="227"/>
                  </a:lnTo>
                  <a:lnTo>
                    <a:pt x="181" y="230"/>
                  </a:lnTo>
                  <a:lnTo>
                    <a:pt x="163" y="227"/>
                  </a:lnTo>
                  <a:lnTo>
                    <a:pt x="155" y="225"/>
                  </a:lnTo>
                  <a:lnTo>
                    <a:pt x="146" y="221"/>
                  </a:lnTo>
                  <a:lnTo>
                    <a:pt x="141" y="220"/>
                  </a:lnTo>
                  <a:lnTo>
                    <a:pt x="133" y="219"/>
                  </a:lnTo>
                  <a:lnTo>
                    <a:pt x="127" y="214"/>
                  </a:lnTo>
                  <a:lnTo>
                    <a:pt x="124" y="210"/>
                  </a:lnTo>
                  <a:lnTo>
                    <a:pt x="124" y="209"/>
                  </a:lnTo>
                  <a:lnTo>
                    <a:pt x="124" y="207"/>
                  </a:lnTo>
                  <a:lnTo>
                    <a:pt x="125" y="206"/>
                  </a:lnTo>
                  <a:lnTo>
                    <a:pt x="126" y="205"/>
                  </a:lnTo>
                  <a:lnTo>
                    <a:pt x="128" y="205"/>
                  </a:lnTo>
                  <a:lnTo>
                    <a:pt x="128" y="205"/>
                  </a:lnTo>
                  <a:lnTo>
                    <a:pt x="127" y="202"/>
                  </a:lnTo>
                  <a:lnTo>
                    <a:pt x="125" y="203"/>
                  </a:lnTo>
                  <a:lnTo>
                    <a:pt x="121" y="207"/>
                  </a:lnTo>
                  <a:lnTo>
                    <a:pt x="119" y="207"/>
                  </a:lnTo>
                  <a:lnTo>
                    <a:pt x="117" y="205"/>
                  </a:lnTo>
                  <a:lnTo>
                    <a:pt x="117" y="203"/>
                  </a:lnTo>
                  <a:lnTo>
                    <a:pt x="112" y="202"/>
                  </a:lnTo>
                  <a:lnTo>
                    <a:pt x="108" y="200"/>
                  </a:lnTo>
                  <a:lnTo>
                    <a:pt x="104" y="196"/>
                  </a:lnTo>
                  <a:lnTo>
                    <a:pt x="103" y="195"/>
                  </a:lnTo>
                  <a:lnTo>
                    <a:pt x="105" y="193"/>
                  </a:lnTo>
                  <a:lnTo>
                    <a:pt x="105" y="192"/>
                  </a:lnTo>
                  <a:lnTo>
                    <a:pt x="104" y="192"/>
                  </a:lnTo>
                  <a:lnTo>
                    <a:pt x="101" y="193"/>
                  </a:lnTo>
                  <a:lnTo>
                    <a:pt x="96" y="197"/>
                  </a:lnTo>
                  <a:lnTo>
                    <a:pt x="94" y="198"/>
                  </a:lnTo>
                  <a:lnTo>
                    <a:pt x="65" y="199"/>
                  </a:lnTo>
                  <a:lnTo>
                    <a:pt x="58" y="200"/>
                  </a:lnTo>
                  <a:lnTo>
                    <a:pt x="57" y="200"/>
                  </a:lnTo>
                  <a:lnTo>
                    <a:pt x="55" y="198"/>
                  </a:lnTo>
                  <a:lnTo>
                    <a:pt x="54" y="191"/>
                  </a:lnTo>
                  <a:lnTo>
                    <a:pt x="54" y="187"/>
                  </a:lnTo>
                  <a:lnTo>
                    <a:pt x="54" y="185"/>
                  </a:lnTo>
                  <a:lnTo>
                    <a:pt x="55" y="182"/>
                  </a:lnTo>
                  <a:lnTo>
                    <a:pt x="57" y="183"/>
                  </a:lnTo>
                  <a:lnTo>
                    <a:pt x="58" y="185"/>
                  </a:lnTo>
                  <a:lnTo>
                    <a:pt x="60" y="187"/>
                  </a:lnTo>
                  <a:lnTo>
                    <a:pt x="61" y="189"/>
                  </a:lnTo>
                  <a:lnTo>
                    <a:pt x="71" y="185"/>
                  </a:lnTo>
                  <a:lnTo>
                    <a:pt x="75" y="183"/>
                  </a:lnTo>
                  <a:lnTo>
                    <a:pt x="77" y="181"/>
                  </a:lnTo>
                  <a:lnTo>
                    <a:pt x="79" y="177"/>
                  </a:lnTo>
                  <a:lnTo>
                    <a:pt x="81" y="175"/>
                  </a:lnTo>
                  <a:lnTo>
                    <a:pt x="82" y="174"/>
                  </a:lnTo>
                  <a:lnTo>
                    <a:pt x="84" y="168"/>
                  </a:lnTo>
                  <a:lnTo>
                    <a:pt x="86" y="165"/>
                  </a:lnTo>
                  <a:lnTo>
                    <a:pt x="87" y="163"/>
                  </a:lnTo>
                  <a:lnTo>
                    <a:pt x="89" y="162"/>
                  </a:lnTo>
                  <a:lnTo>
                    <a:pt x="94" y="161"/>
                  </a:lnTo>
                  <a:lnTo>
                    <a:pt x="91" y="160"/>
                  </a:lnTo>
                  <a:lnTo>
                    <a:pt x="88" y="160"/>
                  </a:lnTo>
                  <a:lnTo>
                    <a:pt x="79" y="166"/>
                  </a:lnTo>
                  <a:lnTo>
                    <a:pt x="75" y="166"/>
                  </a:lnTo>
                  <a:lnTo>
                    <a:pt x="76" y="165"/>
                  </a:lnTo>
                  <a:lnTo>
                    <a:pt x="77" y="163"/>
                  </a:lnTo>
                  <a:lnTo>
                    <a:pt x="80" y="160"/>
                  </a:lnTo>
                  <a:lnTo>
                    <a:pt x="78" y="160"/>
                  </a:lnTo>
                  <a:lnTo>
                    <a:pt x="77" y="159"/>
                  </a:lnTo>
                  <a:lnTo>
                    <a:pt x="77" y="156"/>
                  </a:lnTo>
                  <a:lnTo>
                    <a:pt x="79" y="151"/>
                  </a:lnTo>
                  <a:lnTo>
                    <a:pt x="86" y="145"/>
                  </a:lnTo>
                  <a:lnTo>
                    <a:pt x="89" y="144"/>
                  </a:lnTo>
                  <a:lnTo>
                    <a:pt x="90" y="143"/>
                  </a:lnTo>
                  <a:lnTo>
                    <a:pt x="89" y="142"/>
                  </a:lnTo>
                  <a:lnTo>
                    <a:pt x="87" y="142"/>
                  </a:lnTo>
                  <a:lnTo>
                    <a:pt x="79" y="148"/>
                  </a:lnTo>
                  <a:lnTo>
                    <a:pt x="74" y="150"/>
                  </a:lnTo>
                  <a:lnTo>
                    <a:pt x="72" y="149"/>
                  </a:lnTo>
                  <a:lnTo>
                    <a:pt x="69" y="147"/>
                  </a:lnTo>
                  <a:lnTo>
                    <a:pt x="68" y="146"/>
                  </a:lnTo>
                  <a:lnTo>
                    <a:pt x="67" y="143"/>
                  </a:lnTo>
                  <a:lnTo>
                    <a:pt x="67" y="142"/>
                  </a:lnTo>
                  <a:lnTo>
                    <a:pt x="70" y="137"/>
                  </a:lnTo>
                  <a:lnTo>
                    <a:pt x="69" y="136"/>
                  </a:lnTo>
                  <a:lnTo>
                    <a:pt x="68" y="135"/>
                  </a:lnTo>
                  <a:lnTo>
                    <a:pt x="63" y="131"/>
                  </a:lnTo>
                  <a:lnTo>
                    <a:pt x="55" y="131"/>
                  </a:lnTo>
                  <a:lnTo>
                    <a:pt x="35" y="129"/>
                  </a:lnTo>
                  <a:lnTo>
                    <a:pt x="31" y="130"/>
                  </a:lnTo>
                  <a:lnTo>
                    <a:pt x="24" y="134"/>
                  </a:lnTo>
                  <a:lnTo>
                    <a:pt x="20" y="135"/>
                  </a:lnTo>
                  <a:lnTo>
                    <a:pt x="19" y="134"/>
                  </a:lnTo>
                  <a:lnTo>
                    <a:pt x="17" y="132"/>
                  </a:lnTo>
                  <a:lnTo>
                    <a:pt x="15" y="129"/>
                  </a:lnTo>
                  <a:lnTo>
                    <a:pt x="14" y="126"/>
                  </a:lnTo>
                  <a:lnTo>
                    <a:pt x="15" y="123"/>
                  </a:lnTo>
                  <a:lnTo>
                    <a:pt x="17" y="122"/>
                  </a:lnTo>
                  <a:lnTo>
                    <a:pt x="19" y="121"/>
                  </a:lnTo>
                  <a:lnTo>
                    <a:pt x="24" y="122"/>
                  </a:lnTo>
                  <a:lnTo>
                    <a:pt x="31" y="120"/>
                  </a:lnTo>
                  <a:lnTo>
                    <a:pt x="35" y="119"/>
                  </a:lnTo>
                  <a:lnTo>
                    <a:pt x="36" y="119"/>
                  </a:lnTo>
                  <a:lnTo>
                    <a:pt x="39" y="116"/>
                  </a:lnTo>
                  <a:lnTo>
                    <a:pt x="40" y="116"/>
                  </a:lnTo>
                  <a:lnTo>
                    <a:pt x="42" y="117"/>
                  </a:lnTo>
                  <a:lnTo>
                    <a:pt x="42" y="118"/>
                  </a:lnTo>
                  <a:lnTo>
                    <a:pt x="49" y="116"/>
                  </a:lnTo>
                  <a:lnTo>
                    <a:pt x="51" y="114"/>
                  </a:lnTo>
                  <a:lnTo>
                    <a:pt x="52" y="113"/>
                  </a:lnTo>
                  <a:lnTo>
                    <a:pt x="53" y="112"/>
                  </a:lnTo>
                  <a:lnTo>
                    <a:pt x="56" y="114"/>
                  </a:lnTo>
                  <a:lnTo>
                    <a:pt x="58" y="114"/>
                  </a:lnTo>
                  <a:lnTo>
                    <a:pt x="62" y="113"/>
                  </a:lnTo>
                  <a:lnTo>
                    <a:pt x="67" y="112"/>
                  </a:lnTo>
                  <a:lnTo>
                    <a:pt x="80" y="112"/>
                  </a:lnTo>
                  <a:lnTo>
                    <a:pt x="82" y="110"/>
                  </a:lnTo>
                  <a:lnTo>
                    <a:pt x="83" y="108"/>
                  </a:lnTo>
                  <a:lnTo>
                    <a:pt x="84" y="103"/>
                  </a:lnTo>
                  <a:lnTo>
                    <a:pt x="84" y="102"/>
                  </a:lnTo>
                  <a:lnTo>
                    <a:pt x="76" y="107"/>
                  </a:lnTo>
                  <a:lnTo>
                    <a:pt x="74" y="106"/>
                  </a:lnTo>
                  <a:lnTo>
                    <a:pt x="65" y="104"/>
                  </a:lnTo>
                  <a:lnTo>
                    <a:pt x="61" y="101"/>
                  </a:lnTo>
                  <a:lnTo>
                    <a:pt x="62" y="99"/>
                  </a:lnTo>
                  <a:lnTo>
                    <a:pt x="67" y="94"/>
                  </a:lnTo>
                  <a:lnTo>
                    <a:pt x="72" y="90"/>
                  </a:lnTo>
                  <a:lnTo>
                    <a:pt x="80" y="86"/>
                  </a:lnTo>
                  <a:lnTo>
                    <a:pt x="82" y="84"/>
                  </a:lnTo>
                  <a:lnTo>
                    <a:pt x="82" y="83"/>
                  </a:lnTo>
                  <a:lnTo>
                    <a:pt x="77" y="79"/>
                  </a:lnTo>
                  <a:lnTo>
                    <a:pt x="67" y="80"/>
                  </a:lnTo>
                  <a:lnTo>
                    <a:pt x="65" y="76"/>
                  </a:lnTo>
                  <a:lnTo>
                    <a:pt x="57" y="74"/>
                  </a:lnTo>
                  <a:lnTo>
                    <a:pt x="52" y="75"/>
                  </a:lnTo>
                  <a:lnTo>
                    <a:pt x="49" y="73"/>
                  </a:lnTo>
                  <a:lnTo>
                    <a:pt x="42" y="76"/>
                  </a:lnTo>
                  <a:lnTo>
                    <a:pt x="27" y="81"/>
                  </a:lnTo>
                  <a:lnTo>
                    <a:pt x="21" y="84"/>
                  </a:lnTo>
                  <a:lnTo>
                    <a:pt x="18" y="86"/>
                  </a:lnTo>
                  <a:lnTo>
                    <a:pt x="14" y="83"/>
                  </a:lnTo>
                  <a:lnTo>
                    <a:pt x="8" y="80"/>
                  </a:lnTo>
                  <a:lnTo>
                    <a:pt x="1" y="79"/>
                  </a:lnTo>
                  <a:lnTo>
                    <a:pt x="0" y="77"/>
                  </a:lnTo>
                  <a:lnTo>
                    <a:pt x="4" y="71"/>
                  </a:lnTo>
                  <a:lnTo>
                    <a:pt x="7" y="70"/>
                  </a:lnTo>
                  <a:lnTo>
                    <a:pt x="10" y="70"/>
                  </a:lnTo>
                  <a:lnTo>
                    <a:pt x="15" y="74"/>
                  </a:lnTo>
                  <a:lnTo>
                    <a:pt x="19" y="76"/>
                  </a:lnTo>
                  <a:lnTo>
                    <a:pt x="14" y="70"/>
                  </a:lnTo>
                  <a:lnTo>
                    <a:pt x="15" y="68"/>
                  </a:lnTo>
                  <a:lnTo>
                    <a:pt x="14" y="64"/>
                  </a:lnTo>
                  <a:lnTo>
                    <a:pt x="13" y="63"/>
                  </a:lnTo>
                  <a:lnTo>
                    <a:pt x="11" y="59"/>
                  </a:lnTo>
                  <a:lnTo>
                    <a:pt x="12" y="58"/>
                  </a:lnTo>
                  <a:lnTo>
                    <a:pt x="14" y="57"/>
                  </a:lnTo>
                  <a:lnTo>
                    <a:pt x="18" y="59"/>
                  </a:lnTo>
                  <a:lnTo>
                    <a:pt x="27" y="65"/>
                  </a:lnTo>
                  <a:lnTo>
                    <a:pt x="31" y="64"/>
                  </a:lnTo>
                  <a:lnTo>
                    <a:pt x="34" y="62"/>
                  </a:lnTo>
                  <a:lnTo>
                    <a:pt x="37" y="60"/>
                  </a:lnTo>
                  <a:lnTo>
                    <a:pt x="36" y="59"/>
                  </a:lnTo>
                  <a:lnTo>
                    <a:pt x="28" y="59"/>
                  </a:lnTo>
                  <a:lnTo>
                    <a:pt x="24" y="57"/>
                  </a:lnTo>
                  <a:lnTo>
                    <a:pt x="22" y="55"/>
                  </a:lnTo>
                  <a:lnTo>
                    <a:pt x="20" y="52"/>
                  </a:lnTo>
                  <a:lnTo>
                    <a:pt x="21" y="51"/>
                  </a:lnTo>
                  <a:lnTo>
                    <a:pt x="23" y="50"/>
                  </a:lnTo>
                  <a:lnTo>
                    <a:pt x="30" y="50"/>
                  </a:lnTo>
                  <a:lnTo>
                    <a:pt x="25" y="44"/>
                  </a:lnTo>
                  <a:lnTo>
                    <a:pt x="22" y="41"/>
                  </a:lnTo>
                  <a:lnTo>
                    <a:pt x="22" y="39"/>
                  </a:lnTo>
                  <a:lnTo>
                    <a:pt x="22" y="37"/>
                  </a:lnTo>
                  <a:lnTo>
                    <a:pt x="22" y="36"/>
                  </a:lnTo>
                  <a:lnTo>
                    <a:pt x="23" y="35"/>
                  </a:lnTo>
                  <a:lnTo>
                    <a:pt x="31" y="39"/>
                  </a:lnTo>
                  <a:lnTo>
                    <a:pt x="32" y="39"/>
                  </a:lnTo>
                  <a:lnTo>
                    <a:pt x="31" y="37"/>
                  </a:lnTo>
                  <a:lnTo>
                    <a:pt x="27" y="34"/>
                  </a:lnTo>
                  <a:lnTo>
                    <a:pt x="27" y="32"/>
                  </a:lnTo>
                  <a:lnTo>
                    <a:pt x="29" y="31"/>
                  </a:lnTo>
                  <a:lnTo>
                    <a:pt x="29" y="30"/>
                  </a:lnTo>
                  <a:lnTo>
                    <a:pt x="29" y="28"/>
                  </a:lnTo>
                  <a:lnTo>
                    <a:pt x="32" y="27"/>
                  </a:lnTo>
                  <a:lnTo>
                    <a:pt x="34" y="27"/>
                  </a:lnTo>
                  <a:lnTo>
                    <a:pt x="37" y="28"/>
                  </a:lnTo>
                  <a:lnTo>
                    <a:pt x="44" y="34"/>
                  </a:lnTo>
                  <a:lnTo>
                    <a:pt x="45" y="36"/>
                  </a:lnTo>
                  <a:lnTo>
                    <a:pt x="45" y="38"/>
                  </a:lnTo>
                  <a:lnTo>
                    <a:pt x="45" y="41"/>
                  </a:lnTo>
                  <a:lnTo>
                    <a:pt x="45" y="42"/>
                  </a:lnTo>
                  <a:lnTo>
                    <a:pt x="48" y="41"/>
                  </a:lnTo>
                  <a:lnTo>
                    <a:pt x="51" y="42"/>
                  </a:lnTo>
                  <a:lnTo>
                    <a:pt x="52" y="42"/>
                  </a:lnTo>
                  <a:lnTo>
                    <a:pt x="55" y="38"/>
                  </a:lnTo>
                  <a:lnTo>
                    <a:pt x="56" y="39"/>
                  </a:lnTo>
                  <a:lnTo>
                    <a:pt x="58" y="41"/>
                  </a:lnTo>
                  <a:lnTo>
                    <a:pt x="58" y="42"/>
                  </a:lnTo>
                  <a:lnTo>
                    <a:pt x="58" y="45"/>
                  </a:lnTo>
                  <a:lnTo>
                    <a:pt x="58" y="50"/>
                  </a:lnTo>
                  <a:lnTo>
                    <a:pt x="58" y="51"/>
                  </a:lnTo>
                  <a:lnTo>
                    <a:pt x="60" y="48"/>
                  </a:lnTo>
                  <a:lnTo>
                    <a:pt x="63" y="48"/>
                  </a:lnTo>
                  <a:lnTo>
                    <a:pt x="64" y="46"/>
                  </a:lnTo>
                  <a:lnTo>
                    <a:pt x="64" y="41"/>
                  </a:lnTo>
                  <a:lnTo>
                    <a:pt x="64" y="36"/>
                  </a:lnTo>
                  <a:lnTo>
                    <a:pt x="63" y="35"/>
                  </a:lnTo>
                  <a:lnTo>
                    <a:pt x="52" y="29"/>
                  </a:lnTo>
                  <a:lnTo>
                    <a:pt x="50" y="27"/>
                  </a:lnTo>
                  <a:lnTo>
                    <a:pt x="48" y="24"/>
                  </a:lnTo>
                  <a:lnTo>
                    <a:pt x="48" y="23"/>
                  </a:lnTo>
                  <a:lnTo>
                    <a:pt x="50" y="21"/>
                  </a:lnTo>
                  <a:lnTo>
                    <a:pt x="54" y="21"/>
                  </a:lnTo>
                  <a:lnTo>
                    <a:pt x="61" y="21"/>
                  </a:lnTo>
                  <a:lnTo>
                    <a:pt x="62" y="20"/>
                  </a:lnTo>
                  <a:lnTo>
                    <a:pt x="61" y="19"/>
                  </a:lnTo>
                  <a:lnTo>
                    <a:pt x="57" y="17"/>
                  </a:lnTo>
                  <a:lnTo>
                    <a:pt x="56" y="17"/>
                  </a:lnTo>
                  <a:lnTo>
                    <a:pt x="56" y="15"/>
                  </a:lnTo>
                  <a:lnTo>
                    <a:pt x="52" y="16"/>
                  </a:lnTo>
                  <a:lnTo>
                    <a:pt x="47" y="16"/>
                  </a:lnTo>
                  <a:lnTo>
                    <a:pt x="42" y="15"/>
                  </a:lnTo>
                  <a:lnTo>
                    <a:pt x="42" y="13"/>
                  </a:lnTo>
                  <a:lnTo>
                    <a:pt x="44" y="11"/>
                  </a:lnTo>
                  <a:lnTo>
                    <a:pt x="48" y="8"/>
                  </a:lnTo>
                  <a:lnTo>
                    <a:pt x="49" y="7"/>
                  </a:lnTo>
                  <a:lnTo>
                    <a:pt x="55" y="7"/>
                  </a:lnTo>
                  <a:lnTo>
                    <a:pt x="60" y="6"/>
                  </a:lnTo>
                  <a:lnTo>
                    <a:pt x="64" y="7"/>
                  </a:lnTo>
                  <a:lnTo>
                    <a:pt x="67" y="11"/>
                  </a:lnTo>
                  <a:lnTo>
                    <a:pt x="72" y="17"/>
                  </a:lnTo>
                  <a:lnTo>
                    <a:pt x="78" y="21"/>
                  </a:lnTo>
                  <a:lnTo>
                    <a:pt x="79" y="22"/>
                  </a:lnTo>
                  <a:lnTo>
                    <a:pt x="82" y="25"/>
                  </a:lnTo>
                  <a:lnTo>
                    <a:pt x="89" y="34"/>
                  </a:lnTo>
                  <a:lnTo>
                    <a:pt x="96" y="39"/>
                  </a:lnTo>
                  <a:lnTo>
                    <a:pt x="96" y="40"/>
                  </a:lnTo>
                  <a:lnTo>
                    <a:pt x="95" y="41"/>
                  </a:lnTo>
                  <a:lnTo>
                    <a:pt x="92" y="43"/>
                  </a:lnTo>
                  <a:lnTo>
                    <a:pt x="93" y="44"/>
                  </a:lnTo>
                  <a:lnTo>
                    <a:pt x="96" y="45"/>
                  </a:lnTo>
                  <a:lnTo>
                    <a:pt x="99" y="49"/>
                  </a:lnTo>
                  <a:lnTo>
                    <a:pt x="99" y="50"/>
                  </a:lnTo>
                  <a:lnTo>
                    <a:pt x="97" y="60"/>
                  </a:lnTo>
                  <a:lnTo>
                    <a:pt x="95" y="63"/>
                  </a:lnTo>
                  <a:lnTo>
                    <a:pt x="94" y="64"/>
                  </a:lnTo>
                  <a:lnTo>
                    <a:pt x="88" y="62"/>
                  </a:lnTo>
                  <a:lnTo>
                    <a:pt x="89" y="65"/>
                  </a:lnTo>
                  <a:lnTo>
                    <a:pt x="94" y="68"/>
                  </a:lnTo>
                  <a:lnTo>
                    <a:pt x="95" y="70"/>
                  </a:lnTo>
                  <a:lnTo>
                    <a:pt x="94" y="72"/>
                  </a:lnTo>
                  <a:lnTo>
                    <a:pt x="95" y="73"/>
                  </a:lnTo>
                  <a:lnTo>
                    <a:pt x="96" y="72"/>
                  </a:lnTo>
                  <a:lnTo>
                    <a:pt x="97" y="73"/>
                  </a:lnTo>
                  <a:lnTo>
                    <a:pt x="97" y="76"/>
                  </a:lnTo>
                  <a:lnTo>
                    <a:pt x="96" y="78"/>
                  </a:lnTo>
                  <a:lnTo>
                    <a:pt x="95" y="81"/>
                  </a:lnTo>
                  <a:lnTo>
                    <a:pt x="95" y="81"/>
                  </a:lnTo>
                  <a:lnTo>
                    <a:pt x="97" y="81"/>
                  </a:lnTo>
                  <a:lnTo>
                    <a:pt x="99" y="82"/>
                  </a:lnTo>
                  <a:lnTo>
                    <a:pt x="101" y="85"/>
                  </a:lnTo>
                  <a:lnTo>
                    <a:pt x="103" y="93"/>
                  </a:lnTo>
                  <a:lnTo>
                    <a:pt x="104" y="96"/>
                  </a:lnTo>
                  <a:lnTo>
                    <a:pt x="105" y="94"/>
                  </a:lnTo>
                  <a:lnTo>
                    <a:pt x="106" y="87"/>
                  </a:lnTo>
                  <a:lnTo>
                    <a:pt x="107" y="84"/>
                  </a:lnTo>
                  <a:lnTo>
                    <a:pt x="108" y="84"/>
                  </a:lnTo>
                  <a:lnTo>
                    <a:pt x="108" y="83"/>
                  </a:lnTo>
                  <a:lnTo>
                    <a:pt x="109" y="81"/>
                  </a:lnTo>
                  <a:lnTo>
                    <a:pt x="110" y="74"/>
                  </a:lnTo>
                  <a:lnTo>
                    <a:pt x="114" y="68"/>
                  </a:lnTo>
                  <a:lnTo>
                    <a:pt x="116" y="67"/>
                  </a:lnTo>
                  <a:lnTo>
                    <a:pt x="118" y="66"/>
                  </a:lnTo>
                  <a:lnTo>
                    <a:pt x="119" y="67"/>
                  </a:lnTo>
                  <a:lnTo>
                    <a:pt x="122" y="73"/>
                  </a:lnTo>
                  <a:lnTo>
                    <a:pt x="124" y="74"/>
                  </a:lnTo>
                  <a:lnTo>
                    <a:pt x="125" y="73"/>
                  </a:lnTo>
                  <a:lnTo>
                    <a:pt x="127" y="69"/>
                  </a:lnTo>
                  <a:lnTo>
                    <a:pt x="128" y="62"/>
                  </a:lnTo>
                  <a:lnTo>
                    <a:pt x="129" y="54"/>
                  </a:lnTo>
                  <a:lnTo>
                    <a:pt x="128" y="45"/>
                  </a:lnTo>
                  <a:lnTo>
                    <a:pt x="128" y="38"/>
                  </a:lnTo>
                  <a:lnTo>
                    <a:pt x="130" y="34"/>
                  </a:lnTo>
                  <a:lnTo>
                    <a:pt x="133" y="33"/>
                  </a:lnTo>
                  <a:lnTo>
                    <a:pt x="136" y="35"/>
                  </a:lnTo>
                  <a:lnTo>
                    <a:pt x="139" y="37"/>
                  </a:lnTo>
                  <a:lnTo>
                    <a:pt x="143" y="46"/>
                  </a:lnTo>
                  <a:lnTo>
                    <a:pt x="147" y="51"/>
                  </a:lnTo>
                  <a:lnTo>
                    <a:pt x="150" y="56"/>
                  </a:lnTo>
                  <a:lnTo>
                    <a:pt x="152" y="58"/>
                  </a:lnTo>
                  <a:lnTo>
                    <a:pt x="155" y="58"/>
                  </a:lnTo>
                  <a:lnTo>
                    <a:pt x="156" y="58"/>
                  </a:lnTo>
                  <a:lnTo>
                    <a:pt x="157" y="57"/>
                  </a:lnTo>
                  <a:lnTo>
                    <a:pt x="157" y="55"/>
                  </a:lnTo>
                  <a:lnTo>
                    <a:pt x="156" y="42"/>
                  </a:lnTo>
                  <a:lnTo>
                    <a:pt x="157" y="38"/>
                  </a:lnTo>
                  <a:lnTo>
                    <a:pt x="159" y="35"/>
                  </a:lnTo>
                  <a:lnTo>
                    <a:pt x="165" y="33"/>
                  </a:lnTo>
                  <a:lnTo>
                    <a:pt x="168" y="31"/>
                  </a:lnTo>
                  <a:lnTo>
                    <a:pt x="171" y="28"/>
                  </a:lnTo>
                  <a:lnTo>
                    <a:pt x="173" y="27"/>
                  </a:lnTo>
                  <a:lnTo>
                    <a:pt x="175" y="27"/>
                  </a:lnTo>
                  <a:lnTo>
                    <a:pt x="178" y="28"/>
                  </a:lnTo>
                  <a:lnTo>
                    <a:pt x="180" y="30"/>
                  </a:lnTo>
                  <a:lnTo>
                    <a:pt x="183" y="35"/>
                  </a:lnTo>
                  <a:lnTo>
                    <a:pt x="188" y="43"/>
                  </a:lnTo>
                  <a:lnTo>
                    <a:pt x="193" y="50"/>
                  </a:lnTo>
                  <a:lnTo>
                    <a:pt x="196" y="59"/>
                  </a:lnTo>
                  <a:lnTo>
                    <a:pt x="197" y="61"/>
                  </a:lnTo>
                  <a:lnTo>
                    <a:pt x="197" y="61"/>
                  </a:lnTo>
                  <a:lnTo>
                    <a:pt x="198" y="60"/>
                  </a:lnTo>
                  <a:lnTo>
                    <a:pt x="199" y="58"/>
                  </a:lnTo>
                  <a:lnTo>
                    <a:pt x="199" y="54"/>
                  </a:lnTo>
                  <a:lnTo>
                    <a:pt x="197" y="48"/>
                  </a:lnTo>
                  <a:lnTo>
                    <a:pt x="192" y="34"/>
                  </a:lnTo>
                  <a:lnTo>
                    <a:pt x="192" y="31"/>
                  </a:lnTo>
                  <a:lnTo>
                    <a:pt x="193" y="29"/>
                  </a:lnTo>
                  <a:lnTo>
                    <a:pt x="196" y="28"/>
                  </a:lnTo>
                  <a:lnTo>
                    <a:pt x="205" y="30"/>
                  </a:lnTo>
                  <a:lnTo>
                    <a:pt x="207" y="32"/>
                  </a:lnTo>
                  <a:lnTo>
                    <a:pt x="213" y="41"/>
                  </a:lnTo>
                  <a:lnTo>
                    <a:pt x="215" y="43"/>
                  </a:lnTo>
                  <a:lnTo>
                    <a:pt x="216" y="43"/>
                  </a:lnTo>
                  <a:lnTo>
                    <a:pt x="216" y="42"/>
                  </a:lnTo>
                  <a:lnTo>
                    <a:pt x="218" y="41"/>
                  </a:lnTo>
                  <a:lnTo>
                    <a:pt x="220" y="39"/>
                  </a:lnTo>
                  <a:lnTo>
                    <a:pt x="223" y="34"/>
                  </a:lnTo>
                  <a:lnTo>
                    <a:pt x="228" y="25"/>
                  </a:lnTo>
                  <a:lnTo>
                    <a:pt x="229" y="25"/>
                  </a:lnTo>
                  <a:lnTo>
                    <a:pt x="231" y="26"/>
                  </a:lnTo>
                  <a:lnTo>
                    <a:pt x="234" y="28"/>
                  </a:lnTo>
                  <a:lnTo>
                    <a:pt x="235" y="30"/>
                  </a:lnTo>
                  <a:lnTo>
                    <a:pt x="238" y="31"/>
                  </a:lnTo>
                  <a:lnTo>
                    <a:pt x="241" y="31"/>
                  </a:lnTo>
                  <a:lnTo>
                    <a:pt x="245" y="28"/>
                  </a:lnTo>
                  <a:lnTo>
                    <a:pt x="249" y="26"/>
                  </a:lnTo>
                  <a:lnTo>
                    <a:pt x="251" y="21"/>
                  </a:lnTo>
                  <a:lnTo>
                    <a:pt x="251" y="19"/>
                  </a:lnTo>
                  <a:lnTo>
                    <a:pt x="247" y="6"/>
                  </a:lnTo>
                  <a:lnTo>
                    <a:pt x="249" y="3"/>
                  </a:lnTo>
                  <a:lnTo>
                    <a:pt x="256" y="0"/>
                  </a:lnTo>
                  <a:lnTo>
                    <a:pt x="263" y="0"/>
                  </a:lnTo>
                  <a:lnTo>
                    <a:pt x="265" y="1"/>
                  </a:lnTo>
                  <a:lnTo>
                    <a:pt x="269" y="7"/>
                  </a:lnTo>
                  <a:lnTo>
                    <a:pt x="272" y="10"/>
                  </a:lnTo>
                  <a:lnTo>
                    <a:pt x="273" y="13"/>
                  </a:lnTo>
                  <a:lnTo>
                    <a:pt x="273" y="19"/>
                  </a:lnTo>
                  <a:lnTo>
                    <a:pt x="275" y="21"/>
                  </a:lnTo>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grpSp>
      <p:sp>
        <p:nvSpPr>
          <p:cNvPr id="2" name="Title 1">
            <a:extLst>
              <a:ext uri="{FF2B5EF4-FFF2-40B4-BE49-F238E27FC236}">
                <a16:creationId xmlns:a16="http://schemas.microsoft.com/office/drawing/2014/main" id="{926F784E-485C-46E9-A476-2051D18874E2}"/>
              </a:ext>
            </a:extLst>
          </p:cNvPr>
          <p:cNvSpPr>
            <a:spLocks noGrp="1"/>
          </p:cNvSpPr>
          <p:nvPr>
            <p:ph type="title"/>
          </p:nvPr>
        </p:nvSpPr>
        <p:spPr>
          <a:xfrm>
            <a:off x="282770" y="357691"/>
            <a:ext cx="10744200" cy="866648"/>
          </a:xfrm>
        </p:spPr>
        <p:txBody>
          <a:bodyPr vert="horz" lIns="0" tIns="0" rIns="0" bIns="0" rtlCol="0" anchor="t" anchorCtr="0">
            <a:noAutofit/>
          </a:bodyPr>
          <a:lstStyle/>
          <a:p>
            <a:r>
              <a:rPr lang="en-US" dirty="0">
                <a:ea typeface="+mj-lt"/>
                <a:cs typeface="+mj-lt"/>
              </a:rPr>
              <a:t>Environmental </a:t>
            </a:r>
            <a:r>
              <a:rPr lang="en-US" sz="4800" dirty="0">
                <a:ea typeface="+mj-lt"/>
                <a:cs typeface="+mj-lt"/>
              </a:rPr>
              <a:t>Problems</a:t>
            </a:r>
            <a:r>
              <a:rPr lang="en-US" dirty="0">
                <a:ea typeface="+mj-lt"/>
                <a:cs typeface="+mj-lt"/>
              </a:rPr>
              <a:t> </a:t>
            </a:r>
            <a:br>
              <a:rPr lang="en-US" dirty="0">
                <a:ea typeface="+mj-lt"/>
                <a:cs typeface="+mj-lt"/>
              </a:rPr>
            </a:br>
            <a:br>
              <a:rPr lang="en-US" dirty="0">
                <a:ea typeface="+mj-lt"/>
                <a:cs typeface="+mj-lt"/>
              </a:rPr>
            </a:br>
            <a:endParaRPr lang="en-US" dirty="0"/>
          </a:p>
        </p:txBody>
      </p:sp>
      <p:sp>
        <p:nvSpPr>
          <p:cNvPr id="4" name="TextBox 3">
            <a:extLst>
              <a:ext uri="{FF2B5EF4-FFF2-40B4-BE49-F238E27FC236}">
                <a16:creationId xmlns:a16="http://schemas.microsoft.com/office/drawing/2014/main" id="{32DF85C0-3BEE-4729-9C07-A4274FBB1381}"/>
              </a:ext>
            </a:extLst>
          </p:cNvPr>
          <p:cNvSpPr txBox="1"/>
          <p:nvPr/>
        </p:nvSpPr>
        <p:spPr>
          <a:xfrm>
            <a:off x="250128" y="954015"/>
            <a:ext cx="4879445" cy="1785104"/>
          </a:xfrm>
          <a:prstGeom prst="rect">
            <a:avLst/>
          </a:prstGeom>
          <a:noFill/>
        </p:spPr>
        <p:txBody>
          <a:bodyPr wrap="square" lIns="0" tIns="0" rIns="0" bIns="0" rtlCol="0">
            <a:spAutoFit/>
          </a:bodyPr>
          <a:lstStyle/>
          <a:p>
            <a:r>
              <a:rPr lang="en-US" sz="4400" b="1" dirty="0">
                <a:ea typeface="+mj-lt"/>
                <a:cs typeface="+mj-lt"/>
              </a:rPr>
              <a:t>in</a:t>
            </a:r>
            <a:br>
              <a:rPr lang="en-US" sz="4400" b="1" dirty="0">
                <a:ea typeface="+mj-lt"/>
                <a:cs typeface="+mj-lt"/>
              </a:rPr>
            </a:br>
            <a:r>
              <a:rPr lang="en-US" sz="7200" b="1" dirty="0">
                <a:ea typeface="+mj-lt"/>
                <a:cs typeface="+mj-lt"/>
              </a:rPr>
              <a:t>Bangladesh</a:t>
            </a:r>
            <a:endParaRPr lang="en-US" sz="7200" b="1" kern="0" dirty="0"/>
          </a:p>
        </p:txBody>
      </p:sp>
      <p:pic>
        <p:nvPicPr>
          <p:cNvPr id="6" name="Picture 5">
            <a:extLst>
              <a:ext uri="{FF2B5EF4-FFF2-40B4-BE49-F238E27FC236}">
                <a16:creationId xmlns:a16="http://schemas.microsoft.com/office/drawing/2014/main" id="{91F74D4A-9E16-4275-90C5-F97189B724F9}"/>
              </a:ext>
            </a:extLst>
          </p:cNvPr>
          <p:cNvPicPr>
            <a:picLocks noChangeAspect="1"/>
          </p:cNvPicPr>
          <p:nvPr/>
        </p:nvPicPr>
        <p:blipFill>
          <a:blip r:embed="rId6">
            <a:duotone>
              <a:schemeClr val="accent6">
                <a:shade val="45000"/>
                <a:satMod val="135000"/>
              </a:schemeClr>
              <a:prstClr val="white"/>
            </a:duotone>
          </a:blip>
          <a:stretch>
            <a:fillRect/>
          </a:stretch>
        </p:blipFill>
        <p:spPr>
          <a:xfrm>
            <a:off x="5023078" y="1951834"/>
            <a:ext cx="1076837" cy="1383610"/>
          </a:xfrm>
          <a:prstGeom prst="rect">
            <a:avLst/>
          </a:prstGeom>
        </p:spPr>
      </p:pic>
    </p:spTree>
    <p:extLst>
      <p:ext uri="{BB962C8B-B14F-4D97-AF65-F5344CB8AC3E}">
        <p14:creationId xmlns:p14="http://schemas.microsoft.com/office/powerpoint/2010/main" val="344161627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1F74D4A-9E16-4275-90C5-F97189B724F9}"/>
              </a:ext>
            </a:extLst>
          </p:cNvPr>
          <p:cNvPicPr>
            <a:picLocks noChangeAspect="1"/>
          </p:cNvPicPr>
          <p:nvPr/>
        </p:nvPicPr>
        <p:blipFill>
          <a:blip r:embed="rId4">
            <a:duotone>
              <a:schemeClr val="accent6">
                <a:shade val="45000"/>
                <a:satMod val="135000"/>
              </a:schemeClr>
              <a:prstClr val="white"/>
            </a:duotone>
            <a:extLst>
              <a:ext uri="{BEBA8EAE-BF5A-486C-A8C5-ECC9F3942E4B}">
                <a14:imgProps xmlns:a14="http://schemas.microsoft.com/office/drawing/2010/main">
                  <a14:imgLayer r:embed="rId5">
                    <a14:imgEffect>
                      <a14:saturation sat="400000"/>
                    </a14:imgEffect>
                  </a14:imgLayer>
                </a14:imgProps>
              </a:ext>
            </a:extLst>
          </a:blip>
          <a:stretch>
            <a:fillRect/>
          </a:stretch>
        </p:blipFill>
        <p:spPr>
          <a:xfrm>
            <a:off x="6844607" y="-1006686"/>
            <a:ext cx="7390551" cy="9495997"/>
          </a:xfrm>
          <a:prstGeom prst="rect">
            <a:avLst/>
          </a:prstGeom>
        </p:spPr>
      </p:pic>
      <p:graphicFrame>
        <p:nvGraphicFramePr>
          <p:cNvPr id="3" name="Object 2" hidden="1">
            <a:extLst>
              <a:ext uri="{FF2B5EF4-FFF2-40B4-BE49-F238E27FC236}">
                <a16:creationId xmlns:a16="http://schemas.microsoft.com/office/drawing/2014/main" id="{29F5A9FD-BD4B-41CD-9545-C14EE113DFB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4" name="think-cell Slide" r:id="rId6" imgW="360" imgH="360" progId="TCLayout.ActiveDocument.1">
                  <p:embed/>
                </p:oleObj>
              </mc:Choice>
              <mc:Fallback>
                <p:oleObj name="think-cell Slide" r:id="rId6" imgW="360" imgH="360" progId="TCLayout.ActiveDocument.1">
                  <p:embed/>
                  <p:pic>
                    <p:nvPicPr>
                      <p:cNvPr id="3" name="Object 2" hidden="1">
                        <a:extLst>
                          <a:ext uri="{FF2B5EF4-FFF2-40B4-BE49-F238E27FC236}">
                            <a16:creationId xmlns:a16="http://schemas.microsoft.com/office/drawing/2014/main" id="{29F5A9FD-BD4B-41CD-9545-C14EE113DFB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26F784E-485C-46E9-A476-2051D18874E2}"/>
              </a:ext>
            </a:extLst>
          </p:cNvPr>
          <p:cNvSpPr>
            <a:spLocks noGrp="1"/>
          </p:cNvSpPr>
          <p:nvPr>
            <p:ph type="title"/>
          </p:nvPr>
        </p:nvSpPr>
        <p:spPr>
          <a:xfrm>
            <a:off x="282770" y="357691"/>
            <a:ext cx="10744200" cy="866648"/>
          </a:xfrm>
        </p:spPr>
        <p:txBody>
          <a:bodyPr vert="horz" lIns="0" tIns="0" rIns="0" bIns="0" rtlCol="0" anchor="t" anchorCtr="0">
            <a:noAutofit/>
          </a:bodyPr>
          <a:lstStyle/>
          <a:p>
            <a:r>
              <a:rPr lang="en-US" dirty="0">
                <a:ea typeface="+mj-lt"/>
                <a:cs typeface="+mj-lt"/>
              </a:rPr>
              <a:t>Environmental </a:t>
            </a:r>
            <a:r>
              <a:rPr lang="en-US" sz="4800" dirty="0">
                <a:ea typeface="+mj-lt"/>
                <a:cs typeface="+mj-lt"/>
              </a:rPr>
              <a:t>Problems</a:t>
            </a:r>
            <a:r>
              <a:rPr lang="en-US" dirty="0">
                <a:ea typeface="+mj-lt"/>
                <a:cs typeface="+mj-lt"/>
              </a:rPr>
              <a:t> </a:t>
            </a:r>
            <a:br>
              <a:rPr lang="en-US" dirty="0">
                <a:ea typeface="+mj-lt"/>
                <a:cs typeface="+mj-lt"/>
              </a:rPr>
            </a:br>
            <a:br>
              <a:rPr lang="en-US" dirty="0">
                <a:ea typeface="+mj-lt"/>
                <a:cs typeface="+mj-lt"/>
              </a:rPr>
            </a:br>
            <a:endParaRPr lang="en-US" dirty="0"/>
          </a:p>
        </p:txBody>
      </p:sp>
      <p:sp>
        <p:nvSpPr>
          <p:cNvPr id="4" name="TextBox 3">
            <a:extLst>
              <a:ext uri="{FF2B5EF4-FFF2-40B4-BE49-F238E27FC236}">
                <a16:creationId xmlns:a16="http://schemas.microsoft.com/office/drawing/2014/main" id="{32DF85C0-3BEE-4729-9C07-A4274FBB1381}"/>
              </a:ext>
            </a:extLst>
          </p:cNvPr>
          <p:cNvSpPr txBox="1"/>
          <p:nvPr/>
        </p:nvSpPr>
        <p:spPr>
          <a:xfrm>
            <a:off x="250128" y="954015"/>
            <a:ext cx="4879445" cy="1785104"/>
          </a:xfrm>
          <a:prstGeom prst="rect">
            <a:avLst/>
          </a:prstGeom>
          <a:noFill/>
        </p:spPr>
        <p:txBody>
          <a:bodyPr wrap="square" lIns="0" tIns="0" rIns="0" bIns="0" rtlCol="0">
            <a:spAutoFit/>
          </a:bodyPr>
          <a:lstStyle/>
          <a:p>
            <a:r>
              <a:rPr lang="en-US" sz="4400" b="1" dirty="0">
                <a:ea typeface="+mj-lt"/>
                <a:cs typeface="+mj-lt"/>
              </a:rPr>
              <a:t>in</a:t>
            </a:r>
            <a:br>
              <a:rPr lang="en-US" sz="4400" b="1" dirty="0">
                <a:ea typeface="+mj-lt"/>
                <a:cs typeface="+mj-lt"/>
              </a:rPr>
            </a:br>
            <a:r>
              <a:rPr lang="en-US" sz="7200" b="1" dirty="0">
                <a:ea typeface="+mj-lt"/>
                <a:cs typeface="+mj-lt"/>
              </a:rPr>
              <a:t>Bangladesh</a:t>
            </a:r>
            <a:endParaRPr lang="en-US" sz="7200" b="1" kern="0" dirty="0"/>
          </a:p>
        </p:txBody>
      </p:sp>
      <p:pic>
        <p:nvPicPr>
          <p:cNvPr id="243" name="Picture 242">
            <a:extLst>
              <a:ext uri="{FF2B5EF4-FFF2-40B4-BE49-F238E27FC236}">
                <a16:creationId xmlns:a16="http://schemas.microsoft.com/office/drawing/2014/main" id="{62968370-A940-451E-9211-AC39DFD7FC0B}"/>
              </a:ext>
            </a:extLst>
          </p:cNvPr>
          <p:cNvPicPr>
            <a:picLocks noChangeAspect="1"/>
          </p:cNvPicPr>
          <p:nvPr/>
        </p:nvPicPr>
        <p:blipFill rotWithShape="1">
          <a:blip r:embed="rId8">
            <a:duotone>
              <a:prstClr val="black"/>
              <a:schemeClr val="accent1">
                <a:tint val="45000"/>
                <a:satMod val="400000"/>
              </a:schemeClr>
            </a:duotone>
          </a:blip>
          <a:srcRect l="30358" t="-255" r="-5164"/>
          <a:stretch/>
        </p:blipFill>
        <p:spPr>
          <a:xfrm>
            <a:off x="12192000" y="0"/>
            <a:ext cx="12683703" cy="10773135"/>
          </a:xfrm>
          <a:prstGeom prst="rect">
            <a:avLst/>
          </a:prstGeom>
        </p:spPr>
      </p:pic>
    </p:spTree>
    <p:extLst>
      <p:ext uri="{BB962C8B-B14F-4D97-AF65-F5344CB8AC3E}">
        <p14:creationId xmlns:p14="http://schemas.microsoft.com/office/powerpoint/2010/main" val="73679588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9F5A9FD-BD4B-41CD-9545-C14EE113DFB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8"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a16="http://schemas.microsoft.com/office/drawing/2014/main" id="{29F5A9FD-BD4B-41CD-9545-C14EE113DF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26F784E-485C-46E9-A476-2051D18874E2}"/>
              </a:ext>
            </a:extLst>
          </p:cNvPr>
          <p:cNvSpPr>
            <a:spLocks noGrp="1"/>
          </p:cNvSpPr>
          <p:nvPr>
            <p:ph type="title"/>
          </p:nvPr>
        </p:nvSpPr>
        <p:spPr>
          <a:xfrm>
            <a:off x="282770" y="357691"/>
            <a:ext cx="10744200" cy="866648"/>
          </a:xfrm>
        </p:spPr>
        <p:txBody>
          <a:bodyPr vert="horz" lIns="0" tIns="0" rIns="0" bIns="0" rtlCol="0" anchor="t" anchorCtr="0">
            <a:noAutofit/>
          </a:bodyPr>
          <a:lstStyle/>
          <a:p>
            <a:r>
              <a:rPr lang="en-US" dirty="0">
                <a:ea typeface="+mj-lt"/>
                <a:cs typeface="+mj-lt"/>
              </a:rPr>
              <a:t>Environmental </a:t>
            </a:r>
            <a:r>
              <a:rPr lang="en-US" sz="4800" dirty="0">
                <a:ea typeface="+mj-lt"/>
                <a:cs typeface="+mj-lt"/>
              </a:rPr>
              <a:t>Problems</a:t>
            </a:r>
            <a:r>
              <a:rPr lang="en-US" dirty="0">
                <a:ea typeface="+mj-lt"/>
                <a:cs typeface="+mj-lt"/>
              </a:rPr>
              <a:t> </a:t>
            </a:r>
            <a:br>
              <a:rPr lang="en-US" dirty="0">
                <a:ea typeface="+mj-lt"/>
                <a:cs typeface="+mj-lt"/>
              </a:rPr>
            </a:br>
            <a:br>
              <a:rPr lang="en-US" dirty="0">
                <a:ea typeface="+mj-lt"/>
                <a:cs typeface="+mj-lt"/>
              </a:rPr>
            </a:br>
            <a:endParaRPr lang="en-US" dirty="0"/>
          </a:p>
        </p:txBody>
      </p:sp>
      <p:sp>
        <p:nvSpPr>
          <p:cNvPr id="4" name="TextBox 3">
            <a:extLst>
              <a:ext uri="{FF2B5EF4-FFF2-40B4-BE49-F238E27FC236}">
                <a16:creationId xmlns:a16="http://schemas.microsoft.com/office/drawing/2014/main" id="{32DF85C0-3BEE-4729-9C07-A4274FBB1381}"/>
              </a:ext>
            </a:extLst>
          </p:cNvPr>
          <p:cNvSpPr txBox="1"/>
          <p:nvPr/>
        </p:nvSpPr>
        <p:spPr>
          <a:xfrm>
            <a:off x="250128" y="954015"/>
            <a:ext cx="4879445" cy="1785104"/>
          </a:xfrm>
          <a:prstGeom prst="rect">
            <a:avLst/>
          </a:prstGeom>
          <a:noFill/>
        </p:spPr>
        <p:txBody>
          <a:bodyPr wrap="square" lIns="0" tIns="0" rIns="0" bIns="0" rtlCol="0">
            <a:spAutoFit/>
          </a:bodyPr>
          <a:lstStyle/>
          <a:p>
            <a:r>
              <a:rPr lang="en-US" sz="4400" b="1" dirty="0">
                <a:ea typeface="+mj-lt"/>
                <a:cs typeface="+mj-lt"/>
              </a:rPr>
              <a:t>in</a:t>
            </a:r>
            <a:br>
              <a:rPr lang="en-US" sz="4400" b="1" dirty="0">
                <a:ea typeface="+mj-lt"/>
                <a:cs typeface="+mj-lt"/>
              </a:rPr>
            </a:br>
            <a:r>
              <a:rPr lang="en-US" sz="7200" b="1" dirty="0">
                <a:ea typeface="+mj-lt"/>
                <a:cs typeface="+mj-lt"/>
              </a:rPr>
              <a:t>Bangladesh</a:t>
            </a:r>
            <a:endParaRPr lang="en-US" sz="7200" b="1" kern="0" dirty="0"/>
          </a:p>
        </p:txBody>
      </p:sp>
      <p:pic>
        <p:nvPicPr>
          <p:cNvPr id="13" name="Picture 12">
            <a:extLst>
              <a:ext uri="{FF2B5EF4-FFF2-40B4-BE49-F238E27FC236}">
                <a16:creationId xmlns:a16="http://schemas.microsoft.com/office/drawing/2014/main" id="{F27D24F3-4C94-48D4-A7F1-FC13E5CD4E75}"/>
              </a:ext>
            </a:extLst>
          </p:cNvPr>
          <p:cNvPicPr>
            <a:picLocks noChangeAspect="1"/>
          </p:cNvPicPr>
          <p:nvPr/>
        </p:nvPicPr>
        <p:blipFill>
          <a:blip r:embed="rId6">
            <a:duotone>
              <a:schemeClr val="accent6">
                <a:shade val="45000"/>
                <a:satMod val="135000"/>
              </a:schemeClr>
              <a:prstClr val="white"/>
            </a:duotone>
            <a:extLst>
              <a:ext uri="{BEBA8EAE-BF5A-486C-A8C5-ECC9F3942E4B}">
                <a14:imgProps xmlns:a14="http://schemas.microsoft.com/office/drawing/2010/main">
                  <a14:imgLayer r:embed="rId7">
                    <a14:imgEffect>
                      <a14:saturation sat="400000"/>
                    </a14:imgEffect>
                  </a14:imgLayer>
                </a14:imgProps>
              </a:ext>
            </a:extLst>
          </a:blip>
          <a:stretch>
            <a:fillRect/>
          </a:stretch>
        </p:blipFill>
        <p:spPr>
          <a:xfrm>
            <a:off x="6844607" y="-1006686"/>
            <a:ext cx="7390551" cy="9495997"/>
          </a:xfrm>
          <a:prstGeom prst="rect">
            <a:avLst/>
          </a:prstGeom>
        </p:spPr>
      </p:pic>
    </p:spTree>
    <p:extLst>
      <p:ext uri="{BB962C8B-B14F-4D97-AF65-F5344CB8AC3E}">
        <p14:creationId xmlns:p14="http://schemas.microsoft.com/office/powerpoint/2010/main" val="49051132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1F74D4A-9E16-4275-90C5-F97189B724F9}"/>
              </a:ext>
            </a:extLst>
          </p:cNvPr>
          <p:cNvPicPr>
            <a:picLocks noChangeAspect="1"/>
          </p:cNvPicPr>
          <p:nvPr/>
        </p:nvPicPr>
        <p:blipFill>
          <a:blip r:embed="rId4">
            <a:duotone>
              <a:schemeClr val="accent1">
                <a:shade val="45000"/>
                <a:satMod val="135000"/>
              </a:schemeClr>
              <a:prstClr val="white"/>
            </a:duotone>
            <a:extLst>
              <a:ext uri="{BEBA8EAE-BF5A-486C-A8C5-ECC9F3942E4B}">
                <a14:imgProps xmlns:a14="http://schemas.microsoft.com/office/drawing/2010/main">
                  <a14:imgLayer r:embed="rId5">
                    <a14:imgEffect>
                      <a14:saturation sat="400000"/>
                    </a14:imgEffect>
                  </a14:imgLayer>
                </a14:imgProps>
              </a:ext>
            </a:extLst>
          </a:blip>
          <a:stretch>
            <a:fillRect/>
          </a:stretch>
        </p:blipFill>
        <p:spPr>
          <a:xfrm>
            <a:off x="7027334" y="1855255"/>
            <a:ext cx="8779084" cy="11280100"/>
          </a:xfrm>
          <a:prstGeom prst="rect">
            <a:avLst/>
          </a:prstGeom>
        </p:spPr>
      </p:pic>
      <p:graphicFrame>
        <p:nvGraphicFramePr>
          <p:cNvPr id="3" name="Object 2" hidden="1">
            <a:extLst>
              <a:ext uri="{FF2B5EF4-FFF2-40B4-BE49-F238E27FC236}">
                <a16:creationId xmlns:a16="http://schemas.microsoft.com/office/drawing/2014/main" id="{29F5A9FD-BD4B-41CD-9545-C14EE113DFB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2" name="think-cell Slide" r:id="rId6" imgW="360" imgH="360" progId="TCLayout.ActiveDocument.1">
                  <p:embed/>
                </p:oleObj>
              </mc:Choice>
              <mc:Fallback>
                <p:oleObj name="think-cell Slide" r:id="rId6" imgW="360" imgH="360" progId="TCLayout.ActiveDocument.1">
                  <p:embed/>
                  <p:pic>
                    <p:nvPicPr>
                      <p:cNvPr id="3" name="Object 2" hidden="1">
                        <a:extLst>
                          <a:ext uri="{FF2B5EF4-FFF2-40B4-BE49-F238E27FC236}">
                            <a16:creationId xmlns:a16="http://schemas.microsoft.com/office/drawing/2014/main" id="{29F5A9FD-BD4B-41CD-9545-C14EE113DFB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26F784E-485C-46E9-A476-2051D18874E2}"/>
              </a:ext>
            </a:extLst>
          </p:cNvPr>
          <p:cNvSpPr>
            <a:spLocks noGrp="1"/>
          </p:cNvSpPr>
          <p:nvPr>
            <p:ph type="title"/>
          </p:nvPr>
        </p:nvSpPr>
        <p:spPr>
          <a:xfrm>
            <a:off x="282770" y="357691"/>
            <a:ext cx="2180344" cy="688514"/>
          </a:xfrm>
        </p:spPr>
        <p:txBody>
          <a:bodyPr vert="horz" lIns="0" tIns="0" rIns="0" bIns="0" rtlCol="0" anchor="t" anchorCtr="0">
            <a:noAutofit/>
          </a:bodyPr>
          <a:lstStyle/>
          <a:p>
            <a:r>
              <a:rPr lang="en-US" sz="1200" dirty="0">
                <a:ea typeface="+mj-lt"/>
                <a:cs typeface="+mj-lt"/>
              </a:rPr>
              <a:t>Environmental Problems </a:t>
            </a:r>
            <a:br>
              <a:rPr lang="en-US" sz="1200" dirty="0">
                <a:ea typeface="+mj-lt"/>
                <a:cs typeface="+mj-lt"/>
              </a:rPr>
            </a:br>
            <a:br>
              <a:rPr lang="en-US" sz="1200" dirty="0">
                <a:ea typeface="+mj-lt"/>
                <a:cs typeface="+mj-lt"/>
              </a:rPr>
            </a:br>
            <a:endParaRPr lang="en-US" sz="1200" dirty="0"/>
          </a:p>
        </p:txBody>
      </p:sp>
      <p:sp>
        <p:nvSpPr>
          <p:cNvPr id="4" name="TextBox 3">
            <a:extLst>
              <a:ext uri="{FF2B5EF4-FFF2-40B4-BE49-F238E27FC236}">
                <a16:creationId xmlns:a16="http://schemas.microsoft.com/office/drawing/2014/main" id="{32DF85C0-3BEE-4729-9C07-A4274FBB1381}"/>
              </a:ext>
            </a:extLst>
          </p:cNvPr>
          <p:cNvSpPr txBox="1"/>
          <p:nvPr/>
        </p:nvSpPr>
        <p:spPr>
          <a:xfrm>
            <a:off x="282770" y="486504"/>
            <a:ext cx="4879445" cy="430887"/>
          </a:xfrm>
          <a:prstGeom prst="rect">
            <a:avLst/>
          </a:prstGeom>
          <a:noFill/>
        </p:spPr>
        <p:txBody>
          <a:bodyPr wrap="square" lIns="0" tIns="0" rIns="0" bIns="0" rtlCol="0">
            <a:spAutoFit/>
          </a:bodyPr>
          <a:lstStyle/>
          <a:p>
            <a:r>
              <a:rPr lang="en-US" sz="1400" b="1" dirty="0">
                <a:ea typeface="+mj-lt"/>
                <a:cs typeface="+mj-lt"/>
              </a:rPr>
              <a:t>in</a:t>
            </a:r>
            <a:br>
              <a:rPr lang="en-US" sz="1400" b="1" dirty="0">
                <a:ea typeface="+mj-lt"/>
                <a:cs typeface="+mj-lt"/>
              </a:rPr>
            </a:br>
            <a:r>
              <a:rPr lang="en-US" sz="1400" b="1" dirty="0">
                <a:ea typeface="+mj-lt"/>
                <a:cs typeface="+mj-lt"/>
              </a:rPr>
              <a:t>Bangladesh</a:t>
            </a:r>
            <a:endParaRPr lang="en-US" sz="1400" b="1" kern="0" dirty="0"/>
          </a:p>
        </p:txBody>
      </p:sp>
    </p:spTree>
    <p:extLst>
      <p:ext uri="{BB962C8B-B14F-4D97-AF65-F5344CB8AC3E}">
        <p14:creationId xmlns:p14="http://schemas.microsoft.com/office/powerpoint/2010/main" val="250208517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1F74D4A-9E16-4275-90C5-F97189B724F9}"/>
              </a:ext>
            </a:extLst>
          </p:cNvPr>
          <p:cNvPicPr>
            <a:picLocks noChangeAspect="1"/>
          </p:cNvPicPr>
          <p:nvPr/>
        </p:nvPicPr>
        <p:blipFill>
          <a:blip r:embed="rId4">
            <a:duotone>
              <a:schemeClr val="accent1">
                <a:shade val="45000"/>
                <a:satMod val="135000"/>
              </a:schemeClr>
              <a:prstClr val="white"/>
            </a:duotone>
            <a:extLst>
              <a:ext uri="{BEBA8EAE-BF5A-486C-A8C5-ECC9F3942E4B}">
                <a14:imgProps xmlns:a14="http://schemas.microsoft.com/office/drawing/2010/main">
                  <a14:imgLayer r:embed="rId5">
                    <a14:imgEffect>
                      <a14:saturation sat="400000"/>
                    </a14:imgEffect>
                  </a14:imgLayer>
                </a14:imgProps>
              </a:ext>
            </a:extLst>
          </a:blip>
          <a:stretch>
            <a:fillRect/>
          </a:stretch>
        </p:blipFill>
        <p:spPr>
          <a:xfrm>
            <a:off x="7027335" y="1857674"/>
            <a:ext cx="8779084" cy="11280100"/>
          </a:xfrm>
          <a:prstGeom prst="rect">
            <a:avLst/>
          </a:prstGeom>
        </p:spPr>
      </p:pic>
      <p:graphicFrame>
        <p:nvGraphicFramePr>
          <p:cNvPr id="3" name="Object 2" hidden="1">
            <a:extLst>
              <a:ext uri="{FF2B5EF4-FFF2-40B4-BE49-F238E27FC236}">
                <a16:creationId xmlns:a16="http://schemas.microsoft.com/office/drawing/2014/main" id="{29F5A9FD-BD4B-41CD-9545-C14EE113DFB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6" name="think-cell Slide" r:id="rId6" imgW="360" imgH="360" progId="TCLayout.ActiveDocument.1">
                  <p:embed/>
                </p:oleObj>
              </mc:Choice>
              <mc:Fallback>
                <p:oleObj name="think-cell Slide" r:id="rId6" imgW="360" imgH="360" progId="TCLayout.ActiveDocument.1">
                  <p:embed/>
                  <p:pic>
                    <p:nvPicPr>
                      <p:cNvPr id="3" name="Object 2" hidden="1">
                        <a:extLst>
                          <a:ext uri="{FF2B5EF4-FFF2-40B4-BE49-F238E27FC236}">
                            <a16:creationId xmlns:a16="http://schemas.microsoft.com/office/drawing/2014/main" id="{29F5A9FD-BD4B-41CD-9545-C14EE113DFB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26F784E-485C-46E9-A476-2051D18874E2}"/>
              </a:ext>
            </a:extLst>
          </p:cNvPr>
          <p:cNvSpPr>
            <a:spLocks noGrp="1"/>
          </p:cNvSpPr>
          <p:nvPr>
            <p:ph type="title"/>
          </p:nvPr>
        </p:nvSpPr>
        <p:spPr>
          <a:xfrm>
            <a:off x="282770" y="357691"/>
            <a:ext cx="2180344" cy="688514"/>
          </a:xfrm>
        </p:spPr>
        <p:txBody>
          <a:bodyPr vert="horz" lIns="0" tIns="0" rIns="0" bIns="0" rtlCol="0" anchor="t" anchorCtr="0">
            <a:noAutofit/>
          </a:bodyPr>
          <a:lstStyle/>
          <a:p>
            <a:r>
              <a:rPr lang="en-US" sz="1200" dirty="0">
                <a:ea typeface="+mj-lt"/>
                <a:cs typeface="+mj-lt"/>
              </a:rPr>
              <a:t>Environmental Problems </a:t>
            </a:r>
            <a:br>
              <a:rPr lang="en-US" sz="1200" dirty="0">
                <a:ea typeface="+mj-lt"/>
                <a:cs typeface="+mj-lt"/>
              </a:rPr>
            </a:br>
            <a:br>
              <a:rPr lang="en-US" sz="1200" dirty="0">
                <a:ea typeface="+mj-lt"/>
                <a:cs typeface="+mj-lt"/>
              </a:rPr>
            </a:br>
            <a:endParaRPr lang="en-US" sz="1200" dirty="0"/>
          </a:p>
        </p:txBody>
      </p:sp>
      <p:sp>
        <p:nvSpPr>
          <p:cNvPr id="4" name="TextBox 3">
            <a:extLst>
              <a:ext uri="{FF2B5EF4-FFF2-40B4-BE49-F238E27FC236}">
                <a16:creationId xmlns:a16="http://schemas.microsoft.com/office/drawing/2014/main" id="{32DF85C0-3BEE-4729-9C07-A4274FBB1381}"/>
              </a:ext>
            </a:extLst>
          </p:cNvPr>
          <p:cNvSpPr txBox="1"/>
          <p:nvPr/>
        </p:nvSpPr>
        <p:spPr>
          <a:xfrm>
            <a:off x="282770" y="486504"/>
            <a:ext cx="4879445" cy="430887"/>
          </a:xfrm>
          <a:prstGeom prst="rect">
            <a:avLst/>
          </a:prstGeom>
          <a:noFill/>
        </p:spPr>
        <p:txBody>
          <a:bodyPr wrap="square" lIns="0" tIns="0" rIns="0" bIns="0" rtlCol="0">
            <a:spAutoFit/>
          </a:bodyPr>
          <a:lstStyle/>
          <a:p>
            <a:r>
              <a:rPr lang="en-US" sz="1400" b="1" dirty="0">
                <a:ea typeface="+mj-lt"/>
                <a:cs typeface="+mj-lt"/>
              </a:rPr>
              <a:t>in</a:t>
            </a:r>
            <a:br>
              <a:rPr lang="en-US" sz="1400" b="1" dirty="0">
                <a:ea typeface="+mj-lt"/>
                <a:cs typeface="+mj-lt"/>
              </a:rPr>
            </a:br>
            <a:r>
              <a:rPr lang="en-US" sz="1400" b="1" dirty="0">
                <a:ea typeface="+mj-lt"/>
                <a:cs typeface="+mj-lt"/>
              </a:rPr>
              <a:t>Bangladesh</a:t>
            </a:r>
            <a:endParaRPr lang="en-US" sz="1400" b="1" kern="0" dirty="0"/>
          </a:p>
        </p:txBody>
      </p:sp>
      <p:sp>
        <p:nvSpPr>
          <p:cNvPr id="9" name="Rectangle 8">
            <a:extLst>
              <a:ext uri="{FF2B5EF4-FFF2-40B4-BE49-F238E27FC236}">
                <a16:creationId xmlns:a16="http://schemas.microsoft.com/office/drawing/2014/main" id="{C31BA8BE-60CC-4486-B520-DD230AE43F64}"/>
              </a:ext>
            </a:extLst>
          </p:cNvPr>
          <p:cNvSpPr/>
          <p:nvPr/>
        </p:nvSpPr>
        <p:spPr>
          <a:xfrm>
            <a:off x="4572000" y="308490"/>
            <a:ext cx="7720383" cy="1138773"/>
          </a:xfrm>
          <a:prstGeom prst="rect">
            <a:avLst/>
          </a:prstGeom>
        </p:spPr>
        <p:txBody>
          <a:bodyPr wrap="none">
            <a:spAutoFit/>
          </a:bodyPr>
          <a:lstStyle/>
          <a:p>
            <a:r>
              <a:rPr lang="en-US" sz="4400" dirty="0">
                <a:solidFill>
                  <a:srgbClr val="3699DC"/>
                </a:solidFill>
              </a:rPr>
              <a:t>|</a:t>
            </a:r>
            <a:r>
              <a:rPr lang="en-US" sz="3200" dirty="0">
                <a:solidFill>
                  <a:srgbClr val="3699DC"/>
                </a:solidFill>
              </a:rPr>
              <a:t>  Causes of Environment Degradation</a:t>
            </a:r>
          </a:p>
          <a:p>
            <a:pPr algn="r"/>
            <a:r>
              <a:rPr lang="en-US" sz="2400" dirty="0">
                <a:solidFill>
                  <a:srgbClr val="3699DC"/>
                </a:solidFill>
              </a:rPr>
              <a:t>three major interlinked causes       </a:t>
            </a:r>
          </a:p>
        </p:txBody>
      </p:sp>
      <p:grpSp>
        <p:nvGrpSpPr>
          <p:cNvPr id="16" name="Group 15">
            <a:extLst>
              <a:ext uri="{FF2B5EF4-FFF2-40B4-BE49-F238E27FC236}">
                <a16:creationId xmlns:a16="http://schemas.microsoft.com/office/drawing/2014/main" id="{C93EA627-E140-4805-A4C1-07B4F53B6A82}"/>
              </a:ext>
            </a:extLst>
          </p:cNvPr>
          <p:cNvGrpSpPr/>
          <p:nvPr/>
        </p:nvGrpSpPr>
        <p:grpSpPr>
          <a:xfrm>
            <a:off x="534413" y="1175018"/>
            <a:ext cx="5768535" cy="5374492"/>
            <a:chOff x="303317" y="865442"/>
            <a:chExt cx="5768535" cy="5374492"/>
          </a:xfrm>
        </p:grpSpPr>
        <p:sp>
          <p:nvSpPr>
            <p:cNvPr id="5" name="Oval 4">
              <a:extLst>
                <a:ext uri="{FF2B5EF4-FFF2-40B4-BE49-F238E27FC236}">
                  <a16:creationId xmlns:a16="http://schemas.microsoft.com/office/drawing/2014/main" id="{774F60E6-7352-4B5C-AE72-36864B38FB92}"/>
                </a:ext>
              </a:extLst>
            </p:cNvPr>
            <p:cNvSpPr/>
            <p:nvPr/>
          </p:nvSpPr>
          <p:spPr>
            <a:xfrm>
              <a:off x="943597" y="1424492"/>
              <a:ext cx="4815442" cy="4815442"/>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US" sz="1000" kern="0" dirty="0" err="1">
                <a:solidFill>
                  <a:schemeClr val="tx1"/>
                </a:solidFill>
              </a:endParaRPr>
            </a:p>
          </p:txBody>
        </p:sp>
        <p:sp>
          <p:nvSpPr>
            <p:cNvPr id="7" name="Oval 6">
              <a:extLst>
                <a:ext uri="{FF2B5EF4-FFF2-40B4-BE49-F238E27FC236}">
                  <a16:creationId xmlns:a16="http://schemas.microsoft.com/office/drawing/2014/main" id="{65374F8B-E21E-43CA-B245-3B9AB1301F29}"/>
                </a:ext>
              </a:extLst>
            </p:cNvPr>
            <p:cNvSpPr/>
            <p:nvPr/>
          </p:nvSpPr>
          <p:spPr>
            <a:xfrm>
              <a:off x="1088819" y="1553306"/>
              <a:ext cx="4524997" cy="4524997"/>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US" sz="1000" kern="0" dirty="0" err="1">
                <a:solidFill>
                  <a:schemeClr val="tx1"/>
                </a:solidFill>
              </a:endParaRPr>
            </a:p>
          </p:txBody>
        </p:sp>
        <mc:AlternateContent xmlns:mc="http://schemas.openxmlformats.org/markup-compatibility/2006" xmlns:pslz="http://schemas.microsoft.com/office/powerpoint/2016/slidezoom">
          <mc:Choice Requires="pslz">
            <p:graphicFrame>
              <p:nvGraphicFramePr>
                <p:cNvPr id="11" name="Slide Zoom 10">
                  <a:extLst>
                    <a:ext uri="{FF2B5EF4-FFF2-40B4-BE49-F238E27FC236}">
                      <a16:creationId xmlns:a16="http://schemas.microsoft.com/office/drawing/2014/main" id="{C60742AC-32AE-4687-8746-ACE4634585BB}"/>
                    </a:ext>
                  </a:extLst>
                </p:cNvPr>
                <p:cNvGraphicFramePr>
                  <a:graphicFrameLocks noChangeAspect="1"/>
                </p:cNvGraphicFramePr>
                <p:nvPr>
                  <p:extLst>
                    <p:ext uri="{D42A27DB-BD31-4B8C-83A1-F6EECF244321}">
                      <p14:modId xmlns:p14="http://schemas.microsoft.com/office/powerpoint/2010/main" val="4091739800"/>
                    </p:ext>
                  </p:extLst>
                </p:nvPr>
              </p:nvGraphicFramePr>
              <p:xfrm>
                <a:off x="303317" y="865442"/>
                <a:ext cx="3048000" cy="1714500"/>
              </p:xfrm>
              <a:graphic>
                <a:graphicData uri="http://schemas.microsoft.com/office/powerpoint/2016/slidezoom">
                  <pslz:sldZm>
                    <pslz:sldZmObj sldId="264" cId="3199586605">
                      <pslz:zmPr id="{E503200B-98DD-4EBD-9DE7-9259B17BCD61}" returnToParent="0" transitionDur="1000" showBg="0">
                        <p166:blipFill xmlns:p166="http://schemas.microsoft.com/office/powerpoint/2016/6/main">
                          <a:blip r:embed="rId8"/>
                          <a:stretch>
                            <a:fillRect/>
                          </a:stretch>
                        </p166:blipFill>
                        <p166:spPr xmlns:p166="http://schemas.microsoft.com/office/powerpoint/2016/6/main">
                          <a:xfrm>
                            <a:off x="0" y="0"/>
                            <a:ext cx="3048000" cy="1714500"/>
                          </a:xfrm>
                          <a:prstGeom prst="rect">
                            <a:avLst/>
                          </a:prstGeom>
                        </p166:spPr>
                      </pslz:zmPr>
                    </pslz:sldZmObj>
                  </pslz:sldZm>
                </a:graphicData>
              </a:graphic>
            </p:graphicFrame>
          </mc:Choice>
          <mc:Fallback xmlns="">
            <p:pic>
              <p:nvPicPr>
                <p:cNvPr id="11" name="Slide Zoom 10">
                  <a:extLst>
                    <a:ext uri="{FF2B5EF4-FFF2-40B4-BE49-F238E27FC236}">
                      <a16:creationId xmlns:a16="http://schemas.microsoft.com/office/drawing/2014/main" id="{C60742AC-32AE-4687-8746-ACE4634585BB}"/>
                    </a:ext>
                  </a:extLst>
                </p:cNvPr>
                <p:cNvPicPr>
                  <a:picLocks noGrp="1" noRot="1" noChangeAspect="1" noMove="1" noResize="1" noEditPoints="1" noAdjustHandles="1" noChangeArrowheads="1" noChangeShapeType="1"/>
                </p:cNvPicPr>
                <p:nvPr/>
              </p:nvPicPr>
              <p:blipFill>
                <a:blip r:embed="rId9"/>
                <a:stretch>
                  <a:fillRect/>
                </a:stretch>
              </p:blipFill>
              <p:spPr>
                <a:xfrm>
                  <a:off x="534413" y="1175018"/>
                  <a:ext cx="3048000" cy="1714500"/>
                </a:xfrm>
                <a:prstGeom prst="rect">
                  <a:avLst/>
                </a:prstGeom>
              </p:spPr>
            </p:pic>
          </mc:Fallback>
        </mc:AlternateContent>
        <mc:AlternateContent xmlns:mc="http://schemas.openxmlformats.org/markup-compatibility/2006" xmlns:pslz="http://schemas.microsoft.com/office/powerpoint/2016/slidezoom">
          <mc:Choice Requires="pslz">
            <p:graphicFrame>
              <p:nvGraphicFramePr>
                <p:cNvPr id="13" name="Slide Zoom 12">
                  <a:extLst>
                    <a:ext uri="{FF2B5EF4-FFF2-40B4-BE49-F238E27FC236}">
                      <a16:creationId xmlns:a16="http://schemas.microsoft.com/office/drawing/2014/main" id="{F8DB111C-13FB-463F-A878-34E9FB1BCB5B}"/>
                    </a:ext>
                  </a:extLst>
                </p:cNvPr>
                <p:cNvGraphicFramePr>
                  <a:graphicFrameLocks noChangeAspect="1"/>
                </p:cNvGraphicFramePr>
                <p:nvPr>
                  <p:extLst>
                    <p:ext uri="{D42A27DB-BD31-4B8C-83A1-F6EECF244321}">
                      <p14:modId xmlns:p14="http://schemas.microsoft.com/office/powerpoint/2010/main" val="2781163907"/>
                    </p:ext>
                  </p:extLst>
                </p:nvPr>
              </p:nvGraphicFramePr>
              <p:xfrm>
                <a:off x="2816904" y="4458005"/>
                <a:ext cx="3048000" cy="1714500"/>
              </p:xfrm>
              <a:graphic>
                <a:graphicData uri="http://schemas.microsoft.com/office/powerpoint/2016/slidezoom">
                  <pslz:sldZm>
                    <pslz:sldZmObj sldId="266" cId="4198644984">
                      <pslz:zmPr id="{74D8AA53-9A46-495F-B996-F6F69C67DA19}" returnToParent="0" transitionDur="1000" showBg="0">
                        <p166:blipFill xmlns:p166="http://schemas.microsoft.com/office/powerpoint/2016/6/main">
                          <a:blip r:embed="rId10"/>
                          <a:stretch>
                            <a:fillRect/>
                          </a:stretch>
                        </p166:blipFill>
                        <p166:spPr xmlns:p166="http://schemas.microsoft.com/office/powerpoint/2016/6/main">
                          <a:xfrm>
                            <a:off x="0" y="0"/>
                            <a:ext cx="3048000" cy="1714500"/>
                          </a:xfrm>
                          <a:prstGeom prst="rect">
                            <a:avLst/>
                          </a:prstGeom>
                        </p166:spPr>
                      </pslz:zmPr>
                    </pslz:sldZmObj>
                  </pslz:sldZm>
                </a:graphicData>
              </a:graphic>
            </p:graphicFrame>
          </mc:Choice>
          <mc:Fallback xmlns="">
            <p:pic>
              <p:nvPicPr>
                <p:cNvPr id="13" name="Slide Zoom 12">
                  <a:extLst>
                    <a:ext uri="{FF2B5EF4-FFF2-40B4-BE49-F238E27FC236}">
                      <a16:creationId xmlns:a16="http://schemas.microsoft.com/office/drawing/2014/main" id="{F8DB111C-13FB-463F-A878-34E9FB1BCB5B}"/>
                    </a:ext>
                  </a:extLst>
                </p:cNvPr>
                <p:cNvPicPr>
                  <a:picLocks noGrp="1" noRot="1" noChangeAspect="1" noMove="1" noResize="1" noEditPoints="1" noAdjustHandles="1" noChangeArrowheads="1" noChangeShapeType="1"/>
                </p:cNvPicPr>
                <p:nvPr/>
              </p:nvPicPr>
              <p:blipFill>
                <a:blip r:embed="rId11"/>
                <a:stretch>
                  <a:fillRect/>
                </a:stretch>
              </p:blipFill>
              <p:spPr>
                <a:xfrm>
                  <a:off x="3048000" y="4767581"/>
                  <a:ext cx="3048000" cy="1714500"/>
                </a:xfrm>
                <a:prstGeom prst="rect">
                  <a:avLst/>
                </a:prstGeom>
              </p:spPr>
            </p:pic>
          </mc:Fallback>
        </mc:AlternateContent>
        <mc:AlternateContent xmlns:mc="http://schemas.openxmlformats.org/markup-compatibility/2006" xmlns:pslz="http://schemas.microsoft.com/office/powerpoint/2016/slidezoom">
          <mc:Choice Requires="pslz">
            <p:graphicFrame>
              <p:nvGraphicFramePr>
                <p:cNvPr id="15" name="Slide Zoom 14">
                  <a:extLst>
                    <a:ext uri="{FF2B5EF4-FFF2-40B4-BE49-F238E27FC236}">
                      <a16:creationId xmlns:a16="http://schemas.microsoft.com/office/drawing/2014/main" id="{44AAD99C-AFFC-42EE-BEB2-0C207778D4FE}"/>
                    </a:ext>
                  </a:extLst>
                </p:cNvPr>
                <p:cNvGraphicFramePr>
                  <a:graphicFrameLocks noChangeAspect="1"/>
                </p:cNvGraphicFramePr>
                <p:nvPr>
                  <p:extLst>
                    <p:ext uri="{D42A27DB-BD31-4B8C-83A1-F6EECF244321}">
                      <p14:modId xmlns:p14="http://schemas.microsoft.com/office/powerpoint/2010/main" val="2431373889"/>
                    </p:ext>
                  </p:extLst>
                </p:nvPr>
              </p:nvGraphicFramePr>
              <p:xfrm>
                <a:off x="2792954" y="1643368"/>
                <a:ext cx="3278898" cy="1844380"/>
              </p:xfrm>
              <a:graphic>
                <a:graphicData uri="http://schemas.microsoft.com/office/powerpoint/2016/slidezoom">
                  <pslz:sldZm>
                    <pslz:sldZmObj sldId="267" cId="3595356556">
                      <pslz:zmPr id="{BEB17AB8-8269-4D2F-A45F-52C0BC2E6C13}" returnToParent="0" transitionDur="1000" showBg="0">
                        <p166:blipFill xmlns:p166="http://schemas.microsoft.com/office/powerpoint/2016/6/main">
                          <a:blip r:embed="rId12"/>
                          <a:stretch>
                            <a:fillRect/>
                          </a:stretch>
                        </p166:blipFill>
                        <p166:spPr xmlns:p166="http://schemas.microsoft.com/office/powerpoint/2016/6/main">
                          <a:xfrm>
                            <a:off x="0" y="0"/>
                            <a:ext cx="3278898" cy="1844380"/>
                          </a:xfrm>
                          <a:prstGeom prst="rect">
                            <a:avLst/>
                          </a:prstGeom>
                        </p166:spPr>
                      </pslz:zmPr>
                    </pslz:sldZmObj>
                  </pslz:sldZm>
                </a:graphicData>
              </a:graphic>
            </p:graphicFrame>
          </mc:Choice>
          <mc:Fallback xmlns="">
            <p:pic>
              <p:nvPicPr>
                <p:cNvPr id="15" name="Slide Zoom 14">
                  <a:extLst>
                    <a:ext uri="{FF2B5EF4-FFF2-40B4-BE49-F238E27FC236}">
                      <a16:creationId xmlns:a16="http://schemas.microsoft.com/office/drawing/2014/main" id="{44AAD99C-AFFC-42EE-BEB2-0C207778D4FE}"/>
                    </a:ext>
                  </a:extLst>
                </p:cNvPr>
                <p:cNvPicPr>
                  <a:picLocks noGrp="1" noRot="1" noChangeAspect="1" noMove="1" noResize="1" noEditPoints="1" noAdjustHandles="1" noChangeArrowheads="1" noChangeShapeType="1"/>
                </p:cNvPicPr>
                <p:nvPr/>
              </p:nvPicPr>
              <p:blipFill>
                <a:blip r:embed="rId13"/>
                <a:stretch>
                  <a:fillRect/>
                </a:stretch>
              </p:blipFill>
              <p:spPr>
                <a:xfrm>
                  <a:off x="3024050" y="1952944"/>
                  <a:ext cx="3278898" cy="1844380"/>
                </a:xfrm>
                <a:prstGeom prst="rect">
                  <a:avLst/>
                </a:prstGeom>
              </p:spPr>
            </p:pic>
          </mc:Fallback>
        </mc:AlternateContent>
      </p:grpSp>
    </p:spTree>
    <p:extLst>
      <p:ext uri="{BB962C8B-B14F-4D97-AF65-F5344CB8AC3E}">
        <p14:creationId xmlns:p14="http://schemas.microsoft.com/office/powerpoint/2010/main" val="98124756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0C37A2F5-E5AB-46F4-B16E-D6519F62128F}"/>
              </a:ext>
            </a:extLst>
          </p:cNvPr>
          <p:cNvGrpSpPr/>
          <p:nvPr/>
        </p:nvGrpSpPr>
        <p:grpSpPr>
          <a:xfrm>
            <a:off x="-4293874" y="1206647"/>
            <a:ext cx="5000367" cy="3260825"/>
            <a:chOff x="263611" y="1235676"/>
            <a:chExt cx="5000367" cy="3260825"/>
          </a:xfrm>
        </p:grpSpPr>
        <p:sp>
          <p:nvSpPr>
            <p:cNvPr id="5" name="TextBox 4">
              <a:extLst>
                <a:ext uri="{FF2B5EF4-FFF2-40B4-BE49-F238E27FC236}">
                  <a16:creationId xmlns:a16="http://schemas.microsoft.com/office/drawing/2014/main" id="{514DBB80-D2B3-4C5D-AA83-359CD152320F}"/>
                </a:ext>
              </a:extLst>
            </p:cNvPr>
            <p:cNvSpPr txBox="1"/>
            <p:nvPr/>
          </p:nvSpPr>
          <p:spPr>
            <a:xfrm>
              <a:off x="263611" y="1235676"/>
              <a:ext cx="5000367" cy="861774"/>
            </a:xfrm>
            <a:prstGeom prst="rect">
              <a:avLst/>
            </a:prstGeom>
            <a:noFill/>
          </p:spPr>
          <p:txBody>
            <a:bodyPr wrap="square" lIns="0" tIns="0" rIns="0" bIns="0" rtlCol="0">
              <a:spAutoFit/>
            </a:bodyPr>
            <a:lstStyle/>
            <a:p>
              <a:pPr algn="l"/>
              <a:r>
                <a:rPr lang="en-US" sz="2800" kern="0" dirty="0">
                  <a:solidFill>
                    <a:srgbClr val="FD63B0"/>
                  </a:solidFill>
                </a:rPr>
                <a:t>Overpopulation | </a:t>
              </a:r>
            </a:p>
            <a:p>
              <a:pPr algn="l"/>
              <a:endParaRPr lang="en-US" sz="2800" kern="0" dirty="0"/>
            </a:p>
          </p:txBody>
        </p:sp>
        <p:sp>
          <p:nvSpPr>
            <p:cNvPr id="6" name="TextBox 5">
              <a:extLst>
                <a:ext uri="{FF2B5EF4-FFF2-40B4-BE49-F238E27FC236}">
                  <a16:creationId xmlns:a16="http://schemas.microsoft.com/office/drawing/2014/main" id="{893F4A3D-CF73-46EF-9A5F-485044D7A2A7}"/>
                </a:ext>
              </a:extLst>
            </p:cNvPr>
            <p:cNvSpPr txBox="1"/>
            <p:nvPr/>
          </p:nvSpPr>
          <p:spPr>
            <a:xfrm>
              <a:off x="263611" y="1911178"/>
              <a:ext cx="4217773" cy="2585323"/>
            </a:xfrm>
            <a:prstGeom prst="rect">
              <a:avLst/>
            </a:prstGeom>
            <a:noFill/>
          </p:spPr>
          <p:txBody>
            <a:bodyPr wrap="square" lIns="0" tIns="0" rIns="0" bIns="0" rtlCol="0">
              <a:spAutoFit/>
            </a:bodyPr>
            <a:lstStyle/>
            <a:p>
              <a:r>
                <a:rPr lang="en-US" sz="1200" dirty="0"/>
                <a:t>Overpopulation is defined as the condition of having a population so dense as to cause environmental deterioration, an impaired quality of life, or a population crash. The rapid population growth and economic development in country are degrading the environment through the uncontrolled growth of urbanization and industrialization, expansion and intensification of agriculture and the destruction of natural habitats. One of the significant reasons for environmental degradation in Bangladesh could be ascribed to quick development of population which is antagonistically influencing the natural resources and condition. The current population of Bangladesh is 164,725,975 and with a rank of eighth by population with a critical density of 1265 per square km.</a:t>
              </a:r>
              <a:endParaRPr lang="en-US" sz="1200" kern="0" dirty="0"/>
            </a:p>
          </p:txBody>
        </p:sp>
      </p:grpSp>
      <p:pic>
        <p:nvPicPr>
          <p:cNvPr id="8" name="Picture 7">
            <a:extLst>
              <a:ext uri="{FF2B5EF4-FFF2-40B4-BE49-F238E27FC236}">
                <a16:creationId xmlns:a16="http://schemas.microsoft.com/office/drawing/2014/main" id="{B8D9BF67-7228-4398-86BD-55EA3208F6D3}"/>
              </a:ext>
            </a:extLst>
          </p:cNvPr>
          <p:cNvPicPr>
            <a:picLocks noChangeAspect="1"/>
          </p:cNvPicPr>
          <p:nvPr/>
        </p:nvPicPr>
        <p:blipFill rotWithShape="1">
          <a:blip r:embed="rId2"/>
          <a:srcRect l="2129" t="7343" r="15936" b="10722"/>
          <a:stretch/>
        </p:blipFill>
        <p:spPr>
          <a:xfrm>
            <a:off x="6158299" y="889686"/>
            <a:ext cx="4893276" cy="4893276"/>
          </a:xfrm>
          <a:prstGeom prst="ellipse">
            <a:avLst/>
          </a:prstGeom>
        </p:spPr>
      </p:pic>
      <p:sp>
        <p:nvSpPr>
          <p:cNvPr id="9" name="Oval 8">
            <a:extLst>
              <a:ext uri="{FF2B5EF4-FFF2-40B4-BE49-F238E27FC236}">
                <a16:creationId xmlns:a16="http://schemas.microsoft.com/office/drawing/2014/main" id="{A71929C6-DECC-4FE8-9E5D-201FFF4BBAA4}"/>
              </a:ext>
            </a:extLst>
          </p:cNvPr>
          <p:cNvSpPr/>
          <p:nvPr/>
        </p:nvSpPr>
        <p:spPr>
          <a:xfrm>
            <a:off x="1062681" y="5782962"/>
            <a:ext cx="584886" cy="584886"/>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US" sz="1000" kern="0" dirty="0" err="1">
              <a:solidFill>
                <a:schemeClr val="tx1"/>
              </a:solidFill>
            </a:endParaRPr>
          </a:p>
        </p:txBody>
      </p:sp>
      <p:sp>
        <p:nvSpPr>
          <p:cNvPr id="10" name="Oval 9">
            <a:extLst>
              <a:ext uri="{FF2B5EF4-FFF2-40B4-BE49-F238E27FC236}">
                <a16:creationId xmlns:a16="http://schemas.microsoft.com/office/drawing/2014/main" id="{586AEE7D-C522-4EDA-A713-57983DBB1A6A}"/>
              </a:ext>
            </a:extLst>
          </p:cNvPr>
          <p:cNvSpPr/>
          <p:nvPr/>
        </p:nvSpPr>
        <p:spPr>
          <a:xfrm>
            <a:off x="1231558" y="5721178"/>
            <a:ext cx="123566" cy="123567"/>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US" sz="1000" kern="0" dirty="0" err="1">
              <a:solidFill>
                <a:schemeClr val="tx1"/>
              </a:solidFill>
            </a:endParaRPr>
          </a:p>
        </p:txBody>
      </p:sp>
      <p:sp>
        <p:nvSpPr>
          <p:cNvPr id="11" name="Oval 10">
            <a:extLst>
              <a:ext uri="{FF2B5EF4-FFF2-40B4-BE49-F238E27FC236}">
                <a16:creationId xmlns:a16="http://schemas.microsoft.com/office/drawing/2014/main" id="{E3231674-8D11-4FC9-BF24-9E0E76DE84E8}"/>
              </a:ext>
            </a:extLst>
          </p:cNvPr>
          <p:cNvSpPr/>
          <p:nvPr/>
        </p:nvSpPr>
        <p:spPr>
          <a:xfrm>
            <a:off x="1083275" y="6207209"/>
            <a:ext cx="123567" cy="123567"/>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US" sz="1000" kern="0" dirty="0" err="1">
              <a:solidFill>
                <a:schemeClr val="tx1"/>
              </a:solidFill>
            </a:endParaRPr>
          </a:p>
        </p:txBody>
      </p:sp>
      <p:sp>
        <p:nvSpPr>
          <p:cNvPr id="12" name="Oval 11">
            <a:extLst>
              <a:ext uri="{FF2B5EF4-FFF2-40B4-BE49-F238E27FC236}">
                <a16:creationId xmlns:a16="http://schemas.microsoft.com/office/drawing/2014/main" id="{4B420044-9B17-44BE-B717-B2A20B139853}"/>
              </a:ext>
            </a:extLst>
          </p:cNvPr>
          <p:cNvSpPr/>
          <p:nvPr/>
        </p:nvSpPr>
        <p:spPr>
          <a:xfrm>
            <a:off x="1585783" y="6075405"/>
            <a:ext cx="123567" cy="123567"/>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US" sz="1000" kern="0" dirty="0" err="1">
              <a:solidFill>
                <a:schemeClr val="tx1"/>
              </a:solidFill>
            </a:endParaRPr>
          </a:p>
        </p:txBody>
      </p:sp>
      <p:sp>
        <p:nvSpPr>
          <p:cNvPr id="13" name="Oval 12">
            <a:extLst>
              <a:ext uri="{FF2B5EF4-FFF2-40B4-BE49-F238E27FC236}">
                <a16:creationId xmlns:a16="http://schemas.microsoft.com/office/drawing/2014/main" id="{318BB0A2-4EF5-4236-9B6B-71E147F19DEB}"/>
              </a:ext>
            </a:extLst>
          </p:cNvPr>
          <p:cNvSpPr/>
          <p:nvPr/>
        </p:nvSpPr>
        <p:spPr>
          <a:xfrm>
            <a:off x="924697" y="5644978"/>
            <a:ext cx="860854" cy="860854"/>
          </a:xfrm>
          <a:prstGeom prst="ellipse">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US" sz="1000" kern="0" dirty="0" err="1">
              <a:solidFill>
                <a:schemeClr val="tx1"/>
              </a:solidFill>
            </a:endParaRPr>
          </a:p>
        </p:txBody>
      </p:sp>
    </p:spTree>
    <p:extLst>
      <p:ext uri="{BB962C8B-B14F-4D97-AF65-F5344CB8AC3E}">
        <p14:creationId xmlns:p14="http://schemas.microsoft.com/office/powerpoint/2010/main" val="31995866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grpId="0" nodeType="withEffect">
                                  <p:stCondLst>
                                    <p:cond delay="0"/>
                                  </p:stCondLst>
                                  <p:childTnLst>
                                    <p:animEffect transition="out" filter="fade">
                                      <p:cBhvr>
                                        <p:cTn id="6" dur="500"/>
                                        <p:tgtEl>
                                          <p:spTgt spid="13"/>
                                        </p:tgtEl>
                                      </p:cBhvr>
                                    </p:animEffect>
                                    <p:set>
                                      <p:cBhvr>
                                        <p:cTn id="7" dur="1" fill="hold">
                                          <p:stCondLst>
                                            <p:cond delay="499"/>
                                          </p:stCondLst>
                                        </p:cTn>
                                        <p:tgtEl>
                                          <p:spTgt spid="13"/>
                                        </p:tgtEl>
                                        <p:attrNameLst>
                                          <p:attrName>style.visibility</p:attrName>
                                        </p:attrNameLst>
                                      </p:cBhvr>
                                      <p:to>
                                        <p:strVal val="hidden"/>
                                      </p:to>
                                    </p:set>
                                  </p:childTnLst>
                                </p:cTn>
                              </p:par>
                              <p:par>
                                <p:cTn id="8" presetID="42" presetClass="path" presetSubtype="0" accel="50000" decel="50000" fill="hold" nodeType="withEffect">
                                  <p:stCondLst>
                                    <p:cond delay="0"/>
                                  </p:stCondLst>
                                  <p:childTnLst>
                                    <p:animMotion origin="layout" path="M -4.58333E-6 2.59259E-6 L 0.38646 -0.01366 " pathEditMode="relative" rAng="0" ptsTypes="AA">
                                      <p:cBhvr>
                                        <p:cTn id="9" dur="2000" fill="hold"/>
                                        <p:tgtEl>
                                          <p:spTgt spid="14"/>
                                        </p:tgtEl>
                                        <p:attrNameLst>
                                          <p:attrName>ppt_x</p:attrName>
                                          <p:attrName>ppt_y</p:attrName>
                                        </p:attrNameLst>
                                      </p:cBhvr>
                                      <p:rCtr x="19323" y="-69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B2dBjQ1zgpFNjkPop31Ch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Level up! PowerPoint">
  <a:themeElements>
    <a:clrScheme name="Level up! PowerPoint">
      <a:dk1>
        <a:srgbClr val="353B48"/>
      </a:dk1>
      <a:lt1>
        <a:srgbClr val="F5F6FA"/>
      </a:lt1>
      <a:dk2>
        <a:srgbClr val="1A1D24"/>
      </a:dk2>
      <a:lt2>
        <a:srgbClr val="FFFFFF"/>
      </a:lt2>
      <a:accent1>
        <a:srgbClr val="00A8FF"/>
      </a:accent1>
      <a:accent2>
        <a:srgbClr val="FBC531"/>
      </a:accent2>
      <a:accent3>
        <a:srgbClr val="4CD137"/>
      </a:accent3>
      <a:accent4>
        <a:srgbClr val="E84118"/>
      </a:accent4>
      <a:accent5>
        <a:srgbClr val="7F8FA1"/>
      </a:accent5>
      <a:accent6>
        <a:srgbClr val="273C75"/>
      </a:accent6>
      <a:hlink>
        <a:srgbClr val="5B5B5B"/>
      </a:hlink>
      <a:folHlink>
        <a:srgbClr val="BFBFBF"/>
      </a:folHlink>
    </a:clrScheme>
    <a:fontScheme name="Level up! PowerPoint">
      <a:majorFont>
        <a:latin typeface="Segoe UI Black"/>
        <a:ea typeface=""/>
        <a:cs typeface=""/>
      </a:majorFont>
      <a:minorFont>
        <a:latin typeface="Segoe UI Semibold"/>
        <a:ea typeface=""/>
        <a:cs typeface=""/>
      </a:minorFont>
    </a:fontScheme>
    <a:fmtScheme name="Level up! PowerPoint">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ln>
      </a:spPr>
      <a:bodyPr lIns="73152" tIns="73152" rIns="73152" bIns="73152" rtlCol="0" anchor="ctr"/>
      <a:lstStyle>
        <a:defPPr algn="ctr">
          <a:defRPr sz="10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400" kern="0" dirty="0" smtClean="0"/>
        </a:defPPr>
      </a:lstStyle>
    </a:txDef>
  </a:objectDefaults>
  <a:extraClrSchemeLst/>
  <a:custClrLst/>
  <a:extLst>
    <a:ext uri="{05A4C25C-085E-4340-85A3-A5531E510DB2}">
      <thm15:themeFamily xmlns:thm15="http://schemas.microsoft.com/office/thememl/2012/main" name="YouTube Template.potx" id="{09A9FD79-4AD2-4296-A2DD-9F92A25C9D11}" vid="{BFDEAB75-776D-4FD4-B1CD-15298D2A28B5}"/>
    </a:ext>
  </a:extLst>
</a:theme>
</file>

<file path=ppt/theme/theme2.xml><?xml version="1.0" encoding="utf-8"?>
<a:theme xmlns:a="http://schemas.openxmlformats.org/drawingml/2006/main" name="Level up! PowerPoint">
  <a:themeElements>
    <a:clrScheme name="Level up! PowerPoint">
      <a:dk1>
        <a:srgbClr val="353B48"/>
      </a:dk1>
      <a:lt1>
        <a:srgbClr val="F5F6FA"/>
      </a:lt1>
      <a:dk2>
        <a:srgbClr val="1A1D24"/>
      </a:dk2>
      <a:lt2>
        <a:srgbClr val="FFFFFF"/>
      </a:lt2>
      <a:accent1>
        <a:srgbClr val="00A8FF"/>
      </a:accent1>
      <a:accent2>
        <a:srgbClr val="FBC531"/>
      </a:accent2>
      <a:accent3>
        <a:srgbClr val="4CD137"/>
      </a:accent3>
      <a:accent4>
        <a:srgbClr val="E84118"/>
      </a:accent4>
      <a:accent5>
        <a:srgbClr val="7F8FA1"/>
      </a:accent5>
      <a:accent6>
        <a:srgbClr val="273C75"/>
      </a:accent6>
      <a:hlink>
        <a:srgbClr val="5B5B5B"/>
      </a:hlink>
      <a:folHlink>
        <a:srgbClr val="BFBFBF"/>
      </a:folHlink>
    </a:clrScheme>
    <a:fontScheme name="Level up! PowerPoint">
      <a:majorFont>
        <a:latin typeface="Segoe UI Black"/>
        <a:ea typeface=""/>
        <a:cs typeface=""/>
      </a:majorFont>
      <a:minorFont>
        <a:latin typeface="Segoe UI Semibold"/>
        <a:ea typeface=""/>
        <a:cs typeface=""/>
      </a:minorFont>
    </a:fontScheme>
    <a:fmtScheme name="Level up! PowerPoint">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ln>
      </a:spPr>
      <a:bodyPr lIns="73152" tIns="73152" rIns="73152" bIns="73152" rtlCol="0" anchor="ctr"/>
      <a:lstStyle>
        <a:defPPr algn="ctr">
          <a:defRPr sz="10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400" kern="0" dirty="0" smtClean="0"/>
        </a:defPPr>
      </a:lstStyle>
    </a:txDef>
  </a:objectDefaults>
  <a:extraClrSchemeLst/>
  <a:custClrLst/>
  <a:extLst>
    <a:ext uri="{05A4C25C-085E-4340-85A3-A5531E510DB2}">
      <thm15:themeFamily xmlns:thm15="http://schemas.microsoft.com/office/thememl/2012/main" name="YouTube Template.potx" id="{78599F88-281C-49F3-85D0-E1461EE50E6A}" vid="{6CF95794-CF56-4202-9084-2222FB314BAE}"/>
    </a:ext>
  </a:extLst>
</a:theme>
</file>

<file path=ppt/theme/theme3.xml><?xml version="1.0" encoding="utf-8"?>
<a:theme xmlns:a="http://schemas.openxmlformats.org/drawingml/2006/main" name="Level up! PowerPoint">
  <a:themeElements>
    <a:clrScheme name="Level up! PowerPoint">
      <a:dk1>
        <a:srgbClr val="353B48"/>
      </a:dk1>
      <a:lt1>
        <a:srgbClr val="F5F6FA"/>
      </a:lt1>
      <a:dk2>
        <a:srgbClr val="1A1D24"/>
      </a:dk2>
      <a:lt2>
        <a:srgbClr val="FFFFFF"/>
      </a:lt2>
      <a:accent1>
        <a:srgbClr val="00A8FF"/>
      </a:accent1>
      <a:accent2>
        <a:srgbClr val="FBC531"/>
      </a:accent2>
      <a:accent3>
        <a:srgbClr val="4CD137"/>
      </a:accent3>
      <a:accent4>
        <a:srgbClr val="E84118"/>
      </a:accent4>
      <a:accent5>
        <a:srgbClr val="7F8FA1"/>
      </a:accent5>
      <a:accent6>
        <a:srgbClr val="273C75"/>
      </a:accent6>
      <a:hlink>
        <a:srgbClr val="5B5B5B"/>
      </a:hlink>
      <a:folHlink>
        <a:srgbClr val="BFBFBF"/>
      </a:folHlink>
    </a:clrScheme>
    <a:fontScheme name="Level up! PowerPoint">
      <a:majorFont>
        <a:latin typeface="Segoe UI Black"/>
        <a:ea typeface=""/>
        <a:cs typeface=""/>
      </a:majorFont>
      <a:minorFont>
        <a:latin typeface="Segoe UI Semibold"/>
        <a:ea typeface=""/>
        <a:cs typeface=""/>
      </a:minorFont>
    </a:fontScheme>
    <a:fmtScheme name="Level up! PowerPoint">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ln>
      </a:spPr>
      <a:bodyPr lIns="73152" tIns="73152" rIns="73152" bIns="73152" rtlCol="0" anchor="ctr"/>
      <a:lstStyle>
        <a:defPPr algn="ctr">
          <a:defRPr sz="10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400" kern="0" dirty="0" smtClean="0"/>
        </a:defPPr>
      </a:lstStyle>
    </a:txDef>
  </a:objectDefaults>
  <a:extraClrSchemeLst/>
  <a:custClrLst/>
  <a:extLst>
    <a:ext uri="{05A4C25C-085E-4340-85A3-A5531E510DB2}">
      <thm15:themeFamily xmlns:thm15="http://schemas.microsoft.com/office/thememl/2012/main" name="YouTube Template.potx" id="{78599F88-281C-49F3-85D0-E1461EE50E6A}" vid="{6CF95794-CF56-4202-9084-2222FB314BAE}"/>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ontrol xmlns="http://schemas.microsoft.com/VisualStudio/2011/storyboarding/control">
  <Id Name="ed6dac2b-c7ed-495c-9f21-6480224ae620" Revision="1" Stencil="Maps" StencilVersion="1.0"/>
</Control>
</file>

<file path=customXml/item2.xml><?xml version="1.0" encoding="utf-8"?>
<Control xmlns="http://schemas.microsoft.com/VisualStudio/2011/storyboarding/control">
  <Id Name="ed6dac2b-c7ed-495c-9f21-6480224ae620" Revision="1" Stencil="Maps" StencilVersion="1.0"/>
</Control>
</file>

<file path=customXml/item3.xml><?xml version="1.0" encoding="utf-8"?>
<Control xmlns="http://schemas.microsoft.com/VisualStudio/2011/storyboarding/control">
  <Id Name="ed6dac2b-c7ed-495c-9f21-6480224ae620" Revision="1" Stencil="Maps" StencilVersion="1.0"/>
</Control>
</file>

<file path=customXml/item4.xml><?xml version="1.0" encoding="utf-8"?>
<Control xmlns="http://schemas.microsoft.com/VisualStudio/2011/storyboarding/control">
  <Id Name="8b37eb42-f0f1-4f53-aa39-2d953a26b87e" Revision="1" Stencil="Icons_2" StencilVersion="1.0"/>
</Control>
</file>

<file path=customXml/itemProps1.xml><?xml version="1.0" encoding="utf-8"?>
<ds:datastoreItem xmlns:ds="http://schemas.openxmlformats.org/officeDocument/2006/customXml" ds:itemID="{6A0E2AB2-28EE-4D93-BE04-A7B5823BC82D}">
  <ds:schemaRefs>
    <ds:schemaRef ds:uri="http://schemas.microsoft.com/VisualStudio/2011/storyboarding/control"/>
  </ds:schemaRefs>
</ds:datastoreItem>
</file>

<file path=customXml/itemProps2.xml><?xml version="1.0" encoding="utf-8"?>
<ds:datastoreItem xmlns:ds="http://schemas.openxmlformats.org/officeDocument/2006/customXml" ds:itemID="{58897215-AA0C-4C11-B165-1BDF7441CA3B}">
  <ds:schemaRefs>
    <ds:schemaRef ds:uri="http://schemas.microsoft.com/VisualStudio/2011/storyboarding/control"/>
  </ds:schemaRefs>
</ds:datastoreItem>
</file>

<file path=customXml/itemProps3.xml><?xml version="1.0" encoding="utf-8"?>
<ds:datastoreItem xmlns:ds="http://schemas.openxmlformats.org/officeDocument/2006/customXml" ds:itemID="{5C959F28-5776-43FD-BAF5-9CEB1618AC84}">
  <ds:schemaRefs>
    <ds:schemaRef ds:uri="http://schemas.microsoft.com/VisualStudio/2011/storyboarding/control"/>
  </ds:schemaRefs>
</ds:datastoreItem>
</file>

<file path=customXml/itemProps4.xml><?xml version="1.0" encoding="utf-8"?>
<ds:datastoreItem xmlns:ds="http://schemas.openxmlformats.org/officeDocument/2006/customXml" ds:itemID="{DB7BCF30-09ED-46E1-8DF8-5F29D1094EBA}">
  <ds:schemaRefs>
    <ds:schemaRef ds:uri="http://schemas.microsoft.com/VisualStudio/2011/storyboarding/control"/>
  </ds:schemaRefs>
</ds:datastoreItem>
</file>

<file path=docProps/app.xml><?xml version="1.0" encoding="utf-8"?>
<Properties xmlns="http://schemas.openxmlformats.org/officeDocument/2006/extended-properties" xmlns:vt="http://schemas.openxmlformats.org/officeDocument/2006/docPropsVTypes">
  <Template>YouTube Template (1)</Template>
  <TotalTime>765</TotalTime>
  <Words>1152</Words>
  <Application>Microsoft Office PowerPoint</Application>
  <PresentationFormat>Widescreen</PresentationFormat>
  <Paragraphs>142</Paragraphs>
  <Slides>37</Slides>
  <Notes>0</Notes>
  <HiddenSlides>0</HiddenSlides>
  <MMClips>1</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7</vt:i4>
      </vt:variant>
    </vt:vector>
  </HeadingPairs>
  <TitlesOfParts>
    <vt:vector size="42" baseType="lpstr">
      <vt:lpstr>Arial</vt:lpstr>
      <vt:lpstr>Segoe UI Black</vt:lpstr>
      <vt:lpstr>Segoe UI Semibold</vt:lpstr>
      <vt:lpstr>Level up! PowerPoint</vt:lpstr>
      <vt:lpstr>think-cell Slide</vt:lpstr>
      <vt:lpstr>           RLDWIDE  PHENOMENA</vt:lpstr>
      <vt:lpstr>Environmental Problems </vt:lpstr>
      <vt:lpstr>Environmental Problems </vt:lpstr>
      <vt:lpstr>Environmental Problems   </vt:lpstr>
      <vt:lpstr>Environmental Problems   </vt:lpstr>
      <vt:lpstr>Environmental Problems   </vt:lpstr>
      <vt:lpstr>Environmental Problems   </vt:lpstr>
      <vt:lpstr>Environmental Problems   </vt:lpstr>
      <vt:lpstr>PowerPoint Presentation</vt:lpstr>
      <vt:lpstr>PowerPoint Presentation</vt:lpstr>
      <vt:lpstr>PowerPoint Presentation</vt:lpstr>
      <vt:lpstr>Environmental Problems   </vt:lpstr>
      <vt:lpstr>Environmental Problems   </vt:lpstr>
      <vt:lpstr>Environmental Problems   </vt:lpstr>
      <vt:lpstr>Environmental Problems   </vt:lpstr>
      <vt:lpstr>Environmental Problems   </vt:lpstr>
      <vt:lpstr>Environmental Problems   </vt:lpstr>
      <vt:lpstr>Environmental Problems   </vt:lpstr>
      <vt:lpstr>Environmental Problems   </vt:lpstr>
      <vt:lpstr>Environmental Problems   </vt:lpstr>
      <vt:lpstr>Environmental Problems   </vt:lpstr>
      <vt:lpstr>Environmental Problems   </vt:lpstr>
      <vt:lpstr>Environmental Problems   </vt:lpstr>
      <vt:lpstr>Environmental Problems   </vt:lpstr>
      <vt:lpstr>Environmental Problems   </vt:lpstr>
      <vt:lpstr>Environmental Problems   </vt:lpstr>
      <vt:lpstr>Environmental Problems   </vt:lpstr>
      <vt:lpstr>Environmental Problems   </vt:lpstr>
      <vt:lpstr>Environmental Problems   </vt:lpstr>
      <vt:lpstr>Environmental Problems   </vt:lpstr>
      <vt:lpstr>Environmental Problems   </vt:lpstr>
      <vt:lpstr>Environmental Problems   </vt:lpstr>
      <vt:lpstr>Environmental Problems   </vt:lpstr>
      <vt:lpstr>Environmental Problems   </vt:lpstr>
      <vt:lpstr>Environmental Problems   </vt:lpstr>
      <vt:lpstr>Environmental Problems   </vt:lpstr>
      <vt:lpstr>Environmental Problem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orph</dc:title>
  <dc:creator>Sandach, Martyna</dc:creator>
  <cp:keywords/>
  <cp:lastModifiedBy>Akshar Abullah Al Muti</cp:lastModifiedBy>
  <cp:revision>164</cp:revision>
  <dcterms:created xsi:type="dcterms:W3CDTF">2018-04-26T19:30:37Z</dcterms:created>
  <dcterms:modified xsi:type="dcterms:W3CDTF">2020-07-12T15:16: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umentMSOLanguageID">
    <vt:lpwstr>msoLanguageIDEnglishUS</vt:lpwstr>
  </property>
  <property fmtid="{D5CDD505-2E9C-101B-9397-08002B2CF9AE}" pid="3" name="Tfs.IsStoryboard">
    <vt:bool>true</vt:bool>
  </property>
</Properties>
</file>